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tmp" ContentType="image/png"/>
  <Default Extension="jpeg" ContentType="image/jpeg"/>
  <Default Extension="emf" ContentType="image/x-e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gif" ContentType="image/gif"/>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slides/slide145.xml" ContentType="application/vnd.openxmlformats-officedocument.presentationml.slide+xml"/>
  <Override PartName="/ppt/slides/slide146.xml" ContentType="application/vnd.openxmlformats-officedocument.presentationml.slide+xml"/>
  <Override PartName="/ppt/slides/slide147.xml" ContentType="application/vnd.openxmlformats-officedocument.presentationml.slide+xml"/>
  <Override PartName="/ppt/slides/slide148.xml" ContentType="application/vnd.openxmlformats-officedocument.presentationml.slide+xml"/>
  <Override PartName="/ppt/slides/slide149.xml" ContentType="application/vnd.openxmlformats-officedocument.presentationml.slide+xml"/>
  <Override PartName="/ppt/slides/slide150.xml" ContentType="application/vnd.openxmlformats-officedocument.presentationml.slide+xml"/>
  <Override PartName="/ppt/slides/slide151.xml" ContentType="application/vnd.openxmlformats-officedocument.presentationml.slide+xml"/>
  <Override PartName="/ppt/slides/slide152.xml" ContentType="application/vnd.openxmlformats-officedocument.presentationml.slide+xml"/>
  <Override PartName="/ppt/slides/slide153.xml" ContentType="application/vnd.openxmlformats-officedocument.presentationml.slide+xml"/>
  <Override PartName="/ppt/slides/slide154.xml" ContentType="application/vnd.openxmlformats-officedocument.presentationml.slide+xml"/>
  <Override PartName="/ppt/slides/slide155.xml" ContentType="application/vnd.openxmlformats-officedocument.presentationml.slide+xml"/>
  <Override PartName="/ppt/slides/slide156.xml" ContentType="application/vnd.openxmlformats-officedocument.presentationml.slide+xml"/>
  <Override PartName="/ppt/slides/slide157.xml" ContentType="application/vnd.openxmlformats-officedocument.presentationml.slide+xml"/>
  <Override PartName="/ppt/slides/slide158.xml" ContentType="application/vnd.openxmlformats-officedocument.presentationml.slide+xml"/>
  <Override PartName="/ppt/slides/slide159.xml" ContentType="application/vnd.openxmlformats-officedocument.presentationml.slide+xml"/>
  <Override PartName="/ppt/slides/slide160.xml" ContentType="application/vnd.openxmlformats-officedocument.presentationml.slide+xml"/>
  <Override PartName="/ppt/slides/slide161.xml" ContentType="application/vnd.openxmlformats-officedocument.presentationml.slide+xml"/>
  <Override PartName="/ppt/slides/slide162.xml" ContentType="application/vnd.openxmlformats-officedocument.presentationml.slide+xml"/>
  <Override PartName="/ppt/slides/slide163.xml" ContentType="application/vnd.openxmlformats-officedocument.presentationml.slide+xml"/>
  <Override PartName="/ppt/slides/slide164.xml" ContentType="application/vnd.openxmlformats-officedocument.presentationml.slide+xml"/>
  <Override PartName="/ppt/slides/slide165.xml" ContentType="application/vnd.openxmlformats-officedocument.presentationml.slide+xml"/>
  <Override PartName="/ppt/slides/slide166.xml" ContentType="application/vnd.openxmlformats-officedocument.presentationml.slide+xml"/>
  <Override PartName="/ppt/slides/slide167.xml" ContentType="application/vnd.openxmlformats-officedocument.presentationml.slide+xml"/>
  <Override PartName="/ppt/slides/slide168.xml" ContentType="application/vnd.openxmlformats-officedocument.presentationml.slide+xml"/>
  <Override PartName="/ppt/slides/slide169.xml" ContentType="application/vnd.openxmlformats-officedocument.presentationml.slide+xml"/>
  <Override PartName="/ppt/slides/slide170.xml" ContentType="application/vnd.openxmlformats-officedocument.presentationml.slide+xml"/>
  <Override PartName="/ppt/slides/slide171.xml" ContentType="application/vnd.openxmlformats-officedocument.presentationml.slide+xml"/>
  <Override PartName="/ppt/slides/slide172.xml" ContentType="application/vnd.openxmlformats-officedocument.presentationml.slide+xml"/>
  <Override PartName="/ppt/slides/slide173.xml" ContentType="application/vnd.openxmlformats-officedocument.presentationml.slide+xml"/>
  <Override PartName="/ppt/slides/slide174.xml" ContentType="application/vnd.openxmlformats-officedocument.presentationml.slide+xml"/>
  <Override PartName="/ppt/slides/slide175.xml" ContentType="application/vnd.openxmlformats-officedocument.presentationml.slide+xml"/>
  <Override PartName="/ppt/slides/slide176.xml" ContentType="application/vnd.openxmlformats-officedocument.presentationml.slide+xml"/>
  <Override PartName="/ppt/slides/slide177.xml" ContentType="application/vnd.openxmlformats-officedocument.presentationml.slide+xml"/>
  <Override PartName="/ppt/slides/slide178.xml" ContentType="application/vnd.openxmlformats-officedocument.presentationml.slide+xml"/>
  <Override PartName="/ppt/slides/slide179.xml" ContentType="application/vnd.openxmlformats-officedocument.presentationml.slide+xml"/>
  <Override PartName="/ppt/slides/slide180.xml" ContentType="application/vnd.openxmlformats-officedocument.presentationml.slide+xml"/>
  <Override PartName="/ppt/slides/slide181.xml" ContentType="application/vnd.openxmlformats-officedocument.presentationml.slide+xml"/>
  <Override PartName="/ppt/slides/slide182.xml" ContentType="application/vnd.openxmlformats-officedocument.presentationml.slide+xml"/>
  <Override PartName="/ppt/slides/slide183.xml" ContentType="application/vnd.openxmlformats-officedocument.presentationml.slide+xml"/>
  <Override PartName="/ppt/slides/slide184.xml" ContentType="application/vnd.openxmlformats-officedocument.presentationml.slide+xml"/>
  <Override PartName="/ppt/slides/slide185.xml" ContentType="application/vnd.openxmlformats-officedocument.presentationml.slide+xml"/>
  <Override PartName="/ppt/slides/slide186.xml" ContentType="application/vnd.openxmlformats-officedocument.presentationml.slide+xml"/>
  <Override PartName="/ppt/slides/slide187.xml" ContentType="application/vnd.openxmlformats-officedocument.presentationml.slide+xml"/>
  <Override PartName="/ppt/slides/slide188.xml" ContentType="application/vnd.openxmlformats-officedocument.presentationml.slide+xml"/>
  <Override PartName="/ppt/slides/slide189.xml" ContentType="application/vnd.openxmlformats-officedocument.presentationml.slide+xml"/>
  <Override PartName="/ppt/slides/slide190.xml" ContentType="application/vnd.openxmlformats-officedocument.presentationml.slide+xml"/>
  <Override PartName="/ppt/slides/slide191.xml" ContentType="application/vnd.openxmlformats-officedocument.presentationml.slide+xml"/>
  <Override PartName="/ppt/slides/slide192.xml" ContentType="application/vnd.openxmlformats-officedocument.presentationml.slide+xml"/>
  <Override PartName="/ppt/slides/slide193.xml" ContentType="application/vnd.openxmlformats-officedocument.presentationml.slide+xml"/>
  <Override PartName="/ppt/slides/slide194.xml" ContentType="application/vnd.openxmlformats-officedocument.presentationml.slide+xml"/>
  <Override PartName="/ppt/slides/slide195.xml" ContentType="application/vnd.openxmlformats-officedocument.presentationml.slide+xml"/>
  <Override PartName="/ppt/slides/slide196.xml" ContentType="application/vnd.openxmlformats-officedocument.presentationml.slide+xml"/>
  <Override PartName="/ppt/slides/slide197.xml" ContentType="application/vnd.openxmlformats-officedocument.presentationml.slide+xml"/>
  <Override PartName="/ppt/slides/slide19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heme/theme2.xml" ContentType="application/vnd.openxmlformats-officedocument.theme+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theme/theme3.xml" ContentType="application/vnd.openxmlformats-officedocument.theme+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theme/theme4.xml" ContentType="application/vnd.openxmlformats-officedocument.theme+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theme/theme5.xml" ContentType="application/vnd.openxmlformats-officedocument.theme+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theme/theme6.xml" ContentType="application/vnd.openxmlformats-officedocument.theme+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theme/theme7.xml" ContentType="application/vnd.openxmlformats-officedocument.theme+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theme/theme8.xml" ContentType="application/vnd.openxmlformats-officedocument.theme+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theme/theme9.xml" ContentType="application/vnd.openxmlformats-officedocument.theme+xml"/>
  <Override PartName="/ppt/tags/tag1.xml" ContentType="application/vnd.openxmlformats-officedocument.presentationml.tags+xml"/>
  <Override PartName="/ppt/theme/theme10.xml" ContentType="application/vnd.openxmlformats-officedocument.theme+xml"/>
  <Override PartName="/ppt/theme/theme11.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comments/comment1.xml" ContentType="application/vnd.openxmlformats-officedocument.presentationml.comments+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notesSlides/notesSlide77.xml" ContentType="application/vnd.openxmlformats-officedocument.presentationml.notesSlide+xml"/>
  <Override PartName="/ppt/notesSlides/notesSlide78.xml" ContentType="application/vnd.openxmlformats-officedocument.presentationml.notesSlide+xml"/>
  <Override PartName="/ppt/notesSlides/notesSlide79.xml" ContentType="application/vnd.openxmlformats-officedocument.presentationml.notesSlide+xml"/>
  <Override PartName="/ppt/notesSlides/notesSlide80.xml" ContentType="application/vnd.openxmlformats-officedocument.presentationml.notesSlide+xml"/>
  <Override PartName="/ppt/notesSlides/notesSlide81.xml" ContentType="application/vnd.openxmlformats-officedocument.presentationml.notesSlide+xml"/>
  <Override PartName="/ppt/notesSlides/notesSlide82.xml" ContentType="application/vnd.openxmlformats-officedocument.presentationml.notesSlide+xml"/>
  <Override PartName="/ppt/notesSlides/notesSlide83.xml" ContentType="application/vnd.openxmlformats-officedocument.presentationml.notesSlide+xml"/>
  <Override PartName="/ppt/notesSlides/notesSlide84.xml" ContentType="application/vnd.openxmlformats-officedocument.presentationml.notesSlide+xml"/>
  <Override PartName="/ppt/notesSlides/notesSlide85.xml" ContentType="application/vnd.openxmlformats-officedocument.presentationml.notesSlide+xml"/>
  <Override PartName="/ppt/notesSlides/notesSlide86.xml" ContentType="application/vnd.openxmlformats-officedocument.presentationml.notesSlide+xml"/>
  <Override PartName="/ppt/notesSlides/notesSlide87.xml" ContentType="application/vnd.openxmlformats-officedocument.presentationml.notesSlide+xml"/>
  <Override PartName="/ppt/notesSlides/notesSlide88.xml" ContentType="application/vnd.openxmlformats-officedocument.presentationml.notesSlide+xml"/>
  <Override PartName="/ppt/notesSlides/notesSlide89.xml" ContentType="application/vnd.openxmlformats-officedocument.presentationml.notesSlide+xml"/>
  <Override PartName="/ppt/notesSlides/notesSlide90.xml" ContentType="application/vnd.openxmlformats-officedocument.presentationml.notesSlide+xml"/>
  <Override PartName="/ppt/media/image170.jpg" ContentType="image/png"/>
  <Override PartName="/ppt/comments/comment2.xml" ContentType="application/vnd.openxmlformats-officedocument.presentationml.comments+xml"/>
  <Override PartName="/ppt/notesSlides/notesSlide91.xml" ContentType="application/vnd.openxmlformats-officedocument.presentationml.notesSlide+xml"/>
  <Override PartName="/ppt/notesSlides/notesSlide92.xml" ContentType="application/vnd.openxmlformats-officedocument.presentationml.notesSlide+xml"/>
  <Override PartName="/ppt/notesSlides/notesSlide93.xml" ContentType="application/vnd.openxmlformats-officedocument.presentationml.notesSlide+xml"/>
  <Override PartName="/ppt/notesSlides/notesSlide94.xml" ContentType="application/vnd.openxmlformats-officedocument.presentationml.notesSlide+xml"/>
  <Override PartName="/ppt/notesSlides/notesSlide95.xml" ContentType="application/vnd.openxmlformats-officedocument.presentationml.notesSlide+xml"/>
  <Override PartName="/ppt/notesSlides/notesSlide96.xml" ContentType="application/vnd.openxmlformats-officedocument.presentationml.notesSlide+xml"/>
  <Override PartName="/ppt/notesSlides/notesSlide97.xml" ContentType="application/vnd.openxmlformats-officedocument.presentationml.notesSlide+xml"/>
  <Override PartName="/ppt/notesSlides/notesSlide98.xml" ContentType="application/vnd.openxmlformats-officedocument.presentationml.notesSlide+xml"/>
  <Override PartName="/ppt/notesSlides/notesSlide99.xml" ContentType="application/vnd.openxmlformats-officedocument.presentationml.notesSlide+xml"/>
  <Override PartName="/ppt/notesSlides/notesSlide100.xml" ContentType="application/vnd.openxmlformats-officedocument.presentationml.notesSlide+xml"/>
  <Override PartName="/ppt/notesSlides/notesSlide101.xml" ContentType="application/vnd.openxmlformats-officedocument.presentationml.notesSlide+xml"/>
  <Override PartName="/ppt/notesSlides/notesSlide102.xml" ContentType="application/vnd.openxmlformats-officedocument.presentationml.notesSlide+xml"/>
  <Override PartName="/ppt/notesSlides/notesSlide103.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104.xml" ContentType="application/vnd.openxmlformats-officedocument.presentationml.notesSlide+xml"/>
  <Override PartName="/ppt/notesSlides/notesSlide105.xml" ContentType="application/vnd.openxmlformats-officedocument.presentationml.notesSlide+xml"/>
  <Override PartName="/ppt/notesSlides/notesSlide106.xml" ContentType="application/vnd.openxmlformats-officedocument.presentationml.notesSlide+xml"/>
  <Override PartName="/ppt/notesSlides/notesSlide107.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108.xml" ContentType="application/vnd.openxmlformats-officedocument.presentationml.notesSlide+xml"/>
  <Override PartName="/ppt/notesSlides/notesSlide109.xml" ContentType="application/vnd.openxmlformats-officedocument.presentationml.notesSlide+xml"/>
  <Override PartName="/ppt/notesSlides/notesSlide110.xml" ContentType="application/vnd.openxmlformats-officedocument.presentationml.notesSlide+xml"/>
  <Override PartName="/ppt/notesSlides/notesSlide111.xml" ContentType="application/vnd.openxmlformats-officedocument.presentationml.notesSlide+xml"/>
  <Override PartName="/ppt/notesSlides/notesSlide112.xml" ContentType="application/vnd.openxmlformats-officedocument.presentationml.notesSlide+xml"/>
  <Override PartName="/ppt/notesSlides/notesSlide113.xml" ContentType="application/vnd.openxmlformats-officedocument.presentationml.notesSlide+xml"/>
  <Override PartName="/ppt/notesSlides/notesSlide114.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115.xml" ContentType="application/vnd.openxmlformats-officedocument.presentationml.notesSlide+xml"/>
  <Override PartName="/ppt/notesSlides/notesSlide116.xml" ContentType="application/vnd.openxmlformats-officedocument.presentationml.notesSlide+xml"/>
  <Override PartName="/ppt/notesSlides/notesSlide117.xml" ContentType="application/vnd.openxmlformats-officedocument.presentationml.notesSlide+xml"/>
  <Override PartName="/ppt/notesSlides/notesSlide118.xml" ContentType="application/vnd.openxmlformats-officedocument.presentationml.notesSlide+xml"/>
  <Override PartName="/ppt/notesSlides/notesSlide119.xml" ContentType="application/vnd.openxmlformats-officedocument.presentationml.notesSlide+xml"/>
  <Override PartName="/ppt/notesSlides/notesSlide120.xml" ContentType="application/vnd.openxmlformats-officedocument.presentationml.notesSlide+xml"/>
  <Override PartName="/ppt/notesSlides/notesSlide121.xml" ContentType="application/vnd.openxmlformats-officedocument.presentationml.notesSlide+xml"/>
  <Override PartName="/ppt/notesSlides/notesSlide122.xml" ContentType="application/vnd.openxmlformats-officedocument.presentationml.notesSlide+xml"/>
  <Override PartName="/ppt/notesSlides/notesSlide123.xml" ContentType="application/vnd.openxmlformats-officedocument.presentationml.notesSlide+xml"/>
  <Override PartName="/ppt/notesSlides/notesSlide124.xml" ContentType="application/vnd.openxmlformats-officedocument.presentationml.notesSlide+xml"/>
  <Override PartName="/ppt/notesSlides/notesSlide125.xml" ContentType="application/vnd.openxmlformats-officedocument.presentationml.notesSlide+xml"/>
  <Override PartName="/ppt/notesSlides/notesSlide126.xml" ContentType="application/vnd.openxmlformats-officedocument.presentationml.notesSlide+xml"/>
  <Override PartName="/ppt/notesSlides/notesSlide127.xml" ContentType="application/vnd.openxmlformats-officedocument.presentationml.notesSlide+xml"/>
  <Override PartName="/ppt/notesSlides/notesSlide128.xml" ContentType="application/vnd.openxmlformats-officedocument.presentationml.notesSlide+xml"/>
  <Override PartName="/ppt/notesSlides/notesSlide129.xml" ContentType="application/vnd.openxmlformats-officedocument.presentationml.notesSlide+xml"/>
  <Override PartName="/ppt/notesSlides/notesSlide130.xml" ContentType="application/vnd.openxmlformats-officedocument.presentationml.notesSlide+xml"/>
  <Override PartName="/ppt/notesSlides/notesSlide131.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132.xml" ContentType="application/vnd.openxmlformats-officedocument.presentationml.notesSlide+xml"/>
  <Override PartName="/ppt/notesSlides/notesSlide133.xml" ContentType="application/vnd.openxmlformats-officedocument.presentationml.notesSlide+xml"/>
  <Override PartName="/ppt/notesSlides/notesSlide134.xml" ContentType="application/vnd.openxmlformats-officedocument.presentationml.notesSlide+xml"/>
  <Override PartName="/ppt/notesSlides/notesSlide135.xml" ContentType="application/vnd.openxmlformats-officedocument.presentationml.notesSlide+xml"/>
  <Override PartName="/ppt/notesSlides/notesSlide136.xml" ContentType="application/vnd.openxmlformats-officedocument.presentationml.notesSlide+xml"/>
  <Override PartName="/ppt/notesSlides/notesSlide137.xml" ContentType="application/vnd.openxmlformats-officedocument.presentationml.notesSlide+xml"/>
  <Override PartName="/ppt/notesSlides/notesSlide138.xml" ContentType="application/vnd.openxmlformats-officedocument.presentationml.notesSlide+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notesSlides/notesSlide139.xml" ContentType="application/vnd.openxmlformats-officedocument.presentationml.notesSlide+xml"/>
  <Override PartName="/ppt/notesSlides/notesSlide140.xml" ContentType="application/vnd.openxmlformats-officedocument.presentationml.notesSlide+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notesSlides/notesSlide141.xml" ContentType="application/vnd.openxmlformats-officedocument.presentationml.notesSlide+xml"/>
  <Override PartName="/ppt/notesSlides/notesSlide142.xml" ContentType="application/vnd.openxmlformats-officedocument.presentationml.notesSlide+xml"/>
  <Override PartName="/ppt/notesSlides/notesSlide143.xml" ContentType="application/vnd.openxmlformats-officedocument.presentationml.notesSlide+xml"/>
  <Override PartName="/ppt/notesSlides/notesSlide144.xml" ContentType="application/vnd.openxmlformats-officedocument.presentationml.notesSlide+xml"/>
  <Override PartName="/ppt/notesSlides/notesSlide145.xml" ContentType="application/vnd.openxmlformats-officedocument.presentationml.notesSlide+xml"/>
  <Override PartName="/ppt/notesSlides/notesSlide146.xml" ContentType="application/vnd.openxmlformats-officedocument.presentationml.notesSlide+xml"/>
  <Override PartName="/ppt/notesSlides/notesSlide147.xml" ContentType="application/vnd.openxmlformats-officedocument.presentationml.notesSlide+xml"/>
  <Override PartName="/ppt/notesSlides/notesSlide148.xml" ContentType="application/vnd.openxmlformats-officedocument.presentationml.notesSlide+xml"/>
  <Override PartName="/ppt/notesSlides/notesSlide149.xml" ContentType="application/vnd.openxmlformats-officedocument.presentationml.notesSlide+xml"/>
  <Override PartName="/ppt/notesSlides/notesSlide150.xml" ContentType="application/vnd.openxmlformats-officedocument.presentationml.notesSlide+xml"/>
  <Override PartName="/ppt/notesSlides/notesSlide151.xml" ContentType="application/vnd.openxmlformats-officedocument.presentationml.notesSlide+xml"/>
  <Override PartName="/ppt/notesSlides/notesSlide152.xml" ContentType="application/vnd.openxmlformats-officedocument.presentationml.notesSlide+xml"/>
  <Override PartName="/ppt/notesSlides/notesSlide153.xml" ContentType="application/vnd.openxmlformats-officedocument.presentationml.notesSlide+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notesSlides/notesSlide154.xml" ContentType="application/vnd.openxmlformats-officedocument.presentationml.notesSlide+xml"/>
  <Override PartName="/ppt/notesSlides/notesSlide155.xml" ContentType="application/vnd.openxmlformats-officedocument.presentationml.notesSlide+xml"/>
  <Override PartName="/ppt/notesSlides/notesSlide156.xml" ContentType="application/vnd.openxmlformats-officedocument.presentationml.notesSlide+xml"/>
  <Override PartName="/ppt/notesSlides/notesSlide157.xml" ContentType="application/vnd.openxmlformats-officedocument.presentationml.notesSlide+xml"/>
  <Override PartName="/ppt/notesSlides/notesSlide158.xml" ContentType="application/vnd.openxmlformats-officedocument.presentationml.notesSlide+xml"/>
  <Override PartName="/ppt/notesSlides/notesSlide159.xml" ContentType="application/vnd.openxmlformats-officedocument.presentationml.notesSlide+xml"/>
  <Override PartName="/ppt/notesSlides/notesSlide160.xml" ContentType="application/vnd.openxmlformats-officedocument.presentationml.notesSlide+xml"/>
  <Override PartName="/ppt/notesSlides/notesSlide161.xml" ContentType="application/vnd.openxmlformats-officedocument.presentationml.notesSlide+xml"/>
  <Override PartName="/ppt/notesSlides/notesSlide162.xml" ContentType="application/vnd.openxmlformats-officedocument.presentationml.notesSlide+xml"/>
  <Override PartName="/ppt/notesSlides/notesSlide163.xml" ContentType="application/vnd.openxmlformats-officedocument.presentationml.notesSlide+xml"/>
  <Override PartName="/ppt/notesSlides/notesSlide164.xml" ContentType="application/vnd.openxmlformats-officedocument.presentationml.notesSlide+xml"/>
  <Override PartName="/ppt/notesSlides/notesSlide165.xml" ContentType="application/vnd.openxmlformats-officedocument.presentationml.notesSlide+xml"/>
  <Override PartName="/ppt/notesSlides/notesSlide166.xml" ContentType="application/vnd.openxmlformats-officedocument.presentationml.notesSlide+xml"/>
  <Override PartName="/ppt/notesSlides/notesSlide167.xml" ContentType="application/vnd.openxmlformats-officedocument.presentationml.notesSlide+xml"/>
  <Override PartName="/ppt/notesSlides/notesSlide168.xml" ContentType="application/vnd.openxmlformats-officedocument.presentationml.notesSlide+xml"/>
  <Override PartName="/ppt/notesSlides/notesSlide169.xml" ContentType="application/vnd.openxmlformats-officedocument.presentationml.notesSlide+xml"/>
  <Override PartName="/ppt/notesSlides/notesSlide170.xml" ContentType="application/vnd.openxmlformats-officedocument.presentationml.notesSlide+xml"/>
  <Override PartName="/ppt/notesSlides/notesSlide171.xml" ContentType="application/vnd.openxmlformats-officedocument.presentationml.notesSlide+xml"/>
  <Override PartName="/ppt/notesSlides/notesSlide172.xml" ContentType="application/vnd.openxmlformats-officedocument.presentationml.notesSlide+xml"/>
  <Override PartName="/ppt/notesSlides/notesSlide173.xml" ContentType="application/vnd.openxmlformats-officedocument.presentationml.notesSlide+xml"/>
  <Override PartName="/ppt/notesSlides/notesSlide174.xml" ContentType="application/vnd.openxmlformats-officedocument.presentationml.notesSlide+xml"/>
  <Override PartName="/ppt/notesSlides/notesSlide175.xml" ContentType="application/vnd.openxmlformats-officedocument.presentationml.notesSlide+xml"/>
  <Override PartName="/ppt/notesSlides/notesSlide176.xml" ContentType="application/vnd.openxmlformats-officedocument.presentationml.notesSlide+xml"/>
  <Override PartName="/ppt/notesSlides/notesSlide177.xml" ContentType="application/vnd.openxmlformats-officedocument.presentationml.notesSlide+xml"/>
  <Override PartName="/ppt/notesSlides/notesSlide178.xml" ContentType="application/vnd.openxmlformats-officedocument.presentationml.notesSlide+xml"/>
  <Override PartName="/ppt/notesSlides/notesSlide179.xml" ContentType="application/vnd.openxmlformats-officedocument.presentationml.notesSlide+xml"/>
  <Override PartName="/ppt/notesSlides/notesSlide180.xml" ContentType="application/vnd.openxmlformats-officedocument.presentationml.notesSlide+xml"/>
  <Override PartName="/ppt/notesSlides/notesSlide181.xml" ContentType="application/vnd.openxmlformats-officedocument.presentationml.notesSlide+xml"/>
  <Override PartName="/ppt/notesSlides/notesSlide182.xml" ContentType="application/vnd.openxmlformats-officedocument.presentationml.notesSlide+xml"/>
  <Override PartName="/ppt/notesSlides/notesSlide183.xml" ContentType="application/vnd.openxmlformats-officedocument.presentationml.notesSlide+xml"/>
  <Override PartName="/ppt/notesSlides/notesSlide184.xml" ContentType="application/vnd.openxmlformats-officedocument.presentationml.notesSlide+xml"/>
  <Override PartName="/ppt/notesSlides/notesSlide185.xml" ContentType="application/vnd.openxmlformats-officedocument.presentationml.notesSlide+xml"/>
  <Override PartName="/ppt/notesSlides/notesSlide186.xml" ContentType="application/vnd.openxmlformats-officedocument.presentationml.notesSlide+xml"/>
  <Override PartName="/ppt/notesSlides/notesSlide187.xml" ContentType="application/vnd.openxmlformats-officedocument.presentationml.notesSlide+xml"/>
  <Override PartName="/ppt/notesSlides/notesSlide188.xml" ContentType="application/vnd.openxmlformats-officedocument.presentationml.notesSlide+xml"/>
  <Override PartName="/ppt/notesSlides/notesSlide189.xml" ContentType="application/vnd.openxmlformats-officedocument.presentationml.notesSlide+xml"/>
  <Override PartName="/ppt/notesSlides/notesSlide190.xml" ContentType="application/vnd.openxmlformats-officedocument.presentationml.notesSlide+xml"/>
  <Override PartName="/ppt/notesSlides/notesSlide191.xml" ContentType="application/vnd.openxmlformats-officedocument.presentationml.notesSlide+xml"/>
  <Override PartName="/ppt/notesSlides/notesSlide192.xml" ContentType="application/vnd.openxmlformats-officedocument.presentationml.notesSlide+xml"/>
  <Override PartName="/ppt/notesSlides/notesSlide193.xml" ContentType="application/vnd.openxmlformats-officedocument.presentationml.notesSlide+xml"/>
  <Override PartName="/ppt/notesSlides/notesSlide194.xml" ContentType="application/vnd.openxmlformats-officedocument.presentationml.notesSlide+xml"/>
  <Override PartName="/ppt/notesSlides/notesSlide195.xml" ContentType="application/vnd.openxmlformats-officedocument.presentationml.notesSlide+xml"/>
  <Override PartName="/ppt/notesSlides/notesSlide196.xml" ContentType="application/vnd.openxmlformats-officedocument.presentationml.notesSlide+xml"/>
  <Override PartName="/ppt/notesSlides/notesSlide197.xml" ContentType="application/vnd.openxmlformats-officedocument.presentationml.notesSlide+xml"/>
  <Override PartName="/ppt/notesSlides/notesSlide198.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082" r:id="rId4"/>
    <p:sldMasterId id="2147484291" r:id="rId5"/>
    <p:sldMasterId id="2147484305" r:id="rId6"/>
    <p:sldMasterId id="2147484327" r:id="rId7"/>
    <p:sldMasterId id="2147484348" r:id="rId8"/>
    <p:sldMasterId id="2147484389" r:id="rId9"/>
    <p:sldMasterId id="2147484412" r:id="rId10"/>
    <p:sldMasterId id="2147484453" r:id="rId11"/>
    <p:sldMasterId id="2147484485" r:id="rId12"/>
  </p:sldMasterIdLst>
  <p:notesMasterIdLst>
    <p:notesMasterId r:id="rId211"/>
  </p:notesMasterIdLst>
  <p:handoutMasterIdLst>
    <p:handoutMasterId r:id="rId212"/>
  </p:handoutMasterIdLst>
  <p:sldIdLst>
    <p:sldId id="1308" r:id="rId13"/>
    <p:sldId id="1717" r:id="rId14"/>
    <p:sldId id="1352" r:id="rId15"/>
    <p:sldId id="1718" r:id="rId16"/>
    <p:sldId id="1719" r:id="rId17"/>
    <p:sldId id="1690" r:id="rId18"/>
    <p:sldId id="1688" r:id="rId19"/>
    <p:sldId id="1689" r:id="rId20"/>
    <p:sldId id="1692" r:id="rId21"/>
    <p:sldId id="1694" r:id="rId22"/>
    <p:sldId id="1720" r:id="rId23"/>
    <p:sldId id="1453" r:id="rId24"/>
    <p:sldId id="1721" r:id="rId25"/>
    <p:sldId id="1691" r:id="rId26"/>
    <p:sldId id="1722" r:id="rId27"/>
    <p:sldId id="1456" r:id="rId28"/>
    <p:sldId id="1440" r:id="rId29"/>
    <p:sldId id="1461" r:id="rId30"/>
    <p:sldId id="1599" r:id="rId31"/>
    <p:sldId id="1598" r:id="rId32"/>
    <p:sldId id="1463" r:id="rId33"/>
    <p:sldId id="1340" r:id="rId34"/>
    <p:sldId id="1368" r:id="rId35"/>
    <p:sldId id="1374" r:id="rId36"/>
    <p:sldId id="1415" r:id="rId37"/>
    <p:sldId id="1699" r:id="rId38"/>
    <p:sldId id="1483" r:id="rId39"/>
    <p:sldId id="1484" r:id="rId40"/>
    <p:sldId id="1485" r:id="rId41"/>
    <p:sldId id="1487" r:id="rId42"/>
    <p:sldId id="1695" r:id="rId43"/>
    <p:sldId id="1441" r:id="rId44"/>
    <p:sldId id="1434" r:id="rId45"/>
    <p:sldId id="1435" r:id="rId46"/>
    <p:sldId id="1696" r:id="rId47"/>
    <p:sldId id="1476" r:id="rId48"/>
    <p:sldId id="1697" r:id="rId49"/>
    <p:sldId id="1411" r:id="rId50"/>
    <p:sldId id="1413" r:id="rId51"/>
    <p:sldId id="1700" r:id="rId52"/>
    <p:sldId id="1444" r:id="rId53"/>
    <p:sldId id="1494" r:id="rId54"/>
    <p:sldId id="1497" r:id="rId55"/>
    <p:sldId id="1701" r:id="rId56"/>
    <p:sldId id="1723" r:id="rId57"/>
    <p:sldId id="1724" r:id="rId58"/>
    <p:sldId id="1725" r:id="rId59"/>
    <p:sldId id="1726" r:id="rId60"/>
    <p:sldId id="1727" r:id="rId61"/>
    <p:sldId id="1728" r:id="rId62"/>
    <p:sldId id="1702" r:id="rId63"/>
    <p:sldId id="1729" r:id="rId64"/>
    <p:sldId id="1730" r:id="rId65"/>
    <p:sldId id="1703" r:id="rId66"/>
    <p:sldId id="1731" r:id="rId67"/>
    <p:sldId id="1732" r:id="rId68"/>
    <p:sldId id="1522" r:id="rId69"/>
    <p:sldId id="1704" r:id="rId70"/>
    <p:sldId id="1733" r:id="rId71"/>
    <p:sldId id="1734" r:id="rId72"/>
    <p:sldId id="1735" r:id="rId73"/>
    <p:sldId id="1530" r:id="rId74"/>
    <p:sldId id="1705" r:id="rId75"/>
    <p:sldId id="1533" r:id="rId76"/>
    <p:sldId id="1706" r:id="rId77"/>
    <p:sldId id="1537" r:id="rId78"/>
    <p:sldId id="1707" r:id="rId79"/>
    <p:sldId id="1540" r:id="rId80"/>
    <p:sldId id="1708" r:id="rId81"/>
    <p:sldId id="1543" r:id="rId82"/>
    <p:sldId id="1709" r:id="rId83"/>
    <p:sldId id="1553" r:id="rId84"/>
    <p:sldId id="1710" r:id="rId85"/>
    <p:sldId id="1554" r:id="rId86"/>
    <p:sldId id="1711" r:id="rId87"/>
    <p:sldId id="1559" r:id="rId88"/>
    <p:sldId id="1712" r:id="rId89"/>
    <p:sldId id="1561" r:id="rId90"/>
    <p:sldId id="1563" r:id="rId91"/>
    <p:sldId id="1713" r:id="rId92"/>
    <p:sldId id="1567" r:id="rId93"/>
    <p:sldId id="1714" r:id="rId94"/>
    <p:sldId id="1573" r:id="rId95"/>
    <p:sldId id="1715" r:id="rId96"/>
    <p:sldId id="1577" r:id="rId97"/>
    <p:sldId id="1548" r:id="rId98"/>
    <p:sldId id="1680" r:id="rId99"/>
    <p:sldId id="1326" r:id="rId100"/>
    <p:sldId id="1594" r:id="rId101"/>
    <p:sldId id="1591" r:id="rId102"/>
    <p:sldId id="1592" r:id="rId103"/>
    <p:sldId id="1593" r:id="rId104"/>
    <p:sldId id="1394" r:id="rId105"/>
    <p:sldId id="1354" r:id="rId106"/>
    <p:sldId id="1395" r:id="rId107"/>
    <p:sldId id="1397" r:id="rId108"/>
    <p:sldId id="1393" r:id="rId109"/>
    <p:sldId id="1399" r:id="rId110"/>
    <p:sldId id="1398" r:id="rId111"/>
    <p:sldId id="1402" r:id="rId112"/>
    <p:sldId id="1400" r:id="rId113"/>
    <p:sldId id="1403" r:id="rId114"/>
    <p:sldId id="1405" r:id="rId115"/>
    <p:sldId id="1404" r:id="rId116"/>
    <p:sldId id="1406" r:id="rId117"/>
    <p:sldId id="1407" r:id="rId118"/>
    <p:sldId id="1408" r:id="rId119"/>
    <p:sldId id="1409" r:id="rId120"/>
    <p:sldId id="1410" r:id="rId121"/>
    <p:sldId id="1355" r:id="rId122"/>
    <p:sldId id="1442" r:id="rId123"/>
    <p:sldId id="1446" r:id="rId124"/>
    <p:sldId id="1451" r:id="rId125"/>
    <p:sldId id="1596" r:id="rId126"/>
    <p:sldId id="1600" r:id="rId127"/>
    <p:sldId id="1601" r:id="rId128"/>
    <p:sldId id="1602" r:id="rId129"/>
    <p:sldId id="1603" r:id="rId130"/>
    <p:sldId id="1604" r:id="rId131"/>
    <p:sldId id="1605" r:id="rId132"/>
    <p:sldId id="1606" r:id="rId133"/>
    <p:sldId id="1607" r:id="rId134"/>
    <p:sldId id="1608" r:id="rId135"/>
    <p:sldId id="1609" r:id="rId136"/>
    <p:sldId id="1616" r:id="rId137"/>
    <p:sldId id="1610" r:id="rId138"/>
    <p:sldId id="1611" r:id="rId139"/>
    <p:sldId id="1612" r:id="rId140"/>
    <p:sldId id="1613" r:id="rId141"/>
    <p:sldId id="1614" r:id="rId142"/>
    <p:sldId id="1615" r:id="rId143"/>
    <p:sldId id="1617" r:id="rId144"/>
    <p:sldId id="1618" r:id="rId145"/>
    <p:sldId id="1619" r:id="rId146"/>
    <p:sldId id="1620" r:id="rId147"/>
    <p:sldId id="1621" r:id="rId148"/>
    <p:sldId id="1622" r:id="rId149"/>
    <p:sldId id="1623" r:id="rId150"/>
    <p:sldId id="1624" r:id="rId151"/>
    <p:sldId id="1625" r:id="rId152"/>
    <p:sldId id="1626" r:id="rId153"/>
    <p:sldId id="1627" r:id="rId154"/>
    <p:sldId id="1628" r:id="rId155"/>
    <p:sldId id="1629" r:id="rId156"/>
    <p:sldId id="1630" r:id="rId157"/>
    <p:sldId id="1631" r:id="rId158"/>
    <p:sldId id="1632" r:id="rId159"/>
    <p:sldId id="1633" r:id="rId160"/>
    <p:sldId id="1634" r:id="rId161"/>
    <p:sldId id="1635" r:id="rId162"/>
    <p:sldId id="1636" r:id="rId163"/>
    <p:sldId id="1637" r:id="rId164"/>
    <p:sldId id="1638" r:id="rId165"/>
    <p:sldId id="1639" r:id="rId166"/>
    <p:sldId id="1640" r:id="rId167"/>
    <p:sldId id="1641" r:id="rId168"/>
    <p:sldId id="1642" r:id="rId169"/>
    <p:sldId id="1643" r:id="rId170"/>
    <p:sldId id="1644" r:id="rId171"/>
    <p:sldId id="1645" r:id="rId172"/>
    <p:sldId id="1646" r:id="rId173"/>
    <p:sldId id="1647" r:id="rId174"/>
    <p:sldId id="1648" r:id="rId175"/>
    <p:sldId id="1649" r:id="rId176"/>
    <p:sldId id="1650" r:id="rId177"/>
    <p:sldId id="1651" r:id="rId178"/>
    <p:sldId id="1652" r:id="rId179"/>
    <p:sldId id="1653" r:id="rId180"/>
    <p:sldId id="1654" r:id="rId181"/>
    <p:sldId id="1656" r:id="rId182"/>
    <p:sldId id="1657" r:id="rId183"/>
    <p:sldId id="1658" r:id="rId184"/>
    <p:sldId id="1659" r:id="rId185"/>
    <p:sldId id="1660" r:id="rId186"/>
    <p:sldId id="1661" r:id="rId187"/>
    <p:sldId id="1662" r:id="rId188"/>
    <p:sldId id="1663" r:id="rId189"/>
    <p:sldId id="1664" r:id="rId190"/>
    <p:sldId id="1665" r:id="rId191"/>
    <p:sldId id="1666" r:id="rId192"/>
    <p:sldId id="1667" r:id="rId193"/>
    <p:sldId id="1668" r:id="rId194"/>
    <p:sldId id="1669" r:id="rId195"/>
    <p:sldId id="1670" r:id="rId196"/>
    <p:sldId id="1671" r:id="rId197"/>
    <p:sldId id="1672" r:id="rId198"/>
    <p:sldId id="1673" r:id="rId199"/>
    <p:sldId id="1674" r:id="rId200"/>
    <p:sldId id="1675" r:id="rId201"/>
    <p:sldId id="1676" r:id="rId202"/>
    <p:sldId id="1677" r:id="rId203"/>
    <p:sldId id="1678" r:id="rId204"/>
    <p:sldId id="1679" r:id="rId205"/>
    <p:sldId id="1681" r:id="rId206"/>
    <p:sldId id="1682" r:id="rId207"/>
    <p:sldId id="1683" r:id="rId208"/>
    <p:sldId id="1684" r:id="rId209"/>
    <p:sldId id="1685" r:id="rId210"/>
  </p:sldIdLst>
  <p:sldSz cx="12434888" cy="6994525"/>
  <p:notesSz cx="6858000" cy="9144000"/>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White Template" id="{5B0B8DFF-57E5-4D4B-BA72-542DF84B8E2F}">
          <p14:sldIdLst>
            <p14:sldId id="1308"/>
          </p14:sldIdLst>
        </p14:section>
        <p14:section name="Summary Section" id="{C46E9A23-BB17-49B1-A771-08931FB7FE2D}">
          <p14:sldIdLst>
            <p14:sldId id="1717"/>
          </p14:sldIdLst>
        </p14:section>
        <p14:section name="Azure PaaS Overview" id="{6BD07EB8-8F1F-4954-B6B7-F149B833918F}">
          <p14:sldIdLst>
            <p14:sldId id="1352"/>
            <p14:sldId id="1718"/>
            <p14:sldId id="1719"/>
            <p14:sldId id="1690"/>
            <p14:sldId id="1688"/>
            <p14:sldId id="1689"/>
            <p14:sldId id="1692"/>
          </p14:sldIdLst>
        </p14:section>
        <p14:section name="App Service" id="{0EC2D5CE-F725-44B1-BA1D-33FDA7D5DA90}">
          <p14:sldIdLst>
            <p14:sldId id="1694"/>
            <p14:sldId id="1720"/>
            <p14:sldId id="1453"/>
            <p14:sldId id="1721"/>
            <p14:sldId id="1691"/>
            <p14:sldId id="1722"/>
            <p14:sldId id="1456"/>
            <p14:sldId id="1440"/>
            <p14:sldId id="1461"/>
            <p14:sldId id="1599"/>
            <p14:sldId id="1598"/>
            <p14:sldId id="1463"/>
          </p14:sldIdLst>
        </p14:section>
        <p14:section name="Service Fabric" id="{008F1E41-9C16-4740-97A9-67A3E998BDD7}">
          <p14:sldIdLst>
            <p14:sldId id="1340"/>
            <p14:sldId id="1368"/>
            <p14:sldId id="1374"/>
            <p14:sldId id="1415"/>
          </p14:sldIdLst>
        </p14:section>
        <p14:section name="SQL Database" id="{019CC40A-D8EC-4CEA-9455-35585C56104C}">
          <p14:sldIdLst>
            <p14:sldId id="1699"/>
            <p14:sldId id="1483"/>
            <p14:sldId id="1484"/>
            <p14:sldId id="1485"/>
            <p14:sldId id="1487"/>
          </p14:sldIdLst>
        </p14:section>
        <p14:section name="Container Service" id="{567D9A8F-5E21-4E24-9ED2-92DBB4082C2F}">
          <p14:sldIdLst>
            <p14:sldId id="1695"/>
            <p14:sldId id="1441"/>
            <p14:sldId id="1434"/>
            <p14:sldId id="1435"/>
          </p14:sldIdLst>
        </p14:section>
        <p14:section name="Notification Hubs" id="{C8920DA7-5933-47E3-BD7B-C0B63AA4AF10}">
          <p14:sldIdLst>
            <p14:sldId id="1696"/>
            <p14:sldId id="1476"/>
          </p14:sldIdLst>
        </p14:section>
        <p14:section name="Batch" id="{5BCCC7CE-FAD6-4D0C-8BD7-E5DAC25E30E9}">
          <p14:sldIdLst>
            <p14:sldId id="1697"/>
            <p14:sldId id="1411"/>
            <p14:sldId id="1413"/>
          </p14:sldIdLst>
        </p14:section>
        <p14:section name="Redis Cache" id="{2F5DBA78-903E-48D8-BCF2-9869598B8E8E}">
          <p14:sldIdLst>
            <p14:sldId id="1700"/>
            <p14:sldId id="1444"/>
            <p14:sldId id="1494"/>
            <p14:sldId id="1497"/>
          </p14:sldIdLst>
        </p14:section>
        <p14:section name="Cosmos DB" id="{B4808352-554A-4816-85EC-CB01AFB7FD64}">
          <p14:sldIdLst>
            <p14:sldId id="1701"/>
            <p14:sldId id="1723"/>
            <p14:sldId id="1724"/>
            <p14:sldId id="1725"/>
            <p14:sldId id="1726"/>
            <p14:sldId id="1727"/>
            <p14:sldId id="1728"/>
          </p14:sldIdLst>
        </p14:section>
        <p14:section name="Search" id="{5ED17204-55DE-4F1A-9F05-861A7DF0BD35}">
          <p14:sldIdLst>
            <p14:sldId id="1702"/>
            <p14:sldId id="1729"/>
            <p14:sldId id="1730"/>
          </p14:sldIdLst>
        </p14:section>
        <p14:section name="HDInsight" id="{9FD7B033-4BB0-4143-99D7-486A8522CB28}">
          <p14:sldIdLst>
            <p14:sldId id="1703"/>
            <p14:sldId id="1731"/>
            <p14:sldId id="1732"/>
            <p14:sldId id="1522"/>
          </p14:sldIdLst>
        </p14:section>
        <p14:section name="Machine Learning" id="{5582730D-BD27-4C70-BFA7-7A3DCFC9211A}">
          <p14:sldIdLst>
            <p14:sldId id="1704"/>
            <p14:sldId id="1733"/>
            <p14:sldId id="1734"/>
            <p14:sldId id="1735"/>
            <p14:sldId id="1530"/>
          </p14:sldIdLst>
        </p14:section>
        <p14:section name="Stream Analytics" id="{1778A4A5-B1FA-4792-A71A-F3D2DDC1CAD9}">
          <p14:sldIdLst>
            <p14:sldId id="1705"/>
            <p14:sldId id="1533"/>
          </p14:sldIdLst>
        </p14:section>
        <p14:section name="Data Factory" id="{9B3E75E7-AB5C-4C71-B165-3F563838B248}">
          <p14:sldIdLst>
            <p14:sldId id="1706"/>
            <p14:sldId id="1537"/>
          </p14:sldIdLst>
        </p14:section>
        <p14:section name="Data Lake STore" id="{A12D195D-E5C4-4027-8896-8110F5D04CFB}">
          <p14:sldIdLst>
            <p14:sldId id="1707"/>
            <p14:sldId id="1540"/>
          </p14:sldIdLst>
        </p14:section>
        <p14:section name="Data Lake Analytics" id="{6AE18490-1A91-441A-A355-E3CBAB24096C}">
          <p14:sldIdLst>
            <p14:sldId id="1708"/>
            <p14:sldId id="1543"/>
          </p14:sldIdLst>
        </p14:section>
        <p14:section name="IoT Hubs" id="{A0CE8758-2A69-45AB-B1A4-9CC1DE8425E3}">
          <p14:sldIdLst>
            <p14:sldId id="1709"/>
            <p14:sldId id="1553"/>
          </p14:sldIdLst>
        </p14:section>
        <p14:section name="Event Hubs" id="{A8E04229-A301-4841-910A-860B6D2572DE}">
          <p14:sldIdLst>
            <p14:sldId id="1710"/>
            <p14:sldId id="1554"/>
          </p14:sldIdLst>
        </p14:section>
        <p14:section name="Media Services" id="{9AFF906D-B6CC-44E6-BD09-7F20E1432024}">
          <p14:sldIdLst>
            <p14:sldId id="1711"/>
            <p14:sldId id="1559"/>
          </p14:sldIdLst>
        </p14:section>
        <p14:section name="CDN" id="{78FC6F54-FA6A-4F74-95D1-EED90FC97FB6}">
          <p14:sldIdLst>
            <p14:sldId id="1712"/>
            <p14:sldId id="1561"/>
            <p14:sldId id="1563"/>
          </p14:sldIdLst>
        </p14:section>
        <p14:section name="Storage Queues" id="{D127F27C-160D-4623-ADE5-55A94484FF8F}">
          <p14:sldIdLst>
            <p14:sldId id="1713"/>
            <p14:sldId id="1567"/>
          </p14:sldIdLst>
        </p14:section>
        <p14:section name="Relay" id="{561A67E6-287B-4FD6-B040-EA5C5A3C400B}">
          <p14:sldIdLst>
            <p14:sldId id="1714"/>
            <p14:sldId id="1573"/>
          </p14:sldIdLst>
        </p14:section>
        <p14:section name="Service Bus" id="{B1A43153-192A-4D8F-804D-34B061CE10E5}">
          <p14:sldIdLst>
            <p14:sldId id="1715"/>
            <p14:sldId id="1577"/>
            <p14:sldId id="1548"/>
          </p14:sldIdLst>
        </p14:section>
        <p14:section name="Conclusion" id="{B6120E6C-5DE8-44E8-BC4E-BE1619BAF0A0}">
          <p14:sldIdLst>
            <p14:sldId id="1680"/>
            <p14:sldId id="1326"/>
          </p14:sldIdLst>
        </p14:section>
        <p14:section name="Appendix" id="{297B226F-3F01-40E4-A4C1-EF0023C538F0}">
          <p14:sldIdLst>
            <p14:sldId id="1594"/>
            <p14:sldId id="1591"/>
            <p14:sldId id="1592"/>
            <p14:sldId id="1593"/>
            <p14:sldId id="1394"/>
            <p14:sldId id="1354"/>
            <p14:sldId id="1395"/>
            <p14:sldId id="1397"/>
            <p14:sldId id="1393"/>
            <p14:sldId id="1399"/>
            <p14:sldId id="1398"/>
          </p14:sldIdLst>
        </p14:section>
        <p14:section name="Cloud Services" id="{63EF783D-011B-49D6-8B9C-F01403BA60F7}">
          <p14:sldIdLst>
            <p14:sldId id="1402"/>
            <p14:sldId id="1400"/>
            <p14:sldId id="1403"/>
            <p14:sldId id="1405"/>
            <p14:sldId id="1404"/>
            <p14:sldId id="1406"/>
            <p14:sldId id="1407"/>
            <p14:sldId id="1408"/>
            <p14:sldId id="1409"/>
            <p14:sldId id="1410"/>
            <p14:sldId id="1355"/>
            <p14:sldId id="1442"/>
            <p14:sldId id="1446"/>
            <p14:sldId id="1451"/>
            <p14:sldId id="1596"/>
            <p14:sldId id="1600"/>
            <p14:sldId id="1601"/>
            <p14:sldId id="1602"/>
            <p14:sldId id="1603"/>
            <p14:sldId id="1604"/>
            <p14:sldId id="1605"/>
            <p14:sldId id="1606"/>
            <p14:sldId id="1607"/>
            <p14:sldId id="1608"/>
            <p14:sldId id="1609"/>
            <p14:sldId id="1616"/>
            <p14:sldId id="1610"/>
            <p14:sldId id="1611"/>
            <p14:sldId id="1612"/>
            <p14:sldId id="1613"/>
            <p14:sldId id="1614"/>
            <p14:sldId id="1615"/>
            <p14:sldId id="1617"/>
            <p14:sldId id="1618"/>
            <p14:sldId id="1619"/>
            <p14:sldId id="1620"/>
            <p14:sldId id="1621"/>
            <p14:sldId id="1622"/>
            <p14:sldId id="1623"/>
            <p14:sldId id="1624"/>
            <p14:sldId id="1625"/>
            <p14:sldId id="1626"/>
            <p14:sldId id="1627"/>
            <p14:sldId id="1628"/>
            <p14:sldId id="1629"/>
            <p14:sldId id="1630"/>
            <p14:sldId id="1631"/>
            <p14:sldId id="1632"/>
            <p14:sldId id="1633"/>
            <p14:sldId id="1634"/>
            <p14:sldId id="1635"/>
            <p14:sldId id="1636"/>
            <p14:sldId id="1637"/>
            <p14:sldId id="1638"/>
            <p14:sldId id="1639"/>
            <p14:sldId id="1640"/>
            <p14:sldId id="1641"/>
            <p14:sldId id="1642"/>
            <p14:sldId id="1643"/>
            <p14:sldId id="1644"/>
            <p14:sldId id="1645"/>
            <p14:sldId id="1646"/>
            <p14:sldId id="1647"/>
            <p14:sldId id="1648"/>
            <p14:sldId id="1649"/>
            <p14:sldId id="1650"/>
            <p14:sldId id="1651"/>
            <p14:sldId id="1652"/>
            <p14:sldId id="1653"/>
            <p14:sldId id="1654"/>
            <p14:sldId id="1656"/>
            <p14:sldId id="1657"/>
            <p14:sldId id="1658"/>
            <p14:sldId id="1659"/>
            <p14:sldId id="1660"/>
            <p14:sldId id="1661"/>
            <p14:sldId id="1662"/>
            <p14:sldId id="1663"/>
            <p14:sldId id="1664"/>
            <p14:sldId id="1665"/>
            <p14:sldId id="1666"/>
            <p14:sldId id="1667"/>
            <p14:sldId id="1668"/>
            <p14:sldId id="1669"/>
            <p14:sldId id="1670"/>
            <p14:sldId id="1671"/>
            <p14:sldId id="1672"/>
            <p14:sldId id="1673"/>
            <p14:sldId id="1674"/>
            <p14:sldId id="1675"/>
            <p14:sldId id="1676"/>
            <p14:sldId id="1677"/>
            <p14:sldId id="1678"/>
            <p14:sldId id="1679"/>
            <p14:sldId id="1681"/>
            <p14:sldId id="1682"/>
            <p14:sldId id="1683"/>
            <p14:sldId id="1684"/>
            <p14:sldId id="1685"/>
          </p14:sldIdLst>
        </p14:section>
      </p14:sectionLst>
    </p:ex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Saku Uchikawa" initials="SU" lastIdx="11" clrIdx="0"/>
  <p:cmAuthor id="1" name="Mary Feil-Jacobs" initials="MFJ" lastIdx="43" clrIdx="1"/>
  <p:cmAuthor id="2" name="Monica Lueder" initials="ML" lastIdx="22" clrIdx="2">
    <p:extLst>
      <p:ext uri="{19B8F6BF-5375-455C-9EA6-DF929625EA0E}">
        <p15:presenceInfo xmlns:p15="http://schemas.microsoft.com/office/powerpoint/2012/main" userId="S-1-5-21-2127521184-1604012920-1887927527-2598260" providerId="AD"/>
      </p:ext>
    </p:extLst>
  </p:cmAuthor>
  <p:cmAuthor id="3" name="Mary Feil-Jacobs" initials="MF" lastIdx="22" clrIdx="3">
    <p:extLst>
      <p:ext uri="{19B8F6BF-5375-455C-9EA6-DF929625EA0E}">
        <p15:presenceInfo xmlns:p15="http://schemas.microsoft.com/office/powerpoint/2012/main" userId="S-1-5-21-2127521184-1604012920-1887927527-65006" providerId="AD"/>
      </p:ext>
    </p:extLst>
  </p:cmAuthor>
  <p:cmAuthor id="4" name="Mark Grimes" initials="MG" lastIdx="1" clrIdx="4">
    <p:extLst>
      <p:ext uri="{19B8F6BF-5375-455C-9EA6-DF929625EA0E}">
        <p15:presenceInfo xmlns:p15="http://schemas.microsoft.com/office/powerpoint/2012/main" userId="S-1-5-21-124525095-708259637-1543119021-1085901" providerId="AD"/>
      </p:ext>
    </p:extLst>
  </p:cmAuthor>
  <p:cmAuthor id="5" name="Scott Knackstedt" initials="SK" lastIdx="7" clrIdx="5"/>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6F6F6F"/>
    <a:srgbClr val="0078D7"/>
    <a:srgbClr val="525252"/>
    <a:srgbClr val="FFFFFF"/>
    <a:srgbClr val="004B1C"/>
    <a:srgbClr val="004B50"/>
    <a:srgbClr val="002050"/>
    <a:srgbClr val="D83B01"/>
    <a:srgbClr val="73737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21912" autoAdjust="0"/>
    <p:restoredTop sz="87423" autoAdjust="0"/>
  </p:normalViewPr>
  <p:slideViewPr>
    <p:cSldViewPr snapToGrid="0">
      <p:cViewPr varScale="1">
        <p:scale>
          <a:sx n="78" d="100"/>
          <a:sy n="78" d="100"/>
        </p:scale>
        <p:origin x="108" y="48"/>
      </p:cViewPr>
      <p:guideLst/>
    </p:cSldViewPr>
  </p:slideViewPr>
  <p:outlineViewPr>
    <p:cViewPr>
      <p:scale>
        <a:sx n="33" d="100"/>
        <a:sy n="33" d="100"/>
      </p:scale>
      <p:origin x="0" y="0"/>
    </p:cViewPr>
  </p:outlineViewPr>
  <p:notesTextViewPr>
    <p:cViewPr>
      <p:scale>
        <a:sx n="100" d="100"/>
        <a:sy n="100" d="100"/>
      </p:scale>
      <p:origin x="0" y="0"/>
    </p:cViewPr>
  </p:notesTextViewPr>
  <p:sorterViewPr>
    <p:cViewPr varScale="1">
      <p:scale>
        <a:sx n="100" d="100"/>
        <a:sy n="100" d="100"/>
      </p:scale>
      <p:origin x="0" y="0"/>
    </p:cViewPr>
  </p:sorterViewPr>
  <p:notesViewPr>
    <p:cSldViewPr snapToGrid="0" showGuides="1">
      <p:cViewPr varScale="1">
        <p:scale>
          <a:sx n="83" d="100"/>
          <a:sy n="83" d="100"/>
        </p:scale>
        <p:origin x="3036" y="96"/>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17" Type="http://schemas.openxmlformats.org/officeDocument/2006/relationships/slide" Target="slides/slide105.xml"/><Relationship Id="rId21" Type="http://schemas.openxmlformats.org/officeDocument/2006/relationships/slide" Target="slides/slide9.xml"/><Relationship Id="rId42" Type="http://schemas.openxmlformats.org/officeDocument/2006/relationships/slide" Target="slides/slide30.xml"/><Relationship Id="rId63" Type="http://schemas.openxmlformats.org/officeDocument/2006/relationships/slide" Target="slides/slide51.xml"/><Relationship Id="rId84" Type="http://schemas.openxmlformats.org/officeDocument/2006/relationships/slide" Target="slides/slide72.xml"/><Relationship Id="rId138" Type="http://schemas.openxmlformats.org/officeDocument/2006/relationships/slide" Target="slides/slide126.xml"/><Relationship Id="rId159" Type="http://schemas.openxmlformats.org/officeDocument/2006/relationships/slide" Target="slides/slide147.xml"/><Relationship Id="rId170" Type="http://schemas.openxmlformats.org/officeDocument/2006/relationships/slide" Target="slides/slide158.xml"/><Relationship Id="rId191" Type="http://schemas.openxmlformats.org/officeDocument/2006/relationships/slide" Target="slides/slide179.xml"/><Relationship Id="rId205" Type="http://schemas.openxmlformats.org/officeDocument/2006/relationships/slide" Target="slides/slide193.xml"/><Relationship Id="rId107" Type="http://schemas.openxmlformats.org/officeDocument/2006/relationships/slide" Target="slides/slide95.xml"/><Relationship Id="rId11" Type="http://schemas.openxmlformats.org/officeDocument/2006/relationships/slideMaster" Target="slideMasters/slideMaster8.xml"/><Relationship Id="rId32" Type="http://schemas.openxmlformats.org/officeDocument/2006/relationships/slide" Target="slides/slide20.xml"/><Relationship Id="rId53" Type="http://schemas.openxmlformats.org/officeDocument/2006/relationships/slide" Target="slides/slide41.xml"/><Relationship Id="rId74" Type="http://schemas.openxmlformats.org/officeDocument/2006/relationships/slide" Target="slides/slide62.xml"/><Relationship Id="rId128" Type="http://schemas.openxmlformats.org/officeDocument/2006/relationships/slide" Target="slides/slide116.xml"/><Relationship Id="rId149" Type="http://schemas.openxmlformats.org/officeDocument/2006/relationships/slide" Target="slides/slide137.xml"/><Relationship Id="rId5" Type="http://schemas.openxmlformats.org/officeDocument/2006/relationships/slideMaster" Target="slideMasters/slideMaster2.xml"/><Relationship Id="rId90" Type="http://schemas.openxmlformats.org/officeDocument/2006/relationships/slide" Target="slides/slide78.xml"/><Relationship Id="rId95" Type="http://schemas.openxmlformats.org/officeDocument/2006/relationships/slide" Target="slides/slide83.xml"/><Relationship Id="rId160" Type="http://schemas.openxmlformats.org/officeDocument/2006/relationships/slide" Target="slides/slide148.xml"/><Relationship Id="rId165" Type="http://schemas.openxmlformats.org/officeDocument/2006/relationships/slide" Target="slides/slide153.xml"/><Relationship Id="rId181" Type="http://schemas.openxmlformats.org/officeDocument/2006/relationships/slide" Target="slides/slide169.xml"/><Relationship Id="rId186" Type="http://schemas.openxmlformats.org/officeDocument/2006/relationships/slide" Target="slides/slide174.xml"/><Relationship Id="rId216" Type="http://schemas.openxmlformats.org/officeDocument/2006/relationships/theme" Target="theme/theme1.xml"/><Relationship Id="rId211" Type="http://schemas.openxmlformats.org/officeDocument/2006/relationships/notesMaster" Target="notesMasters/notesMaster1.xml"/><Relationship Id="rId22" Type="http://schemas.openxmlformats.org/officeDocument/2006/relationships/slide" Target="slides/slide10.xml"/><Relationship Id="rId27" Type="http://schemas.openxmlformats.org/officeDocument/2006/relationships/slide" Target="slides/slide15.xml"/><Relationship Id="rId43" Type="http://schemas.openxmlformats.org/officeDocument/2006/relationships/slide" Target="slides/slide31.xml"/><Relationship Id="rId48" Type="http://schemas.openxmlformats.org/officeDocument/2006/relationships/slide" Target="slides/slide36.xml"/><Relationship Id="rId64" Type="http://schemas.openxmlformats.org/officeDocument/2006/relationships/slide" Target="slides/slide52.xml"/><Relationship Id="rId69" Type="http://schemas.openxmlformats.org/officeDocument/2006/relationships/slide" Target="slides/slide57.xml"/><Relationship Id="rId113" Type="http://schemas.openxmlformats.org/officeDocument/2006/relationships/slide" Target="slides/slide101.xml"/><Relationship Id="rId118" Type="http://schemas.openxmlformats.org/officeDocument/2006/relationships/slide" Target="slides/slide106.xml"/><Relationship Id="rId134" Type="http://schemas.openxmlformats.org/officeDocument/2006/relationships/slide" Target="slides/slide122.xml"/><Relationship Id="rId139" Type="http://schemas.openxmlformats.org/officeDocument/2006/relationships/slide" Target="slides/slide127.xml"/><Relationship Id="rId80" Type="http://schemas.openxmlformats.org/officeDocument/2006/relationships/slide" Target="slides/slide68.xml"/><Relationship Id="rId85" Type="http://schemas.openxmlformats.org/officeDocument/2006/relationships/slide" Target="slides/slide73.xml"/><Relationship Id="rId150" Type="http://schemas.openxmlformats.org/officeDocument/2006/relationships/slide" Target="slides/slide138.xml"/><Relationship Id="rId155" Type="http://schemas.openxmlformats.org/officeDocument/2006/relationships/slide" Target="slides/slide143.xml"/><Relationship Id="rId171" Type="http://schemas.openxmlformats.org/officeDocument/2006/relationships/slide" Target="slides/slide159.xml"/><Relationship Id="rId176" Type="http://schemas.openxmlformats.org/officeDocument/2006/relationships/slide" Target="slides/slide164.xml"/><Relationship Id="rId192" Type="http://schemas.openxmlformats.org/officeDocument/2006/relationships/slide" Target="slides/slide180.xml"/><Relationship Id="rId197" Type="http://schemas.openxmlformats.org/officeDocument/2006/relationships/slide" Target="slides/slide185.xml"/><Relationship Id="rId206" Type="http://schemas.openxmlformats.org/officeDocument/2006/relationships/slide" Target="slides/slide194.xml"/><Relationship Id="rId201" Type="http://schemas.openxmlformats.org/officeDocument/2006/relationships/slide" Target="slides/slide189.xml"/><Relationship Id="rId12" Type="http://schemas.openxmlformats.org/officeDocument/2006/relationships/slideMaster" Target="slideMasters/slideMaster9.xml"/><Relationship Id="rId17" Type="http://schemas.openxmlformats.org/officeDocument/2006/relationships/slide" Target="slides/slide5.xml"/><Relationship Id="rId33" Type="http://schemas.openxmlformats.org/officeDocument/2006/relationships/slide" Target="slides/slide21.xml"/><Relationship Id="rId38" Type="http://schemas.openxmlformats.org/officeDocument/2006/relationships/slide" Target="slides/slide26.xml"/><Relationship Id="rId59" Type="http://schemas.openxmlformats.org/officeDocument/2006/relationships/slide" Target="slides/slide47.xml"/><Relationship Id="rId103" Type="http://schemas.openxmlformats.org/officeDocument/2006/relationships/slide" Target="slides/slide91.xml"/><Relationship Id="rId108" Type="http://schemas.openxmlformats.org/officeDocument/2006/relationships/slide" Target="slides/slide96.xml"/><Relationship Id="rId124" Type="http://schemas.openxmlformats.org/officeDocument/2006/relationships/slide" Target="slides/slide112.xml"/><Relationship Id="rId129" Type="http://schemas.openxmlformats.org/officeDocument/2006/relationships/slide" Target="slides/slide117.xml"/><Relationship Id="rId54" Type="http://schemas.openxmlformats.org/officeDocument/2006/relationships/slide" Target="slides/slide42.xml"/><Relationship Id="rId70" Type="http://schemas.openxmlformats.org/officeDocument/2006/relationships/slide" Target="slides/slide58.xml"/><Relationship Id="rId75" Type="http://schemas.openxmlformats.org/officeDocument/2006/relationships/slide" Target="slides/slide63.xml"/><Relationship Id="rId91" Type="http://schemas.openxmlformats.org/officeDocument/2006/relationships/slide" Target="slides/slide79.xml"/><Relationship Id="rId96" Type="http://schemas.openxmlformats.org/officeDocument/2006/relationships/slide" Target="slides/slide84.xml"/><Relationship Id="rId140" Type="http://schemas.openxmlformats.org/officeDocument/2006/relationships/slide" Target="slides/slide128.xml"/><Relationship Id="rId145" Type="http://schemas.openxmlformats.org/officeDocument/2006/relationships/slide" Target="slides/slide133.xml"/><Relationship Id="rId161" Type="http://schemas.openxmlformats.org/officeDocument/2006/relationships/slide" Target="slides/slide149.xml"/><Relationship Id="rId166" Type="http://schemas.openxmlformats.org/officeDocument/2006/relationships/slide" Target="slides/slide154.xml"/><Relationship Id="rId182" Type="http://schemas.openxmlformats.org/officeDocument/2006/relationships/slide" Target="slides/slide170.xml"/><Relationship Id="rId187" Type="http://schemas.openxmlformats.org/officeDocument/2006/relationships/slide" Target="slides/slide175.xml"/><Relationship Id="rId217"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Master" Target="slideMasters/slideMaster3.xml"/><Relationship Id="rId212" Type="http://schemas.openxmlformats.org/officeDocument/2006/relationships/handoutMaster" Target="handoutMasters/handoutMaster1.xml"/><Relationship Id="rId23" Type="http://schemas.openxmlformats.org/officeDocument/2006/relationships/slide" Target="slides/slide11.xml"/><Relationship Id="rId28" Type="http://schemas.openxmlformats.org/officeDocument/2006/relationships/slide" Target="slides/slide16.xml"/><Relationship Id="rId49" Type="http://schemas.openxmlformats.org/officeDocument/2006/relationships/slide" Target="slides/slide37.xml"/><Relationship Id="rId114" Type="http://schemas.openxmlformats.org/officeDocument/2006/relationships/slide" Target="slides/slide102.xml"/><Relationship Id="rId119" Type="http://schemas.openxmlformats.org/officeDocument/2006/relationships/slide" Target="slides/slide107.xml"/><Relationship Id="rId44" Type="http://schemas.openxmlformats.org/officeDocument/2006/relationships/slide" Target="slides/slide32.xml"/><Relationship Id="rId60" Type="http://schemas.openxmlformats.org/officeDocument/2006/relationships/slide" Target="slides/slide48.xml"/><Relationship Id="rId65" Type="http://schemas.openxmlformats.org/officeDocument/2006/relationships/slide" Target="slides/slide53.xml"/><Relationship Id="rId81" Type="http://schemas.openxmlformats.org/officeDocument/2006/relationships/slide" Target="slides/slide69.xml"/><Relationship Id="rId86" Type="http://schemas.openxmlformats.org/officeDocument/2006/relationships/slide" Target="slides/slide74.xml"/><Relationship Id="rId130" Type="http://schemas.openxmlformats.org/officeDocument/2006/relationships/slide" Target="slides/slide118.xml"/><Relationship Id="rId135" Type="http://schemas.openxmlformats.org/officeDocument/2006/relationships/slide" Target="slides/slide123.xml"/><Relationship Id="rId151" Type="http://schemas.openxmlformats.org/officeDocument/2006/relationships/slide" Target="slides/slide139.xml"/><Relationship Id="rId156" Type="http://schemas.openxmlformats.org/officeDocument/2006/relationships/slide" Target="slides/slide144.xml"/><Relationship Id="rId177" Type="http://schemas.openxmlformats.org/officeDocument/2006/relationships/slide" Target="slides/slide165.xml"/><Relationship Id="rId198" Type="http://schemas.openxmlformats.org/officeDocument/2006/relationships/slide" Target="slides/slide186.xml"/><Relationship Id="rId172" Type="http://schemas.openxmlformats.org/officeDocument/2006/relationships/slide" Target="slides/slide160.xml"/><Relationship Id="rId193" Type="http://schemas.openxmlformats.org/officeDocument/2006/relationships/slide" Target="slides/slide181.xml"/><Relationship Id="rId202" Type="http://schemas.openxmlformats.org/officeDocument/2006/relationships/slide" Target="slides/slide190.xml"/><Relationship Id="rId207" Type="http://schemas.openxmlformats.org/officeDocument/2006/relationships/slide" Target="slides/slide195.xml"/><Relationship Id="rId13" Type="http://schemas.openxmlformats.org/officeDocument/2006/relationships/slide" Target="slides/slide1.xml"/><Relationship Id="rId18" Type="http://schemas.openxmlformats.org/officeDocument/2006/relationships/slide" Target="slides/slide6.xml"/><Relationship Id="rId39" Type="http://schemas.openxmlformats.org/officeDocument/2006/relationships/slide" Target="slides/slide27.xml"/><Relationship Id="rId109" Type="http://schemas.openxmlformats.org/officeDocument/2006/relationships/slide" Target="slides/slide97.xml"/><Relationship Id="rId34" Type="http://schemas.openxmlformats.org/officeDocument/2006/relationships/slide" Target="slides/slide22.xml"/><Relationship Id="rId50" Type="http://schemas.openxmlformats.org/officeDocument/2006/relationships/slide" Target="slides/slide38.xml"/><Relationship Id="rId55" Type="http://schemas.openxmlformats.org/officeDocument/2006/relationships/slide" Target="slides/slide43.xml"/><Relationship Id="rId76" Type="http://schemas.openxmlformats.org/officeDocument/2006/relationships/slide" Target="slides/slide64.xml"/><Relationship Id="rId97" Type="http://schemas.openxmlformats.org/officeDocument/2006/relationships/slide" Target="slides/slide85.xml"/><Relationship Id="rId104" Type="http://schemas.openxmlformats.org/officeDocument/2006/relationships/slide" Target="slides/slide92.xml"/><Relationship Id="rId120" Type="http://schemas.openxmlformats.org/officeDocument/2006/relationships/slide" Target="slides/slide108.xml"/><Relationship Id="rId125" Type="http://schemas.openxmlformats.org/officeDocument/2006/relationships/slide" Target="slides/slide113.xml"/><Relationship Id="rId141" Type="http://schemas.openxmlformats.org/officeDocument/2006/relationships/slide" Target="slides/slide129.xml"/><Relationship Id="rId146" Type="http://schemas.openxmlformats.org/officeDocument/2006/relationships/slide" Target="slides/slide134.xml"/><Relationship Id="rId167" Type="http://schemas.openxmlformats.org/officeDocument/2006/relationships/slide" Target="slides/slide155.xml"/><Relationship Id="rId188" Type="http://schemas.openxmlformats.org/officeDocument/2006/relationships/slide" Target="slides/slide176.xml"/><Relationship Id="rId7" Type="http://schemas.openxmlformats.org/officeDocument/2006/relationships/slideMaster" Target="slideMasters/slideMaster4.xml"/><Relationship Id="rId71" Type="http://schemas.openxmlformats.org/officeDocument/2006/relationships/slide" Target="slides/slide59.xml"/><Relationship Id="rId92" Type="http://schemas.openxmlformats.org/officeDocument/2006/relationships/slide" Target="slides/slide80.xml"/><Relationship Id="rId162" Type="http://schemas.openxmlformats.org/officeDocument/2006/relationships/slide" Target="slides/slide150.xml"/><Relationship Id="rId183" Type="http://schemas.openxmlformats.org/officeDocument/2006/relationships/slide" Target="slides/slide171.xml"/><Relationship Id="rId213" Type="http://schemas.openxmlformats.org/officeDocument/2006/relationships/commentAuthors" Target="commentAuthors.xml"/><Relationship Id="rId218" Type="http://schemas.microsoft.com/office/2016/11/relationships/changesInfo" Target="changesInfos/changesInfo1.xml"/><Relationship Id="rId2" Type="http://schemas.openxmlformats.org/officeDocument/2006/relationships/customXml" Target="../customXml/item2.xml"/><Relationship Id="rId29" Type="http://schemas.openxmlformats.org/officeDocument/2006/relationships/slide" Target="slides/slide17.xml"/><Relationship Id="rId24" Type="http://schemas.openxmlformats.org/officeDocument/2006/relationships/slide" Target="slides/slide12.xml"/><Relationship Id="rId40" Type="http://schemas.openxmlformats.org/officeDocument/2006/relationships/slide" Target="slides/slide28.xml"/><Relationship Id="rId45" Type="http://schemas.openxmlformats.org/officeDocument/2006/relationships/slide" Target="slides/slide33.xml"/><Relationship Id="rId66" Type="http://schemas.openxmlformats.org/officeDocument/2006/relationships/slide" Target="slides/slide54.xml"/><Relationship Id="rId87" Type="http://schemas.openxmlformats.org/officeDocument/2006/relationships/slide" Target="slides/slide75.xml"/><Relationship Id="rId110" Type="http://schemas.openxmlformats.org/officeDocument/2006/relationships/slide" Target="slides/slide98.xml"/><Relationship Id="rId115" Type="http://schemas.openxmlformats.org/officeDocument/2006/relationships/slide" Target="slides/slide103.xml"/><Relationship Id="rId131" Type="http://schemas.openxmlformats.org/officeDocument/2006/relationships/slide" Target="slides/slide119.xml"/><Relationship Id="rId136" Type="http://schemas.openxmlformats.org/officeDocument/2006/relationships/slide" Target="slides/slide124.xml"/><Relationship Id="rId157" Type="http://schemas.openxmlformats.org/officeDocument/2006/relationships/slide" Target="slides/slide145.xml"/><Relationship Id="rId178" Type="http://schemas.openxmlformats.org/officeDocument/2006/relationships/slide" Target="slides/slide166.xml"/><Relationship Id="rId61" Type="http://schemas.openxmlformats.org/officeDocument/2006/relationships/slide" Target="slides/slide49.xml"/><Relationship Id="rId82" Type="http://schemas.openxmlformats.org/officeDocument/2006/relationships/slide" Target="slides/slide70.xml"/><Relationship Id="rId152" Type="http://schemas.openxmlformats.org/officeDocument/2006/relationships/slide" Target="slides/slide140.xml"/><Relationship Id="rId173" Type="http://schemas.openxmlformats.org/officeDocument/2006/relationships/slide" Target="slides/slide161.xml"/><Relationship Id="rId194" Type="http://schemas.openxmlformats.org/officeDocument/2006/relationships/slide" Target="slides/slide182.xml"/><Relationship Id="rId199" Type="http://schemas.openxmlformats.org/officeDocument/2006/relationships/slide" Target="slides/slide187.xml"/><Relationship Id="rId203" Type="http://schemas.openxmlformats.org/officeDocument/2006/relationships/slide" Target="slides/slide191.xml"/><Relationship Id="rId208" Type="http://schemas.openxmlformats.org/officeDocument/2006/relationships/slide" Target="slides/slide196.xml"/><Relationship Id="rId19" Type="http://schemas.openxmlformats.org/officeDocument/2006/relationships/slide" Target="slides/slide7.xml"/><Relationship Id="rId14" Type="http://schemas.openxmlformats.org/officeDocument/2006/relationships/slide" Target="slides/slide2.xml"/><Relationship Id="rId30" Type="http://schemas.openxmlformats.org/officeDocument/2006/relationships/slide" Target="slides/slide18.xml"/><Relationship Id="rId35" Type="http://schemas.openxmlformats.org/officeDocument/2006/relationships/slide" Target="slides/slide23.xml"/><Relationship Id="rId56" Type="http://schemas.openxmlformats.org/officeDocument/2006/relationships/slide" Target="slides/slide44.xml"/><Relationship Id="rId77" Type="http://schemas.openxmlformats.org/officeDocument/2006/relationships/slide" Target="slides/slide65.xml"/><Relationship Id="rId100" Type="http://schemas.openxmlformats.org/officeDocument/2006/relationships/slide" Target="slides/slide88.xml"/><Relationship Id="rId105" Type="http://schemas.openxmlformats.org/officeDocument/2006/relationships/slide" Target="slides/slide93.xml"/><Relationship Id="rId126" Type="http://schemas.openxmlformats.org/officeDocument/2006/relationships/slide" Target="slides/slide114.xml"/><Relationship Id="rId147" Type="http://schemas.openxmlformats.org/officeDocument/2006/relationships/slide" Target="slides/slide135.xml"/><Relationship Id="rId168" Type="http://schemas.openxmlformats.org/officeDocument/2006/relationships/slide" Target="slides/slide156.xml"/><Relationship Id="rId8" Type="http://schemas.openxmlformats.org/officeDocument/2006/relationships/slideMaster" Target="slideMasters/slideMaster5.xml"/><Relationship Id="rId51" Type="http://schemas.openxmlformats.org/officeDocument/2006/relationships/slide" Target="slides/slide39.xml"/><Relationship Id="rId72" Type="http://schemas.openxmlformats.org/officeDocument/2006/relationships/slide" Target="slides/slide60.xml"/><Relationship Id="rId93" Type="http://schemas.openxmlformats.org/officeDocument/2006/relationships/slide" Target="slides/slide81.xml"/><Relationship Id="rId98" Type="http://schemas.openxmlformats.org/officeDocument/2006/relationships/slide" Target="slides/slide86.xml"/><Relationship Id="rId121" Type="http://schemas.openxmlformats.org/officeDocument/2006/relationships/slide" Target="slides/slide109.xml"/><Relationship Id="rId142" Type="http://schemas.openxmlformats.org/officeDocument/2006/relationships/slide" Target="slides/slide130.xml"/><Relationship Id="rId163" Type="http://schemas.openxmlformats.org/officeDocument/2006/relationships/slide" Target="slides/slide151.xml"/><Relationship Id="rId184" Type="http://schemas.openxmlformats.org/officeDocument/2006/relationships/slide" Target="slides/slide172.xml"/><Relationship Id="rId189" Type="http://schemas.openxmlformats.org/officeDocument/2006/relationships/slide" Target="slides/slide177.xml"/><Relationship Id="rId3" Type="http://schemas.openxmlformats.org/officeDocument/2006/relationships/customXml" Target="../customXml/item3.xml"/><Relationship Id="rId214" Type="http://schemas.openxmlformats.org/officeDocument/2006/relationships/presProps" Target="presProps.xml"/><Relationship Id="rId25" Type="http://schemas.openxmlformats.org/officeDocument/2006/relationships/slide" Target="slides/slide13.xml"/><Relationship Id="rId46" Type="http://schemas.openxmlformats.org/officeDocument/2006/relationships/slide" Target="slides/slide34.xml"/><Relationship Id="rId67" Type="http://schemas.openxmlformats.org/officeDocument/2006/relationships/slide" Target="slides/slide55.xml"/><Relationship Id="rId116" Type="http://schemas.openxmlformats.org/officeDocument/2006/relationships/slide" Target="slides/slide104.xml"/><Relationship Id="rId137" Type="http://schemas.openxmlformats.org/officeDocument/2006/relationships/slide" Target="slides/slide125.xml"/><Relationship Id="rId158" Type="http://schemas.openxmlformats.org/officeDocument/2006/relationships/slide" Target="slides/slide146.xml"/><Relationship Id="rId20" Type="http://schemas.openxmlformats.org/officeDocument/2006/relationships/slide" Target="slides/slide8.xml"/><Relationship Id="rId41" Type="http://schemas.openxmlformats.org/officeDocument/2006/relationships/slide" Target="slides/slide29.xml"/><Relationship Id="rId62" Type="http://schemas.openxmlformats.org/officeDocument/2006/relationships/slide" Target="slides/slide50.xml"/><Relationship Id="rId83" Type="http://schemas.openxmlformats.org/officeDocument/2006/relationships/slide" Target="slides/slide71.xml"/><Relationship Id="rId88" Type="http://schemas.openxmlformats.org/officeDocument/2006/relationships/slide" Target="slides/slide76.xml"/><Relationship Id="rId111" Type="http://schemas.openxmlformats.org/officeDocument/2006/relationships/slide" Target="slides/slide99.xml"/><Relationship Id="rId132" Type="http://schemas.openxmlformats.org/officeDocument/2006/relationships/slide" Target="slides/slide120.xml"/><Relationship Id="rId153" Type="http://schemas.openxmlformats.org/officeDocument/2006/relationships/slide" Target="slides/slide141.xml"/><Relationship Id="rId174" Type="http://schemas.openxmlformats.org/officeDocument/2006/relationships/slide" Target="slides/slide162.xml"/><Relationship Id="rId179" Type="http://schemas.openxmlformats.org/officeDocument/2006/relationships/slide" Target="slides/slide167.xml"/><Relationship Id="rId195" Type="http://schemas.openxmlformats.org/officeDocument/2006/relationships/slide" Target="slides/slide183.xml"/><Relationship Id="rId209" Type="http://schemas.openxmlformats.org/officeDocument/2006/relationships/slide" Target="slides/slide197.xml"/><Relationship Id="rId190" Type="http://schemas.openxmlformats.org/officeDocument/2006/relationships/slide" Target="slides/slide178.xml"/><Relationship Id="rId204" Type="http://schemas.openxmlformats.org/officeDocument/2006/relationships/slide" Target="slides/slide192.xml"/><Relationship Id="rId15" Type="http://schemas.openxmlformats.org/officeDocument/2006/relationships/slide" Target="slides/slide3.xml"/><Relationship Id="rId36" Type="http://schemas.openxmlformats.org/officeDocument/2006/relationships/slide" Target="slides/slide24.xml"/><Relationship Id="rId57" Type="http://schemas.openxmlformats.org/officeDocument/2006/relationships/slide" Target="slides/slide45.xml"/><Relationship Id="rId106" Type="http://schemas.openxmlformats.org/officeDocument/2006/relationships/slide" Target="slides/slide94.xml"/><Relationship Id="rId127" Type="http://schemas.openxmlformats.org/officeDocument/2006/relationships/slide" Target="slides/slide115.xml"/><Relationship Id="rId10" Type="http://schemas.openxmlformats.org/officeDocument/2006/relationships/slideMaster" Target="slideMasters/slideMaster7.xml"/><Relationship Id="rId31" Type="http://schemas.openxmlformats.org/officeDocument/2006/relationships/slide" Target="slides/slide19.xml"/><Relationship Id="rId52" Type="http://schemas.openxmlformats.org/officeDocument/2006/relationships/slide" Target="slides/slide40.xml"/><Relationship Id="rId73" Type="http://schemas.openxmlformats.org/officeDocument/2006/relationships/slide" Target="slides/slide61.xml"/><Relationship Id="rId78" Type="http://schemas.openxmlformats.org/officeDocument/2006/relationships/slide" Target="slides/slide66.xml"/><Relationship Id="rId94" Type="http://schemas.openxmlformats.org/officeDocument/2006/relationships/slide" Target="slides/slide82.xml"/><Relationship Id="rId99" Type="http://schemas.openxmlformats.org/officeDocument/2006/relationships/slide" Target="slides/slide87.xml"/><Relationship Id="rId101" Type="http://schemas.openxmlformats.org/officeDocument/2006/relationships/slide" Target="slides/slide89.xml"/><Relationship Id="rId122" Type="http://schemas.openxmlformats.org/officeDocument/2006/relationships/slide" Target="slides/slide110.xml"/><Relationship Id="rId143" Type="http://schemas.openxmlformats.org/officeDocument/2006/relationships/slide" Target="slides/slide131.xml"/><Relationship Id="rId148" Type="http://schemas.openxmlformats.org/officeDocument/2006/relationships/slide" Target="slides/slide136.xml"/><Relationship Id="rId164" Type="http://schemas.openxmlformats.org/officeDocument/2006/relationships/slide" Target="slides/slide152.xml"/><Relationship Id="rId169" Type="http://schemas.openxmlformats.org/officeDocument/2006/relationships/slide" Target="slides/slide157.xml"/><Relationship Id="rId185" Type="http://schemas.openxmlformats.org/officeDocument/2006/relationships/slide" Target="slides/slide173.xml"/><Relationship Id="rId4" Type="http://schemas.openxmlformats.org/officeDocument/2006/relationships/slideMaster" Target="slideMasters/slideMaster1.xml"/><Relationship Id="rId9" Type="http://schemas.openxmlformats.org/officeDocument/2006/relationships/slideMaster" Target="slideMasters/slideMaster6.xml"/><Relationship Id="rId180" Type="http://schemas.openxmlformats.org/officeDocument/2006/relationships/slide" Target="slides/slide168.xml"/><Relationship Id="rId210" Type="http://schemas.openxmlformats.org/officeDocument/2006/relationships/slide" Target="slides/slide198.xml"/><Relationship Id="rId215" Type="http://schemas.openxmlformats.org/officeDocument/2006/relationships/viewProps" Target="viewProps.xml"/><Relationship Id="rId26" Type="http://schemas.openxmlformats.org/officeDocument/2006/relationships/slide" Target="slides/slide14.xml"/><Relationship Id="rId47" Type="http://schemas.openxmlformats.org/officeDocument/2006/relationships/slide" Target="slides/slide35.xml"/><Relationship Id="rId68" Type="http://schemas.openxmlformats.org/officeDocument/2006/relationships/slide" Target="slides/slide56.xml"/><Relationship Id="rId89" Type="http://schemas.openxmlformats.org/officeDocument/2006/relationships/slide" Target="slides/slide77.xml"/><Relationship Id="rId112" Type="http://schemas.openxmlformats.org/officeDocument/2006/relationships/slide" Target="slides/slide100.xml"/><Relationship Id="rId133" Type="http://schemas.openxmlformats.org/officeDocument/2006/relationships/slide" Target="slides/slide121.xml"/><Relationship Id="rId154" Type="http://schemas.openxmlformats.org/officeDocument/2006/relationships/slide" Target="slides/slide142.xml"/><Relationship Id="rId175" Type="http://schemas.openxmlformats.org/officeDocument/2006/relationships/slide" Target="slides/slide163.xml"/><Relationship Id="rId196" Type="http://schemas.openxmlformats.org/officeDocument/2006/relationships/slide" Target="slides/slide184.xml"/><Relationship Id="rId200" Type="http://schemas.openxmlformats.org/officeDocument/2006/relationships/slide" Target="slides/slide188.xml"/><Relationship Id="rId16" Type="http://schemas.openxmlformats.org/officeDocument/2006/relationships/slide" Target="slides/slide4.xml"/><Relationship Id="rId37" Type="http://schemas.openxmlformats.org/officeDocument/2006/relationships/slide" Target="slides/slide25.xml"/><Relationship Id="rId58" Type="http://schemas.openxmlformats.org/officeDocument/2006/relationships/slide" Target="slides/slide46.xml"/><Relationship Id="rId79" Type="http://schemas.openxmlformats.org/officeDocument/2006/relationships/slide" Target="slides/slide67.xml"/><Relationship Id="rId102" Type="http://schemas.openxmlformats.org/officeDocument/2006/relationships/slide" Target="slides/slide90.xml"/><Relationship Id="rId123" Type="http://schemas.openxmlformats.org/officeDocument/2006/relationships/slide" Target="slides/slide111.xml"/><Relationship Id="rId144" Type="http://schemas.openxmlformats.org/officeDocument/2006/relationships/slide" Target="slides/slide132.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Mark Grimes" userId="b58058b7-2ab8-4142-95e7-f7e306e81118" providerId="ADAL" clId="{8E86392B-E1E5-4EF2-9B02-2B76987EC470}"/>
  </pc:docChgLst>
  <pc:docChgLst>
    <pc:chgData name="Simon Gurevich" userId="87fdd597-9ec7-4e43-9066-c30e4b4be151" providerId="ADAL" clId="{641A3AD7-E3C4-4AC3-AE96-648FC88EA990}"/>
    <pc:docChg chg="undo redo modSld">
      <pc:chgData name="Simon Gurevich" userId="87fdd597-9ec7-4e43-9066-c30e4b4be151" providerId="ADAL" clId="{641A3AD7-E3C4-4AC3-AE96-648FC88EA990}" dt="2018-01-10T04:12:30.874" v="28" actId="20577"/>
      <pc:docMkLst>
        <pc:docMk/>
      </pc:docMkLst>
      <pc:sldChg chg="modSp">
        <pc:chgData name="Simon Gurevich" userId="87fdd597-9ec7-4e43-9066-c30e4b4be151" providerId="ADAL" clId="{641A3AD7-E3C4-4AC3-AE96-648FC88EA990}" dt="2018-01-10T04:11:47.052" v="25" actId="20577"/>
        <pc:sldMkLst>
          <pc:docMk/>
          <pc:sldMk cId="2760001666" sldId="1484"/>
        </pc:sldMkLst>
        <pc:graphicFrameChg chg="modGraphic">
          <ac:chgData name="Simon Gurevich" userId="87fdd597-9ec7-4e43-9066-c30e4b4be151" providerId="ADAL" clId="{641A3AD7-E3C4-4AC3-AE96-648FC88EA990}" dt="2018-01-10T04:11:47.052" v="25" actId="20577"/>
          <ac:graphicFrameMkLst>
            <pc:docMk/>
            <pc:sldMk cId="2760001666" sldId="1484"/>
            <ac:graphicFrameMk id="7" creationId="{00000000-0000-0000-0000-000000000000}"/>
          </ac:graphicFrameMkLst>
        </pc:graphicFrameChg>
      </pc:sldChg>
      <pc:sldChg chg="modSp">
        <pc:chgData name="Simon Gurevich" userId="87fdd597-9ec7-4e43-9066-c30e4b4be151" providerId="ADAL" clId="{641A3AD7-E3C4-4AC3-AE96-648FC88EA990}" dt="2018-01-10T04:12:30.874" v="28" actId="20577"/>
        <pc:sldMkLst>
          <pc:docMk/>
          <pc:sldMk cId="3208686743" sldId="1487"/>
        </pc:sldMkLst>
        <pc:spChg chg="mod">
          <ac:chgData name="Simon Gurevich" userId="87fdd597-9ec7-4e43-9066-c30e4b4be151" providerId="ADAL" clId="{641A3AD7-E3C4-4AC3-AE96-648FC88EA990}" dt="2018-01-04T05:15:01.999" v="20" actId="20577"/>
          <ac:spMkLst>
            <pc:docMk/>
            <pc:sldMk cId="3208686743" sldId="1487"/>
            <ac:spMk id="2" creationId="{00000000-0000-0000-0000-000000000000}"/>
          </ac:spMkLst>
        </pc:spChg>
        <pc:spChg chg="mod">
          <ac:chgData name="Simon Gurevich" userId="87fdd597-9ec7-4e43-9066-c30e4b4be151" providerId="ADAL" clId="{641A3AD7-E3C4-4AC3-AE96-648FC88EA990}" dt="2018-01-10T04:12:30.874" v="28" actId="20577"/>
          <ac:spMkLst>
            <pc:docMk/>
            <pc:sldMk cId="3208686743" sldId="1487"/>
            <ac:spMk id="6" creationId="{00000000-0000-0000-0000-000000000000}"/>
          </ac:spMkLst>
        </pc:spChg>
      </pc:sldChg>
      <pc:sldChg chg="modSp">
        <pc:chgData name="Simon Gurevich" userId="87fdd597-9ec7-4e43-9066-c30e4b4be151" providerId="ADAL" clId="{641A3AD7-E3C4-4AC3-AE96-648FC88EA990}" dt="2018-01-04T05:16:12.433" v="22" actId="20577"/>
        <pc:sldMkLst>
          <pc:docMk/>
          <pc:sldMk cId="4234517086" sldId="1680"/>
        </pc:sldMkLst>
        <pc:spChg chg="mod">
          <ac:chgData name="Simon Gurevich" userId="87fdd597-9ec7-4e43-9066-c30e4b4be151" providerId="ADAL" clId="{641A3AD7-E3C4-4AC3-AE96-648FC88EA990}" dt="2018-01-04T05:16:12.433" v="22" actId="20577"/>
          <ac:spMkLst>
            <pc:docMk/>
            <pc:sldMk cId="4234517086" sldId="1680"/>
            <ac:spMk id="3" creationId="{00000000-0000-0000-0000-000000000000}"/>
          </ac:spMkLst>
        </pc:spChg>
      </pc:sldChg>
      <pc:sldChg chg="modSp">
        <pc:chgData name="Simon Gurevich" userId="87fdd597-9ec7-4e43-9066-c30e4b4be151" providerId="ADAL" clId="{641A3AD7-E3C4-4AC3-AE96-648FC88EA990}" dt="2018-01-04T05:14:28.590" v="5" actId="20577"/>
        <pc:sldMkLst>
          <pc:docMk/>
          <pc:sldMk cId="1175728852" sldId="1694"/>
        </pc:sldMkLst>
        <pc:spChg chg="mod">
          <ac:chgData name="Simon Gurevich" userId="87fdd597-9ec7-4e43-9066-c30e4b4be151" providerId="ADAL" clId="{641A3AD7-E3C4-4AC3-AE96-648FC88EA990}" dt="2018-01-04T05:14:28.590" v="5" actId="20577"/>
          <ac:spMkLst>
            <pc:docMk/>
            <pc:sldMk cId="1175728852" sldId="1694"/>
            <ac:spMk id="2" creationId="{00000000-0000-0000-0000-000000000000}"/>
          </ac:spMkLst>
        </pc:spChg>
      </pc:sldChg>
      <pc:sldChg chg="modSp">
        <pc:chgData name="Simon Gurevich" userId="87fdd597-9ec7-4e43-9066-c30e4b4be151" providerId="ADAL" clId="{641A3AD7-E3C4-4AC3-AE96-648FC88EA990}" dt="2018-01-04T05:14:45.027" v="14" actId="20577"/>
        <pc:sldMkLst>
          <pc:docMk/>
          <pc:sldMk cId="2853656906" sldId="1699"/>
        </pc:sldMkLst>
        <pc:spChg chg="mod">
          <ac:chgData name="Simon Gurevich" userId="87fdd597-9ec7-4e43-9066-c30e4b4be151" providerId="ADAL" clId="{641A3AD7-E3C4-4AC3-AE96-648FC88EA990}" dt="2018-01-04T05:14:45.027" v="14" actId="20577"/>
          <ac:spMkLst>
            <pc:docMk/>
            <pc:sldMk cId="2853656906" sldId="1699"/>
            <ac:spMk id="2" creationId="{00000000-0000-0000-0000-000000000000}"/>
          </ac:spMkLst>
        </pc:spChg>
      </pc:sldChg>
      <pc:sldChg chg="modSp">
        <pc:chgData name="Simon Gurevich" userId="87fdd597-9ec7-4e43-9066-c30e4b4be151" providerId="ADAL" clId="{641A3AD7-E3C4-4AC3-AE96-648FC88EA990}" dt="2018-01-04T05:15:35.811" v="21" actId="20577"/>
        <pc:sldMkLst>
          <pc:docMk/>
          <pc:sldMk cId="1299594192" sldId="1709"/>
        </pc:sldMkLst>
        <pc:spChg chg="mod">
          <ac:chgData name="Simon Gurevich" userId="87fdd597-9ec7-4e43-9066-c30e4b4be151" providerId="ADAL" clId="{641A3AD7-E3C4-4AC3-AE96-648FC88EA990}" dt="2018-01-04T05:15:35.811" v="21" actId="20577"/>
          <ac:spMkLst>
            <pc:docMk/>
            <pc:sldMk cId="1299594192" sldId="1709"/>
            <ac:spMk id="2" creationId="{00000000-0000-0000-0000-000000000000}"/>
          </ac:spMkLst>
        </pc:spChg>
      </pc:sldChg>
    </pc:docChg>
  </pc:docChgLst>
  <pc:docChgLst>
    <pc:chgData name="Mark Grimes" userId="b58058b7-2ab8-4142-95e7-f7e306e81118" providerId="ADAL" clId="{B8EB511D-5515-4991-A432-A1888E903984}"/>
    <pc:docChg chg="custSel addSld delSld modSld sldOrd modMainMaster addSection modSection">
      <pc:chgData name="Mark Grimes" userId="b58058b7-2ab8-4142-95e7-f7e306e81118" providerId="ADAL" clId="{B8EB511D-5515-4991-A432-A1888E903984}" dt="2017-12-27T19:00:04.420" v="2524" actId="20577"/>
      <pc:docMkLst>
        <pc:docMk/>
      </pc:docMkLst>
      <pc:sldChg chg="modSp">
        <pc:chgData name="Mark Grimes" userId="b58058b7-2ab8-4142-95e7-f7e306e81118" providerId="ADAL" clId="{B8EB511D-5515-4991-A432-A1888E903984}" dt="2017-12-27T16:58:32.838" v="821" actId="20577"/>
        <pc:sldMkLst>
          <pc:docMk/>
          <pc:sldMk cId="3241443629" sldId="1352"/>
        </pc:sldMkLst>
        <pc:spChg chg="mod">
          <ac:chgData name="Mark Grimes" userId="b58058b7-2ab8-4142-95e7-f7e306e81118" providerId="ADAL" clId="{B8EB511D-5515-4991-A432-A1888E903984}" dt="2017-12-27T16:58:32.838" v="821" actId="20577"/>
          <ac:spMkLst>
            <pc:docMk/>
            <pc:sldMk cId="3241443629" sldId="1352"/>
            <ac:spMk id="2" creationId="{00000000-0000-0000-0000-000000000000}"/>
          </ac:spMkLst>
        </pc:spChg>
      </pc:sldChg>
      <pc:sldChg chg="ord">
        <pc:chgData name="Mark Grimes" userId="b58058b7-2ab8-4142-95e7-f7e306e81118" providerId="ADAL" clId="{B8EB511D-5515-4991-A432-A1888E903984}" dt="2017-12-27T17:02:18.419" v="889" actId="20577"/>
        <pc:sldMkLst>
          <pc:docMk/>
          <pc:sldMk cId="4079745048" sldId="1483"/>
        </pc:sldMkLst>
      </pc:sldChg>
      <pc:sldChg chg="ord modTransition modNotesTx">
        <pc:chgData name="Mark Grimes" userId="b58058b7-2ab8-4142-95e7-f7e306e81118" providerId="ADAL" clId="{B8EB511D-5515-4991-A432-A1888E903984}" dt="2017-12-27T17:04:25.846" v="1009" actId="20577"/>
        <pc:sldMkLst>
          <pc:docMk/>
          <pc:sldMk cId="2760001666" sldId="1484"/>
        </pc:sldMkLst>
      </pc:sldChg>
      <pc:sldChg chg="ord modTransition">
        <pc:chgData name="Mark Grimes" userId="b58058b7-2ab8-4142-95e7-f7e306e81118" providerId="ADAL" clId="{B8EB511D-5515-4991-A432-A1888E903984}" dt="2017-12-27T17:03:55.679" v="891" actId="20577"/>
        <pc:sldMkLst>
          <pc:docMk/>
          <pc:sldMk cId="2586170320" sldId="1485"/>
        </pc:sldMkLst>
      </pc:sldChg>
      <pc:sldChg chg="ord">
        <pc:chgData name="Mark Grimes" userId="b58058b7-2ab8-4142-95e7-f7e306e81118" providerId="ADAL" clId="{B8EB511D-5515-4991-A432-A1888E903984}" dt="2017-12-27T17:02:18.419" v="889" actId="20577"/>
        <pc:sldMkLst>
          <pc:docMk/>
          <pc:sldMk cId="3208686743" sldId="1487"/>
        </pc:sldMkLst>
      </pc:sldChg>
      <pc:sldChg chg="modSp">
        <pc:chgData name="Mark Grimes" userId="b58058b7-2ab8-4142-95e7-f7e306e81118" providerId="ADAL" clId="{B8EB511D-5515-4991-A432-A1888E903984}" dt="2017-12-27T14:44:23.839" v="23" actId="20577"/>
        <pc:sldMkLst>
          <pc:docMk/>
          <pc:sldMk cId="2551361494" sldId="1595"/>
        </pc:sldMkLst>
        <pc:spChg chg="mod">
          <ac:chgData name="Mark Grimes" userId="b58058b7-2ab8-4142-95e7-f7e306e81118" providerId="ADAL" clId="{B8EB511D-5515-4991-A432-A1888E903984}" dt="2017-12-27T14:44:23.839" v="23" actId="20577"/>
          <ac:spMkLst>
            <pc:docMk/>
            <pc:sldMk cId="2551361494" sldId="1595"/>
            <ac:spMk id="3" creationId="{00000000-0000-0000-0000-000000000000}"/>
          </ac:spMkLst>
        </pc:spChg>
      </pc:sldChg>
      <pc:sldChg chg="modSp add">
        <pc:chgData name="Mark Grimes" userId="b58058b7-2ab8-4142-95e7-f7e306e81118" providerId="ADAL" clId="{B8EB511D-5515-4991-A432-A1888E903984}" dt="2017-12-27T17:12:32.864" v="1412" actId="20577"/>
        <pc:sldMkLst>
          <pc:docMk/>
          <pc:sldMk cId="197240943" sldId="1687"/>
        </pc:sldMkLst>
        <pc:spChg chg="mod">
          <ac:chgData name="Mark Grimes" userId="b58058b7-2ab8-4142-95e7-f7e306e81118" providerId="ADAL" clId="{B8EB511D-5515-4991-A432-A1888E903984}" dt="2017-12-27T17:12:32.864" v="1412" actId="20577"/>
          <ac:spMkLst>
            <pc:docMk/>
            <pc:sldMk cId="197240943" sldId="1687"/>
            <ac:spMk id="6" creationId="{00000000-0000-0000-0000-000000000000}"/>
          </ac:spMkLst>
        </pc:spChg>
      </pc:sldChg>
      <pc:sldChg chg="add del ord">
        <pc:chgData name="Mark Grimes" userId="b58058b7-2ab8-4142-95e7-f7e306e81118" providerId="ADAL" clId="{B8EB511D-5515-4991-A432-A1888E903984}" dt="2017-12-27T14:43:24.024" v="6" actId="20577"/>
        <pc:sldMkLst>
          <pc:docMk/>
          <pc:sldMk cId="2648544721" sldId="1688"/>
        </pc:sldMkLst>
      </pc:sldChg>
      <pc:sldChg chg="modTransition">
        <pc:chgData name="Mark Grimes" userId="b58058b7-2ab8-4142-95e7-f7e306e81118" providerId="ADAL" clId="{B8EB511D-5515-4991-A432-A1888E903984}" dt="2017-12-27T18:13:23.840" v="1595" actId="20577"/>
        <pc:sldMkLst>
          <pc:docMk/>
          <pc:sldMk cId="2725224912" sldId="1690"/>
        </pc:sldMkLst>
      </pc:sldChg>
      <pc:sldChg chg="add modTransition modNotes modNotesTx">
        <pc:chgData name="Mark Grimes" userId="b58058b7-2ab8-4142-95e7-f7e306e81118" providerId="ADAL" clId="{B8EB511D-5515-4991-A432-A1888E903984}" dt="2017-12-27T14:52:17.474" v="758" actId="20577"/>
        <pc:sldMkLst>
          <pc:docMk/>
          <pc:sldMk cId="3416447271" sldId="1692"/>
        </pc:sldMkLst>
      </pc:sldChg>
      <pc:sldChg chg="modSp">
        <pc:chgData name="Mark Grimes" userId="b58058b7-2ab8-4142-95e7-f7e306e81118" providerId="ADAL" clId="{B8EB511D-5515-4991-A432-A1888E903984}" dt="2017-12-27T16:57:51.928" v="813" actId="20577"/>
        <pc:sldMkLst>
          <pc:docMk/>
          <pc:sldMk cId="1175728852" sldId="1694"/>
        </pc:sldMkLst>
        <pc:spChg chg="mod">
          <ac:chgData name="Mark Grimes" userId="b58058b7-2ab8-4142-95e7-f7e306e81118" providerId="ADAL" clId="{B8EB511D-5515-4991-A432-A1888E903984}" dt="2017-12-27T16:57:51.928" v="813" actId="20577"/>
          <ac:spMkLst>
            <pc:docMk/>
            <pc:sldMk cId="1175728852" sldId="1694"/>
            <ac:spMk id="2" creationId="{00000000-0000-0000-0000-000000000000}"/>
          </ac:spMkLst>
        </pc:spChg>
      </pc:sldChg>
      <pc:sldChg chg="modSp">
        <pc:chgData name="Mark Grimes" userId="b58058b7-2ab8-4142-95e7-f7e306e81118" providerId="ADAL" clId="{B8EB511D-5515-4991-A432-A1888E903984}" dt="2017-12-27T17:00:00.678" v="845" actId="20577"/>
        <pc:sldMkLst>
          <pc:docMk/>
          <pc:sldMk cId="3910846785" sldId="1695"/>
        </pc:sldMkLst>
        <pc:spChg chg="mod">
          <ac:chgData name="Mark Grimes" userId="b58058b7-2ab8-4142-95e7-f7e306e81118" providerId="ADAL" clId="{B8EB511D-5515-4991-A432-A1888E903984}" dt="2017-12-27T17:00:00.678" v="845" actId="20577"/>
          <ac:spMkLst>
            <pc:docMk/>
            <pc:sldMk cId="3910846785" sldId="1695"/>
            <ac:spMk id="2" creationId="{00000000-0000-0000-0000-000000000000}"/>
          </ac:spMkLst>
        </pc:spChg>
      </pc:sldChg>
      <pc:sldChg chg="modSp setBg">
        <pc:chgData name="Mark Grimes" userId="b58058b7-2ab8-4142-95e7-f7e306e81118" providerId="ADAL" clId="{B8EB511D-5515-4991-A432-A1888E903984}" dt="2017-12-27T17:01:05.502" v="872" actId="20577"/>
        <pc:sldMkLst>
          <pc:docMk/>
          <pc:sldMk cId="3376872641" sldId="1696"/>
        </pc:sldMkLst>
        <pc:spChg chg="mod">
          <ac:chgData name="Mark Grimes" userId="b58058b7-2ab8-4142-95e7-f7e306e81118" providerId="ADAL" clId="{B8EB511D-5515-4991-A432-A1888E903984}" dt="2017-12-27T17:00:32.179" v="870" actId="20577"/>
          <ac:spMkLst>
            <pc:docMk/>
            <pc:sldMk cId="3376872641" sldId="1696"/>
            <ac:spMk id="2" creationId="{00000000-0000-0000-0000-000000000000}"/>
          </ac:spMkLst>
        </pc:spChg>
      </pc:sldChg>
      <pc:sldChg chg="modSp">
        <pc:chgData name="Mark Grimes" userId="b58058b7-2ab8-4142-95e7-f7e306e81118" providerId="ADAL" clId="{B8EB511D-5515-4991-A432-A1888E903984}" dt="2017-12-27T17:01:44.225" v="878" actId="20577"/>
        <pc:sldMkLst>
          <pc:docMk/>
          <pc:sldMk cId="723777836" sldId="1697"/>
        </pc:sldMkLst>
        <pc:spChg chg="mod">
          <ac:chgData name="Mark Grimes" userId="b58058b7-2ab8-4142-95e7-f7e306e81118" providerId="ADAL" clId="{B8EB511D-5515-4991-A432-A1888E903984}" dt="2017-12-27T17:01:44.225" v="878" actId="20577"/>
          <ac:spMkLst>
            <pc:docMk/>
            <pc:sldMk cId="723777836" sldId="1697"/>
            <ac:spMk id="2" creationId="{00000000-0000-0000-0000-000000000000}"/>
          </ac:spMkLst>
        </pc:spChg>
      </pc:sldChg>
      <pc:sldChg chg="modSp">
        <pc:chgData name="Mark Grimes" userId="b58058b7-2ab8-4142-95e7-f7e306e81118" providerId="ADAL" clId="{B8EB511D-5515-4991-A432-A1888E903984}" dt="2017-12-27T17:04:57.817" v="1012" actId="20577"/>
        <pc:sldMkLst>
          <pc:docMk/>
          <pc:sldMk cId="2853656906" sldId="1699"/>
        </pc:sldMkLst>
        <pc:spChg chg="mod">
          <ac:chgData name="Mark Grimes" userId="b58058b7-2ab8-4142-95e7-f7e306e81118" providerId="ADAL" clId="{B8EB511D-5515-4991-A432-A1888E903984}" dt="2017-12-27T17:04:57.817" v="1012" actId="20577"/>
          <ac:spMkLst>
            <pc:docMk/>
            <pc:sldMk cId="2853656906" sldId="1699"/>
            <ac:spMk id="2" creationId="{00000000-0000-0000-0000-000000000000}"/>
          </ac:spMkLst>
        </pc:spChg>
      </pc:sldChg>
      <pc:sldChg chg="modSp">
        <pc:chgData name="Mark Grimes" userId="b58058b7-2ab8-4142-95e7-f7e306e81118" providerId="ADAL" clId="{B8EB511D-5515-4991-A432-A1888E903984}" dt="2017-12-27T17:05:17.930" v="1026" actId="20577"/>
        <pc:sldMkLst>
          <pc:docMk/>
          <pc:sldMk cId="1608330923" sldId="1700"/>
        </pc:sldMkLst>
        <pc:spChg chg="mod">
          <ac:chgData name="Mark Grimes" userId="b58058b7-2ab8-4142-95e7-f7e306e81118" providerId="ADAL" clId="{B8EB511D-5515-4991-A432-A1888E903984}" dt="2017-12-27T17:05:17.930" v="1026" actId="20577"/>
          <ac:spMkLst>
            <pc:docMk/>
            <pc:sldMk cId="1608330923" sldId="1700"/>
            <ac:spMk id="2" creationId="{00000000-0000-0000-0000-000000000000}"/>
          </ac:spMkLst>
        </pc:spChg>
      </pc:sldChg>
      <pc:sldChg chg="addSp modSp modNotesTx">
        <pc:chgData name="Mark Grimes" userId="b58058b7-2ab8-4142-95e7-f7e306e81118" providerId="ADAL" clId="{B8EB511D-5515-4991-A432-A1888E903984}" dt="2017-12-27T18:33:43.555" v="1683" actId="20577"/>
        <pc:sldMkLst>
          <pc:docMk/>
          <pc:sldMk cId="1138158422" sldId="1701"/>
        </pc:sldMkLst>
        <pc:spChg chg="mod">
          <ac:chgData name="Mark Grimes" userId="b58058b7-2ab8-4142-95e7-f7e306e81118" providerId="ADAL" clId="{B8EB511D-5515-4991-A432-A1888E903984}" dt="2017-12-27T17:06:22.433" v="1035" actId="20577"/>
          <ac:spMkLst>
            <pc:docMk/>
            <pc:sldMk cId="1138158422" sldId="1701"/>
            <ac:spMk id="2" creationId="{00000000-0000-0000-0000-000000000000}"/>
          </ac:spMkLst>
        </pc:spChg>
        <pc:spChg chg="add mod">
          <ac:chgData name="Mark Grimes" userId="b58058b7-2ab8-4142-95e7-f7e306e81118" providerId="ADAL" clId="{B8EB511D-5515-4991-A432-A1888E903984}" dt="2017-12-27T18:32:06.711" v="1668" actId="20577"/>
          <ac:spMkLst>
            <pc:docMk/>
            <pc:sldMk cId="1138158422" sldId="1701"/>
            <ac:spMk id="3" creationId="{687B3ED9-BEB0-4756-87A9-A34B6446FDD4}"/>
          </ac:spMkLst>
        </pc:spChg>
      </pc:sldChg>
      <pc:sldChg chg="addSp modSp modNotesTx">
        <pc:chgData name="Mark Grimes" userId="b58058b7-2ab8-4142-95e7-f7e306e81118" providerId="ADAL" clId="{B8EB511D-5515-4991-A432-A1888E903984}" dt="2017-12-27T18:42:03.294" v="1699" actId="20577"/>
        <pc:sldMkLst>
          <pc:docMk/>
          <pc:sldMk cId="1412113968" sldId="1702"/>
        </pc:sldMkLst>
        <pc:spChg chg="mod">
          <ac:chgData name="Mark Grimes" userId="b58058b7-2ab8-4142-95e7-f7e306e81118" providerId="ADAL" clId="{B8EB511D-5515-4991-A432-A1888E903984}" dt="2017-12-27T17:06:41.335" v="1047" actId="20577"/>
          <ac:spMkLst>
            <pc:docMk/>
            <pc:sldMk cId="1412113968" sldId="1702"/>
            <ac:spMk id="2" creationId="{00000000-0000-0000-0000-000000000000}"/>
          </ac:spMkLst>
        </pc:spChg>
        <pc:spChg chg="add mod">
          <ac:chgData name="Mark Grimes" userId="b58058b7-2ab8-4142-95e7-f7e306e81118" providerId="ADAL" clId="{B8EB511D-5515-4991-A432-A1888E903984}" dt="2017-12-27T18:40:50.187" v="1694" actId="20577"/>
          <ac:spMkLst>
            <pc:docMk/>
            <pc:sldMk cId="1412113968" sldId="1702"/>
            <ac:spMk id="3" creationId="{C7EACB95-EF29-49DF-A16C-8C94640A172C}"/>
          </ac:spMkLst>
        </pc:spChg>
      </pc:sldChg>
      <pc:sldChg chg="addSp modSp modNotesTx">
        <pc:chgData name="Mark Grimes" userId="b58058b7-2ab8-4142-95e7-f7e306e81118" providerId="ADAL" clId="{B8EB511D-5515-4991-A432-A1888E903984}" dt="2017-12-27T18:49:35.979" v="1717" actId="20577"/>
        <pc:sldMkLst>
          <pc:docMk/>
          <pc:sldMk cId="403146698" sldId="1703"/>
        </pc:sldMkLst>
        <pc:spChg chg="mod">
          <ac:chgData name="Mark Grimes" userId="b58058b7-2ab8-4142-95e7-f7e306e81118" providerId="ADAL" clId="{B8EB511D-5515-4991-A432-A1888E903984}" dt="2017-12-27T17:06:53.675" v="1056" actId="20577"/>
          <ac:spMkLst>
            <pc:docMk/>
            <pc:sldMk cId="403146698" sldId="1703"/>
            <ac:spMk id="2" creationId="{00000000-0000-0000-0000-000000000000}"/>
          </ac:spMkLst>
        </pc:spChg>
        <pc:spChg chg="add mod">
          <ac:chgData name="Mark Grimes" userId="b58058b7-2ab8-4142-95e7-f7e306e81118" providerId="ADAL" clId="{B8EB511D-5515-4991-A432-A1888E903984}" dt="2017-12-27T18:49:22.811" v="1715" actId="20577"/>
          <ac:spMkLst>
            <pc:docMk/>
            <pc:sldMk cId="403146698" sldId="1703"/>
            <ac:spMk id="3" creationId="{DE219E97-2342-4807-BC89-5F05DC7DCA9E}"/>
          </ac:spMkLst>
        </pc:spChg>
      </pc:sldChg>
      <pc:sldChg chg="addSp modSp">
        <pc:chgData name="Mark Grimes" userId="b58058b7-2ab8-4142-95e7-f7e306e81118" providerId="ADAL" clId="{B8EB511D-5515-4991-A432-A1888E903984}" dt="2017-12-27T18:50:10.203" v="1737" actId="20577"/>
        <pc:sldMkLst>
          <pc:docMk/>
          <pc:sldMk cId="3172361215" sldId="1704"/>
        </pc:sldMkLst>
        <pc:spChg chg="mod">
          <ac:chgData name="Mark Grimes" userId="b58058b7-2ab8-4142-95e7-f7e306e81118" providerId="ADAL" clId="{B8EB511D-5515-4991-A432-A1888E903984}" dt="2017-12-27T17:07:19.008" v="1078" actId="20577"/>
          <ac:spMkLst>
            <pc:docMk/>
            <pc:sldMk cId="3172361215" sldId="1704"/>
            <ac:spMk id="2" creationId="{00000000-0000-0000-0000-000000000000}"/>
          </ac:spMkLst>
        </pc:spChg>
        <pc:spChg chg="add mod">
          <ac:chgData name="Mark Grimes" userId="b58058b7-2ab8-4142-95e7-f7e306e81118" providerId="ADAL" clId="{B8EB511D-5515-4991-A432-A1888E903984}" dt="2017-12-27T18:50:10.203" v="1737" actId="20577"/>
          <ac:spMkLst>
            <pc:docMk/>
            <pc:sldMk cId="3172361215" sldId="1704"/>
            <ac:spMk id="3" creationId="{AB99B020-EDF2-40CE-98C9-3A5EAE22CB6E}"/>
          </ac:spMkLst>
        </pc:spChg>
      </pc:sldChg>
      <pc:sldChg chg="modSp">
        <pc:chgData name="Mark Grimes" userId="b58058b7-2ab8-4142-95e7-f7e306e81118" providerId="ADAL" clId="{B8EB511D-5515-4991-A432-A1888E903984}" dt="2017-12-27T17:07:35.763" v="1098" actId="20577"/>
        <pc:sldMkLst>
          <pc:docMk/>
          <pc:sldMk cId="950757043" sldId="1705"/>
        </pc:sldMkLst>
        <pc:spChg chg="mod">
          <ac:chgData name="Mark Grimes" userId="b58058b7-2ab8-4142-95e7-f7e306e81118" providerId="ADAL" clId="{B8EB511D-5515-4991-A432-A1888E903984}" dt="2017-12-27T17:07:35.763" v="1098" actId="20577"/>
          <ac:spMkLst>
            <pc:docMk/>
            <pc:sldMk cId="950757043" sldId="1705"/>
            <ac:spMk id="2" creationId="{00000000-0000-0000-0000-000000000000}"/>
          </ac:spMkLst>
        </pc:spChg>
      </pc:sldChg>
      <pc:sldChg chg="modSp">
        <pc:chgData name="Mark Grimes" userId="b58058b7-2ab8-4142-95e7-f7e306e81118" providerId="ADAL" clId="{B8EB511D-5515-4991-A432-A1888E903984}" dt="2017-12-27T17:07:51.102" v="1110" actId="20577"/>
        <pc:sldMkLst>
          <pc:docMk/>
          <pc:sldMk cId="2988919719" sldId="1706"/>
        </pc:sldMkLst>
        <pc:spChg chg="mod">
          <ac:chgData name="Mark Grimes" userId="b58058b7-2ab8-4142-95e7-f7e306e81118" providerId="ADAL" clId="{B8EB511D-5515-4991-A432-A1888E903984}" dt="2017-12-27T17:07:51.102" v="1110" actId="20577"/>
          <ac:spMkLst>
            <pc:docMk/>
            <pc:sldMk cId="2988919719" sldId="1706"/>
            <ac:spMk id="2" creationId="{00000000-0000-0000-0000-000000000000}"/>
          </ac:spMkLst>
        </pc:spChg>
      </pc:sldChg>
      <pc:sldChg chg="modSp">
        <pc:chgData name="Mark Grimes" userId="b58058b7-2ab8-4142-95e7-f7e306e81118" providerId="ADAL" clId="{B8EB511D-5515-4991-A432-A1888E903984}" dt="2017-12-27T17:08:07.690" v="1126" actId="20577"/>
        <pc:sldMkLst>
          <pc:docMk/>
          <pc:sldMk cId="3064175352" sldId="1707"/>
        </pc:sldMkLst>
        <pc:spChg chg="mod">
          <ac:chgData name="Mark Grimes" userId="b58058b7-2ab8-4142-95e7-f7e306e81118" providerId="ADAL" clId="{B8EB511D-5515-4991-A432-A1888E903984}" dt="2017-12-27T17:08:07.690" v="1126" actId="20577"/>
          <ac:spMkLst>
            <pc:docMk/>
            <pc:sldMk cId="3064175352" sldId="1707"/>
            <ac:spMk id="2" creationId="{00000000-0000-0000-0000-000000000000}"/>
          </ac:spMkLst>
        </pc:spChg>
      </pc:sldChg>
      <pc:sldChg chg="modSp">
        <pc:chgData name="Mark Grimes" userId="b58058b7-2ab8-4142-95e7-f7e306e81118" providerId="ADAL" clId="{B8EB511D-5515-4991-A432-A1888E903984}" dt="2017-12-27T17:08:26.197" v="1148" actId="20577"/>
        <pc:sldMkLst>
          <pc:docMk/>
          <pc:sldMk cId="2806744196" sldId="1708"/>
        </pc:sldMkLst>
        <pc:spChg chg="mod">
          <ac:chgData name="Mark Grimes" userId="b58058b7-2ab8-4142-95e7-f7e306e81118" providerId="ADAL" clId="{B8EB511D-5515-4991-A432-A1888E903984}" dt="2017-12-27T17:08:26.197" v="1148" actId="20577"/>
          <ac:spMkLst>
            <pc:docMk/>
            <pc:sldMk cId="2806744196" sldId="1708"/>
            <ac:spMk id="2" creationId="{00000000-0000-0000-0000-000000000000}"/>
          </ac:spMkLst>
        </pc:spChg>
      </pc:sldChg>
      <pc:sldChg chg="modSp">
        <pc:chgData name="Mark Grimes" userId="b58058b7-2ab8-4142-95e7-f7e306e81118" providerId="ADAL" clId="{B8EB511D-5515-4991-A432-A1888E903984}" dt="2017-12-27T17:08:51.112" v="1165" actId="20577"/>
        <pc:sldMkLst>
          <pc:docMk/>
          <pc:sldMk cId="1299594192" sldId="1709"/>
        </pc:sldMkLst>
        <pc:spChg chg="mod">
          <ac:chgData name="Mark Grimes" userId="b58058b7-2ab8-4142-95e7-f7e306e81118" providerId="ADAL" clId="{B8EB511D-5515-4991-A432-A1888E903984}" dt="2017-12-27T17:08:51.112" v="1165" actId="20577"/>
          <ac:spMkLst>
            <pc:docMk/>
            <pc:sldMk cId="1299594192" sldId="1709"/>
            <ac:spMk id="2" creationId="{00000000-0000-0000-0000-000000000000}"/>
          </ac:spMkLst>
        </pc:spChg>
      </pc:sldChg>
      <pc:sldChg chg="modSp">
        <pc:chgData name="Mark Grimes" userId="b58058b7-2ab8-4142-95e7-f7e306e81118" providerId="ADAL" clId="{B8EB511D-5515-4991-A432-A1888E903984}" dt="2017-12-27T17:09:28.570" v="1175" actId="20577"/>
        <pc:sldMkLst>
          <pc:docMk/>
          <pc:sldMk cId="2663916962" sldId="1710"/>
        </pc:sldMkLst>
        <pc:spChg chg="mod">
          <ac:chgData name="Mark Grimes" userId="b58058b7-2ab8-4142-95e7-f7e306e81118" providerId="ADAL" clId="{B8EB511D-5515-4991-A432-A1888E903984}" dt="2017-12-27T17:09:28.570" v="1175" actId="20577"/>
          <ac:spMkLst>
            <pc:docMk/>
            <pc:sldMk cId="2663916962" sldId="1710"/>
            <ac:spMk id="2" creationId="{00000000-0000-0000-0000-000000000000}"/>
          </ac:spMkLst>
        </pc:spChg>
      </pc:sldChg>
      <pc:sldChg chg="modSp">
        <pc:chgData name="Mark Grimes" userId="b58058b7-2ab8-4142-95e7-f7e306e81118" providerId="ADAL" clId="{B8EB511D-5515-4991-A432-A1888E903984}" dt="2017-12-27T17:09:41.962" v="1189" actId="20577"/>
        <pc:sldMkLst>
          <pc:docMk/>
          <pc:sldMk cId="1630401087" sldId="1711"/>
        </pc:sldMkLst>
        <pc:spChg chg="mod">
          <ac:chgData name="Mark Grimes" userId="b58058b7-2ab8-4142-95e7-f7e306e81118" providerId="ADAL" clId="{B8EB511D-5515-4991-A432-A1888E903984}" dt="2017-12-27T17:09:41.962" v="1189" actId="20577"/>
          <ac:spMkLst>
            <pc:docMk/>
            <pc:sldMk cId="1630401087" sldId="1711"/>
            <ac:spMk id="2" creationId="{00000000-0000-0000-0000-000000000000}"/>
          </ac:spMkLst>
        </pc:spChg>
      </pc:sldChg>
      <pc:sldChg chg="modSp">
        <pc:chgData name="Mark Grimes" userId="b58058b7-2ab8-4142-95e7-f7e306e81118" providerId="ADAL" clId="{B8EB511D-5515-4991-A432-A1888E903984}" dt="2017-12-27T17:09:54.409" v="1213" actId="20577"/>
        <pc:sldMkLst>
          <pc:docMk/>
          <pc:sldMk cId="1888965623" sldId="1712"/>
        </pc:sldMkLst>
        <pc:spChg chg="mod">
          <ac:chgData name="Mark Grimes" userId="b58058b7-2ab8-4142-95e7-f7e306e81118" providerId="ADAL" clId="{B8EB511D-5515-4991-A432-A1888E903984}" dt="2017-12-27T17:09:54.409" v="1213" actId="20577"/>
          <ac:spMkLst>
            <pc:docMk/>
            <pc:sldMk cId="1888965623" sldId="1712"/>
            <ac:spMk id="2" creationId="{00000000-0000-0000-0000-000000000000}"/>
          </ac:spMkLst>
        </pc:spChg>
      </pc:sldChg>
      <pc:sldChg chg="modSp">
        <pc:chgData name="Mark Grimes" userId="b58058b7-2ab8-4142-95e7-f7e306e81118" providerId="ADAL" clId="{B8EB511D-5515-4991-A432-A1888E903984}" dt="2017-12-27T17:10:19.290" v="1241" actId="20577"/>
        <pc:sldMkLst>
          <pc:docMk/>
          <pc:sldMk cId="3741566766" sldId="1713"/>
        </pc:sldMkLst>
        <pc:spChg chg="mod">
          <ac:chgData name="Mark Grimes" userId="b58058b7-2ab8-4142-95e7-f7e306e81118" providerId="ADAL" clId="{B8EB511D-5515-4991-A432-A1888E903984}" dt="2017-12-27T17:10:19.290" v="1241" actId="20577"/>
          <ac:spMkLst>
            <pc:docMk/>
            <pc:sldMk cId="3741566766" sldId="1713"/>
            <ac:spMk id="2" creationId="{00000000-0000-0000-0000-000000000000}"/>
          </ac:spMkLst>
        </pc:spChg>
      </pc:sldChg>
      <pc:sldChg chg="modSp">
        <pc:chgData name="Mark Grimes" userId="b58058b7-2ab8-4142-95e7-f7e306e81118" providerId="ADAL" clId="{B8EB511D-5515-4991-A432-A1888E903984}" dt="2017-12-27T17:10:40.103" v="1269" actId="20577"/>
        <pc:sldMkLst>
          <pc:docMk/>
          <pc:sldMk cId="3104217620" sldId="1714"/>
        </pc:sldMkLst>
        <pc:spChg chg="mod">
          <ac:chgData name="Mark Grimes" userId="b58058b7-2ab8-4142-95e7-f7e306e81118" providerId="ADAL" clId="{B8EB511D-5515-4991-A432-A1888E903984}" dt="2017-12-27T17:10:40.103" v="1269" actId="20577"/>
          <ac:spMkLst>
            <pc:docMk/>
            <pc:sldMk cId="3104217620" sldId="1714"/>
            <ac:spMk id="2" creationId="{00000000-0000-0000-0000-000000000000}"/>
          </ac:spMkLst>
        </pc:spChg>
      </pc:sldChg>
      <pc:sldChg chg="modSp">
        <pc:chgData name="Mark Grimes" userId="b58058b7-2ab8-4142-95e7-f7e306e81118" providerId="ADAL" clId="{B8EB511D-5515-4991-A432-A1888E903984}" dt="2017-12-27T17:10:57.844" v="1280" actId="20577"/>
        <pc:sldMkLst>
          <pc:docMk/>
          <pc:sldMk cId="945149690" sldId="1715"/>
        </pc:sldMkLst>
        <pc:spChg chg="mod">
          <ac:chgData name="Mark Grimes" userId="b58058b7-2ab8-4142-95e7-f7e306e81118" providerId="ADAL" clId="{B8EB511D-5515-4991-A432-A1888E903984}" dt="2017-12-27T17:10:57.844" v="1280" actId="20577"/>
          <ac:spMkLst>
            <pc:docMk/>
            <pc:sldMk cId="945149690" sldId="1715"/>
            <ac:spMk id="2" creationId="{00000000-0000-0000-0000-000000000000}"/>
          </ac:spMkLst>
        </pc:spChg>
      </pc:sldChg>
      <pc:sldChg chg="modSp">
        <pc:chgData name="Mark Grimes" userId="b58058b7-2ab8-4142-95e7-f7e306e81118" providerId="ADAL" clId="{B8EB511D-5515-4991-A432-A1888E903984}" dt="2017-12-27T17:13:43.707" v="1438" actId="20577"/>
        <pc:sldMkLst>
          <pc:docMk/>
          <pc:sldMk cId="3366440248" sldId="1716"/>
        </pc:sldMkLst>
        <pc:spChg chg="mod">
          <ac:chgData name="Mark Grimes" userId="b58058b7-2ab8-4142-95e7-f7e306e81118" providerId="ADAL" clId="{B8EB511D-5515-4991-A432-A1888E903984}" dt="2017-12-27T17:13:43.707" v="1438" actId="20577"/>
          <ac:spMkLst>
            <pc:docMk/>
            <pc:sldMk cId="3366440248" sldId="1716"/>
            <ac:spMk id="2" creationId="{00000000-0000-0000-0000-000000000000}"/>
          </ac:spMkLst>
        </pc:spChg>
      </pc:sldChg>
      <pc:sldChg chg="addSp delSp modSp new add setBg modNotesTx">
        <pc:chgData name="Mark Grimes" userId="b58058b7-2ab8-4142-95e7-f7e306e81118" providerId="ADAL" clId="{B8EB511D-5515-4991-A432-A1888E903984}" dt="2017-12-27T19:00:04.420" v="2524" actId="20577"/>
        <pc:sldMkLst>
          <pc:docMk/>
          <pc:sldMk cId="2995582117" sldId="1717"/>
        </pc:sldMkLst>
        <pc:spChg chg="del">
          <ac:chgData name="Mark Grimes" userId="b58058b7-2ab8-4142-95e7-f7e306e81118" providerId="ADAL" clId="{B8EB511D-5515-4991-A432-A1888E903984}" dt="2017-12-27T17:15:06.989" v="1440" actId="20577"/>
          <ac:spMkLst>
            <pc:docMk/>
            <pc:sldMk cId="2995582117" sldId="1717"/>
            <ac:spMk id="2" creationId="{81BD437C-327A-45FD-AD3D-6232646B70BC}"/>
          </ac:spMkLst>
        </pc:spChg>
        <pc:spChg chg="del">
          <ac:chgData name="Mark Grimes" userId="b58058b7-2ab8-4142-95e7-f7e306e81118" providerId="ADAL" clId="{B8EB511D-5515-4991-A432-A1888E903984}" dt="2017-12-27T17:15:06.989" v="1440" actId="20577"/>
          <ac:spMkLst>
            <pc:docMk/>
            <pc:sldMk cId="2995582117" sldId="1717"/>
            <ac:spMk id="3" creationId="{6E38E127-6601-4894-B40B-2BDF13A683FD}"/>
          </ac:spMkLst>
        </pc:spChg>
        <pc:spChg chg="add del">
          <ac:chgData name="Mark Grimes" userId="b58058b7-2ab8-4142-95e7-f7e306e81118" providerId="ADAL" clId="{B8EB511D-5515-4991-A432-A1888E903984}" dt="2017-12-27T17:17:58.703" v="1458" actId="20577"/>
          <ac:spMkLst>
            <pc:docMk/>
            <pc:sldMk cId="2995582117" sldId="1717"/>
            <ac:spMk id="8" creationId="{6918475B-0E29-4FFC-A4DC-B6D73B5FED66}"/>
          </ac:spMkLst>
        </pc:spChg>
        <pc:spChg chg="add mod ord">
          <ac:chgData name="Mark Grimes" userId="b58058b7-2ab8-4142-95e7-f7e306e81118" providerId="ADAL" clId="{B8EB511D-5515-4991-A432-A1888E903984}" dt="2017-12-27T17:20:14.948" v="1572" actId="114"/>
          <ac:spMkLst>
            <pc:docMk/>
            <pc:sldMk cId="2995582117" sldId="1717"/>
            <ac:spMk id="9" creationId="{32A657E7-C6D5-4FFF-9845-9583E5395C0E}"/>
          </ac:spMkLst>
        </pc:spChg>
        <pc:graphicFrameChg chg="add mod modGraphic">
          <ac:chgData name="Mark Grimes" userId="b58058b7-2ab8-4142-95e7-f7e306e81118" providerId="ADAL" clId="{B8EB511D-5515-4991-A432-A1888E903984}" dt="2017-12-27T17:20:22.051" v="1573" actId="14100"/>
          <ac:graphicFrameMkLst>
            <pc:docMk/>
            <pc:sldMk cId="2995582117" sldId="1717"/>
            <ac:graphicFrameMk id="5" creationId="{44672DBE-90CB-49E7-956A-34376FD284DC}"/>
          </ac:graphicFrameMkLst>
        </pc:graphicFrameChg>
        <pc:cxnChg chg="add mod">
          <ac:chgData name="Mark Grimes" userId="b58058b7-2ab8-4142-95e7-f7e306e81118" providerId="ADAL" clId="{B8EB511D-5515-4991-A432-A1888E903984}" dt="2017-12-27T17:21:21.837" v="1594" actId="1038"/>
          <ac:cxnSpMkLst>
            <pc:docMk/>
            <pc:sldMk cId="2995582117" sldId="1717"/>
            <ac:cxnSpMk id="7" creationId="{8F7A6781-AF9E-4F65-9F58-B5524A6F4EED}"/>
          </ac:cxnSpMkLst>
        </pc:cxnChg>
      </pc:sldChg>
      <pc:sldChg chg="add del">
        <pc:chgData name="Mark Grimes" userId="b58058b7-2ab8-4142-95e7-f7e306e81118" providerId="ADAL" clId="{B8EB511D-5515-4991-A432-A1888E903984}" dt="2017-12-27T18:13:54.158" v="1597" actId="20577"/>
        <pc:sldMkLst>
          <pc:docMk/>
          <pc:sldMk cId="823333960" sldId="1718"/>
        </pc:sldMkLst>
      </pc:sldChg>
      <pc:sldChg chg="add del">
        <pc:chgData name="Mark Grimes" userId="b58058b7-2ab8-4142-95e7-f7e306e81118" providerId="ADAL" clId="{B8EB511D-5515-4991-A432-A1888E903984}" dt="2017-12-27T18:13:54.158" v="1597" actId="20577"/>
        <pc:sldMkLst>
          <pc:docMk/>
          <pc:sldMk cId="2654084595" sldId="1719"/>
        </pc:sldMkLst>
      </pc:sldChg>
      <pc:sldChg chg="add">
        <pc:chgData name="Mark Grimes" userId="b58058b7-2ab8-4142-95e7-f7e306e81118" providerId="ADAL" clId="{B8EB511D-5515-4991-A432-A1888E903984}" dt="2017-12-27T18:15:07.486" v="1598" actId="20577"/>
        <pc:sldMkLst>
          <pc:docMk/>
          <pc:sldMk cId="2348081335" sldId="1720"/>
        </pc:sldMkLst>
      </pc:sldChg>
      <pc:sldChg chg="add">
        <pc:chgData name="Mark Grimes" userId="b58058b7-2ab8-4142-95e7-f7e306e81118" providerId="ADAL" clId="{B8EB511D-5515-4991-A432-A1888E903984}" dt="2017-12-27T18:15:34.375" v="1601" actId="20577"/>
        <pc:sldMkLst>
          <pc:docMk/>
          <pc:sldMk cId="458183266" sldId="1721"/>
        </pc:sldMkLst>
      </pc:sldChg>
      <pc:sldChg chg="add del modTransition">
        <pc:chgData name="Mark Grimes" userId="b58058b7-2ab8-4142-95e7-f7e306e81118" providerId="ADAL" clId="{B8EB511D-5515-4991-A432-A1888E903984}" dt="2017-12-27T18:16:54.852" v="1603" actId="20577"/>
        <pc:sldMkLst>
          <pc:docMk/>
          <pc:sldMk cId="1958098004" sldId="1722"/>
        </pc:sldMkLst>
      </pc:sldChg>
      <pc:sldChg chg="add">
        <pc:chgData name="Mark Grimes" userId="b58058b7-2ab8-4142-95e7-f7e306e81118" providerId="ADAL" clId="{B8EB511D-5515-4991-A432-A1888E903984}" dt="2017-12-27T18:29:30.876" v="1606" actId="20577"/>
        <pc:sldMkLst>
          <pc:docMk/>
          <pc:sldMk cId="983996206" sldId="1723"/>
        </pc:sldMkLst>
      </pc:sldChg>
      <pc:sldChg chg="add">
        <pc:chgData name="Mark Grimes" userId="b58058b7-2ab8-4142-95e7-f7e306e81118" providerId="ADAL" clId="{B8EB511D-5515-4991-A432-A1888E903984}" dt="2017-12-27T18:29:30.876" v="1606" actId="20577"/>
        <pc:sldMkLst>
          <pc:docMk/>
          <pc:sldMk cId="240495688" sldId="1724"/>
        </pc:sldMkLst>
      </pc:sldChg>
      <pc:sldChg chg="add">
        <pc:chgData name="Mark Grimes" userId="b58058b7-2ab8-4142-95e7-f7e306e81118" providerId="ADAL" clId="{B8EB511D-5515-4991-A432-A1888E903984}" dt="2017-12-27T18:29:30.876" v="1606" actId="20577"/>
        <pc:sldMkLst>
          <pc:docMk/>
          <pc:sldMk cId="923599322" sldId="1725"/>
        </pc:sldMkLst>
      </pc:sldChg>
      <pc:sldChg chg="add">
        <pc:chgData name="Mark Grimes" userId="b58058b7-2ab8-4142-95e7-f7e306e81118" providerId="ADAL" clId="{B8EB511D-5515-4991-A432-A1888E903984}" dt="2017-12-27T18:29:30.876" v="1606" actId="20577"/>
        <pc:sldMkLst>
          <pc:docMk/>
          <pc:sldMk cId="2081265870" sldId="1726"/>
        </pc:sldMkLst>
      </pc:sldChg>
      <pc:sldChg chg="add">
        <pc:chgData name="Mark Grimes" userId="b58058b7-2ab8-4142-95e7-f7e306e81118" providerId="ADAL" clId="{B8EB511D-5515-4991-A432-A1888E903984}" dt="2017-12-27T18:29:30.876" v="1606" actId="20577"/>
        <pc:sldMkLst>
          <pc:docMk/>
          <pc:sldMk cId="543541149" sldId="1727"/>
        </pc:sldMkLst>
      </pc:sldChg>
      <pc:sldChg chg="add">
        <pc:chgData name="Mark Grimes" userId="b58058b7-2ab8-4142-95e7-f7e306e81118" providerId="ADAL" clId="{B8EB511D-5515-4991-A432-A1888E903984}" dt="2017-12-27T18:29:30.876" v="1606" actId="20577"/>
        <pc:sldMkLst>
          <pc:docMk/>
          <pc:sldMk cId="3338714209" sldId="1728"/>
        </pc:sldMkLst>
      </pc:sldChg>
      <pc:sldChg chg="add setBg">
        <pc:chgData name="Mark Grimes" userId="b58058b7-2ab8-4142-95e7-f7e306e81118" providerId="ADAL" clId="{B8EB511D-5515-4991-A432-A1888E903984}" dt="2017-12-27T18:38:41.756" v="1685" actId="20577"/>
        <pc:sldMkLst>
          <pc:docMk/>
          <pc:sldMk cId="3177304163" sldId="1729"/>
        </pc:sldMkLst>
      </pc:sldChg>
      <pc:sldChg chg="add setBg">
        <pc:chgData name="Mark Grimes" userId="b58058b7-2ab8-4142-95e7-f7e306e81118" providerId="ADAL" clId="{B8EB511D-5515-4991-A432-A1888E903984}" dt="2017-12-27T18:38:41.756" v="1685" actId="20577"/>
        <pc:sldMkLst>
          <pc:docMk/>
          <pc:sldMk cId="4150702116" sldId="1730"/>
        </pc:sldMkLst>
      </pc:sldChg>
      <pc:sldChg chg="add del">
        <pc:chgData name="Mark Grimes" userId="b58058b7-2ab8-4142-95e7-f7e306e81118" providerId="ADAL" clId="{B8EB511D-5515-4991-A432-A1888E903984}" dt="2017-12-27T18:44:56.831" v="1704" actId="20577"/>
        <pc:sldMkLst>
          <pc:docMk/>
          <pc:sldMk cId="2134834681" sldId="1731"/>
        </pc:sldMkLst>
      </pc:sldChg>
      <pc:sldChg chg="modSp add">
        <pc:chgData name="Mark Grimes" userId="b58058b7-2ab8-4142-95e7-f7e306e81118" providerId="ADAL" clId="{B8EB511D-5515-4991-A432-A1888E903984}" dt="2017-12-27T18:55:23.983" v="1741" actId="404"/>
        <pc:sldMkLst>
          <pc:docMk/>
          <pc:sldMk cId="3508673539" sldId="1733"/>
        </pc:sldMkLst>
        <pc:spChg chg="mod">
          <ac:chgData name="Mark Grimes" userId="b58058b7-2ab8-4142-95e7-f7e306e81118" providerId="ADAL" clId="{B8EB511D-5515-4991-A432-A1888E903984}" dt="2017-12-27T18:55:23.983" v="1741" actId="404"/>
          <ac:spMkLst>
            <pc:docMk/>
            <pc:sldMk cId="3508673539" sldId="1733"/>
            <ac:spMk id="2" creationId="{5A5D78EE-0557-43BF-8CD0-5769DE244F9C}"/>
          </ac:spMkLst>
        </pc:spChg>
      </pc:sldChg>
      <pc:sldChg chg="add">
        <pc:chgData name="Mark Grimes" userId="b58058b7-2ab8-4142-95e7-f7e306e81118" providerId="ADAL" clId="{B8EB511D-5515-4991-A432-A1888E903984}" dt="2017-12-27T18:55:13.388" v="1739" actId="20577"/>
        <pc:sldMkLst>
          <pc:docMk/>
          <pc:sldMk cId="1274060310" sldId="1734"/>
        </pc:sldMkLst>
      </pc:sldChg>
      <pc:sldChg chg="add">
        <pc:chgData name="Mark Grimes" userId="b58058b7-2ab8-4142-95e7-f7e306e81118" providerId="ADAL" clId="{B8EB511D-5515-4991-A432-A1888E903984}" dt="2017-12-27T18:55:13.388" v="1739" actId="20577"/>
        <pc:sldMkLst>
          <pc:docMk/>
          <pc:sldMk cId="1883194516" sldId="1735"/>
        </pc:sldMkLst>
      </pc:sldChg>
      <pc:sldMasterChg chg="modSldLayout">
        <pc:chgData name="Mark Grimes" userId="b58058b7-2ab8-4142-95e7-f7e306e81118" providerId="ADAL" clId="{B8EB511D-5515-4991-A432-A1888E903984}" dt="2017-12-27T17:20:57.365" v="1575" actId="403"/>
        <pc:sldMasterMkLst>
          <pc:docMk/>
          <pc:sldMasterMk cId="1790270825" sldId="2147484082"/>
        </pc:sldMasterMkLst>
        <pc:sldLayoutChg chg="modSp">
          <pc:chgData name="Mark Grimes" userId="b58058b7-2ab8-4142-95e7-f7e306e81118" providerId="ADAL" clId="{B8EB511D-5515-4991-A432-A1888E903984}" dt="2017-12-27T17:20:57.365" v="1575" actId="403"/>
          <pc:sldLayoutMkLst>
            <pc:docMk/>
            <pc:sldMasterMk cId="1790270825" sldId="2147484082"/>
            <pc:sldLayoutMk cId="4075357253" sldId="2147484130"/>
          </pc:sldLayoutMkLst>
          <pc:spChg chg="mod">
            <ac:chgData name="Mark Grimes" userId="b58058b7-2ab8-4142-95e7-f7e306e81118" providerId="ADAL" clId="{B8EB511D-5515-4991-A432-A1888E903984}" dt="2017-12-27T17:20:57.365" v="1575" actId="403"/>
            <ac:spMkLst>
              <pc:docMk/>
              <pc:sldMasterMk cId="1790270825" sldId="2147484082"/>
              <pc:sldLayoutMk cId="4075357253" sldId="2147484130"/>
              <ac:spMk id="2" creationId="{00000000-0000-0000-0000-000000000000}"/>
            </ac:spMkLst>
          </pc:spChg>
        </pc:sldLayoutChg>
      </pc:sldMasterChg>
    </pc:docChg>
  </pc:docChgLst>
  <pc:docChgLst>
    <pc:chgData name="Mark Grimes" userId="b58058b7-2ab8-4142-95e7-f7e306e81118" providerId="ADAL" clId="{597200FC-D770-4E33-9C6C-C2D28975BEF5}"/>
  </pc:docChgLst>
</pc:chgInfo>
</file>

<file path=ppt/comments/comment1.xml><?xml version="1.0" encoding="utf-8"?>
<p:cmLst xmlns:a="http://schemas.openxmlformats.org/drawingml/2006/main" xmlns:r="http://schemas.openxmlformats.org/officeDocument/2006/relationships" xmlns:p="http://schemas.openxmlformats.org/presentationml/2006/main">
  <p:cm authorId="5" dt="2017-05-08T10:46:55.188" idx="7">
    <p:pos x="4223" y="1935"/>
    <p:text>Thad, she writes "The badge under ‘latency’ needs to say: &lt;10ms 99Th %"</p:text>
    <p:extLst>
      <p:ext uri="{C676402C-5697-4E1C-873F-D02D1690AC5C}">
        <p15:threadingInfo xmlns:p15="http://schemas.microsoft.com/office/powerpoint/2012/main" timeZoneBias="420"/>
      </p:ext>
    </p:extLst>
  </p:cm>
</p:cmLst>
</file>

<file path=ppt/comments/comment2.xml><?xml version="1.0" encoding="utf-8"?>
<p:cmLst xmlns:a="http://schemas.openxmlformats.org/drawingml/2006/main" xmlns:r="http://schemas.openxmlformats.org/officeDocument/2006/relationships" xmlns:p="http://schemas.openxmlformats.org/presentationml/2006/main">
  <p:cm authorId="4" dt="2017-05-25T10:30:25.802" idx="1">
    <p:pos x="10" y="10"/>
    <p:text>I moved these from the Security Deck.  Trying to keep that SAW specific to Azure Security overvall and specific Azure Security Features e.g. Key Vault and Security Center</p:text>
    <p:extLst>
      <p:ext uri="{C676402C-5697-4E1C-873F-D02D1690AC5C}">
        <p15:threadingInfo xmlns:p15="http://schemas.microsoft.com/office/powerpoint/2012/main" timeZoneBias="240"/>
      </p:ext>
    </p:extLst>
  </p:cm>
</p:cmLst>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93E50ED9-8094-42DF-9D5A-6A831E9331C9}" type="doc">
      <dgm:prSet loTypeId="urn:microsoft.com/office/officeart/2005/8/layout/default" loCatId="list" qsTypeId="urn:microsoft.com/office/officeart/2005/8/quickstyle/simple1" qsCatId="simple" csTypeId="urn:microsoft.com/office/officeart/2005/8/colors/accent1_2" csCatId="accent1" phldr="1"/>
      <dgm:spPr/>
      <dgm:t>
        <a:bodyPr/>
        <a:lstStyle/>
        <a:p>
          <a:endParaRPr lang="en-US"/>
        </a:p>
      </dgm:t>
    </dgm:pt>
    <dgm:pt modelId="{3937FE73-412E-4FFA-99D6-562B968F143E}">
      <dgm:prSet phldrT="[Text]"/>
      <dgm:spPr/>
      <dgm:t>
        <a:bodyPr lIns="182880" tIns="91440" rIns="182880" bIns="91440"/>
        <a:lstStyle/>
        <a:p>
          <a:r>
            <a:rPr lang="en-US" b="0" dirty="0">
              <a:latin typeface="Segoe UI Semibold" panose="020B0702040204020203" pitchFamily="34" charset="0"/>
              <a:cs typeface="Segoe UI Semibold" panose="020B0702040204020203" pitchFamily="34" charset="0"/>
            </a:rPr>
            <a:t>Azure Batch:</a:t>
          </a:r>
          <a:r>
            <a:rPr lang="en-US" b="1" dirty="0"/>
            <a:t> </a:t>
          </a:r>
          <a:r>
            <a:rPr lang="en-US" b="0" dirty="0"/>
            <a:t>Create pools of VMs and define work artifacts (work items) that will be schedule for processing. Azure Batch brings with it an API to support the infrastructure. No need to manually build servers and software libraries to handle job scheduling.  </a:t>
          </a:r>
          <a:r>
            <a:rPr lang="en-US" b="1" dirty="0"/>
            <a:t>  </a:t>
          </a:r>
        </a:p>
      </dgm:t>
    </dgm:pt>
    <dgm:pt modelId="{AA026CE9-151E-4F0D-9724-F062734453C2}" type="parTrans" cxnId="{F0BE4BC6-BAB4-4EFC-B363-2B9899075EF7}">
      <dgm:prSet/>
      <dgm:spPr/>
      <dgm:t>
        <a:bodyPr/>
        <a:lstStyle/>
        <a:p>
          <a:endParaRPr lang="en-US"/>
        </a:p>
      </dgm:t>
    </dgm:pt>
    <dgm:pt modelId="{0CBCC527-BC4A-4A57-B82E-AF33046E2916}" type="sibTrans" cxnId="{F0BE4BC6-BAB4-4EFC-B363-2B9899075EF7}">
      <dgm:prSet/>
      <dgm:spPr/>
      <dgm:t>
        <a:bodyPr/>
        <a:lstStyle/>
        <a:p>
          <a:endParaRPr lang="en-US"/>
        </a:p>
      </dgm:t>
    </dgm:pt>
    <dgm:pt modelId="{5C82ED25-AC9A-41CE-90C6-1C8E9F36C9F3}">
      <dgm:prSet phldrT="[Text]"/>
      <dgm:spPr/>
      <dgm:t>
        <a:bodyPr lIns="182880" tIns="91440" rIns="182880" bIns="91440"/>
        <a:lstStyle/>
        <a:p>
          <a:r>
            <a:rPr lang="en-US" b="0" dirty="0">
              <a:latin typeface="Segoe UI Semibold" panose="020B0702040204020203" pitchFamily="34" charset="0"/>
              <a:cs typeface="Segoe UI Semibold" panose="020B0702040204020203" pitchFamily="34" charset="0"/>
            </a:rPr>
            <a:t>Azure Batch Apps: </a:t>
          </a:r>
          <a:r>
            <a:rPr lang="en-US" b="0" dirty="0"/>
            <a:t>Azure Batch Apps take Azure Batch a step further. The goal is to publish an “app” that is essentially a service that will allow data to be fed to it, and it will run as needed. New ability to monitor the jobs through the portal and REST APIs is provided.</a:t>
          </a:r>
          <a:endParaRPr lang="en-US" b="1" dirty="0"/>
        </a:p>
      </dgm:t>
    </dgm:pt>
    <dgm:pt modelId="{3686B0EF-704F-4E93-87BF-BCCF0F590F7E}" type="sibTrans" cxnId="{A231070D-F9C2-4F0A-949C-EE1AB6391BE9}">
      <dgm:prSet/>
      <dgm:spPr/>
      <dgm:t>
        <a:bodyPr/>
        <a:lstStyle/>
        <a:p>
          <a:endParaRPr lang="en-US"/>
        </a:p>
      </dgm:t>
    </dgm:pt>
    <dgm:pt modelId="{1CF12C78-8694-43EC-A240-9F8FAF39FD02}" type="parTrans" cxnId="{A231070D-F9C2-4F0A-949C-EE1AB6391BE9}">
      <dgm:prSet/>
      <dgm:spPr/>
      <dgm:t>
        <a:bodyPr/>
        <a:lstStyle/>
        <a:p>
          <a:endParaRPr lang="en-US"/>
        </a:p>
      </dgm:t>
    </dgm:pt>
    <dgm:pt modelId="{28BFC2FF-AAE6-4A7B-B2F4-92C607742C72}" type="pres">
      <dgm:prSet presAssocID="{93E50ED9-8094-42DF-9D5A-6A831E9331C9}" presName="diagram" presStyleCnt="0">
        <dgm:presLayoutVars>
          <dgm:dir/>
          <dgm:resizeHandles val="exact"/>
        </dgm:presLayoutVars>
      </dgm:prSet>
      <dgm:spPr/>
    </dgm:pt>
    <dgm:pt modelId="{B2F2C329-5122-4610-B82D-C10F0B6DC02D}" type="pres">
      <dgm:prSet presAssocID="{3937FE73-412E-4FFA-99D6-562B968F143E}" presName="node" presStyleLbl="node1" presStyleIdx="0" presStyleCnt="2" custScaleX="125082" custScaleY="168188">
        <dgm:presLayoutVars>
          <dgm:bulletEnabled val="1"/>
        </dgm:presLayoutVars>
      </dgm:prSet>
      <dgm:spPr/>
    </dgm:pt>
    <dgm:pt modelId="{42036D29-D80F-47CE-9D08-3D9B2F0C4031}" type="pres">
      <dgm:prSet presAssocID="{0CBCC527-BC4A-4A57-B82E-AF33046E2916}" presName="sibTrans" presStyleCnt="0"/>
      <dgm:spPr/>
    </dgm:pt>
    <dgm:pt modelId="{BECECC3C-5AD2-4529-87FD-7FCA9E8C1AFB}" type="pres">
      <dgm:prSet presAssocID="{5C82ED25-AC9A-41CE-90C6-1C8E9F36C9F3}" presName="node" presStyleLbl="node1" presStyleIdx="1" presStyleCnt="2" custScaleX="126519" custScaleY="175019">
        <dgm:presLayoutVars>
          <dgm:bulletEnabled val="1"/>
        </dgm:presLayoutVars>
      </dgm:prSet>
      <dgm:spPr/>
    </dgm:pt>
  </dgm:ptLst>
  <dgm:cxnLst>
    <dgm:cxn modelId="{A231070D-F9C2-4F0A-949C-EE1AB6391BE9}" srcId="{93E50ED9-8094-42DF-9D5A-6A831E9331C9}" destId="{5C82ED25-AC9A-41CE-90C6-1C8E9F36C9F3}" srcOrd="1" destOrd="0" parTransId="{1CF12C78-8694-43EC-A240-9F8FAF39FD02}" sibTransId="{3686B0EF-704F-4E93-87BF-BCCF0F590F7E}"/>
    <dgm:cxn modelId="{6DFBFE5F-938B-4F9A-A8FB-68762A42588C}" type="presOf" srcId="{5C82ED25-AC9A-41CE-90C6-1C8E9F36C9F3}" destId="{BECECC3C-5AD2-4529-87FD-7FCA9E8C1AFB}" srcOrd="0" destOrd="0" presId="urn:microsoft.com/office/officeart/2005/8/layout/default"/>
    <dgm:cxn modelId="{85B36843-C843-4B88-AED0-D957801CFC83}" type="presOf" srcId="{3937FE73-412E-4FFA-99D6-562B968F143E}" destId="{B2F2C329-5122-4610-B82D-C10F0B6DC02D}" srcOrd="0" destOrd="0" presId="urn:microsoft.com/office/officeart/2005/8/layout/default"/>
    <dgm:cxn modelId="{F0BE4BC6-BAB4-4EFC-B363-2B9899075EF7}" srcId="{93E50ED9-8094-42DF-9D5A-6A831E9331C9}" destId="{3937FE73-412E-4FFA-99D6-562B968F143E}" srcOrd="0" destOrd="0" parTransId="{AA026CE9-151E-4F0D-9724-F062734453C2}" sibTransId="{0CBCC527-BC4A-4A57-B82E-AF33046E2916}"/>
    <dgm:cxn modelId="{BC8C43DA-CD8B-4882-8563-6D30BC6BF507}" type="presOf" srcId="{93E50ED9-8094-42DF-9D5A-6A831E9331C9}" destId="{28BFC2FF-AAE6-4A7B-B2F4-92C607742C72}" srcOrd="0" destOrd="0" presId="urn:microsoft.com/office/officeart/2005/8/layout/default"/>
    <dgm:cxn modelId="{C3B09B94-7B6C-48B4-9121-913C7C439712}" type="presParOf" srcId="{28BFC2FF-AAE6-4A7B-B2F4-92C607742C72}" destId="{B2F2C329-5122-4610-B82D-C10F0B6DC02D}" srcOrd="0" destOrd="0" presId="urn:microsoft.com/office/officeart/2005/8/layout/default"/>
    <dgm:cxn modelId="{CC3EA1F9-8F33-425E-B139-5BC2FBCB4838}" type="presParOf" srcId="{28BFC2FF-AAE6-4A7B-B2F4-92C607742C72}" destId="{42036D29-D80F-47CE-9D08-3D9B2F0C4031}" srcOrd="1" destOrd="0" presId="urn:microsoft.com/office/officeart/2005/8/layout/default"/>
    <dgm:cxn modelId="{E55BEB3C-6CC0-42C4-A3AF-717797A671DA}" type="presParOf" srcId="{28BFC2FF-AAE6-4A7B-B2F4-92C607742C72}" destId="{BECECC3C-5AD2-4529-87FD-7FCA9E8C1AFB}" srcOrd="2" destOrd="0" presId="urn:microsoft.com/office/officeart/2005/8/layout/defaul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05B79ADD-EF3B-450C-B561-7D2B8FE16335}" type="doc">
      <dgm:prSet loTypeId="urn:microsoft.com/office/officeart/2005/8/layout/vList6" loCatId="process" qsTypeId="urn:microsoft.com/office/officeart/2005/8/quickstyle/simple1" qsCatId="simple" csTypeId="urn:microsoft.com/office/officeart/2005/8/colors/accent1_2" csCatId="accent1" phldr="1"/>
      <dgm:spPr/>
    </dgm:pt>
    <dgm:pt modelId="{E6841D98-CCB6-4ACD-A770-599D15DC964D}">
      <dgm:prSet phldrT="[Text]" custT="1"/>
      <dgm:spPr/>
      <dgm:t>
        <a:bodyPr/>
        <a:lstStyle/>
        <a:p>
          <a:pPr marL="0" lvl="0" indent="0" algn="ctr" defTabSz="1422400">
            <a:lnSpc>
              <a:spcPct val="90000"/>
            </a:lnSpc>
            <a:spcBef>
              <a:spcPct val="0"/>
            </a:spcBef>
            <a:spcAft>
              <a:spcPct val="35000"/>
            </a:spcAft>
            <a:buNone/>
          </a:pPr>
          <a:r>
            <a:rPr lang="en-US" sz="3200" b="0" kern="1200" dirty="0">
              <a:solidFill>
                <a:srgbClr val="FFFFFF"/>
              </a:solidFill>
              <a:latin typeface="Segoe UI Semibold" panose="020B0702040204020203" pitchFamily="34" charset="0"/>
              <a:ea typeface="+mn-ea"/>
              <a:cs typeface="Segoe UI Semibold" panose="020B0702040204020203" pitchFamily="34" charset="0"/>
            </a:rPr>
            <a:t>Recommended</a:t>
          </a:r>
        </a:p>
      </dgm:t>
    </dgm:pt>
    <dgm:pt modelId="{5B2100B0-182D-4C9D-B5F4-C27FFFC66A51}" type="parTrans" cxnId="{7DE2FF82-D5FE-41F1-BB55-B70287636168}">
      <dgm:prSet/>
      <dgm:spPr/>
      <dgm:t>
        <a:bodyPr/>
        <a:lstStyle/>
        <a:p>
          <a:endParaRPr lang="en-US"/>
        </a:p>
      </dgm:t>
    </dgm:pt>
    <dgm:pt modelId="{71F04961-9941-45D5-BD8B-7EF71A2BA86F}" type="sibTrans" cxnId="{7DE2FF82-D5FE-41F1-BB55-B70287636168}">
      <dgm:prSet/>
      <dgm:spPr/>
      <dgm:t>
        <a:bodyPr/>
        <a:lstStyle/>
        <a:p>
          <a:endParaRPr lang="en-US"/>
        </a:p>
      </dgm:t>
    </dgm:pt>
    <dgm:pt modelId="{2E07414F-51EB-4B5C-AB9D-B48D69987480}">
      <dgm:prSet custT="1"/>
      <dgm:spPr/>
      <dgm:t>
        <a:bodyPr/>
        <a:lstStyle/>
        <a:p>
          <a:r>
            <a:rPr lang="en-US" sz="3200" b="0" dirty="0">
              <a:latin typeface="Segoe UI Semibold" panose="020B0702040204020203" pitchFamily="34" charset="0"/>
              <a:cs typeface="Segoe UI Semibold" panose="020B0702040204020203" pitchFamily="34" charset="0"/>
            </a:rPr>
            <a:t>Mandatory</a:t>
          </a:r>
        </a:p>
      </dgm:t>
    </dgm:pt>
    <dgm:pt modelId="{21A2132F-2BC7-4F43-8013-E8151C3E9FD4}" type="parTrans" cxnId="{7A209090-AF9D-4929-BA45-2611F4AB63E2}">
      <dgm:prSet/>
      <dgm:spPr/>
      <dgm:t>
        <a:bodyPr/>
        <a:lstStyle/>
        <a:p>
          <a:endParaRPr lang="en-US"/>
        </a:p>
      </dgm:t>
    </dgm:pt>
    <dgm:pt modelId="{B1DEA50F-4D8B-4087-A40F-0FD3DCB5F09E}" type="sibTrans" cxnId="{7A209090-AF9D-4929-BA45-2611F4AB63E2}">
      <dgm:prSet/>
      <dgm:spPr/>
      <dgm:t>
        <a:bodyPr/>
        <a:lstStyle/>
        <a:p>
          <a:endParaRPr lang="en-US"/>
        </a:p>
      </dgm:t>
    </dgm:pt>
    <dgm:pt modelId="{36F6ED7D-9DBD-4352-880C-D618B2A327B9}">
      <dgm:prSet custT="1"/>
      <dgm:spPr/>
      <dgm:t>
        <a:bodyPr lIns="182880" tIns="91440" rIns="182880"/>
        <a:lstStyle/>
        <a:p>
          <a:r>
            <a:rPr lang="en-US" sz="1800" dirty="0"/>
            <a:t>Place all assets in cloud services, including code and other installations required to run the application. Everything must be included in the cloud service package and scripts installation.</a:t>
          </a:r>
        </a:p>
      </dgm:t>
    </dgm:pt>
    <dgm:pt modelId="{7E370294-B552-4E0E-83A6-2D1160789CBE}" type="parTrans" cxnId="{BB044F5C-3E28-45FC-A8E7-F14ED39CDED4}">
      <dgm:prSet/>
      <dgm:spPr/>
      <dgm:t>
        <a:bodyPr/>
        <a:lstStyle/>
        <a:p>
          <a:endParaRPr lang="en-US"/>
        </a:p>
      </dgm:t>
    </dgm:pt>
    <dgm:pt modelId="{C5B6EBD3-923A-4EEC-A859-066DDEA9CBA9}" type="sibTrans" cxnId="{BB044F5C-3E28-45FC-A8E7-F14ED39CDED4}">
      <dgm:prSet/>
      <dgm:spPr/>
      <dgm:t>
        <a:bodyPr/>
        <a:lstStyle/>
        <a:p>
          <a:endParaRPr lang="en-US"/>
        </a:p>
      </dgm:t>
    </dgm:pt>
    <dgm:pt modelId="{0190B49C-BB58-46A0-90BD-062D5BAF73E9}">
      <dgm:prSet custT="1"/>
      <dgm:spPr/>
      <dgm:t>
        <a:bodyPr lIns="182880" tIns="91440" rIns="182880"/>
        <a:lstStyle/>
        <a:p>
          <a:r>
            <a:rPr lang="en-US" sz="1800" dirty="0"/>
            <a:t>Consider the deployment models that will be given when updating the application. There exist a few options, so it’s important to understand the pros and cons.</a:t>
          </a:r>
        </a:p>
      </dgm:t>
    </dgm:pt>
    <dgm:pt modelId="{FCC678D0-4084-4406-9A2F-8DE90A9288CE}" type="parTrans" cxnId="{35174360-EC6A-476D-8A56-1189C877A3F9}">
      <dgm:prSet/>
      <dgm:spPr/>
      <dgm:t>
        <a:bodyPr/>
        <a:lstStyle/>
        <a:p>
          <a:endParaRPr lang="en-US"/>
        </a:p>
      </dgm:t>
    </dgm:pt>
    <dgm:pt modelId="{F80198FE-8144-4C29-9AF4-8FBC6E1F3CA9}" type="sibTrans" cxnId="{35174360-EC6A-476D-8A56-1189C877A3F9}">
      <dgm:prSet/>
      <dgm:spPr/>
      <dgm:t>
        <a:bodyPr/>
        <a:lstStyle/>
        <a:p>
          <a:endParaRPr lang="en-US"/>
        </a:p>
      </dgm:t>
    </dgm:pt>
    <dgm:pt modelId="{83F67AFC-B961-4375-BDCF-8365D2FED456}">
      <dgm:prSet custT="1"/>
      <dgm:spPr/>
      <dgm:t>
        <a:bodyPr/>
        <a:lstStyle/>
        <a:p>
          <a:pPr marL="0" lvl="0" indent="0" algn="ctr" defTabSz="1422400">
            <a:lnSpc>
              <a:spcPct val="90000"/>
            </a:lnSpc>
            <a:spcBef>
              <a:spcPct val="0"/>
            </a:spcBef>
            <a:spcAft>
              <a:spcPct val="35000"/>
            </a:spcAft>
            <a:buNone/>
          </a:pPr>
          <a:r>
            <a:rPr lang="en-US" sz="3200" b="0" kern="1200" dirty="0">
              <a:solidFill>
                <a:srgbClr val="FFFFFF"/>
              </a:solidFill>
              <a:latin typeface="Segoe UI Semibold" panose="020B0702040204020203" pitchFamily="34" charset="0"/>
              <a:ea typeface="+mn-ea"/>
              <a:cs typeface="Segoe UI Semibold" panose="020B0702040204020203" pitchFamily="34" charset="0"/>
            </a:rPr>
            <a:t>Optional</a:t>
          </a:r>
        </a:p>
      </dgm:t>
    </dgm:pt>
    <dgm:pt modelId="{42EEF55D-A7E9-4F67-9E16-26E6E5514689}" type="parTrans" cxnId="{936F2A66-288A-4171-8425-E77A0CBB0FC6}">
      <dgm:prSet/>
      <dgm:spPr/>
      <dgm:t>
        <a:bodyPr/>
        <a:lstStyle/>
        <a:p>
          <a:endParaRPr lang="en-US"/>
        </a:p>
      </dgm:t>
    </dgm:pt>
    <dgm:pt modelId="{C263EAB1-47F9-4B9C-9477-EE1EC593E4D3}" type="sibTrans" cxnId="{936F2A66-288A-4171-8425-E77A0CBB0FC6}">
      <dgm:prSet/>
      <dgm:spPr/>
      <dgm:t>
        <a:bodyPr/>
        <a:lstStyle/>
        <a:p>
          <a:endParaRPr lang="en-US"/>
        </a:p>
      </dgm:t>
    </dgm:pt>
    <dgm:pt modelId="{59CD0C11-2FEE-4BE3-BD72-54F0E7C6908E}">
      <dgm:prSet custT="1"/>
      <dgm:spPr/>
      <dgm:t>
        <a:bodyPr lIns="182880" tIns="91440" rIns="182880"/>
        <a:lstStyle/>
        <a:p>
          <a:r>
            <a:rPr lang="en-US" sz="1800" dirty="0"/>
            <a:t>Consider the ability of multiple running deployment models for your cloud service. It’s possible to have multiple deployments in the form of production, test, and staging. </a:t>
          </a:r>
        </a:p>
      </dgm:t>
    </dgm:pt>
    <dgm:pt modelId="{F32D812B-E2B9-4ED1-BC6A-97E169C9E0D6}" type="parTrans" cxnId="{76DC1319-3BF0-439A-9975-2AD2DCC4152E}">
      <dgm:prSet/>
      <dgm:spPr/>
      <dgm:t>
        <a:bodyPr/>
        <a:lstStyle/>
        <a:p>
          <a:endParaRPr lang="en-US"/>
        </a:p>
      </dgm:t>
    </dgm:pt>
    <dgm:pt modelId="{6D9C1B24-2426-4F6D-97C1-A6E2711245BC}" type="sibTrans" cxnId="{76DC1319-3BF0-439A-9975-2AD2DCC4152E}">
      <dgm:prSet/>
      <dgm:spPr/>
      <dgm:t>
        <a:bodyPr/>
        <a:lstStyle/>
        <a:p>
          <a:endParaRPr lang="en-US"/>
        </a:p>
      </dgm:t>
    </dgm:pt>
    <dgm:pt modelId="{C5C7C8D5-F215-444E-B39F-6BEB1A08A31D}">
      <dgm:prSet custT="1"/>
      <dgm:spPr/>
      <dgm:t>
        <a:bodyPr/>
        <a:lstStyle/>
        <a:p>
          <a:endParaRPr lang="en-US" sz="1800" dirty="0"/>
        </a:p>
      </dgm:t>
    </dgm:pt>
    <dgm:pt modelId="{95F058D4-1656-4CE9-BD6A-1E6AA2A9640C}" type="parTrans" cxnId="{15EE085B-C1BF-4171-947A-B68E748D1A12}">
      <dgm:prSet/>
      <dgm:spPr/>
      <dgm:t>
        <a:bodyPr/>
        <a:lstStyle/>
        <a:p>
          <a:endParaRPr lang="en-US"/>
        </a:p>
      </dgm:t>
    </dgm:pt>
    <dgm:pt modelId="{84952601-54D1-4E59-A52B-ED39DAFFE7B8}" type="sibTrans" cxnId="{15EE085B-C1BF-4171-947A-B68E748D1A12}">
      <dgm:prSet/>
      <dgm:spPr/>
      <dgm:t>
        <a:bodyPr/>
        <a:lstStyle/>
        <a:p>
          <a:endParaRPr lang="en-US"/>
        </a:p>
      </dgm:t>
    </dgm:pt>
    <dgm:pt modelId="{9D5C7DDF-1E8C-429C-9CB6-83294A47803B}">
      <dgm:prSet custT="1"/>
      <dgm:spPr/>
      <dgm:t>
        <a:bodyPr/>
        <a:lstStyle/>
        <a:p>
          <a:endParaRPr lang="en-US" sz="1800" dirty="0"/>
        </a:p>
      </dgm:t>
    </dgm:pt>
    <dgm:pt modelId="{26EFF28B-27C4-4FA8-8210-8F8B8D293BA1}" type="parTrans" cxnId="{D4F5C09A-8A8E-4F27-8765-D9784BE1659B}">
      <dgm:prSet/>
      <dgm:spPr/>
      <dgm:t>
        <a:bodyPr/>
        <a:lstStyle/>
        <a:p>
          <a:endParaRPr lang="en-US"/>
        </a:p>
      </dgm:t>
    </dgm:pt>
    <dgm:pt modelId="{B7468947-5C49-4BD5-8CD8-AE84BB0766CF}" type="sibTrans" cxnId="{D4F5C09A-8A8E-4F27-8765-D9784BE1659B}">
      <dgm:prSet/>
      <dgm:spPr/>
      <dgm:t>
        <a:bodyPr/>
        <a:lstStyle/>
        <a:p>
          <a:endParaRPr lang="en-US"/>
        </a:p>
      </dgm:t>
    </dgm:pt>
    <dgm:pt modelId="{D25AB28B-5B98-4EAF-99BE-82236FE0FCA6}">
      <dgm:prSet custT="1"/>
      <dgm:spPr/>
      <dgm:t>
        <a:bodyPr/>
        <a:lstStyle/>
        <a:p>
          <a:endParaRPr lang="en-US" sz="1800" dirty="0"/>
        </a:p>
      </dgm:t>
    </dgm:pt>
    <dgm:pt modelId="{14DA52DC-88C0-4AEC-8D32-45224A4F2C38}" type="parTrans" cxnId="{1893FA9A-BACD-4839-A246-D3E20BF7C632}">
      <dgm:prSet/>
      <dgm:spPr/>
      <dgm:t>
        <a:bodyPr/>
        <a:lstStyle/>
        <a:p>
          <a:endParaRPr lang="en-US"/>
        </a:p>
      </dgm:t>
    </dgm:pt>
    <dgm:pt modelId="{DAC9BE10-EF50-4F67-9D80-F7C64C85F60B}" type="sibTrans" cxnId="{1893FA9A-BACD-4839-A246-D3E20BF7C632}">
      <dgm:prSet/>
      <dgm:spPr/>
      <dgm:t>
        <a:bodyPr/>
        <a:lstStyle/>
        <a:p>
          <a:endParaRPr lang="en-US"/>
        </a:p>
      </dgm:t>
    </dgm:pt>
    <dgm:pt modelId="{EA7AC903-2A0A-4CDC-9304-DC3823D9B040}" type="pres">
      <dgm:prSet presAssocID="{05B79ADD-EF3B-450C-B561-7D2B8FE16335}" presName="Name0" presStyleCnt="0">
        <dgm:presLayoutVars>
          <dgm:dir/>
          <dgm:animLvl val="lvl"/>
          <dgm:resizeHandles/>
        </dgm:presLayoutVars>
      </dgm:prSet>
      <dgm:spPr/>
    </dgm:pt>
    <dgm:pt modelId="{D4199897-136D-4EAB-BF9F-C5F55C4ACFFC}" type="pres">
      <dgm:prSet presAssocID="{2E07414F-51EB-4B5C-AB9D-B48D69987480}" presName="linNode" presStyleCnt="0"/>
      <dgm:spPr/>
    </dgm:pt>
    <dgm:pt modelId="{C0085984-AAFD-4DEB-92C0-E59BEAB1444A}" type="pres">
      <dgm:prSet presAssocID="{2E07414F-51EB-4B5C-AB9D-B48D69987480}" presName="parentShp" presStyleLbl="node1" presStyleIdx="0" presStyleCnt="3" custScaleY="273599">
        <dgm:presLayoutVars>
          <dgm:bulletEnabled val="1"/>
        </dgm:presLayoutVars>
      </dgm:prSet>
      <dgm:spPr/>
    </dgm:pt>
    <dgm:pt modelId="{0A8113A1-F9D1-4A5B-9F7B-7AADFE9A6A65}" type="pres">
      <dgm:prSet presAssocID="{2E07414F-51EB-4B5C-AB9D-B48D69987480}" presName="childShp" presStyleLbl="bgAccFollowNode1" presStyleIdx="0" presStyleCnt="3" custScaleY="331168" custLinFactNeighborX="-2362">
        <dgm:presLayoutVars>
          <dgm:bulletEnabled val="1"/>
        </dgm:presLayoutVars>
      </dgm:prSet>
      <dgm:spPr/>
    </dgm:pt>
    <dgm:pt modelId="{B8B7F072-84AD-4757-A9CA-8D0EEB6615B3}" type="pres">
      <dgm:prSet presAssocID="{B1DEA50F-4D8B-4087-A40F-0FD3DCB5F09E}" presName="spacing" presStyleCnt="0"/>
      <dgm:spPr/>
    </dgm:pt>
    <dgm:pt modelId="{8100EA6D-F7CA-4D02-A139-37F2837A9FA9}" type="pres">
      <dgm:prSet presAssocID="{E6841D98-CCB6-4ACD-A770-599D15DC964D}" presName="linNode" presStyleCnt="0"/>
      <dgm:spPr/>
    </dgm:pt>
    <dgm:pt modelId="{AF601908-1BCC-4D16-B9A7-97E1AB278EC7}" type="pres">
      <dgm:prSet presAssocID="{E6841D98-CCB6-4ACD-A770-599D15DC964D}" presName="parentShp" presStyleLbl="node1" presStyleIdx="1" presStyleCnt="3" custScaleX="95580" custScaleY="272747" custLinFactNeighborX="-4262" custLinFactNeighborY="1726">
        <dgm:presLayoutVars>
          <dgm:bulletEnabled val="1"/>
        </dgm:presLayoutVars>
      </dgm:prSet>
      <dgm:spPr/>
    </dgm:pt>
    <dgm:pt modelId="{AD4923FE-E322-4BB7-B593-6A6239D3FAE8}" type="pres">
      <dgm:prSet presAssocID="{E6841D98-CCB6-4ACD-A770-599D15DC964D}" presName="childShp" presStyleLbl="bgAccFollowNode1" presStyleIdx="1" presStyleCnt="3" custScaleX="100304" custScaleY="312270" custLinFactNeighborX="-5347" custLinFactNeighborY="1700">
        <dgm:presLayoutVars>
          <dgm:bulletEnabled val="1"/>
        </dgm:presLayoutVars>
      </dgm:prSet>
      <dgm:spPr/>
    </dgm:pt>
    <dgm:pt modelId="{5FAC147B-0CAD-4B98-99EE-AE6C2A54C861}" type="pres">
      <dgm:prSet presAssocID="{71F04961-9941-45D5-BD8B-7EF71A2BA86F}" presName="spacing" presStyleCnt="0"/>
      <dgm:spPr/>
    </dgm:pt>
    <dgm:pt modelId="{512ECA44-FA43-46C6-9FC9-E5CFBF3ED025}" type="pres">
      <dgm:prSet presAssocID="{83F67AFC-B961-4375-BDCF-8365D2FED456}" presName="linNode" presStyleCnt="0"/>
      <dgm:spPr/>
    </dgm:pt>
    <dgm:pt modelId="{AFAB1B19-CAE8-440B-9CCB-5694D6EBAD69}" type="pres">
      <dgm:prSet presAssocID="{83F67AFC-B961-4375-BDCF-8365D2FED456}" presName="parentShp" presStyleLbl="node1" presStyleIdx="2" presStyleCnt="3" custScaleY="277606">
        <dgm:presLayoutVars>
          <dgm:bulletEnabled val="1"/>
        </dgm:presLayoutVars>
      </dgm:prSet>
      <dgm:spPr/>
    </dgm:pt>
    <dgm:pt modelId="{552042D3-DA16-49BF-8955-96746597232F}" type="pres">
      <dgm:prSet presAssocID="{83F67AFC-B961-4375-BDCF-8365D2FED456}" presName="childShp" presStyleLbl="bgAccFollowNode1" presStyleIdx="2" presStyleCnt="3" custScaleX="105040" custScaleY="350255" custLinFactNeighborX="-3195">
        <dgm:presLayoutVars>
          <dgm:bulletEnabled val="1"/>
        </dgm:presLayoutVars>
      </dgm:prSet>
      <dgm:spPr/>
    </dgm:pt>
  </dgm:ptLst>
  <dgm:cxnLst>
    <dgm:cxn modelId="{76DC1319-3BF0-439A-9975-2AD2DCC4152E}" srcId="{83F67AFC-B961-4375-BDCF-8365D2FED456}" destId="{59CD0C11-2FEE-4BE3-BD72-54F0E7C6908E}" srcOrd="0" destOrd="0" parTransId="{F32D812B-E2B9-4ED1-BC6A-97E169C9E0D6}" sibTransId="{6D9C1B24-2426-4F6D-97C1-A6E2711245BC}"/>
    <dgm:cxn modelId="{B323D938-4C55-446F-94EB-EFFBA5635AEA}" type="presOf" srcId="{D25AB28B-5B98-4EAF-99BE-82236FE0FCA6}" destId="{552042D3-DA16-49BF-8955-96746597232F}" srcOrd="0" destOrd="1" presId="urn:microsoft.com/office/officeart/2005/8/layout/vList6"/>
    <dgm:cxn modelId="{15EE085B-C1BF-4171-947A-B68E748D1A12}" srcId="{2E07414F-51EB-4B5C-AB9D-B48D69987480}" destId="{C5C7C8D5-F215-444E-B39F-6BEB1A08A31D}" srcOrd="1" destOrd="0" parTransId="{95F058D4-1656-4CE9-BD6A-1E6AA2A9640C}" sibTransId="{84952601-54D1-4E59-A52B-ED39DAFFE7B8}"/>
    <dgm:cxn modelId="{BB044F5C-3E28-45FC-A8E7-F14ED39CDED4}" srcId="{2E07414F-51EB-4B5C-AB9D-B48D69987480}" destId="{36F6ED7D-9DBD-4352-880C-D618B2A327B9}" srcOrd="0" destOrd="0" parTransId="{7E370294-B552-4E0E-83A6-2D1160789CBE}" sibTransId="{C5B6EBD3-923A-4EEC-A859-066DDEA9CBA9}"/>
    <dgm:cxn modelId="{1FBBF75F-ABA2-4B94-855A-0B4C8F300F0F}" type="presOf" srcId="{0190B49C-BB58-46A0-90BD-062D5BAF73E9}" destId="{AD4923FE-E322-4BB7-B593-6A6239D3FAE8}" srcOrd="0" destOrd="0" presId="urn:microsoft.com/office/officeart/2005/8/layout/vList6"/>
    <dgm:cxn modelId="{35174360-EC6A-476D-8A56-1189C877A3F9}" srcId="{E6841D98-CCB6-4ACD-A770-599D15DC964D}" destId="{0190B49C-BB58-46A0-90BD-062D5BAF73E9}" srcOrd="0" destOrd="0" parTransId="{FCC678D0-4084-4406-9A2F-8DE90A9288CE}" sibTransId="{F80198FE-8144-4C29-9AF4-8FBC6E1F3CA9}"/>
    <dgm:cxn modelId="{936F2A66-288A-4171-8425-E77A0CBB0FC6}" srcId="{05B79ADD-EF3B-450C-B561-7D2B8FE16335}" destId="{83F67AFC-B961-4375-BDCF-8365D2FED456}" srcOrd="2" destOrd="0" parTransId="{42EEF55D-A7E9-4F67-9E16-26E6E5514689}" sibTransId="{C263EAB1-47F9-4B9C-9477-EE1EC593E4D3}"/>
    <dgm:cxn modelId="{ECBD664B-6D64-46BD-B6BC-4850DBFE72B3}" type="presOf" srcId="{E6841D98-CCB6-4ACD-A770-599D15DC964D}" destId="{AF601908-1BCC-4D16-B9A7-97E1AB278EC7}" srcOrd="0" destOrd="0" presId="urn:microsoft.com/office/officeart/2005/8/layout/vList6"/>
    <dgm:cxn modelId="{E1CAE64C-955A-44E6-84FD-219F6B9FE69D}" type="presOf" srcId="{2E07414F-51EB-4B5C-AB9D-B48D69987480}" destId="{C0085984-AAFD-4DEB-92C0-E59BEAB1444A}" srcOrd="0" destOrd="0" presId="urn:microsoft.com/office/officeart/2005/8/layout/vList6"/>
    <dgm:cxn modelId="{6743D350-489D-489F-A3D3-83EF53B644E3}" type="presOf" srcId="{36F6ED7D-9DBD-4352-880C-D618B2A327B9}" destId="{0A8113A1-F9D1-4A5B-9F7B-7AADFE9A6A65}" srcOrd="0" destOrd="0" presId="urn:microsoft.com/office/officeart/2005/8/layout/vList6"/>
    <dgm:cxn modelId="{F822AD73-D7DF-49B9-82F6-7F78BD3A0E9C}" type="presOf" srcId="{05B79ADD-EF3B-450C-B561-7D2B8FE16335}" destId="{EA7AC903-2A0A-4CDC-9304-DC3823D9B040}" srcOrd="0" destOrd="0" presId="urn:microsoft.com/office/officeart/2005/8/layout/vList6"/>
    <dgm:cxn modelId="{B44BC077-3938-4DAB-A48D-3675A9EC80CE}" type="presOf" srcId="{C5C7C8D5-F215-444E-B39F-6BEB1A08A31D}" destId="{0A8113A1-F9D1-4A5B-9F7B-7AADFE9A6A65}" srcOrd="0" destOrd="1" presId="urn:microsoft.com/office/officeart/2005/8/layout/vList6"/>
    <dgm:cxn modelId="{C50D5A78-E2E5-439C-BC51-3FFFD241C511}" type="presOf" srcId="{83F67AFC-B961-4375-BDCF-8365D2FED456}" destId="{AFAB1B19-CAE8-440B-9CCB-5694D6EBAD69}" srcOrd="0" destOrd="0" presId="urn:microsoft.com/office/officeart/2005/8/layout/vList6"/>
    <dgm:cxn modelId="{7DE2FF82-D5FE-41F1-BB55-B70287636168}" srcId="{05B79ADD-EF3B-450C-B561-7D2B8FE16335}" destId="{E6841D98-CCB6-4ACD-A770-599D15DC964D}" srcOrd="1" destOrd="0" parTransId="{5B2100B0-182D-4C9D-B5F4-C27FFFC66A51}" sibTransId="{71F04961-9941-45D5-BD8B-7EF71A2BA86F}"/>
    <dgm:cxn modelId="{7A209090-AF9D-4929-BA45-2611F4AB63E2}" srcId="{05B79ADD-EF3B-450C-B561-7D2B8FE16335}" destId="{2E07414F-51EB-4B5C-AB9D-B48D69987480}" srcOrd="0" destOrd="0" parTransId="{21A2132F-2BC7-4F43-8013-E8151C3E9FD4}" sibTransId="{B1DEA50F-4D8B-4087-A40F-0FD3DCB5F09E}"/>
    <dgm:cxn modelId="{D4F5C09A-8A8E-4F27-8765-D9784BE1659B}" srcId="{E6841D98-CCB6-4ACD-A770-599D15DC964D}" destId="{9D5C7DDF-1E8C-429C-9CB6-83294A47803B}" srcOrd="1" destOrd="0" parTransId="{26EFF28B-27C4-4FA8-8210-8F8B8D293BA1}" sibTransId="{B7468947-5C49-4BD5-8CD8-AE84BB0766CF}"/>
    <dgm:cxn modelId="{1893FA9A-BACD-4839-A246-D3E20BF7C632}" srcId="{83F67AFC-B961-4375-BDCF-8365D2FED456}" destId="{D25AB28B-5B98-4EAF-99BE-82236FE0FCA6}" srcOrd="1" destOrd="0" parTransId="{14DA52DC-88C0-4AEC-8D32-45224A4F2C38}" sibTransId="{DAC9BE10-EF50-4F67-9D80-F7C64C85F60B}"/>
    <dgm:cxn modelId="{ABB2DAF7-97B0-46A9-BF14-FA34C99D5ED7}" type="presOf" srcId="{9D5C7DDF-1E8C-429C-9CB6-83294A47803B}" destId="{AD4923FE-E322-4BB7-B593-6A6239D3FAE8}" srcOrd="0" destOrd="1" presId="urn:microsoft.com/office/officeart/2005/8/layout/vList6"/>
    <dgm:cxn modelId="{722BB5FC-2F76-4A3F-8C68-F0EE2FD3CF2C}" type="presOf" srcId="{59CD0C11-2FEE-4BE3-BD72-54F0E7C6908E}" destId="{552042D3-DA16-49BF-8955-96746597232F}" srcOrd="0" destOrd="0" presId="urn:microsoft.com/office/officeart/2005/8/layout/vList6"/>
    <dgm:cxn modelId="{C8087B16-45B0-4C4A-894D-72137871D2B0}" type="presParOf" srcId="{EA7AC903-2A0A-4CDC-9304-DC3823D9B040}" destId="{D4199897-136D-4EAB-BF9F-C5F55C4ACFFC}" srcOrd="0" destOrd="0" presId="urn:microsoft.com/office/officeart/2005/8/layout/vList6"/>
    <dgm:cxn modelId="{EBAA6975-AB02-42FD-A027-6FA2688B2C40}" type="presParOf" srcId="{D4199897-136D-4EAB-BF9F-C5F55C4ACFFC}" destId="{C0085984-AAFD-4DEB-92C0-E59BEAB1444A}" srcOrd="0" destOrd="0" presId="urn:microsoft.com/office/officeart/2005/8/layout/vList6"/>
    <dgm:cxn modelId="{0AC9C2C1-3CE8-41B4-8213-847192868360}" type="presParOf" srcId="{D4199897-136D-4EAB-BF9F-C5F55C4ACFFC}" destId="{0A8113A1-F9D1-4A5B-9F7B-7AADFE9A6A65}" srcOrd="1" destOrd="0" presId="urn:microsoft.com/office/officeart/2005/8/layout/vList6"/>
    <dgm:cxn modelId="{F1321A67-0FDC-43B3-9EBB-21D6A4CC759A}" type="presParOf" srcId="{EA7AC903-2A0A-4CDC-9304-DC3823D9B040}" destId="{B8B7F072-84AD-4757-A9CA-8D0EEB6615B3}" srcOrd="1" destOrd="0" presId="urn:microsoft.com/office/officeart/2005/8/layout/vList6"/>
    <dgm:cxn modelId="{7B148792-532A-41D0-8F96-6E772694AD18}" type="presParOf" srcId="{EA7AC903-2A0A-4CDC-9304-DC3823D9B040}" destId="{8100EA6D-F7CA-4D02-A139-37F2837A9FA9}" srcOrd="2" destOrd="0" presId="urn:microsoft.com/office/officeart/2005/8/layout/vList6"/>
    <dgm:cxn modelId="{C33A9899-6B06-49ED-9B1E-0C7B49CFC750}" type="presParOf" srcId="{8100EA6D-F7CA-4D02-A139-37F2837A9FA9}" destId="{AF601908-1BCC-4D16-B9A7-97E1AB278EC7}" srcOrd="0" destOrd="0" presId="urn:microsoft.com/office/officeart/2005/8/layout/vList6"/>
    <dgm:cxn modelId="{0D0F32BA-0A9D-46F9-9A56-71CEA4C0985E}" type="presParOf" srcId="{8100EA6D-F7CA-4D02-A139-37F2837A9FA9}" destId="{AD4923FE-E322-4BB7-B593-6A6239D3FAE8}" srcOrd="1" destOrd="0" presId="urn:microsoft.com/office/officeart/2005/8/layout/vList6"/>
    <dgm:cxn modelId="{7A820778-5160-46B1-8AD0-1AD4FF1BACF3}" type="presParOf" srcId="{EA7AC903-2A0A-4CDC-9304-DC3823D9B040}" destId="{5FAC147B-0CAD-4B98-99EE-AE6C2A54C861}" srcOrd="3" destOrd="0" presId="urn:microsoft.com/office/officeart/2005/8/layout/vList6"/>
    <dgm:cxn modelId="{48C00142-D2E7-45AE-A923-AD893FB10D14}" type="presParOf" srcId="{EA7AC903-2A0A-4CDC-9304-DC3823D9B040}" destId="{512ECA44-FA43-46C6-9FC9-E5CFBF3ED025}" srcOrd="4" destOrd="0" presId="urn:microsoft.com/office/officeart/2005/8/layout/vList6"/>
    <dgm:cxn modelId="{66547E76-E145-4125-AFE7-54944CA5BD7F}" type="presParOf" srcId="{512ECA44-FA43-46C6-9FC9-E5CFBF3ED025}" destId="{AFAB1B19-CAE8-440B-9CCB-5694D6EBAD69}" srcOrd="0" destOrd="0" presId="urn:microsoft.com/office/officeart/2005/8/layout/vList6"/>
    <dgm:cxn modelId="{F66F9C00-937C-4584-BEAC-BAB8209DA399}" type="presParOf" srcId="{512ECA44-FA43-46C6-9FC9-E5CFBF3ED025}" destId="{552042D3-DA16-49BF-8955-96746597232F}" srcOrd="1" destOrd="0" presId="urn:microsoft.com/office/officeart/2005/8/layout/vList6"/>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05B79ADD-EF3B-450C-B561-7D2B8FE16335}" type="doc">
      <dgm:prSet loTypeId="urn:microsoft.com/office/officeart/2005/8/layout/vList6" loCatId="process" qsTypeId="urn:microsoft.com/office/officeart/2005/8/quickstyle/simple1" qsCatId="simple" csTypeId="urn:microsoft.com/office/officeart/2005/8/colors/accent1_2" csCatId="accent1" phldr="1"/>
      <dgm:spPr/>
    </dgm:pt>
    <dgm:pt modelId="{E6841D98-CCB6-4ACD-A770-599D15DC964D}">
      <dgm:prSet phldrT="[Text]" custT="1"/>
      <dgm:spPr/>
      <dgm:t>
        <a:bodyPr/>
        <a:lstStyle/>
        <a:p>
          <a:pPr marL="0" lvl="0" indent="0" algn="ctr" defTabSz="1422400">
            <a:lnSpc>
              <a:spcPct val="90000"/>
            </a:lnSpc>
            <a:spcBef>
              <a:spcPct val="0"/>
            </a:spcBef>
            <a:spcAft>
              <a:spcPct val="35000"/>
            </a:spcAft>
            <a:buNone/>
          </a:pPr>
          <a:r>
            <a:rPr lang="en-US" sz="3200" b="0" kern="1200" dirty="0">
              <a:solidFill>
                <a:srgbClr val="FFFFFF"/>
              </a:solidFill>
              <a:latin typeface="Segoe UI Semibold" panose="020B0702040204020203" pitchFamily="34" charset="0"/>
              <a:ea typeface="+mn-ea"/>
              <a:cs typeface="Segoe UI Semibold" panose="020B0702040204020203" pitchFamily="34" charset="0"/>
            </a:rPr>
            <a:t>Recommended</a:t>
          </a:r>
        </a:p>
      </dgm:t>
    </dgm:pt>
    <dgm:pt modelId="{5B2100B0-182D-4C9D-B5F4-C27FFFC66A51}" type="parTrans" cxnId="{7DE2FF82-D5FE-41F1-BB55-B70287636168}">
      <dgm:prSet/>
      <dgm:spPr/>
      <dgm:t>
        <a:bodyPr/>
        <a:lstStyle/>
        <a:p>
          <a:endParaRPr lang="en-US"/>
        </a:p>
      </dgm:t>
    </dgm:pt>
    <dgm:pt modelId="{71F04961-9941-45D5-BD8B-7EF71A2BA86F}" type="sibTrans" cxnId="{7DE2FF82-D5FE-41F1-BB55-B70287636168}">
      <dgm:prSet/>
      <dgm:spPr/>
      <dgm:t>
        <a:bodyPr/>
        <a:lstStyle/>
        <a:p>
          <a:endParaRPr lang="en-US"/>
        </a:p>
      </dgm:t>
    </dgm:pt>
    <dgm:pt modelId="{2E07414F-51EB-4B5C-AB9D-B48D69987480}">
      <dgm:prSet custT="1"/>
      <dgm:spPr/>
      <dgm:t>
        <a:bodyPr/>
        <a:lstStyle/>
        <a:p>
          <a:r>
            <a:rPr lang="en-US" sz="3200" b="0" dirty="0">
              <a:latin typeface="Segoe UI Semibold" panose="020B0702040204020203" pitchFamily="34" charset="0"/>
              <a:cs typeface="Segoe UI Semibold" panose="020B0702040204020203" pitchFamily="34" charset="0"/>
            </a:rPr>
            <a:t>Mandatory</a:t>
          </a:r>
        </a:p>
      </dgm:t>
    </dgm:pt>
    <dgm:pt modelId="{21A2132F-2BC7-4F43-8013-E8151C3E9FD4}" type="parTrans" cxnId="{7A209090-AF9D-4929-BA45-2611F4AB63E2}">
      <dgm:prSet/>
      <dgm:spPr/>
      <dgm:t>
        <a:bodyPr/>
        <a:lstStyle/>
        <a:p>
          <a:endParaRPr lang="en-US"/>
        </a:p>
      </dgm:t>
    </dgm:pt>
    <dgm:pt modelId="{B1DEA50F-4D8B-4087-A40F-0FD3DCB5F09E}" type="sibTrans" cxnId="{7A209090-AF9D-4929-BA45-2611F4AB63E2}">
      <dgm:prSet/>
      <dgm:spPr/>
      <dgm:t>
        <a:bodyPr/>
        <a:lstStyle/>
        <a:p>
          <a:endParaRPr lang="en-US"/>
        </a:p>
      </dgm:t>
    </dgm:pt>
    <dgm:pt modelId="{36F6ED7D-9DBD-4352-880C-D618B2A327B9}">
      <dgm:prSet custT="1"/>
      <dgm:spPr/>
      <dgm:t>
        <a:bodyPr lIns="182880" tIns="91440" rIns="182880"/>
        <a:lstStyle/>
        <a:p>
          <a:r>
            <a:rPr lang="en-US" sz="1800" dirty="0"/>
            <a:t>Decide on the amount of instances for Web and Worker roles. Web and Worker roles require at least two instances to provide fault tolerance for the automatic maintenance nature of PaaS.</a:t>
          </a:r>
        </a:p>
      </dgm:t>
    </dgm:pt>
    <dgm:pt modelId="{7E370294-B552-4E0E-83A6-2D1160789CBE}" type="parTrans" cxnId="{BB044F5C-3E28-45FC-A8E7-F14ED39CDED4}">
      <dgm:prSet/>
      <dgm:spPr/>
      <dgm:t>
        <a:bodyPr/>
        <a:lstStyle/>
        <a:p>
          <a:endParaRPr lang="en-US"/>
        </a:p>
      </dgm:t>
    </dgm:pt>
    <dgm:pt modelId="{C5B6EBD3-923A-4EEC-A859-066DDEA9CBA9}" type="sibTrans" cxnId="{BB044F5C-3E28-45FC-A8E7-F14ED39CDED4}">
      <dgm:prSet/>
      <dgm:spPr/>
      <dgm:t>
        <a:bodyPr/>
        <a:lstStyle/>
        <a:p>
          <a:endParaRPr lang="en-US"/>
        </a:p>
      </dgm:t>
    </dgm:pt>
    <dgm:pt modelId="{0190B49C-BB58-46A0-90BD-062D5BAF73E9}">
      <dgm:prSet custT="1"/>
      <dgm:spPr/>
      <dgm:t>
        <a:bodyPr lIns="182880" tIns="91440" rIns="182880"/>
        <a:lstStyle/>
        <a:p>
          <a:r>
            <a:rPr lang="en-US" sz="1800" dirty="0"/>
            <a:t>Consider Web and/or Worker roles if the application requires installation of binaries on the web or application server.</a:t>
          </a:r>
        </a:p>
      </dgm:t>
    </dgm:pt>
    <dgm:pt modelId="{FCC678D0-4084-4406-9A2F-8DE90A9288CE}" type="parTrans" cxnId="{35174360-EC6A-476D-8A56-1189C877A3F9}">
      <dgm:prSet/>
      <dgm:spPr/>
      <dgm:t>
        <a:bodyPr/>
        <a:lstStyle/>
        <a:p>
          <a:endParaRPr lang="en-US"/>
        </a:p>
      </dgm:t>
    </dgm:pt>
    <dgm:pt modelId="{F80198FE-8144-4C29-9AF4-8FBC6E1F3CA9}" type="sibTrans" cxnId="{35174360-EC6A-476D-8A56-1189C877A3F9}">
      <dgm:prSet/>
      <dgm:spPr/>
      <dgm:t>
        <a:bodyPr/>
        <a:lstStyle/>
        <a:p>
          <a:endParaRPr lang="en-US"/>
        </a:p>
      </dgm:t>
    </dgm:pt>
    <dgm:pt modelId="{83F67AFC-B961-4375-BDCF-8365D2FED456}">
      <dgm:prSet custT="1"/>
      <dgm:spPr/>
      <dgm:t>
        <a:bodyPr/>
        <a:lstStyle/>
        <a:p>
          <a:pPr marL="0" lvl="0" indent="0" algn="ctr" defTabSz="1422400">
            <a:lnSpc>
              <a:spcPct val="90000"/>
            </a:lnSpc>
            <a:spcBef>
              <a:spcPct val="0"/>
            </a:spcBef>
            <a:spcAft>
              <a:spcPct val="35000"/>
            </a:spcAft>
            <a:buNone/>
          </a:pPr>
          <a:r>
            <a:rPr lang="en-US" sz="3200" b="0" kern="1200" dirty="0">
              <a:solidFill>
                <a:srgbClr val="FFFFFF"/>
              </a:solidFill>
              <a:latin typeface="Segoe UI Semibold" panose="020B0702040204020203" pitchFamily="34" charset="0"/>
              <a:ea typeface="+mn-ea"/>
              <a:cs typeface="Segoe UI Semibold" panose="020B0702040204020203" pitchFamily="34" charset="0"/>
            </a:rPr>
            <a:t>Optional</a:t>
          </a:r>
        </a:p>
      </dgm:t>
    </dgm:pt>
    <dgm:pt modelId="{42EEF55D-A7E9-4F67-9E16-26E6E5514689}" type="parTrans" cxnId="{936F2A66-288A-4171-8425-E77A0CBB0FC6}">
      <dgm:prSet/>
      <dgm:spPr/>
      <dgm:t>
        <a:bodyPr/>
        <a:lstStyle/>
        <a:p>
          <a:endParaRPr lang="en-US"/>
        </a:p>
      </dgm:t>
    </dgm:pt>
    <dgm:pt modelId="{C263EAB1-47F9-4B9C-9477-EE1EC593E4D3}" type="sibTrans" cxnId="{936F2A66-288A-4171-8425-E77A0CBB0FC6}">
      <dgm:prSet/>
      <dgm:spPr/>
      <dgm:t>
        <a:bodyPr/>
        <a:lstStyle/>
        <a:p>
          <a:endParaRPr lang="en-US"/>
        </a:p>
      </dgm:t>
    </dgm:pt>
    <dgm:pt modelId="{59CD0C11-2FEE-4BE3-BD72-54F0E7C6908E}">
      <dgm:prSet custT="1"/>
      <dgm:spPr/>
      <dgm:t>
        <a:bodyPr lIns="182880" tIns="91440" rIns="182880"/>
        <a:lstStyle/>
        <a:p>
          <a:r>
            <a:rPr lang="en-US" sz="1800" dirty="0"/>
            <a:t>Understand that Virtual Networking is common to allow the communication needed for databases, management services, and other services but it’s not a hard requirement for deploying Web or Worker role applications. </a:t>
          </a:r>
        </a:p>
      </dgm:t>
    </dgm:pt>
    <dgm:pt modelId="{F32D812B-E2B9-4ED1-BC6A-97E169C9E0D6}" type="parTrans" cxnId="{76DC1319-3BF0-439A-9975-2AD2DCC4152E}">
      <dgm:prSet/>
      <dgm:spPr/>
      <dgm:t>
        <a:bodyPr/>
        <a:lstStyle/>
        <a:p>
          <a:endParaRPr lang="en-US"/>
        </a:p>
      </dgm:t>
    </dgm:pt>
    <dgm:pt modelId="{6D9C1B24-2426-4F6D-97C1-A6E2711245BC}" type="sibTrans" cxnId="{76DC1319-3BF0-439A-9975-2AD2DCC4152E}">
      <dgm:prSet/>
      <dgm:spPr/>
      <dgm:t>
        <a:bodyPr/>
        <a:lstStyle/>
        <a:p>
          <a:endParaRPr lang="en-US"/>
        </a:p>
      </dgm:t>
    </dgm:pt>
    <dgm:pt modelId="{AA690D9F-F9DE-4279-AE3D-5200AAA0DFB7}">
      <dgm:prSet custT="1"/>
      <dgm:spPr/>
      <dgm:t>
        <a:bodyPr/>
        <a:lstStyle/>
        <a:p>
          <a:endParaRPr lang="en-US" sz="1800" dirty="0"/>
        </a:p>
      </dgm:t>
    </dgm:pt>
    <dgm:pt modelId="{AA58E221-3F20-4F3B-915B-B9B9497712A9}" type="parTrans" cxnId="{7E3C92A6-AEFF-486E-9527-4B8551DAD077}">
      <dgm:prSet/>
      <dgm:spPr/>
      <dgm:t>
        <a:bodyPr/>
        <a:lstStyle/>
        <a:p>
          <a:endParaRPr lang="en-US"/>
        </a:p>
      </dgm:t>
    </dgm:pt>
    <dgm:pt modelId="{89548DB5-BD86-46AB-BFB4-614C8867B106}" type="sibTrans" cxnId="{7E3C92A6-AEFF-486E-9527-4B8551DAD077}">
      <dgm:prSet/>
      <dgm:spPr/>
      <dgm:t>
        <a:bodyPr/>
        <a:lstStyle/>
        <a:p>
          <a:endParaRPr lang="en-US"/>
        </a:p>
      </dgm:t>
    </dgm:pt>
    <dgm:pt modelId="{C7A8B969-2EB8-428A-B849-733E719E53CC}">
      <dgm:prSet custT="1"/>
      <dgm:spPr/>
      <dgm:t>
        <a:bodyPr/>
        <a:lstStyle/>
        <a:p>
          <a:endParaRPr lang="en-US" sz="1800" dirty="0"/>
        </a:p>
      </dgm:t>
    </dgm:pt>
    <dgm:pt modelId="{0575737A-98B9-4F73-8259-7E98D3225D8B}" type="parTrans" cxnId="{D5673C01-DF3B-4C8E-858F-ADB758B148BC}">
      <dgm:prSet/>
      <dgm:spPr/>
      <dgm:t>
        <a:bodyPr/>
        <a:lstStyle/>
        <a:p>
          <a:endParaRPr lang="en-US"/>
        </a:p>
      </dgm:t>
    </dgm:pt>
    <dgm:pt modelId="{7B70024B-0A43-410B-8178-82728286BB53}" type="sibTrans" cxnId="{D5673C01-DF3B-4C8E-858F-ADB758B148BC}">
      <dgm:prSet/>
      <dgm:spPr/>
      <dgm:t>
        <a:bodyPr/>
        <a:lstStyle/>
        <a:p>
          <a:endParaRPr lang="en-US"/>
        </a:p>
      </dgm:t>
    </dgm:pt>
    <dgm:pt modelId="{4B700B4D-F372-483B-984B-ADF7D7B129FD}">
      <dgm:prSet custT="1"/>
      <dgm:spPr/>
      <dgm:t>
        <a:bodyPr lIns="182880" tIns="91440" rIns="182880"/>
        <a:lstStyle/>
        <a:p>
          <a:endParaRPr lang="en-US" sz="1800" dirty="0"/>
        </a:p>
      </dgm:t>
    </dgm:pt>
    <dgm:pt modelId="{7636E0CD-F741-438B-B75A-20471E955CC4}" type="parTrans" cxnId="{44AEC1E2-1B48-4249-A181-3FE5BEF8E040}">
      <dgm:prSet/>
      <dgm:spPr/>
      <dgm:t>
        <a:bodyPr/>
        <a:lstStyle/>
        <a:p>
          <a:endParaRPr lang="en-US"/>
        </a:p>
      </dgm:t>
    </dgm:pt>
    <dgm:pt modelId="{8A34498D-DA8D-46D4-B02E-25C828B46B5B}" type="sibTrans" cxnId="{44AEC1E2-1B48-4249-A181-3FE5BEF8E040}">
      <dgm:prSet/>
      <dgm:spPr/>
      <dgm:t>
        <a:bodyPr/>
        <a:lstStyle/>
        <a:p>
          <a:endParaRPr lang="en-US"/>
        </a:p>
      </dgm:t>
    </dgm:pt>
    <dgm:pt modelId="{2C395612-C668-45A2-94D4-2BB66507D309}">
      <dgm:prSet custT="1"/>
      <dgm:spPr/>
      <dgm:t>
        <a:bodyPr/>
        <a:lstStyle/>
        <a:p>
          <a:endParaRPr lang="en-US" sz="1800" dirty="0"/>
        </a:p>
      </dgm:t>
    </dgm:pt>
    <dgm:pt modelId="{CB3D18A4-AB1B-4BC7-910F-273F927B5DF1}" type="parTrans" cxnId="{FB6AE232-E864-46E4-937B-DF39C2BA14FD}">
      <dgm:prSet/>
      <dgm:spPr/>
      <dgm:t>
        <a:bodyPr/>
        <a:lstStyle/>
        <a:p>
          <a:endParaRPr lang="en-US"/>
        </a:p>
      </dgm:t>
    </dgm:pt>
    <dgm:pt modelId="{5CB71357-71BB-48E0-B139-F9A0F757F76A}" type="sibTrans" cxnId="{FB6AE232-E864-46E4-937B-DF39C2BA14FD}">
      <dgm:prSet/>
      <dgm:spPr/>
      <dgm:t>
        <a:bodyPr/>
        <a:lstStyle/>
        <a:p>
          <a:endParaRPr lang="en-US"/>
        </a:p>
      </dgm:t>
    </dgm:pt>
    <dgm:pt modelId="{EA7AC903-2A0A-4CDC-9304-DC3823D9B040}" type="pres">
      <dgm:prSet presAssocID="{05B79ADD-EF3B-450C-B561-7D2B8FE16335}" presName="Name0" presStyleCnt="0">
        <dgm:presLayoutVars>
          <dgm:dir/>
          <dgm:animLvl val="lvl"/>
          <dgm:resizeHandles/>
        </dgm:presLayoutVars>
      </dgm:prSet>
      <dgm:spPr/>
    </dgm:pt>
    <dgm:pt modelId="{D4199897-136D-4EAB-BF9F-C5F55C4ACFFC}" type="pres">
      <dgm:prSet presAssocID="{2E07414F-51EB-4B5C-AB9D-B48D69987480}" presName="linNode" presStyleCnt="0"/>
      <dgm:spPr/>
    </dgm:pt>
    <dgm:pt modelId="{C0085984-AAFD-4DEB-92C0-E59BEAB1444A}" type="pres">
      <dgm:prSet presAssocID="{2E07414F-51EB-4B5C-AB9D-B48D69987480}" presName="parentShp" presStyleLbl="node1" presStyleIdx="0" presStyleCnt="3" custScaleX="84135" custScaleY="273599" custLinFactNeighborX="-5377" custLinFactNeighborY="1018">
        <dgm:presLayoutVars>
          <dgm:bulletEnabled val="1"/>
        </dgm:presLayoutVars>
      </dgm:prSet>
      <dgm:spPr/>
    </dgm:pt>
    <dgm:pt modelId="{0A8113A1-F9D1-4A5B-9F7B-7AADFE9A6A65}" type="pres">
      <dgm:prSet presAssocID="{2E07414F-51EB-4B5C-AB9D-B48D69987480}" presName="childShp" presStyleLbl="bgAccFollowNode1" presStyleIdx="0" presStyleCnt="3" custScaleX="108224" custScaleY="331168" custLinFactNeighborX="-2362">
        <dgm:presLayoutVars>
          <dgm:bulletEnabled val="1"/>
        </dgm:presLayoutVars>
      </dgm:prSet>
      <dgm:spPr/>
    </dgm:pt>
    <dgm:pt modelId="{B8B7F072-84AD-4757-A9CA-8D0EEB6615B3}" type="pres">
      <dgm:prSet presAssocID="{B1DEA50F-4D8B-4087-A40F-0FD3DCB5F09E}" presName="spacing" presStyleCnt="0"/>
      <dgm:spPr/>
    </dgm:pt>
    <dgm:pt modelId="{8100EA6D-F7CA-4D02-A139-37F2837A9FA9}" type="pres">
      <dgm:prSet presAssocID="{E6841D98-CCB6-4ACD-A770-599D15DC964D}" presName="linNode" presStyleCnt="0"/>
      <dgm:spPr/>
    </dgm:pt>
    <dgm:pt modelId="{AF601908-1BCC-4D16-B9A7-97E1AB278EC7}" type="pres">
      <dgm:prSet presAssocID="{E6841D98-CCB6-4ACD-A770-599D15DC964D}" presName="parentShp" presStyleLbl="node1" presStyleIdx="1" presStyleCnt="3" custScaleX="84111" custScaleY="272747" custLinFactNeighborX="-7351" custLinFactNeighborY="1726">
        <dgm:presLayoutVars>
          <dgm:bulletEnabled val="1"/>
        </dgm:presLayoutVars>
      </dgm:prSet>
      <dgm:spPr/>
    </dgm:pt>
    <dgm:pt modelId="{AD4923FE-E322-4BB7-B593-6A6239D3FAE8}" type="pres">
      <dgm:prSet presAssocID="{E6841D98-CCB6-4ACD-A770-599D15DC964D}" presName="childShp" presStyleLbl="bgAccFollowNode1" presStyleIdx="1" presStyleCnt="3" custScaleX="107370" custScaleY="312270" custLinFactNeighborX="-5347" custLinFactNeighborY="1700">
        <dgm:presLayoutVars>
          <dgm:bulletEnabled val="1"/>
        </dgm:presLayoutVars>
      </dgm:prSet>
      <dgm:spPr/>
    </dgm:pt>
    <dgm:pt modelId="{5FAC147B-0CAD-4B98-99EE-AE6C2A54C861}" type="pres">
      <dgm:prSet presAssocID="{71F04961-9941-45D5-BD8B-7EF71A2BA86F}" presName="spacing" presStyleCnt="0"/>
      <dgm:spPr/>
    </dgm:pt>
    <dgm:pt modelId="{512ECA44-FA43-46C6-9FC9-E5CFBF3ED025}" type="pres">
      <dgm:prSet presAssocID="{83F67AFC-B961-4375-BDCF-8365D2FED456}" presName="linNode" presStyleCnt="0"/>
      <dgm:spPr/>
    </dgm:pt>
    <dgm:pt modelId="{AFAB1B19-CAE8-440B-9CCB-5694D6EBAD69}" type="pres">
      <dgm:prSet presAssocID="{83F67AFC-B961-4375-BDCF-8365D2FED456}" presName="parentShp" presStyleLbl="node1" presStyleIdx="2" presStyleCnt="3" custScaleX="84135" custScaleY="394259" custLinFactNeighborX="-3089">
        <dgm:presLayoutVars>
          <dgm:bulletEnabled val="1"/>
        </dgm:presLayoutVars>
      </dgm:prSet>
      <dgm:spPr/>
    </dgm:pt>
    <dgm:pt modelId="{552042D3-DA16-49BF-8955-96746597232F}" type="pres">
      <dgm:prSet presAssocID="{83F67AFC-B961-4375-BDCF-8365D2FED456}" presName="childShp" presStyleLbl="bgAccFollowNode1" presStyleIdx="2" presStyleCnt="3" custScaleX="108756" custScaleY="456583" custLinFactNeighborX="-3195">
        <dgm:presLayoutVars>
          <dgm:bulletEnabled val="1"/>
        </dgm:presLayoutVars>
      </dgm:prSet>
      <dgm:spPr/>
    </dgm:pt>
  </dgm:ptLst>
  <dgm:cxnLst>
    <dgm:cxn modelId="{D5673C01-DF3B-4C8E-858F-ADB758B148BC}" srcId="{E6841D98-CCB6-4ACD-A770-599D15DC964D}" destId="{C7A8B969-2EB8-428A-B849-733E719E53CC}" srcOrd="1" destOrd="0" parTransId="{0575737A-98B9-4F73-8259-7E98D3225D8B}" sibTransId="{7B70024B-0A43-410B-8178-82728286BB53}"/>
    <dgm:cxn modelId="{76DC1319-3BF0-439A-9975-2AD2DCC4152E}" srcId="{83F67AFC-B961-4375-BDCF-8365D2FED456}" destId="{59CD0C11-2FEE-4BE3-BD72-54F0E7C6908E}" srcOrd="0" destOrd="0" parTransId="{F32D812B-E2B9-4ED1-BC6A-97E169C9E0D6}" sibTransId="{6D9C1B24-2426-4F6D-97C1-A6E2711245BC}"/>
    <dgm:cxn modelId="{04CF092D-C724-4BE4-96F3-17E813F8F53B}" type="presOf" srcId="{AA690D9F-F9DE-4279-AE3D-5200AAA0DFB7}" destId="{0A8113A1-F9D1-4A5B-9F7B-7AADFE9A6A65}" srcOrd="0" destOrd="1" presId="urn:microsoft.com/office/officeart/2005/8/layout/vList6"/>
    <dgm:cxn modelId="{FA9EFF2F-8B8A-407C-A459-EC69C05022C7}" type="presOf" srcId="{4B700B4D-F372-483B-984B-ADF7D7B129FD}" destId="{AD4923FE-E322-4BB7-B593-6A6239D3FAE8}" srcOrd="0" destOrd="2" presId="urn:microsoft.com/office/officeart/2005/8/layout/vList6"/>
    <dgm:cxn modelId="{FB6AE232-E864-46E4-937B-DF39C2BA14FD}" srcId="{83F67AFC-B961-4375-BDCF-8365D2FED456}" destId="{2C395612-C668-45A2-94D4-2BB66507D309}" srcOrd="1" destOrd="0" parTransId="{CB3D18A4-AB1B-4BC7-910F-273F927B5DF1}" sibTransId="{5CB71357-71BB-48E0-B139-F9A0F757F76A}"/>
    <dgm:cxn modelId="{627E4736-966F-463A-8493-04B55A8E8499}" type="presOf" srcId="{2C395612-C668-45A2-94D4-2BB66507D309}" destId="{552042D3-DA16-49BF-8955-96746597232F}" srcOrd="0" destOrd="1" presId="urn:microsoft.com/office/officeart/2005/8/layout/vList6"/>
    <dgm:cxn modelId="{BB044F5C-3E28-45FC-A8E7-F14ED39CDED4}" srcId="{2E07414F-51EB-4B5C-AB9D-B48D69987480}" destId="{36F6ED7D-9DBD-4352-880C-D618B2A327B9}" srcOrd="0" destOrd="0" parTransId="{7E370294-B552-4E0E-83A6-2D1160789CBE}" sibTransId="{C5B6EBD3-923A-4EEC-A859-066DDEA9CBA9}"/>
    <dgm:cxn modelId="{1FBBF75F-ABA2-4B94-855A-0B4C8F300F0F}" type="presOf" srcId="{0190B49C-BB58-46A0-90BD-062D5BAF73E9}" destId="{AD4923FE-E322-4BB7-B593-6A6239D3FAE8}" srcOrd="0" destOrd="0" presId="urn:microsoft.com/office/officeart/2005/8/layout/vList6"/>
    <dgm:cxn modelId="{35174360-EC6A-476D-8A56-1189C877A3F9}" srcId="{E6841D98-CCB6-4ACD-A770-599D15DC964D}" destId="{0190B49C-BB58-46A0-90BD-062D5BAF73E9}" srcOrd="0" destOrd="0" parTransId="{FCC678D0-4084-4406-9A2F-8DE90A9288CE}" sibTransId="{F80198FE-8144-4C29-9AF4-8FBC6E1F3CA9}"/>
    <dgm:cxn modelId="{936F2A66-288A-4171-8425-E77A0CBB0FC6}" srcId="{05B79ADD-EF3B-450C-B561-7D2B8FE16335}" destId="{83F67AFC-B961-4375-BDCF-8365D2FED456}" srcOrd="2" destOrd="0" parTransId="{42EEF55D-A7E9-4F67-9E16-26E6E5514689}" sibTransId="{C263EAB1-47F9-4B9C-9477-EE1EC593E4D3}"/>
    <dgm:cxn modelId="{ECBD664B-6D64-46BD-B6BC-4850DBFE72B3}" type="presOf" srcId="{E6841D98-CCB6-4ACD-A770-599D15DC964D}" destId="{AF601908-1BCC-4D16-B9A7-97E1AB278EC7}" srcOrd="0" destOrd="0" presId="urn:microsoft.com/office/officeart/2005/8/layout/vList6"/>
    <dgm:cxn modelId="{E1CAE64C-955A-44E6-84FD-219F6B9FE69D}" type="presOf" srcId="{2E07414F-51EB-4B5C-AB9D-B48D69987480}" destId="{C0085984-AAFD-4DEB-92C0-E59BEAB1444A}" srcOrd="0" destOrd="0" presId="urn:microsoft.com/office/officeart/2005/8/layout/vList6"/>
    <dgm:cxn modelId="{6743D350-489D-489F-A3D3-83EF53B644E3}" type="presOf" srcId="{36F6ED7D-9DBD-4352-880C-D618B2A327B9}" destId="{0A8113A1-F9D1-4A5B-9F7B-7AADFE9A6A65}" srcOrd="0" destOrd="0" presId="urn:microsoft.com/office/officeart/2005/8/layout/vList6"/>
    <dgm:cxn modelId="{F822AD73-D7DF-49B9-82F6-7F78BD3A0E9C}" type="presOf" srcId="{05B79ADD-EF3B-450C-B561-7D2B8FE16335}" destId="{EA7AC903-2A0A-4CDC-9304-DC3823D9B040}" srcOrd="0" destOrd="0" presId="urn:microsoft.com/office/officeart/2005/8/layout/vList6"/>
    <dgm:cxn modelId="{C50D5A78-E2E5-439C-BC51-3FFFD241C511}" type="presOf" srcId="{83F67AFC-B961-4375-BDCF-8365D2FED456}" destId="{AFAB1B19-CAE8-440B-9CCB-5694D6EBAD69}" srcOrd="0" destOrd="0" presId="urn:microsoft.com/office/officeart/2005/8/layout/vList6"/>
    <dgm:cxn modelId="{7DE2FF82-D5FE-41F1-BB55-B70287636168}" srcId="{05B79ADD-EF3B-450C-B561-7D2B8FE16335}" destId="{E6841D98-CCB6-4ACD-A770-599D15DC964D}" srcOrd="1" destOrd="0" parTransId="{5B2100B0-182D-4C9D-B5F4-C27FFFC66A51}" sibTransId="{71F04961-9941-45D5-BD8B-7EF71A2BA86F}"/>
    <dgm:cxn modelId="{7A209090-AF9D-4929-BA45-2611F4AB63E2}" srcId="{05B79ADD-EF3B-450C-B561-7D2B8FE16335}" destId="{2E07414F-51EB-4B5C-AB9D-B48D69987480}" srcOrd="0" destOrd="0" parTransId="{21A2132F-2BC7-4F43-8013-E8151C3E9FD4}" sibTransId="{B1DEA50F-4D8B-4087-A40F-0FD3DCB5F09E}"/>
    <dgm:cxn modelId="{A8CC399F-BC2A-4E82-8346-13C16F98542F}" type="presOf" srcId="{C7A8B969-2EB8-428A-B849-733E719E53CC}" destId="{AD4923FE-E322-4BB7-B593-6A6239D3FAE8}" srcOrd="0" destOrd="1" presId="urn:microsoft.com/office/officeart/2005/8/layout/vList6"/>
    <dgm:cxn modelId="{7E3C92A6-AEFF-486E-9527-4B8551DAD077}" srcId="{2E07414F-51EB-4B5C-AB9D-B48D69987480}" destId="{AA690D9F-F9DE-4279-AE3D-5200AAA0DFB7}" srcOrd="1" destOrd="0" parTransId="{AA58E221-3F20-4F3B-915B-B9B9497712A9}" sibTransId="{89548DB5-BD86-46AB-BFB4-614C8867B106}"/>
    <dgm:cxn modelId="{44AEC1E2-1B48-4249-A181-3FE5BEF8E040}" srcId="{E6841D98-CCB6-4ACD-A770-599D15DC964D}" destId="{4B700B4D-F372-483B-984B-ADF7D7B129FD}" srcOrd="2" destOrd="0" parTransId="{7636E0CD-F741-438B-B75A-20471E955CC4}" sibTransId="{8A34498D-DA8D-46D4-B02E-25C828B46B5B}"/>
    <dgm:cxn modelId="{722BB5FC-2F76-4A3F-8C68-F0EE2FD3CF2C}" type="presOf" srcId="{59CD0C11-2FEE-4BE3-BD72-54F0E7C6908E}" destId="{552042D3-DA16-49BF-8955-96746597232F}" srcOrd="0" destOrd="0" presId="urn:microsoft.com/office/officeart/2005/8/layout/vList6"/>
    <dgm:cxn modelId="{C8087B16-45B0-4C4A-894D-72137871D2B0}" type="presParOf" srcId="{EA7AC903-2A0A-4CDC-9304-DC3823D9B040}" destId="{D4199897-136D-4EAB-BF9F-C5F55C4ACFFC}" srcOrd="0" destOrd="0" presId="urn:microsoft.com/office/officeart/2005/8/layout/vList6"/>
    <dgm:cxn modelId="{EBAA6975-AB02-42FD-A027-6FA2688B2C40}" type="presParOf" srcId="{D4199897-136D-4EAB-BF9F-C5F55C4ACFFC}" destId="{C0085984-AAFD-4DEB-92C0-E59BEAB1444A}" srcOrd="0" destOrd="0" presId="urn:microsoft.com/office/officeart/2005/8/layout/vList6"/>
    <dgm:cxn modelId="{0AC9C2C1-3CE8-41B4-8213-847192868360}" type="presParOf" srcId="{D4199897-136D-4EAB-BF9F-C5F55C4ACFFC}" destId="{0A8113A1-F9D1-4A5B-9F7B-7AADFE9A6A65}" srcOrd="1" destOrd="0" presId="urn:microsoft.com/office/officeart/2005/8/layout/vList6"/>
    <dgm:cxn modelId="{F1321A67-0FDC-43B3-9EBB-21D6A4CC759A}" type="presParOf" srcId="{EA7AC903-2A0A-4CDC-9304-DC3823D9B040}" destId="{B8B7F072-84AD-4757-A9CA-8D0EEB6615B3}" srcOrd="1" destOrd="0" presId="urn:microsoft.com/office/officeart/2005/8/layout/vList6"/>
    <dgm:cxn modelId="{7B148792-532A-41D0-8F96-6E772694AD18}" type="presParOf" srcId="{EA7AC903-2A0A-4CDC-9304-DC3823D9B040}" destId="{8100EA6D-F7CA-4D02-A139-37F2837A9FA9}" srcOrd="2" destOrd="0" presId="urn:microsoft.com/office/officeart/2005/8/layout/vList6"/>
    <dgm:cxn modelId="{C33A9899-6B06-49ED-9B1E-0C7B49CFC750}" type="presParOf" srcId="{8100EA6D-F7CA-4D02-A139-37F2837A9FA9}" destId="{AF601908-1BCC-4D16-B9A7-97E1AB278EC7}" srcOrd="0" destOrd="0" presId="urn:microsoft.com/office/officeart/2005/8/layout/vList6"/>
    <dgm:cxn modelId="{0D0F32BA-0A9D-46F9-9A56-71CEA4C0985E}" type="presParOf" srcId="{8100EA6D-F7CA-4D02-A139-37F2837A9FA9}" destId="{AD4923FE-E322-4BB7-B593-6A6239D3FAE8}" srcOrd="1" destOrd="0" presId="urn:microsoft.com/office/officeart/2005/8/layout/vList6"/>
    <dgm:cxn modelId="{7A820778-5160-46B1-8AD0-1AD4FF1BACF3}" type="presParOf" srcId="{EA7AC903-2A0A-4CDC-9304-DC3823D9B040}" destId="{5FAC147B-0CAD-4B98-99EE-AE6C2A54C861}" srcOrd="3" destOrd="0" presId="urn:microsoft.com/office/officeart/2005/8/layout/vList6"/>
    <dgm:cxn modelId="{48C00142-D2E7-45AE-A923-AD893FB10D14}" type="presParOf" srcId="{EA7AC903-2A0A-4CDC-9304-DC3823D9B040}" destId="{512ECA44-FA43-46C6-9FC9-E5CFBF3ED025}" srcOrd="4" destOrd="0" presId="urn:microsoft.com/office/officeart/2005/8/layout/vList6"/>
    <dgm:cxn modelId="{66547E76-E145-4125-AFE7-54944CA5BD7F}" type="presParOf" srcId="{512ECA44-FA43-46C6-9FC9-E5CFBF3ED025}" destId="{AFAB1B19-CAE8-440B-9CCB-5694D6EBAD69}" srcOrd="0" destOrd="0" presId="urn:microsoft.com/office/officeart/2005/8/layout/vList6"/>
    <dgm:cxn modelId="{F66F9C00-937C-4584-BEAC-BAB8209DA399}" type="presParOf" srcId="{512ECA44-FA43-46C6-9FC9-E5CFBF3ED025}" destId="{552042D3-DA16-49BF-8955-96746597232F}" srcOrd="1" destOrd="0" presId="urn:microsoft.com/office/officeart/2005/8/layout/vList6"/>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05B79ADD-EF3B-450C-B561-7D2B8FE16335}" type="doc">
      <dgm:prSet loTypeId="urn:microsoft.com/office/officeart/2005/8/layout/vList6" loCatId="process" qsTypeId="urn:microsoft.com/office/officeart/2005/8/quickstyle/simple1" qsCatId="simple" csTypeId="urn:microsoft.com/office/officeart/2005/8/colors/accent1_2" csCatId="accent1" phldr="1"/>
      <dgm:spPr/>
    </dgm:pt>
    <dgm:pt modelId="{E6841D98-CCB6-4ACD-A770-599D15DC964D}">
      <dgm:prSet phldrT="[Text]" custT="1"/>
      <dgm:spPr/>
      <dgm:t>
        <a:bodyPr/>
        <a:lstStyle/>
        <a:p>
          <a:pPr marL="0" lvl="0" indent="0" algn="ctr" defTabSz="1422400">
            <a:lnSpc>
              <a:spcPct val="90000"/>
            </a:lnSpc>
            <a:spcBef>
              <a:spcPct val="0"/>
            </a:spcBef>
            <a:spcAft>
              <a:spcPct val="35000"/>
            </a:spcAft>
            <a:buNone/>
          </a:pPr>
          <a:r>
            <a:rPr lang="en-US" sz="3200" b="0" kern="1200" dirty="0">
              <a:solidFill>
                <a:srgbClr val="FFFFFF"/>
              </a:solidFill>
              <a:latin typeface="Segoe UI Semibold" panose="020B0702040204020203" pitchFamily="34" charset="0"/>
              <a:ea typeface="+mn-ea"/>
              <a:cs typeface="Segoe UI Semibold" panose="020B0702040204020203" pitchFamily="34" charset="0"/>
            </a:rPr>
            <a:t>Recommended</a:t>
          </a:r>
        </a:p>
      </dgm:t>
    </dgm:pt>
    <dgm:pt modelId="{5B2100B0-182D-4C9D-B5F4-C27FFFC66A51}" type="parTrans" cxnId="{7DE2FF82-D5FE-41F1-BB55-B70287636168}">
      <dgm:prSet/>
      <dgm:spPr/>
      <dgm:t>
        <a:bodyPr/>
        <a:lstStyle/>
        <a:p>
          <a:endParaRPr lang="en-US"/>
        </a:p>
      </dgm:t>
    </dgm:pt>
    <dgm:pt modelId="{71F04961-9941-45D5-BD8B-7EF71A2BA86F}" type="sibTrans" cxnId="{7DE2FF82-D5FE-41F1-BB55-B70287636168}">
      <dgm:prSet/>
      <dgm:spPr/>
      <dgm:t>
        <a:bodyPr/>
        <a:lstStyle/>
        <a:p>
          <a:endParaRPr lang="en-US"/>
        </a:p>
      </dgm:t>
    </dgm:pt>
    <dgm:pt modelId="{2E07414F-51EB-4B5C-AB9D-B48D69987480}">
      <dgm:prSet custT="1"/>
      <dgm:spPr/>
      <dgm:t>
        <a:bodyPr/>
        <a:lstStyle/>
        <a:p>
          <a:r>
            <a:rPr lang="en-US" sz="3200" b="0" dirty="0">
              <a:latin typeface="Segoe UI Semibold" panose="020B0702040204020203" pitchFamily="34" charset="0"/>
              <a:cs typeface="Segoe UI Semibold" panose="020B0702040204020203" pitchFamily="34" charset="0"/>
            </a:rPr>
            <a:t>Mandatory</a:t>
          </a:r>
        </a:p>
      </dgm:t>
    </dgm:pt>
    <dgm:pt modelId="{21A2132F-2BC7-4F43-8013-E8151C3E9FD4}" type="parTrans" cxnId="{7A209090-AF9D-4929-BA45-2611F4AB63E2}">
      <dgm:prSet/>
      <dgm:spPr/>
      <dgm:t>
        <a:bodyPr/>
        <a:lstStyle/>
        <a:p>
          <a:endParaRPr lang="en-US"/>
        </a:p>
      </dgm:t>
    </dgm:pt>
    <dgm:pt modelId="{B1DEA50F-4D8B-4087-A40F-0FD3DCB5F09E}" type="sibTrans" cxnId="{7A209090-AF9D-4929-BA45-2611F4AB63E2}">
      <dgm:prSet/>
      <dgm:spPr/>
      <dgm:t>
        <a:bodyPr/>
        <a:lstStyle/>
        <a:p>
          <a:endParaRPr lang="en-US"/>
        </a:p>
      </dgm:t>
    </dgm:pt>
    <dgm:pt modelId="{36F6ED7D-9DBD-4352-880C-D618B2A327B9}">
      <dgm:prSet custT="1"/>
      <dgm:spPr/>
      <dgm:t>
        <a:bodyPr lIns="182880" tIns="91440" rIns="182880"/>
        <a:lstStyle/>
        <a:p>
          <a:r>
            <a:rPr lang="en-US" sz="1800" dirty="0"/>
            <a:t>Define pool of VMs that will perform the underlying work </a:t>
          </a:r>
          <a:br>
            <a:rPr lang="en-US" sz="1800" dirty="0"/>
          </a:br>
          <a:r>
            <a:rPr lang="en-US" sz="1800" dirty="0"/>
            <a:t>for Azure Batch Jobs</a:t>
          </a:r>
        </a:p>
      </dgm:t>
    </dgm:pt>
    <dgm:pt modelId="{7E370294-B552-4E0E-83A6-2D1160789CBE}" type="parTrans" cxnId="{BB044F5C-3E28-45FC-A8E7-F14ED39CDED4}">
      <dgm:prSet/>
      <dgm:spPr/>
      <dgm:t>
        <a:bodyPr/>
        <a:lstStyle/>
        <a:p>
          <a:endParaRPr lang="en-US"/>
        </a:p>
      </dgm:t>
    </dgm:pt>
    <dgm:pt modelId="{C5B6EBD3-923A-4EEC-A859-066DDEA9CBA9}" type="sibTrans" cxnId="{BB044F5C-3E28-45FC-A8E7-F14ED39CDED4}">
      <dgm:prSet/>
      <dgm:spPr/>
      <dgm:t>
        <a:bodyPr/>
        <a:lstStyle/>
        <a:p>
          <a:endParaRPr lang="en-US"/>
        </a:p>
      </dgm:t>
    </dgm:pt>
    <dgm:pt modelId="{0190B49C-BB58-46A0-90BD-062D5BAF73E9}">
      <dgm:prSet custT="1"/>
      <dgm:spPr/>
      <dgm:t>
        <a:bodyPr lIns="182880" tIns="91440" rIns="182880"/>
        <a:lstStyle/>
        <a:p>
          <a:r>
            <a:rPr lang="en-US" sz="1800" dirty="0"/>
            <a:t>Analyze the workload to determine which model is the better fit, Azure Batch or Azure Batch Apps</a:t>
          </a:r>
        </a:p>
      </dgm:t>
    </dgm:pt>
    <dgm:pt modelId="{FCC678D0-4084-4406-9A2F-8DE90A9288CE}" type="parTrans" cxnId="{35174360-EC6A-476D-8A56-1189C877A3F9}">
      <dgm:prSet/>
      <dgm:spPr/>
      <dgm:t>
        <a:bodyPr/>
        <a:lstStyle/>
        <a:p>
          <a:endParaRPr lang="en-US"/>
        </a:p>
      </dgm:t>
    </dgm:pt>
    <dgm:pt modelId="{F80198FE-8144-4C29-9AF4-8FBC6E1F3CA9}" type="sibTrans" cxnId="{35174360-EC6A-476D-8A56-1189C877A3F9}">
      <dgm:prSet/>
      <dgm:spPr/>
      <dgm:t>
        <a:bodyPr/>
        <a:lstStyle/>
        <a:p>
          <a:endParaRPr lang="en-US"/>
        </a:p>
      </dgm:t>
    </dgm:pt>
    <dgm:pt modelId="{83F67AFC-B961-4375-BDCF-8365D2FED456}">
      <dgm:prSet custT="1"/>
      <dgm:spPr/>
      <dgm:t>
        <a:bodyPr/>
        <a:lstStyle/>
        <a:p>
          <a:pPr marL="0" lvl="0" indent="0" algn="ctr" defTabSz="1422400">
            <a:lnSpc>
              <a:spcPct val="90000"/>
            </a:lnSpc>
            <a:spcBef>
              <a:spcPct val="0"/>
            </a:spcBef>
            <a:spcAft>
              <a:spcPct val="35000"/>
            </a:spcAft>
            <a:buNone/>
          </a:pPr>
          <a:r>
            <a:rPr lang="en-US" sz="3200" b="0" kern="1200" dirty="0">
              <a:solidFill>
                <a:srgbClr val="FFFFFF"/>
              </a:solidFill>
              <a:latin typeface="Segoe UI Semibold" panose="020B0702040204020203" pitchFamily="34" charset="0"/>
              <a:ea typeface="+mn-ea"/>
              <a:cs typeface="Segoe UI Semibold" panose="020B0702040204020203" pitchFamily="34" charset="0"/>
            </a:rPr>
            <a:t>Optional</a:t>
          </a:r>
        </a:p>
      </dgm:t>
    </dgm:pt>
    <dgm:pt modelId="{42EEF55D-A7E9-4F67-9E16-26E6E5514689}" type="parTrans" cxnId="{936F2A66-288A-4171-8425-E77A0CBB0FC6}">
      <dgm:prSet/>
      <dgm:spPr/>
      <dgm:t>
        <a:bodyPr/>
        <a:lstStyle/>
        <a:p>
          <a:endParaRPr lang="en-US"/>
        </a:p>
      </dgm:t>
    </dgm:pt>
    <dgm:pt modelId="{C263EAB1-47F9-4B9C-9477-EE1EC593E4D3}" type="sibTrans" cxnId="{936F2A66-288A-4171-8425-E77A0CBB0FC6}">
      <dgm:prSet/>
      <dgm:spPr/>
      <dgm:t>
        <a:bodyPr/>
        <a:lstStyle/>
        <a:p>
          <a:endParaRPr lang="en-US"/>
        </a:p>
      </dgm:t>
    </dgm:pt>
    <dgm:pt modelId="{59CD0C11-2FEE-4BE3-BD72-54F0E7C6908E}">
      <dgm:prSet custT="1"/>
      <dgm:spPr/>
      <dgm:t>
        <a:bodyPr lIns="182880" tIns="91440" rIns="182880"/>
        <a:lstStyle/>
        <a:p>
          <a:r>
            <a:rPr lang="en-US" sz="1800" dirty="0"/>
            <a:t>Leverage the REST API to output monitoring and telemetry to existing systems</a:t>
          </a:r>
        </a:p>
      </dgm:t>
    </dgm:pt>
    <dgm:pt modelId="{F32D812B-E2B9-4ED1-BC6A-97E169C9E0D6}" type="parTrans" cxnId="{76DC1319-3BF0-439A-9975-2AD2DCC4152E}">
      <dgm:prSet/>
      <dgm:spPr/>
      <dgm:t>
        <a:bodyPr/>
        <a:lstStyle/>
        <a:p>
          <a:endParaRPr lang="en-US"/>
        </a:p>
      </dgm:t>
    </dgm:pt>
    <dgm:pt modelId="{6D9C1B24-2426-4F6D-97C1-A6E2711245BC}" type="sibTrans" cxnId="{76DC1319-3BF0-439A-9975-2AD2DCC4152E}">
      <dgm:prSet/>
      <dgm:spPr/>
      <dgm:t>
        <a:bodyPr/>
        <a:lstStyle/>
        <a:p>
          <a:endParaRPr lang="en-US"/>
        </a:p>
      </dgm:t>
    </dgm:pt>
    <dgm:pt modelId="{C3A70C83-E6FB-4BC4-B98F-70530CC0C07C}">
      <dgm:prSet custT="1"/>
      <dgm:spPr/>
      <dgm:t>
        <a:bodyPr/>
        <a:lstStyle/>
        <a:p>
          <a:endParaRPr lang="en-US" sz="1800" dirty="0"/>
        </a:p>
      </dgm:t>
    </dgm:pt>
    <dgm:pt modelId="{04FC640B-888D-4B1F-A151-CACD336FB558}" type="parTrans" cxnId="{9FD42523-80A0-47ED-926D-70D65DFBBC69}">
      <dgm:prSet/>
      <dgm:spPr/>
      <dgm:t>
        <a:bodyPr/>
        <a:lstStyle/>
        <a:p>
          <a:endParaRPr lang="en-US"/>
        </a:p>
      </dgm:t>
    </dgm:pt>
    <dgm:pt modelId="{FDE8B323-6D7B-47AE-A6E7-A2A691E3B255}" type="sibTrans" cxnId="{9FD42523-80A0-47ED-926D-70D65DFBBC69}">
      <dgm:prSet/>
      <dgm:spPr/>
      <dgm:t>
        <a:bodyPr/>
        <a:lstStyle/>
        <a:p>
          <a:endParaRPr lang="en-US"/>
        </a:p>
      </dgm:t>
    </dgm:pt>
    <dgm:pt modelId="{EA7AC903-2A0A-4CDC-9304-DC3823D9B040}" type="pres">
      <dgm:prSet presAssocID="{05B79ADD-EF3B-450C-B561-7D2B8FE16335}" presName="Name0" presStyleCnt="0">
        <dgm:presLayoutVars>
          <dgm:dir/>
          <dgm:animLvl val="lvl"/>
          <dgm:resizeHandles/>
        </dgm:presLayoutVars>
      </dgm:prSet>
      <dgm:spPr/>
    </dgm:pt>
    <dgm:pt modelId="{D4199897-136D-4EAB-BF9F-C5F55C4ACFFC}" type="pres">
      <dgm:prSet presAssocID="{2E07414F-51EB-4B5C-AB9D-B48D69987480}" presName="linNode" presStyleCnt="0"/>
      <dgm:spPr/>
    </dgm:pt>
    <dgm:pt modelId="{C0085984-AAFD-4DEB-92C0-E59BEAB1444A}" type="pres">
      <dgm:prSet presAssocID="{2E07414F-51EB-4B5C-AB9D-B48D69987480}" presName="parentShp" presStyleLbl="node1" presStyleIdx="0" presStyleCnt="3" custScaleY="273599">
        <dgm:presLayoutVars>
          <dgm:bulletEnabled val="1"/>
        </dgm:presLayoutVars>
      </dgm:prSet>
      <dgm:spPr/>
    </dgm:pt>
    <dgm:pt modelId="{0A8113A1-F9D1-4A5B-9F7B-7AADFE9A6A65}" type="pres">
      <dgm:prSet presAssocID="{2E07414F-51EB-4B5C-AB9D-B48D69987480}" presName="childShp" presStyleLbl="bgAccFollowNode1" presStyleIdx="0" presStyleCnt="3" custScaleY="331168" custLinFactNeighborX="-2362">
        <dgm:presLayoutVars>
          <dgm:bulletEnabled val="1"/>
        </dgm:presLayoutVars>
      </dgm:prSet>
      <dgm:spPr/>
    </dgm:pt>
    <dgm:pt modelId="{B8B7F072-84AD-4757-A9CA-8D0EEB6615B3}" type="pres">
      <dgm:prSet presAssocID="{B1DEA50F-4D8B-4087-A40F-0FD3DCB5F09E}" presName="spacing" presStyleCnt="0"/>
      <dgm:spPr/>
    </dgm:pt>
    <dgm:pt modelId="{8100EA6D-F7CA-4D02-A139-37F2837A9FA9}" type="pres">
      <dgm:prSet presAssocID="{E6841D98-CCB6-4ACD-A770-599D15DC964D}" presName="linNode" presStyleCnt="0"/>
      <dgm:spPr/>
    </dgm:pt>
    <dgm:pt modelId="{AF601908-1BCC-4D16-B9A7-97E1AB278EC7}" type="pres">
      <dgm:prSet presAssocID="{E6841D98-CCB6-4ACD-A770-599D15DC964D}" presName="parentShp" presStyleLbl="node1" presStyleIdx="1" presStyleCnt="3" custScaleX="101458" custScaleY="272747" custLinFactNeighborX="-4262" custLinFactNeighborY="1726">
        <dgm:presLayoutVars>
          <dgm:bulletEnabled val="1"/>
        </dgm:presLayoutVars>
      </dgm:prSet>
      <dgm:spPr/>
    </dgm:pt>
    <dgm:pt modelId="{AD4923FE-E322-4BB7-B593-6A6239D3FAE8}" type="pres">
      <dgm:prSet presAssocID="{E6841D98-CCB6-4ACD-A770-599D15DC964D}" presName="childShp" presStyleLbl="bgAccFollowNode1" presStyleIdx="1" presStyleCnt="3" custScaleX="100304" custScaleY="312270" custLinFactNeighborX="-5347" custLinFactNeighborY="1700">
        <dgm:presLayoutVars>
          <dgm:bulletEnabled val="1"/>
        </dgm:presLayoutVars>
      </dgm:prSet>
      <dgm:spPr/>
    </dgm:pt>
    <dgm:pt modelId="{5FAC147B-0CAD-4B98-99EE-AE6C2A54C861}" type="pres">
      <dgm:prSet presAssocID="{71F04961-9941-45D5-BD8B-7EF71A2BA86F}" presName="spacing" presStyleCnt="0"/>
      <dgm:spPr/>
    </dgm:pt>
    <dgm:pt modelId="{512ECA44-FA43-46C6-9FC9-E5CFBF3ED025}" type="pres">
      <dgm:prSet presAssocID="{83F67AFC-B961-4375-BDCF-8365D2FED456}" presName="linNode" presStyleCnt="0"/>
      <dgm:spPr/>
    </dgm:pt>
    <dgm:pt modelId="{AFAB1B19-CAE8-440B-9CCB-5694D6EBAD69}" type="pres">
      <dgm:prSet presAssocID="{83F67AFC-B961-4375-BDCF-8365D2FED456}" presName="parentShp" presStyleLbl="node1" presStyleIdx="2" presStyleCnt="3" custScaleX="107650" custScaleY="277606">
        <dgm:presLayoutVars>
          <dgm:bulletEnabled val="1"/>
        </dgm:presLayoutVars>
      </dgm:prSet>
      <dgm:spPr/>
    </dgm:pt>
    <dgm:pt modelId="{552042D3-DA16-49BF-8955-96746597232F}" type="pres">
      <dgm:prSet presAssocID="{83F67AFC-B961-4375-BDCF-8365D2FED456}" presName="childShp" presStyleLbl="bgAccFollowNode1" presStyleIdx="2" presStyleCnt="3" custScaleX="105040" custScaleY="350255" custLinFactNeighborX="-3195">
        <dgm:presLayoutVars>
          <dgm:bulletEnabled val="1"/>
        </dgm:presLayoutVars>
      </dgm:prSet>
      <dgm:spPr/>
    </dgm:pt>
  </dgm:ptLst>
  <dgm:cxnLst>
    <dgm:cxn modelId="{76DC1319-3BF0-439A-9975-2AD2DCC4152E}" srcId="{83F67AFC-B961-4375-BDCF-8365D2FED456}" destId="{59CD0C11-2FEE-4BE3-BD72-54F0E7C6908E}" srcOrd="0" destOrd="0" parTransId="{F32D812B-E2B9-4ED1-BC6A-97E169C9E0D6}" sibTransId="{6D9C1B24-2426-4F6D-97C1-A6E2711245BC}"/>
    <dgm:cxn modelId="{9FD42523-80A0-47ED-926D-70D65DFBBC69}" srcId="{83F67AFC-B961-4375-BDCF-8365D2FED456}" destId="{C3A70C83-E6FB-4BC4-B98F-70530CC0C07C}" srcOrd="1" destOrd="0" parTransId="{04FC640B-888D-4B1F-A151-CACD336FB558}" sibTransId="{FDE8B323-6D7B-47AE-A6E7-A2A691E3B255}"/>
    <dgm:cxn modelId="{BB044F5C-3E28-45FC-A8E7-F14ED39CDED4}" srcId="{2E07414F-51EB-4B5C-AB9D-B48D69987480}" destId="{36F6ED7D-9DBD-4352-880C-D618B2A327B9}" srcOrd="0" destOrd="0" parTransId="{7E370294-B552-4E0E-83A6-2D1160789CBE}" sibTransId="{C5B6EBD3-923A-4EEC-A859-066DDEA9CBA9}"/>
    <dgm:cxn modelId="{1FBBF75F-ABA2-4B94-855A-0B4C8F300F0F}" type="presOf" srcId="{0190B49C-BB58-46A0-90BD-062D5BAF73E9}" destId="{AD4923FE-E322-4BB7-B593-6A6239D3FAE8}" srcOrd="0" destOrd="0" presId="urn:microsoft.com/office/officeart/2005/8/layout/vList6"/>
    <dgm:cxn modelId="{35174360-EC6A-476D-8A56-1189C877A3F9}" srcId="{E6841D98-CCB6-4ACD-A770-599D15DC964D}" destId="{0190B49C-BB58-46A0-90BD-062D5BAF73E9}" srcOrd="0" destOrd="0" parTransId="{FCC678D0-4084-4406-9A2F-8DE90A9288CE}" sibTransId="{F80198FE-8144-4C29-9AF4-8FBC6E1F3CA9}"/>
    <dgm:cxn modelId="{936F2A66-288A-4171-8425-E77A0CBB0FC6}" srcId="{05B79ADD-EF3B-450C-B561-7D2B8FE16335}" destId="{83F67AFC-B961-4375-BDCF-8365D2FED456}" srcOrd="2" destOrd="0" parTransId="{42EEF55D-A7E9-4F67-9E16-26E6E5514689}" sibTransId="{C263EAB1-47F9-4B9C-9477-EE1EC593E4D3}"/>
    <dgm:cxn modelId="{ECBD664B-6D64-46BD-B6BC-4850DBFE72B3}" type="presOf" srcId="{E6841D98-CCB6-4ACD-A770-599D15DC964D}" destId="{AF601908-1BCC-4D16-B9A7-97E1AB278EC7}" srcOrd="0" destOrd="0" presId="urn:microsoft.com/office/officeart/2005/8/layout/vList6"/>
    <dgm:cxn modelId="{E1CAE64C-955A-44E6-84FD-219F6B9FE69D}" type="presOf" srcId="{2E07414F-51EB-4B5C-AB9D-B48D69987480}" destId="{C0085984-AAFD-4DEB-92C0-E59BEAB1444A}" srcOrd="0" destOrd="0" presId="urn:microsoft.com/office/officeart/2005/8/layout/vList6"/>
    <dgm:cxn modelId="{6743D350-489D-489F-A3D3-83EF53B644E3}" type="presOf" srcId="{36F6ED7D-9DBD-4352-880C-D618B2A327B9}" destId="{0A8113A1-F9D1-4A5B-9F7B-7AADFE9A6A65}" srcOrd="0" destOrd="0" presId="urn:microsoft.com/office/officeart/2005/8/layout/vList6"/>
    <dgm:cxn modelId="{6C879F51-72FD-4774-B5F7-2638E2B44B90}" type="presOf" srcId="{C3A70C83-E6FB-4BC4-B98F-70530CC0C07C}" destId="{552042D3-DA16-49BF-8955-96746597232F}" srcOrd="0" destOrd="1" presId="urn:microsoft.com/office/officeart/2005/8/layout/vList6"/>
    <dgm:cxn modelId="{F822AD73-D7DF-49B9-82F6-7F78BD3A0E9C}" type="presOf" srcId="{05B79ADD-EF3B-450C-B561-7D2B8FE16335}" destId="{EA7AC903-2A0A-4CDC-9304-DC3823D9B040}" srcOrd="0" destOrd="0" presId="urn:microsoft.com/office/officeart/2005/8/layout/vList6"/>
    <dgm:cxn modelId="{C50D5A78-E2E5-439C-BC51-3FFFD241C511}" type="presOf" srcId="{83F67AFC-B961-4375-BDCF-8365D2FED456}" destId="{AFAB1B19-CAE8-440B-9CCB-5694D6EBAD69}" srcOrd="0" destOrd="0" presId="urn:microsoft.com/office/officeart/2005/8/layout/vList6"/>
    <dgm:cxn modelId="{7DE2FF82-D5FE-41F1-BB55-B70287636168}" srcId="{05B79ADD-EF3B-450C-B561-7D2B8FE16335}" destId="{E6841D98-CCB6-4ACD-A770-599D15DC964D}" srcOrd="1" destOrd="0" parTransId="{5B2100B0-182D-4C9D-B5F4-C27FFFC66A51}" sibTransId="{71F04961-9941-45D5-BD8B-7EF71A2BA86F}"/>
    <dgm:cxn modelId="{7A209090-AF9D-4929-BA45-2611F4AB63E2}" srcId="{05B79ADD-EF3B-450C-B561-7D2B8FE16335}" destId="{2E07414F-51EB-4B5C-AB9D-B48D69987480}" srcOrd="0" destOrd="0" parTransId="{21A2132F-2BC7-4F43-8013-E8151C3E9FD4}" sibTransId="{B1DEA50F-4D8B-4087-A40F-0FD3DCB5F09E}"/>
    <dgm:cxn modelId="{722BB5FC-2F76-4A3F-8C68-F0EE2FD3CF2C}" type="presOf" srcId="{59CD0C11-2FEE-4BE3-BD72-54F0E7C6908E}" destId="{552042D3-DA16-49BF-8955-96746597232F}" srcOrd="0" destOrd="0" presId="urn:microsoft.com/office/officeart/2005/8/layout/vList6"/>
    <dgm:cxn modelId="{C8087B16-45B0-4C4A-894D-72137871D2B0}" type="presParOf" srcId="{EA7AC903-2A0A-4CDC-9304-DC3823D9B040}" destId="{D4199897-136D-4EAB-BF9F-C5F55C4ACFFC}" srcOrd="0" destOrd="0" presId="urn:microsoft.com/office/officeart/2005/8/layout/vList6"/>
    <dgm:cxn modelId="{EBAA6975-AB02-42FD-A027-6FA2688B2C40}" type="presParOf" srcId="{D4199897-136D-4EAB-BF9F-C5F55C4ACFFC}" destId="{C0085984-AAFD-4DEB-92C0-E59BEAB1444A}" srcOrd="0" destOrd="0" presId="urn:microsoft.com/office/officeart/2005/8/layout/vList6"/>
    <dgm:cxn modelId="{0AC9C2C1-3CE8-41B4-8213-847192868360}" type="presParOf" srcId="{D4199897-136D-4EAB-BF9F-C5F55C4ACFFC}" destId="{0A8113A1-F9D1-4A5B-9F7B-7AADFE9A6A65}" srcOrd="1" destOrd="0" presId="urn:microsoft.com/office/officeart/2005/8/layout/vList6"/>
    <dgm:cxn modelId="{F1321A67-0FDC-43B3-9EBB-21D6A4CC759A}" type="presParOf" srcId="{EA7AC903-2A0A-4CDC-9304-DC3823D9B040}" destId="{B8B7F072-84AD-4757-A9CA-8D0EEB6615B3}" srcOrd="1" destOrd="0" presId="urn:microsoft.com/office/officeart/2005/8/layout/vList6"/>
    <dgm:cxn modelId="{7B148792-532A-41D0-8F96-6E772694AD18}" type="presParOf" srcId="{EA7AC903-2A0A-4CDC-9304-DC3823D9B040}" destId="{8100EA6D-F7CA-4D02-A139-37F2837A9FA9}" srcOrd="2" destOrd="0" presId="urn:microsoft.com/office/officeart/2005/8/layout/vList6"/>
    <dgm:cxn modelId="{C33A9899-6B06-49ED-9B1E-0C7B49CFC750}" type="presParOf" srcId="{8100EA6D-F7CA-4D02-A139-37F2837A9FA9}" destId="{AF601908-1BCC-4D16-B9A7-97E1AB278EC7}" srcOrd="0" destOrd="0" presId="urn:microsoft.com/office/officeart/2005/8/layout/vList6"/>
    <dgm:cxn modelId="{0D0F32BA-0A9D-46F9-9A56-71CEA4C0985E}" type="presParOf" srcId="{8100EA6D-F7CA-4D02-A139-37F2837A9FA9}" destId="{AD4923FE-E322-4BB7-B593-6A6239D3FAE8}" srcOrd="1" destOrd="0" presId="urn:microsoft.com/office/officeart/2005/8/layout/vList6"/>
    <dgm:cxn modelId="{7A820778-5160-46B1-8AD0-1AD4FF1BACF3}" type="presParOf" srcId="{EA7AC903-2A0A-4CDC-9304-DC3823D9B040}" destId="{5FAC147B-0CAD-4B98-99EE-AE6C2A54C861}" srcOrd="3" destOrd="0" presId="urn:microsoft.com/office/officeart/2005/8/layout/vList6"/>
    <dgm:cxn modelId="{48C00142-D2E7-45AE-A923-AD893FB10D14}" type="presParOf" srcId="{EA7AC903-2A0A-4CDC-9304-DC3823D9B040}" destId="{512ECA44-FA43-46C6-9FC9-E5CFBF3ED025}" srcOrd="4" destOrd="0" presId="urn:microsoft.com/office/officeart/2005/8/layout/vList6"/>
    <dgm:cxn modelId="{66547E76-E145-4125-AFE7-54944CA5BD7F}" type="presParOf" srcId="{512ECA44-FA43-46C6-9FC9-E5CFBF3ED025}" destId="{AFAB1B19-CAE8-440B-9CCB-5694D6EBAD69}" srcOrd="0" destOrd="0" presId="urn:microsoft.com/office/officeart/2005/8/layout/vList6"/>
    <dgm:cxn modelId="{F66F9C00-937C-4584-BEAC-BAB8209DA399}" type="presParOf" srcId="{512ECA44-FA43-46C6-9FC9-E5CFBF3ED025}" destId="{552042D3-DA16-49BF-8955-96746597232F}" srcOrd="1" destOrd="0" presId="urn:microsoft.com/office/officeart/2005/8/layout/vList6"/>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05B79ADD-EF3B-450C-B561-7D2B8FE16335}" type="doc">
      <dgm:prSet loTypeId="urn:microsoft.com/office/officeart/2005/8/layout/vList6" loCatId="process" qsTypeId="urn:microsoft.com/office/officeart/2005/8/quickstyle/simple1" qsCatId="simple" csTypeId="urn:microsoft.com/office/officeart/2005/8/colors/accent1_2" csCatId="accent1" phldr="1"/>
      <dgm:spPr/>
    </dgm:pt>
    <dgm:pt modelId="{E6841D98-CCB6-4ACD-A770-599D15DC964D}">
      <dgm:prSet phldrT="[Text]" custT="1"/>
      <dgm:spPr/>
      <dgm:t>
        <a:bodyPr/>
        <a:lstStyle/>
        <a:p>
          <a:pPr marL="0" lvl="0" indent="0" algn="ctr" defTabSz="1422400">
            <a:lnSpc>
              <a:spcPct val="90000"/>
            </a:lnSpc>
            <a:spcBef>
              <a:spcPct val="0"/>
            </a:spcBef>
            <a:spcAft>
              <a:spcPct val="35000"/>
            </a:spcAft>
            <a:buNone/>
          </a:pPr>
          <a:r>
            <a:rPr lang="en-US" sz="3200" b="0" kern="1200" dirty="0">
              <a:solidFill>
                <a:srgbClr val="FFFFFF"/>
              </a:solidFill>
              <a:latin typeface="Segoe UI Semibold" panose="020B0702040204020203" pitchFamily="34" charset="0"/>
              <a:ea typeface="+mn-ea"/>
              <a:cs typeface="Segoe UI Semibold" panose="020B0702040204020203" pitchFamily="34" charset="0"/>
            </a:rPr>
            <a:t>Recommended</a:t>
          </a:r>
        </a:p>
      </dgm:t>
    </dgm:pt>
    <dgm:pt modelId="{5B2100B0-182D-4C9D-B5F4-C27FFFC66A51}" type="parTrans" cxnId="{7DE2FF82-D5FE-41F1-BB55-B70287636168}">
      <dgm:prSet/>
      <dgm:spPr/>
      <dgm:t>
        <a:bodyPr/>
        <a:lstStyle/>
        <a:p>
          <a:endParaRPr lang="en-US"/>
        </a:p>
      </dgm:t>
    </dgm:pt>
    <dgm:pt modelId="{71F04961-9941-45D5-BD8B-7EF71A2BA86F}" type="sibTrans" cxnId="{7DE2FF82-D5FE-41F1-BB55-B70287636168}">
      <dgm:prSet/>
      <dgm:spPr/>
      <dgm:t>
        <a:bodyPr/>
        <a:lstStyle/>
        <a:p>
          <a:endParaRPr lang="en-US"/>
        </a:p>
      </dgm:t>
    </dgm:pt>
    <dgm:pt modelId="{2E07414F-51EB-4B5C-AB9D-B48D69987480}">
      <dgm:prSet custT="1"/>
      <dgm:spPr/>
      <dgm:t>
        <a:bodyPr/>
        <a:lstStyle/>
        <a:p>
          <a:r>
            <a:rPr lang="en-US" sz="3200" b="0" dirty="0">
              <a:latin typeface="Segoe UI Semibold" panose="020B0702040204020203" pitchFamily="34" charset="0"/>
              <a:cs typeface="Segoe UI Semibold" panose="020B0702040204020203" pitchFamily="34" charset="0"/>
            </a:rPr>
            <a:t>Mandatory</a:t>
          </a:r>
        </a:p>
      </dgm:t>
    </dgm:pt>
    <dgm:pt modelId="{21A2132F-2BC7-4F43-8013-E8151C3E9FD4}" type="parTrans" cxnId="{7A209090-AF9D-4929-BA45-2611F4AB63E2}">
      <dgm:prSet/>
      <dgm:spPr/>
      <dgm:t>
        <a:bodyPr/>
        <a:lstStyle/>
        <a:p>
          <a:endParaRPr lang="en-US"/>
        </a:p>
      </dgm:t>
    </dgm:pt>
    <dgm:pt modelId="{B1DEA50F-4D8B-4087-A40F-0FD3DCB5F09E}" type="sibTrans" cxnId="{7A209090-AF9D-4929-BA45-2611F4AB63E2}">
      <dgm:prSet/>
      <dgm:spPr/>
      <dgm:t>
        <a:bodyPr/>
        <a:lstStyle/>
        <a:p>
          <a:endParaRPr lang="en-US"/>
        </a:p>
      </dgm:t>
    </dgm:pt>
    <dgm:pt modelId="{36F6ED7D-9DBD-4352-880C-D618B2A327B9}">
      <dgm:prSet custT="1"/>
      <dgm:spPr/>
      <dgm:t>
        <a:bodyPr lIns="182880" tIns="91440" rIns="182880"/>
        <a:lstStyle/>
        <a:p>
          <a:r>
            <a:rPr lang="en-US" sz="1800" dirty="0"/>
            <a:t>Start with a well-designed engagement plan to help you identify the granular data you will need to be able to segment your user base</a:t>
          </a:r>
        </a:p>
      </dgm:t>
    </dgm:pt>
    <dgm:pt modelId="{7E370294-B552-4E0E-83A6-2D1160789CBE}" type="parTrans" cxnId="{BB044F5C-3E28-45FC-A8E7-F14ED39CDED4}">
      <dgm:prSet/>
      <dgm:spPr/>
      <dgm:t>
        <a:bodyPr/>
        <a:lstStyle/>
        <a:p>
          <a:endParaRPr lang="en-US"/>
        </a:p>
      </dgm:t>
    </dgm:pt>
    <dgm:pt modelId="{C5B6EBD3-923A-4EEC-A859-066DDEA9CBA9}" type="sibTrans" cxnId="{BB044F5C-3E28-45FC-A8E7-F14ED39CDED4}">
      <dgm:prSet/>
      <dgm:spPr/>
      <dgm:t>
        <a:bodyPr/>
        <a:lstStyle/>
        <a:p>
          <a:endParaRPr lang="en-US"/>
        </a:p>
      </dgm:t>
    </dgm:pt>
    <dgm:pt modelId="{0190B49C-BB58-46A0-90BD-062D5BAF73E9}">
      <dgm:prSet custT="1"/>
      <dgm:spPr/>
      <dgm:t>
        <a:bodyPr lIns="182880" tIns="91440" rIns="182880"/>
        <a:lstStyle/>
        <a:p>
          <a:r>
            <a:rPr lang="en-US" sz="1800" dirty="0"/>
            <a:t>Use an iterative, step-by-step approach to defining your engagement plan</a:t>
          </a:r>
        </a:p>
      </dgm:t>
    </dgm:pt>
    <dgm:pt modelId="{FCC678D0-4084-4406-9A2F-8DE90A9288CE}" type="parTrans" cxnId="{35174360-EC6A-476D-8A56-1189C877A3F9}">
      <dgm:prSet/>
      <dgm:spPr/>
      <dgm:t>
        <a:bodyPr/>
        <a:lstStyle/>
        <a:p>
          <a:endParaRPr lang="en-US"/>
        </a:p>
      </dgm:t>
    </dgm:pt>
    <dgm:pt modelId="{F80198FE-8144-4C29-9AF4-8FBC6E1F3CA9}" type="sibTrans" cxnId="{35174360-EC6A-476D-8A56-1189C877A3F9}">
      <dgm:prSet/>
      <dgm:spPr/>
      <dgm:t>
        <a:bodyPr/>
        <a:lstStyle/>
        <a:p>
          <a:endParaRPr lang="en-US"/>
        </a:p>
      </dgm:t>
    </dgm:pt>
    <dgm:pt modelId="{83F67AFC-B961-4375-BDCF-8365D2FED456}">
      <dgm:prSet custT="1"/>
      <dgm:spPr/>
      <dgm:t>
        <a:bodyPr/>
        <a:lstStyle/>
        <a:p>
          <a:pPr marL="0" lvl="0" indent="0" algn="ctr" defTabSz="1422400">
            <a:lnSpc>
              <a:spcPct val="90000"/>
            </a:lnSpc>
            <a:spcBef>
              <a:spcPct val="0"/>
            </a:spcBef>
            <a:spcAft>
              <a:spcPct val="35000"/>
            </a:spcAft>
            <a:buNone/>
          </a:pPr>
          <a:r>
            <a:rPr lang="en-US" sz="3200" b="0" kern="1200" dirty="0">
              <a:solidFill>
                <a:srgbClr val="FFFFFF"/>
              </a:solidFill>
              <a:latin typeface="Segoe UI Semibold" panose="020B0702040204020203" pitchFamily="34" charset="0"/>
              <a:ea typeface="+mn-ea"/>
              <a:cs typeface="Segoe UI Semibold" panose="020B0702040204020203" pitchFamily="34" charset="0"/>
            </a:rPr>
            <a:t>Optional</a:t>
          </a:r>
        </a:p>
      </dgm:t>
    </dgm:pt>
    <dgm:pt modelId="{42EEF55D-A7E9-4F67-9E16-26E6E5514689}" type="parTrans" cxnId="{936F2A66-288A-4171-8425-E77A0CBB0FC6}">
      <dgm:prSet/>
      <dgm:spPr/>
      <dgm:t>
        <a:bodyPr/>
        <a:lstStyle/>
        <a:p>
          <a:endParaRPr lang="en-US"/>
        </a:p>
      </dgm:t>
    </dgm:pt>
    <dgm:pt modelId="{C263EAB1-47F9-4B9C-9477-EE1EC593E4D3}" type="sibTrans" cxnId="{936F2A66-288A-4171-8425-E77A0CBB0FC6}">
      <dgm:prSet/>
      <dgm:spPr/>
      <dgm:t>
        <a:bodyPr/>
        <a:lstStyle/>
        <a:p>
          <a:endParaRPr lang="en-US"/>
        </a:p>
      </dgm:t>
    </dgm:pt>
    <dgm:pt modelId="{59CD0C11-2FEE-4BE3-BD72-54F0E7C6908E}">
      <dgm:prSet custT="1"/>
      <dgm:spPr/>
      <dgm:t>
        <a:bodyPr lIns="182880" tIns="91440" rIns="182880"/>
        <a:lstStyle/>
        <a:p>
          <a:r>
            <a:rPr lang="en-US" sz="1800" dirty="0"/>
            <a:t>Use the BET (Business, Engagement, Technical) model to define your key performance indicators</a:t>
          </a:r>
        </a:p>
      </dgm:t>
    </dgm:pt>
    <dgm:pt modelId="{F32D812B-E2B9-4ED1-BC6A-97E169C9E0D6}" type="parTrans" cxnId="{76DC1319-3BF0-439A-9975-2AD2DCC4152E}">
      <dgm:prSet/>
      <dgm:spPr/>
      <dgm:t>
        <a:bodyPr/>
        <a:lstStyle/>
        <a:p>
          <a:endParaRPr lang="en-US"/>
        </a:p>
      </dgm:t>
    </dgm:pt>
    <dgm:pt modelId="{6D9C1B24-2426-4F6D-97C1-A6E2711245BC}" type="sibTrans" cxnId="{76DC1319-3BF0-439A-9975-2AD2DCC4152E}">
      <dgm:prSet/>
      <dgm:spPr/>
      <dgm:t>
        <a:bodyPr/>
        <a:lstStyle/>
        <a:p>
          <a:endParaRPr lang="en-US"/>
        </a:p>
      </dgm:t>
    </dgm:pt>
    <dgm:pt modelId="{9F16EBAD-755E-48DF-BC5A-0B5E323037F2}">
      <dgm:prSet custT="1"/>
      <dgm:spPr/>
      <dgm:t>
        <a:bodyPr/>
        <a:lstStyle/>
        <a:p>
          <a:endParaRPr lang="en-US" sz="1800" dirty="0"/>
        </a:p>
      </dgm:t>
    </dgm:pt>
    <dgm:pt modelId="{32B3CF84-D10D-45DB-BFDD-C7A94BECA7C2}" type="parTrans" cxnId="{FF1E65B5-F6A4-4C29-9F29-022509954FDF}">
      <dgm:prSet/>
      <dgm:spPr/>
      <dgm:t>
        <a:bodyPr/>
        <a:lstStyle/>
        <a:p>
          <a:endParaRPr lang="en-US"/>
        </a:p>
      </dgm:t>
    </dgm:pt>
    <dgm:pt modelId="{13164498-CBFB-4F92-8782-FC7C289E6410}" type="sibTrans" cxnId="{FF1E65B5-F6A4-4C29-9F29-022509954FDF}">
      <dgm:prSet/>
      <dgm:spPr/>
      <dgm:t>
        <a:bodyPr/>
        <a:lstStyle/>
        <a:p>
          <a:endParaRPr lang="en-US"/>
        </a:p>
      </dgm:t>
    </dgm:pt>
    <dgm:pt modelId="{EA7AC903-2A0A-4CDC-9304-DC3823D9B040}" type="pres">
      <dgm:prSet presAssocID="{05B79ADD-EF3B-450C-B561-7D2B8FE16335}" presName="Name0" presStyleCnt="0">
        <dgm:presLayoutVars>
          <dgm:dir/>
          <dgm:animLvl val="lvl"/>
          <dgm:resizeHandles/>
        </dgm:presLayoutVars>
      </dgm:prSet>
      <dgm:spPr/>
    </dgm:pt>
    <dgm:pt modelId="{D4199897-136D-4EAB-BF9F-C5F55C4ACFFC}" type="pres">
      <dgm:prSet presAssocID="{2E07414F-51EB-4B5C-AB9D-B48D69987480}" presName="linNode" presStyleCnt="0"/>
      <dgm:spPr/>
    </dgm:pt>
    <dgm:pt modelId="{C0085984-AAFD-4DEB-92C0-E59BEAB1444A}" type="pres">
      <dgm:prSet presAssocID="{2E07414F-51EB-4B5C-AB9D-B48D69987480}" presName="parentShp" presStyleLbl="node1" presStyleIdx="0" presStyleCnt="3" custScaleY="273599">
        <dgm:presLayoutVars>
          <dgm:bulletEnabled val="1"/>
        </dgm:presLayoutVars>
      </dgm:prSet>
      <dgm:spPr/>
    </dgm:pt>
    <dgm:pt modelId="{0A8113A1-F9D1-4A5B-9F7B-7AADFE9A6A65}" type="pres">
      <dgm:prSet presAssocID="{2E07414F-51EB-4B5C-AB9D-B48D69987480}" presName="childShp" presStyleLbl="bgAccFollowNode1" presStyleIdx="0" presStyleCnt="3" custScaleY="331168" custLinFactNeighborX="-2362">
        <dgm:presLayoutVars>
          <dgm:bulletEnabled val="1"/>
        </dgm:presLayoutVars>
      </dgm:prSet>
      <dgm:spPr/>
    </dgm:pt>
    <dgm:pt modelId="{B8B7F072-84AD-4757-A9CA-8D0EEB6615B3}" type="pres">
      <dgm:prSet presAssocID="{B1DEA50F-4D8B-4087-A40F-0FD3DCB5F09E}" presName="spacing" presStyleCnt="0"/>
      <dgm:spPr/>
    </dgm:pt>
    <dgm:pt modelId="{8100EA6D-F7CA-4D02-A139-37F2837A9FA9}" type="pres">
      <dgm:prSet presAssocID="{E6841D98-CCB6-4ACD-A770-599D15DC964D}" presName="linNode" presStyleCnt="0"/>
      <dgm:spPr/>
    </dgm:pt>
    <dgm:pt modelId="{AF601908-1BCC-4D16-B9A7-97E1AB278EC7}" type="pres">
      <dgm:prSet presAssocID="{E6841D98-CCB6-4ACD-A770-599D15DC964D}" presName="parentShp" presStyleLbl="node1" presStyleIdx="1" presStyleCnt="3" custScaleX="101458" custScaleY="272747" custLinFactNeighborX="-4262" custLinFactNeighborY="1726">
        <dgm:presLayoutVars>
          <dgm:bulletEnabled val="1"/>
        </dgm:presLayoutVars>
      </dgm:prSet>
      <dgm:spPr/>
    </dgm:pt>
    <dgm:pt modelId="{AD4923FE-E322-4BB7-B593-6A6239D3FAE8}" type="pres">
      <dgm:prSet presAssocID="{E6841D98-CCB6-4ACD-A770-599D15DC964D}" presName="childShp" presStyleLbl="bgAccFollowNode1" presStyleIdx="1" presStyleCnt="3" custScaleX="100304" custScaleY="312270" custLinFactNeighborX="-5347" custLinFactNeighborY="1700">
        <dgm:presLayoutVars>
          <dgm:bulletEnabled val="1"/>
        </dgm:presLayoutVars>
      </dgm:prSet>
      <dgm:spPr/>
    </dgm:pt>
    <dgm:pt modelId="{5FAC147B-0CAD-4B98-99EE-AE6C2A54C861}" type="pres">
      <dgm:prSet presAssocID="{71F04961-9941-45D5-BD8B-7EF71A2BA86F}" presName="spacing" presStyleCnt="0"/>
      <dgm:spPr/>
    </dgm:pt>
    <dgm:pt modelId="{512ECA44-FA43-46C6-9FC9-E5CFBF3ED025}" type="pres">
      <dgm:prSet presAssocID="{83F67AFC-B961-4375-BDCF-8365D2FED456}" presName="linNode" presStyleCnt="0"/>
      <dgm:spPr/>
    </dgm:pt>
    <dgm:pt modelId="{AFAB1B19-CAE8-440B-9CCB-5694D6EBAD69}" type="pres">
      <dgm:prSet presAssocID="{83F67AFC-B961-4375-BDCF-8365D2FED456}" presName="parentShp" presStyleLbl="node1" presStyleIdx="2" presStyleCnt="3" custScaleX="107650" custScaleY="277606">
        <dgm:presLayoutVars>
          <dgm:bulletEnabled val="1"/>
        </dgm:presLayoutVars>
      </dgm:prSet>
      <dgm:spPr/>
    </dgm:pt>
    <dgm:pt modelId="{552042D3-DA16-49BF-8955-96746597232F}" type="pres">
      <dgm:prSet presAssocID="{83F67AFC-B961-4375-BDCF-8365D2FED456}" presName="childShp" presStyleLbl="bgAccFollowNode1" presStyleIdx="2" presStyleCnt="3" custScaleX="105040" custScaleY="350255" custLinFactNeighborX="-3195">
        <dgm:presLayoutVars>
          <dgm:bulletEnabled val="1"/>
        </dgm:presLayoutVars>
      </dgm:prSet>
      <dgm:spPr/>
    </dgm:pt>
  </dgm:ptLst>
  <dgm:cxnLst>
    <dgm:cxn modelId="{76DC1319-3BF0-439A-9975-2AD2DCC4152E}" srcId="{83F67AFC-B961-4375-BDCF-8365D2FED456}" destId="{59CD0C11-2FEE-4BE3-BD72-54F0E7C6908E}" srcOrd="0" destOrd="0" parTransId="{F32D812B-E2B9-4ED1-BC6A-97E169C9E0D6}" sibTransId="{6D9C1B24-2426-4F6D-97C1-A6E2711245BC}"/>
    <dgm:cxn modelId="{BB044F5C-3E28-45FC-A8E7-F14ED39CDED4}" srcId="{2E07414F-51EB-4B5C-AB9D-B48D69987480}" destId="{36F6ED7D-9DBD-4352-880C-D618B2A327B9}" srcOrd="0" destOrd="0" parTransId="{7E370294-B552-4E0E-83A6-2D1160789CBE}" sibTransId="{C5B6EBD3-923A-4EEC-A859-066DDEA9CBA9}"/>
    <dgm:cxn modelId="{1FBBF75F-ABA2-4B94-855A-0B4C8F300F0F}" type="presOf" srcId="{0190B49C-BB58-46A0-90BD-062D5BAF73E9}" destId="{AD4923FE-E322-4BB7-B593-6A6239D3FAE8}" srcOrd="0" destOrd="0" presId="urn:microsoft.com/office/officeart/2005/8/layout/vList6"/>
    <dgm:cxn modelId="{35174360-EC6A-476D-8A56-1189C877A3F9}" srcId="{E6841D98-CCB6-4ACD-A770-599D15DC964D}" destId="{0190B49C-BB58-46A0-90BD-062D5BAF73E9}" srcOrd="0" destOrd="0" parTransId="{FCC678D0-4084-4406-9A2F-8DE90A9288CE}" sibTransId="{F80198FE-8144-4C29-9AF4-8FBC6E1F3CA9}"/>
    <dgm:cxn modelId="{936F2A66-288A-4171-8425-E77A0CBB0FC6}" srcId="{05B79ADD-EF3B-450C-B561-7D2B8FE16335}" destId="{83F67AFC-B961-4375-BDCF-8365D2FED456}" srcOrd="2" destOrd="0" parTransId="{42EEF55D-A7E9-4F67-9E16-26E6E5514689}" sibTransId="{C263EAB1-47F9-4B9C-9477-EE1EC593E4D3}"/>
    <dgm:cxn modelId="{ECBD664B-6D64-46BD-B6BC-4850DBFE72B3}" type="presOf" srcId="{E6841D98-CCB6-4ACD-A770-599D15DC964D}" destId="{AF601908-1BCC-4D16-B9A7-97E1AB278EC7}" srcOrd="0" destOrd="0" presId="urn:microsoft.com/office/officeart/2005/8/layout/vList6"/>
    <dgm:cxn modelId="{E1CAE64C-955A-44E6-84FD-219F6B9FE69D}" type="presOf" srcId="{2E07414F-51EB-4B5C-AB9D-B48D69987480}" destId="{C0085984-AAFD-4DEB-92C0-E59BEAB1444A}" srcOrd="0" destOrd="0" presId="urn:microsoft.com/office/officeart/2005/8/layout/vList6"/>
    <dgm:cxn modelId="{6743D350-489D-489F-A3D3-83EF53B644E3}" type="presOf" srcId="{36F6ED7D-9DBD-4352-880C-D618B2A327B9}" destId="{0A8113A1-F9D1-4A5B-9F7B-7AADFE9A6A65}" srcOrd="0" destOrd="0" presId="urn:microsoft.com/office/officeart/2005/8/layout/vList6"/>
    <dgm:cxn modelId="{F822AD73-D7DF-49B9-82F6-7F78BD3A0E9C}" type="presOf" srcId="{05B79ADD-EF3B-450C-B561-7D2B8FE16335}" destId="{EA7AC903-2A0A-4CDC-9304-DC3823D9B040}" srcOrd="0" destOrd="0" presId="urn:microsoft.com/office/officeart/2005/8/layout/vList6"/>
    <dgm:cxn modelId="{C50D5A78-E2E5-439C-BC51-3FFFD241C511}" type="presOf" srcId="{83F67AFC-B961-4375-BDCF-8365D2FED456}" destId="{AFAB1B19-CAE8-440B-9CCB-5694D6EBAD69}" srcOrd="0" destOrd="0" presId="urn:microsoft.com/office/officeart/2005/8/layout/vList6"/>
    <dgm:cxn modelId="{7DE2FF82-D5FE-41F1-BB55-B70287636168}" srcId="{05B79ADD-EF3B-450C-B561-7D2B8FE16335}" destId="{E6841D98-CCB6-4ACD-A770-599D15DC964D}" srcOrd="1" destOrd="0" parTransId="{5B2100B0-182D-4C9D-B5F4-C27FFFC66A51}" sibTransId="{71F04961-9941-45D5-BD8B-7EF71A2BA86F}"/>
    <dgm:cxn modelId="{7A209090-AF9D-4929-BA45-2611F4AB63E2}" srcId="{05B79ADD-EF3B-450C-B561-7D2B8FE16335}" destId="{2E07414F-51EB-4B5C-AB9D-B48D69987480}" srcOrd="0" destOrd="0" parTransId="{21A2132F-2BC7-4F43-8013-E8151C3E9FD4}" sibTransId="{B1DEA50F-4D8B-4087-A40F-0FD3DCB5F09E}"/>
    <dgm:cxn modelId="{5BD80E9C-88C1-445B-B57C-F8FC4BF6362A}" type="presOf" srcId="{9F16EBAD-755E-48DF-BC5A-0B5E323037F2}" destId="{0A8113A1-F9D1-4A5B-9F7B-7AADFE9A6A65}" srcOrd="0" destOrd="1" presId="urn:microsoft.com/office/officeart/2005/8/layout/vList6"/>
    <dgm:cxn modelId="{FF1E65B5-F6A4-4C29-9F29-022509954FDF}" srcId="{2E07414F-51EB-4B5C-AB9D-B48D69987480}" destId="{9F16EBAD-755E-48DF-BC5A-0B5E323037F2}" srcOrd="1" destOrd="0" parTransId="{32B3CF84-D10D-45DB-BFDD-C7A94BECA7C2}" sibTransId="{13164498-CBFB-4F92-8782-FC7C289E6410}"/>
    <dgm:cxn modelId="{722BB5FC-2F76-4A3F-8C68-F0EE2FD3CF2C}" type="presOf" srcId="{59CD0C11-2FEE-4BE3-BD72-54F0E7C6908E}" destId="{552042D3-DA16-49BF-8955-96746597232F}" srcOrd="0" destOrd="0" presId="urn:microsoft.com/office/officeart/2005/8/layout/vList6"/>
    <dgm:cxn modelId="{C8087B16-45B0-4C4A-894D-72137871D2B0}" type="presParOf" srcId="{EA7AC903-2A0A-4CDC-9304-DC3823D9B040}" destId="{D4199897-136D-4EAB-BF9F-C5F55C4ACFFC}" srcOrd="0" destOrd="0" presId="urn:microsoft.com/office/officeart/2005/8/layout/vList6"/>
    <dgm:cxn modelId="{EBAA6975-AB02-42FD-A027-6FA2688B2C40}" type="presParOf" srcId="{D4199897-136D-4EAB-BF9F-C5F55C4ACFFC}" destId="{C0085984-AAFD-4DEB-92C0-E59BEAB1444A}" srcOrd="0" destOrd="0" presId="urn:microsoft.com/office/officeart/2005/8/layout/vList6"/>
    <dgm:cxn modelId="{0AC9C2C1-3CE8-41B4-8213-847192868360}" type="presParOf" srcId="{D4199897-136D-4EAB-BF9F-C5F55C4ACFFC}" destId="{0A8113A1-F9D1-4A5B-9F7B-7AADFE9A6A65}" srcOrd="1" destOrd="0" presId="urn:microsoft.com/office/officeart/2005/8/layout/vList6"/>
    <dgm:cxn modelId="{F1321A67-0FDC-43B3-9EBB-21D6A4CC759A}" type="presParOf" srcId="{EA7AC903-2A0A-4CDC-9304-DC3823D9B040}" destId="{B8B7F072-84AD-4757-A9CA-8D0EEB6615B3}" srcOrd="1" destOrd="0" presId="urn:microsoft.com/office/officeart/2005/8/layout/vList6"/>
    <dgm:cxn modelId="{7B148792-532A-41D0-8F96-6E772694AD18}" type="presParOf" srcId="{EA7AC903-2A0A-4CDC-9304-DC3823D9B040}" destId="{8100EA6D-F7CA-4D02-A139-37F2837A9FA9}" srcOrd="2" destOrd="0" presId="urn:microsoft.com/office/officeart/2005/8/layout/vList6"/>
    <dgm:cxn modelId="{C33A9899-6B06-49ED-9B1E-0C7B49CFC750}" type="presParOf" srcId="{8100EA6D-F7CA-4D02-A139-37F2837A9FA9}" destId="{AF601908-1BCC-4D16-B9A7-97E1AB278EC7}" srcOrd="0" destOrd="0" presId="urn:microsoft.com/office/officeart/2005/8/layout/vList6"/>
    <dgm:cxn modelId="{0D0F32BA-0A9D-46F9-9A56-71CEA4C0985E}" type="presParOf" srcId="{8100EA6D-F7CA-4D02-A139-37F2837A9FA9}" destId="{AD4923FE-E322-4BB7-B593-6A6239D3FAE8}" srcOrd="1" destOrd="0" presId="urn:microsoft.com/office/officeart/2005/8/layout/vList6"/>
    <dgm:cxn modelId="{7A820778-5160-46B1-8AD0-1AD4FF1BACF3}" type="presParOf" srcId="{EA7AC903-2A0A-4CDC-9304-DC3823D9B040}" destId="{5FAC147B-0CAD-4B98-99EE-AE6C2A54C861}" srcOrd="3" destOrd="0" presId="urn:microsoft.com/office/officeart/2005/8/layout/vList6"/>
    <dgm:cxn modelId="{48C00142-D2E7-45AE-A923-AD893FB10D14}" type="presParOf" srcId="{EA7AC903-2A0A-4CDC-9304-DC3823D9B040}" destId="{512ECA44-FA43-46C6-9FC9-E5CFBF3ED025}" srcOrd="4" destOrd="0" presId="urn:microsoft.com/office/officeart/2005/8/layout/vList6"/>
    <dgm:cxn modelId="{66547E76-E145-4125-AFE7-54944CA5BD7F}" type="presParOf" srcId="{512ECA44-FA43-46C6-9FC9-E5CFBF3ED025}" destId="{AFAB1B19-CAE8-440B-9CCB-5694D6EBAD69}" srcOrd="0" destOrd="0" presId="urn:microsoft.com/office/officeart/2005/8/layout/vList6"/>
    <dgm:cxn modelId="{F66F9C00-937C-4584-BEAC-BAB8209DA399}" type="presParOf" srcId="{512ECA44-FA43-46C6-9FC9-E5CFBF3ED025}" destId="{552042D3-DA16-49BF-8955-96746597232F}" srcOrd="1" destOrd="0" presId="urn:microsoft.com/office/officeart/2005/8/layout/vList6"/>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05B79ADD-EF3B-450C-B561-7D2B8FE16335}" type="doc">
      <dgm:prSet loTypeId="urn:microsoft.com/office/officeart/2005/8/layout/vList6" loCatId="process" qsTypeId="urn:microsoft.com/office/officeart/2005/8/quickstyle/simple1" qsCatId="simple" csTypeId="urn:microsoft.com/office/officeart/2005/8/colors/accent1_2" csCatId="accent1" phldr="1"/>
      <dgm:spPr/>
    </dgm:pt>
    <dgm:pt modelId="{E6841D98-CCB6-4ACD-A770-599D15DC964D}">
      <dgm:prSet phldrT="[Text]" custT="1"/>
      <dgm:spPr/>
      <dgm:t>
        <a:bodyPr/>
        <a:lstStyle/>
        <a:p>
          <a:pPr marL="0" lvl="0" indent="0" algn="ctr" defTabSz="1422400">
            <a:lnSpc>
              <a:spcPct val="90000"/>
            </a:lnSpc>
            <a:spcBef>
              <a:spcPct val="0"/>
            </a:spcBef>
            <a:spcAft>
              <a:spcPct val="35000"/>
            </a:spcAft>
            <a:buNone/>
          </a:pPr>
          <a:r>
            <a:rPr lang="en-US" sz="3200" b="0" kern="1200" dirty="0">
              <a:solidFill>
                <a:srgbClr val="FFFFFF"/>
              </a:solidFill>
              <a:latin typeface="Segoe UI Semibold" panose="020B0702040204020203" pitchFamily="34" charset="0"/>
              <a:ea typeface="+mn-ea"/>
              <a:cs typeface="Segoe UI Semibold" panose="020B0702040204020203" pitchFamily="34" charset="0"/>
            </a:rPr>
            <a:t>Recommended</a:t>
          </a:r>
        </a:p>
      </dgm:t>
    </dgm:pt>
    <dgm:pt modelId="{5B2100B0-182D-4C9D-B5F4-C27FFFC66A51}" type="parTrans" cxnId="{7DE2FF82-D5FE-41F1-BB55-B70287636168}">
      <dgm:prSet/>
      <dgm:spPr/>
      <dgm:t>
        <a:bodyPr/>
        <a:lstStyle/>
        <a:p>
          <a:endParaRPr lang="en-US"/>
        </a:p>
      </dgm:t>
    </dgm:pt>
    <dgm:pt modelId="{71F04961-9941-45D5-BD8B-7EF71A2BA86F}" type="sibTrans" cxnId="{7DE2FF82-D5FE-41F1-BB55-B70287636168}">
      <dgm:prSet/>
      <dgm:spPr/>
      <dgm:t>
        <a:bodyPr/>
        <a:lstStyle/>
        <a:p>
          <a:endParaRPr lang="en-US"/>
        </a:p>
      </dgm:t>
    </dgm:pt>
    <dgm:pt modelId="{2E07414F-51EB-4B5C-AB9D-B48D69987480}">
      <dgm:prSet custT="1"/>
      <dgm:spPr/>
      <dgm:t>
        <a:bodyPr/>
        <a:lstStyle/>
        <a:p>
          <a:r>
            <a:rPr lang="en-US" sz="3200" b="0" dirty="0">
              <a:latin typeface="Segoe UI Semibold" panose="020B0702040204020203" pitchFamily="34" charset="0"/>
              <a:cs typeface="Segoe UI Semibold" panose="020B0702040204020203" pitchFamily="34" charset="0"/>
            </a:rPr>
            <a:t>Mandatory</a:t>
          </a:r>
        </a:p>
      </dgm:t>
    </dgm:pt>
    <dgm:pt modelId="{21A2132F-2BC7-4F43-8013-E8151C3E9FD4}" type="parTrans" cxnId="{7A209090-AF9D-4929-BA45-2611F4AB63E2}">
      <dgm:prSet/>
      <dgm:spPr/>
      <dgm:t>
        <a:bodyPr/>
        <a:lstStyle/>
        <a:p>
          <a:endParaRPr lang="en-US"/>
        </a:p>
      </dgm:t>
    </dgm:pt>
    <dgm:pt modelId="{B1DEA50F-4D8B-4087-A40F-0FD3DCB5F09E}" type="sibTrans" cxnId="{7A209090-AF9D-4929-BA45-2611F4AB63E2}">
      <dgm:prSet/>
      <dgm:spPr/>
      <dgm:t>
        <a:bodyPr/>
        <a:lstStyle/>
        <a:p>
          <a:endParaRPr lang="en-US"/>
        </a:p>
      </dgm:t>
    </dgm:pt>
    <dgm:pt modelId="{36F6ED7D-9DBD-4352-880C-D618B2A327B9}">
      <dgm:prSet custT="1"/>
      <dgm:spPr/>
      <dgm:t>
        <a:bodyPr lIns="182880" tIns="91440" rIns="182880" anchor="ctr"/>
        <a:lstStyle/>
        <a:p>
          <a:r>
            <a:rPr lang="en-US" sz="1800" dirty="0"/>
            <a:t>Configure policies for services and profiles for existing web services to use API management</a:t>
          </a:r>
        </a:p>
      </dgm:t>
    </dgm:pt>
    <dgm:pt modelId="{7E370294-B552-4E0E-83A6-2D1160789CBE}" type="parTrans" cxnId="{BB044F5C-3E28-45FC-A8E7-F14ED39CDED4}">
      <dgm:prSet/>
      <dgm:spPr/>
      <dgm:t>
        <a:bodyPr/>
        <a:lstStyle/>
        <a:p>
          <a:endParaRPr lang="en-US"/>
        </a:p>
      </dgm:t>
    </dgm:pt>
    <dgm:pt modelId="{C5B6EBD3-923A-4EEC-A859-066DDEA9CBA9}" type="sibTrans" cxnId="{BB044F5C-3E28-45FC-A8E7-F14ED39CDED4}">
      <dgm:prSet/>
      <dgm:spPr/>
      <dgm:t>
        <a:bodyPr/>
        <a:lstStyle/>
        <a:p>
          <a:endParaRPr lang="en-US"/>
        </a:p>
      </dgm:t>
    </dgm:pt>
    <dgm:pt modelId="{0190B49C-BB58-46A0-90BD-062D5BAF73E9}">
      <dgm:prSet custT="1"/>
      <dgm:spPr/>
      <dgm:t>
        <a:bodyPr lIns="182880" tIns="91440" rIns="182880" anchor="ctr"/>
        <a:lstStyle/>
        <a:p>
          <a:r>
            <a:rPr lang="en-US" sz="1800" dirty="0"/>
            <a:t>Protect web services with API </a:t>
          </a:r>
          <a:br>
            <a:rPr lang="en-US" sz="1800" dirty="0"/>
          </a:br>
          <a:r>
            <a:rPr lang="en-US" sz="1800" dirty="0"/>
            <a:t>rate limits and quota policies</a:t>
          </a:r>
        </a:p>
      </dgm:t>
    </dgm:pt>
    <dgm:pt modelId="{FCC678D0-4084-4406-9A2F-8DE90A9288CE}" type="parTrans" cxnId="{35174360-EC6A-476D-8A56-1189C877A3F9}">
      <dgm:prSet/>
      <dgm:spPr/>
      <dgm:t>
        <a:bodyPr/>
        <a:lstStyle/>
        <a:p>
          <a:endParaRPr lang="en-US"/>
        </a:p>
      </dgm:t>
    </dgm:pt>
    <dgm:pt modelId="{F80198FE-8144-4C29-9AF4-8FBC6E1F3CA9}" type="sibTrans" cxnId="{35174360-EC6A-476D-8A56-1189C877A3F9}">
      <dgm:prSet/>
      <dgm:spPr/>
      <dgm:t>
        <a:bodyPr/>
        <a:lstStyle/>
        <a:p>
          <a:endParaRPr lang="en-US"/>
        </a:p>
      </dgm:t>
    </dgm:pt>
    <dgm:pt modelId="{83F67AFC-B961-4375-BDCF-8365D2FED456}">
      <dgm:prSet custT="1"/>
      <dgm:spPr/>
      <dgm:t>
        <a:bodyPr/>
        <a:lstStyle/>
        <a:p>
          <a:pPr marL="0" lvl="0" indent="0" algn="ctr" defTabSz="1422400">
            <a:lnSpc>
              <a:spcPct val="90000"/>
            </a:lnSpc>
            <a:spcBef>
              <a:spcPct val="0"/>
            </a:spcBef>
            <a:spcAft>
              <a:spcPct val="35000"/>
            </a:spcAft>
            <a:buNone/>
          </a:pPr>
          <a:r>
            <a:rPr lang="en-US" sz="3200" b="0" kern="1200" dirty="0">
              <a:solidFill>
                <a:srgbClr val="FFFFFF"/>
              </a:solidFill>
              <a:latin typeface="Segoe UI Semibold" panose="020B0702040204020203" pitchFamily="34" charset="0"/>
              <a:ea typeface="+mn-ea"/>
              <a:cs typeface="Segoe UI Semibold" panose="020B0702040204020203" pitchFamily="34" charset="0"/>
            </a:rPr>
            <a:t>Optional</a:t>
          </a:r>
        </a:p>
      </dgm:t>
    </dgm:pt>
    <dgm:pt modelId="{42EEF55D-A7E9-4F67-9E16-26E6E5514689}" type="parTrans" cxnId="{936F2A66-288A-4171-8425-E77A0CBB0FC6}">
      <dgm:prSet/>
      <dgm:spPr/>
      <dgm:t>
        <a:bodyPr/>
        <a:lstStyle/>
        <a:p>
          <a:endParaRPr lang="en-US"/>
        </a:p>
      </dgm:t>
    </dgm:pt>
    <dgm:pt modelId="{C263EAB1-47F9-4B9C-9477-EE1EC593E4D3}" type="sibTrans" cxnId="{936F2A66-288A-4171-8425-E77A0CBB0FC6}">
      <dgm:prSet/>
      <dgm:spPr/>
      <dgm:t>
        <a:bodyPr/>
        <a:lstStyle/>
        <a:p>
          <a:endParaRPr lang="en-US"/>
        </a:p>
      </dgm:t>
    </dgm:pt>
    <dgm:pt modelId="{59CD0C11-2FEE-4BE3-BD72-54F0E7C6908E}">
      <dgm:prSet custT="1"/>
      <dgm:spPr/>
      <dgm:t>
        <a:bodyPr lIns="182880" tIns="91440" rIns="182880" anchor="ctr"/>
        <a:lstStyle/>
        <a:p>
          <a:r>
            <a:rPr lang="en-US" sz="1800" dirty="0"/>
            <a:t>Customize the developer portal to allow for developer registration and subscription models</a:t>
          </a:r>
        </a:p>
      </dgm:t>
    </dgm:pt>
    <dgm:pt modelId="{F32D812B-E2B9-4ED1-BC6A-97E169C9E0D6}" type="parTrans" cxnId="{76DC1319-3BF0-439A-9975-2AD2DCC4152E}">
      <dgm:prSet/>
      <dgm:spPr/>
      <dgm:t>
        <a:bodyPr/>
        <a:lstStyle/>
        <a:p>
          <a:endParaRPr lang="en-US"/>
        </a:p>
      </dgm:t>
    </dgm:pt>
    <dgm:pt modelId="{6D9C1B24-2426-4F6D-97C1-A6E2711245BC}" type="sibTrans" cxnId="{76DC1319-3BF0-439A-9975-2AD2DCC4152E}">
      <dgm:prSet/>
      <dgm:spPr/>
      <dgm:t>
        <a:bodyPr/>
        <a:lstStyle/>
        <a:p>
          <a:endParaRPr lang="en-US"/>
        </a:p>
      </dgm:t>
    </dgm:pt>
    <dgm:pt modelId="{EA7AC903-2A0A-4CDC-9304-DC3823D9B040}" type="pres">
      <dgm:prSet presAssocID="{05B79ADD-EF3B-450C-B561-7D2B8FE16335}" presName="Name0" presStyleCnt="0">
        <dgm:presLayoutVars>
          <dgm:dir/>
          <dgm:animLvl val="lvl"/>
          <dgm:resizeHandles/>
        </dgm:presLayoutVars>
      </dgm:prSet>
      <dgm:spPr/>
    </dgm:pt>
    <dgm:pt modelId="{D4199897-136D-4EAB-BF9F-C5F55C4ACFFC}" type="pres">
      <dgm:prSet presAssocID="{2E07414F-51EB-4B5C-AB9D-B48D69987480}" presName="linNode" presStyleCnt="0"/>
      <dgm:spPr/>
    </dgm:pt>
    <dgm:pt modelId="{C0085984-AAFD-4DEB-92C0-E59BEAB1444A}" type="pres">
      <dgm:prSet presAssocID="{2E07414F-51EB-4B5C-AB9D-B48D69987480}" presName="parentShp" presStyleLbl="node1" presStyleIdx="0" presStyleCnt="3" custScaleY="273599">
        <dgm:presLayoutVars>
          <dgm:bulletEnabled val="1"/>
        </dgm:presLayoutVars>
      </dgm:prSet>
      <dgm:spPr/>
    </dgm:pt>
    <dgm:pt modelId="{0A8113A1-F9D1-4A5B-9F7B-7AADFE9A6A65}" type="pres">
      <dgm:prSet presAssocID="{2E07414F-51EB-4B5C-AB9D-B48D69987480}" presName="childShp" presStyleLbl="bgAccFollowNode1" presStyleIdx="0" presStyleCnt="3" custScaleY="331168" custLinFactNeighborX="-2362">
        <dgm:presLayoutVars>
          <dgm:bulletEnabled val="1"/>
        </dgm:presLayoutVars>
      </dgm:prSet>
      <dgm:spPr/>
    </dgm:pt>
    <dgm:pt modelId="{B8B7F072-84AD-4757-A9CA-8D0EEB6615B3}" type="pres">
      <dgm:prSet presAssocID="{B1DEA50F-4D8B-4087-A40F-0FD3DCB5F09E}" presName="spacing" presStyleCnt="0"/>
      <dgm:spPr/>
    </dgm:pt>
    <dgm:pt modelId="{8100EA6D-F7CA-4D02-A139-37F2837A9FA9}" type="pres">
      <dgm:prSet presAssocID="{E6841D98-CCB6-4ACD-A770-599D15DC964D}" presName="linNode" presStyleCnt="0"/>
      <dgm:spPr/>
    </dgm:pt>
    <dgm:pt modelId="{AF601908-1BCC-4D16-B9A7-97E1AB278EC7}" type="pres">
      <dgm:prSet presAssocID="{E6841D98-CCB6-4ACD-A770-599D15DC964D}" presName="parentShp" presStyleLbl="node1" presStyleIdx="1" presStyleCnt="3" custScaleX="101458" custScaleY="272747" custLinFactNeighborX="-4262" custLinFactNeighborY="1726">
        <dgm:presLayoutVars>
          <dgm:bulletEnabled val="1"/>
        </dgm:presLayoutVars>
      </dgm:prSet>
      <dgm:spPr/>
    </dgm:pt>
    <dgm:pt modelId="{AD4923FE-E322-4BB7-B593-6A6239D3FAE8}" type="pres">
      <dgm:prSet presAssocID="{E6841D98-CCB6-4ACD-A770-599D15DC964D}" presName="childShp" presStyleLbl="bgAccFollowNode1" presStyleIdx="1" presStyleCnt="3" custScaleX="100304" custScaleY="312270" custLinFactNeighborX="-5347" custLinFactNeighborY="1700">
        <dgm:presLayoutVars>
          <dgm:bulletEnabled val="1"/>
        </dgm:presLayoutVars>
      </dgm:prSet>
      <dgm:spPr/>
    </dgm:pt>
    <dgm:pt modelId="{5FAC147B-0CAD-4B98-99EE-AE6C2A54C861}" type="pres">
      <dgm:prSet presAssocID="{71F04961-9941-45D5-BD8B-7EF71A2BA86F}" presName="spacing" presStyleCnt="0"/>
      <dgm:spPr/>
    </dgm:pt>
    <dgm:pt modelId="{512ECA44-FA43-46C6-9FC9-E5CFBF3ED025}" type="pres">
      <dgm:prSet presAssocID="{83F67AFC-B961-4375-BDCF-8365D2FED456}" presName="linNode" presStyleCnt="0"/>
      <dgm:spPr/>
    </dgm:pt>
    <dgm:pt modelId="{AFAB1B19-CAE8-440B-9CCB-5694D6EBAD69}" type="pres">
      <dgm:prSet presAssocID="{83F67AFC-B961-4375-BDCF-8365D2FED456}" presName="parentShp" presStyleLbl="node1" presStyleIdx="2" presStyleCnt="3" custScaleX="107650" custScaleY="277606">
        <dgm:presLayoutVars>
          <dgm:bulletEnabled val="1"/>
        </dgm:presLayoutVars>
      </dgm:prSet>
      <dgm:spPr/>
    </dgm:pt>
    <dgm:pt modelId="{552042D3-DA16-49BF-8955-96746597232F}" type="pres">
      <dgm:prSet presAssocID="{83F67AFC-B961-4375-BDCF-8365D2FED456}" presName="childShp" presStyleLbl="bgAccFollowNode1" presStyleIdx="2" presStyleCnt="3" custScaleX="105040" custScaleY="350255" custLinFactNeighborX="-3195">
        <dgm:presLayoutVars>
          <dgm:bulletEnabled val="1"/>
        </dgm:presLayoutVars>
      </dgm:prSet>
      <dgm:spPr/>
    </dgm:pt>
  </dgm:ptLst>
  <dgm:cxnLst>
    <dgm:cxn modelId="{76DC1319-3BF0-439A-9975-2AD2DCC4152E}" srcId="{83F67AFC-B961-4375-BDCF-8365D2FED456}" destId="{59CD0C11-2FEE-4BE3-BD72-54F0E7C6908E}" srcOrd="0" destOrd="0" parTransId="{F32D812B-E2B9-4ED1-BC6A-97E169C9E0D6}" sibTransId="{6D9C1B24-2426-4F6D-97C1-A6E2711245BC}"/>
    <dgm:cxn modelId="{BB044F5C-3E28-45FC-A8E7-F14ED39CDED4}" srcId="{2E07414F-51EB-4B5C-AB9D-B48D69987480}" destId="{36F6ED7D-9DBD-4352-880C-D618B2A327B9}" srcOrd="0" destOrd="0" parTransId="{7E370294-B552-4E0E-83A6-2D1160789CBE}" sibTransId="{C5B6EBD3-923A-4EEC-A859-066DDEA9CBA9}"/>
    <dgm:cxn modelId="{1FBBF75F-ABA2-4B94-855A-0B4C8F300F0F}" type="presOf" srcId="{0190B49C-BB58-46A0-90BD-062D5BAF73E9}" destId="{AD4923FE-E322-4BB7-B593-6A6239D3FAE8}" srcOrd="0" destOrd="0" presId="urn:microsoft.com/office/officeart/2005/8/layout/vList6"/>
    <dgm:cxn modelId="{35174360-EC6A-476D-8A56-1189C877A3F9}" srcId="{E6841D98-CCB6-4ACD-A770-599D15DC964D}" destId="{0190B49C-BB58-46A0-90BD-062D5BAF73E9}" srcOrd="0" destOrd="0" parTransId="{FCC678D0-4084-4406-9A2F-8DE90A9288CE}" sibTransId="{F80198FE-8144-4C29-9AF4-8FBC6E1F3CA9}"/>
    <dgm:cxn modelId="{936F2A66-288A-4171-8425-E77A0CBB0FC6}" srcId="{05B79ADD-EF3B-450C-B561-7D2B8FE16335}" destId="{83F67AFC-B961-4375-BDCF-8365D2FED456}" srcOrd="2" destOrd="0" parTransId="{42EEF55D-A7E9-4F67-9E16-26E6E5514689}" sibTransId="{C263EAB1-47F9-4B9C-9477-EE1EC593E4D3}"/>
    <dgm:cxn modelId="{ECBD664B-6D64-46BD-B6BC-4850DBFE72B3}" type="presOf" srcId="{E6841D98-CCB6-4ACD-A770-599D15DC964D}" destId="{AF601908-1BCC-4D16-B9A7-97E1AB278EC7}" srcOrd="0" destOrd="0" presId="urn:microsoft.com/office/officeart/2005/8/layout/vList6"/>
    <dgm:cxn modelId="{E1CAE64C-955A-44E6-84FD-219F6B9FE69D}" type="presOf" srcId="{2E07414F-51EB-4B5C-AB9D-B48D69987480}" destId="{C0085984-AAFD-4DEB-92C0-E59BEAB1444A}" srcOrd="0" destOrd="0" presId="urn:microsoft.com/office/officeart/2005/8/layout/vList6"/>
    <dgm:cxn modelId="{6743D350-489D-489F-A3D3-83EF53B644E3}" type="presOf" srcId="{36F6ED7D-9DBD-4352-880C-D618B2A327B9}" destId="{0A8113A1-F9D1-4A5B-9F7B-7AADFE9A6A65}" srcOrd="0" destOrd="0" presId="urn:microsoft.com/office/officeart/2005/8/layout/vList6"/>
    <dgm:cxn modelId="{F822AD73-D7DF-49B9-82F6-7F78BD3A0E9C}" type="presOf" srcId="{05B79ADD-EF3B-450C-B561-7D2B8FE16335}" destId="{EA7AC903-2A0A-4CDC-9304-DC3823D9B040}" srcOrd="0" destOrd="0" presId="urn:microsoft.com/office/officeart/2005/8/layout/vList6"/>
    <dgm:cxn modelId="{C50D5A78-E2E5-439C-BC51-3FFFD241C511}" type="presOf" srcId="{83F67AFC-B961-4375-BDCF-8365D2FED456}" destId="{AFAB1B19-CAE8-440B-9CCB-5694D6EBAD69}" srcOrd="0" destOrd="0" presId="urn:microsoft.com/office/officeart/2005/8/layout/vList6"/>
    <dgm:cxn modelId="{7DE2FF82-D5FE-41F1-BB55-B70287636168}" srcId="{05B79ADD-EF3B-450C-B561-7D2B8FE16335}" destId="{E6841D98-CCB6-4ACD-A770-599D15DC964D}" srcOrd="1" destOrd="0" parTransId="{5B2100B0-182D-4C9D-B5F4-C27FFFC66A51}" sibTransId="{71F04961-9941-45D5-BD8B-7EF71A2BA86F}"/>
    <dgm:cxn modelId="{7A209090-AF9D-4929-BA45-2611F4AB63E2}" srcId="{05B79ADD-EF3B-450C-B561-7D2B8FE16335}" destId="{2E07414F-51EB-4B5C-AB9D-B48D69987480}" srcOrd="0" destOrd="0" parTransId="{21A2132F-2BC7-4F43-8013-E8151C3E9FD4}" sibTransId="{B1DEA50F-4D8B-4087-A40F-0FD3DCB5F09E}"/>
    <dgm:cxn modelId="{722BB5FC-2F76-4A3F-8C68-F0EE2FD3CF2C}" type="presOf" srcId="{59CD0C11-2FEE-4BE3-BD72-54F0E7C6908E}" destId="{552042D3-DA16-49BF-8955-96746597232F}" srcOrd="0" destOrd="0" presId="urn:microsoft.com/office/officeart/2005/8/layout/vList6"/>
    <dgm:cxn modelId="{C8087B16-45B0-4C4A-894D-72137871D2B0}" type="presParOf" srcId="{EA7AC903-2A0A-4CDC-9304-DC3823D9B040}" destId="{D4199897-136D-4EAB-BF9F-C5F55C4ACFFC}" srcOrd="0" destOrd="0" presId="urn:microsoft.com/office/officeart/2005/8/layout/vList6"/>
    <dgm:cxn modelId="{EBAA6975-AB02-42FD-A027-6FA2688B2C40}" type="presParOf" srcId="{D4199897-136D-4EAB-BF9F-C5F55C4ACFFC}" destId="{C0085984-AAFD-4DEB-92C0-E59BEAB1444A}" srcOrd="0" destOrd="0" presId="urn:microsoft.com/office/officeart/2005/8/layout/vList6"/>
    <dgm:cxn modelId="{0AC9C2C1-3CE8-41B4-8213-847192868360}" type="presParOf" srcId="{D4199897-136D-4EAB-BF9F-C5F55C4ACFFC}" destId="{0A8113A1-F9D1-4A5B-9F7B-7AADFE9A6A65}" srcOrd="1" destOrd="0" presId="urn:microsoft.com/office/officeart/2005/8/layout/vList6"/>
    <dgm:cxn modelId="{F1321A67-0FDC-43B3-9EBB-21D6A4CC759A}" type="presParOf" srcId="{EA7AC903-2A0A-4CDC-9304-DC3823D9B040}" destId="{B8B7F072-84AD-4757-A9CA-8D0EEB6615B3}" srcOrd="1" destOrd="0" presId="urn:microsoft.com/office/officeart/2005/8/layout/vList6"/>
    <dgm:cxn modelId="{7B148792-532A-41D0-8F96-6E772694AD18}" type="presParOf" srcId="{EA7AC903-2A0A-4CDC-9304-DC3823D9B040}" destId="{8100EA6D-F7CA-4D02-A139-37F2837A9FA9}" srcOrd="2" destOrd="0" presId="urn:microsoft.com/office/officeart/2005/8/layout/vList6"/>
    <dgm:cxn modelId="{C33A9899-6B06-49ED-9B1E-0C7B49CFC750}" type="presParOf" srcId="{8100EA6D-F7CA-4D02-A139-37F2837A9FA9}" destId="{AF601908-1BCC-4D16-B9A7-97E1AB278EC7}" srcOrd="0" destOrd="0" presId="urn:microsoft.com/office/officeart/2005/8/layout/vList6"/>
    <dgm:cxn modelId="{0D0F32BA-0A9D-46F9-9A56-71CEA4C0985E}" type="presParOf" srcId="{8100EA6D-F7CA-4D02-A139-37F2837A9FA9}" destId="{AD4923FE-E322-4BB7-B593-6A6239D3FAE8}" srcOrd="1" destOrd="0" presId="urn:microsoft.com/office/officeart/2005/8/layout/vList6"/>
    <dgm:cxn modelId="{7A820778-5160-46B1-8AD0-1AD4FF1BACF3}" type="presParOf" srcId="{EA7AC903-2A0A-4CDC-9304-DC3823D9B040}" destId="{5FAC147B-0CAD-4B98-99EE-AE6C2A54C861}" srcOrd="3" destOrd="0" presId="urn:microsoft.com/office/officeart/2005/8/layout/vList6"/>
    <dgm:cxn modelId="{48C00142-D2E7-45AE-A923-AD893FB10D14}" type="presParOf" srcId="{EA7AC903-2A0A-4CDC-9304-DC3823D9B040}" destId="{512ECA44-FA43-46C6-9FC9-E5CFBF3ED025}" srcOrd="4" destOrd="0" presId="urn:microsoft.com/office/officeart/2005/8/layout/vList6"/>
    <dgm:cxn modelId="{66547E76-E145-4125-AFE7-54944CA5BD7F}" type="presParOf" srcId="{512ECA44-FA43-46C6-9FC9-E5CFBF3ED025}" destId="{AFAB1B19-CAE8-440B-9CCB-5694D6EBAD69}" srcOrd="0" destOrd="0" presId="urn:microsoft.com/office/officeart/2005/8/layout/vList6"/>
    <dgm:cxn modelId="{F66F9C00-937C-4584-BEAC-BAB8209DA399}" type="presParOf" srcId="{512ECA44-FA43-46C6-9FC9-E5CFBF3ED025}" destId="{552042D3-DA16-49BF-8955-96746597232F}" srcOrd="1" destOrd="0" presId="urn:microsoft.com/office/officeart/2005/8/layout/vList6"/>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05B79ADD-EF3B-450C-B561-7D2B8FE16335}" type="doc">
      <dgm:prSet loTypeId="urn:microsoft.com/office/officeart/2005/8/layout/vList6" loCatId="process" qsTypeId="urn:microsoft.com/office/officeart/2005/8/quickstyle/simple1" qsCatId="simple" csTypeId="urn:microsoft.com/office/officeart/2005/8/colors/accent1_2" csCatId="accent1" phldr="1"/>
      <dgm:spPr/>
    </dgm:pt>
    <dgm:pt modelId="{E6841D98-CCB6-4ACD-A770-599D15DC964D}">
      <dgm:prSet phldrT="[Text]" custT="1"/>
      <dgm:spPr/>
      <dgm:t>
        <a:bodyPr/>
        <a:lstStyle/>
        <a:p>
          <a:pPr marL="0" lvl="0" indent="0" algn="ctr" defTabSz="1422400">
            <a:lnSpc>
              <a:spcPct val="90000"/>
            </a:lnSpc>
            <a:spcBef>
              <a:spcPct val="0"/>
            </a:spcBef>
            <a:spcAft>
              <a:spcPct val="35000"/>
            </a:spcAft>
            <a:buNone/>
          </a:pPr>
          <a:r>
            <a:rPr lang="en-US" sz="3200" b="0" kern="1200" dirty="0">
              <a:solidFill>
                <a:srgbClr val="FFFFFF"/>
              </a:solidFill>
              <a:latin typeface="Segoe UI Semibold" panose="020B0702040204020203" pitchFamily="34" charset="0"/>
              <a:ea typeface="+mn-ea"/>
              <a:cs typeface="Segoe UI Semibold" panose="020B0702040204020203" pitchFamily="34" charset="0"/>
            </a:rPr>
            <a:t>Recommended</a:t>
          </a:r>
        </a:p>
      </dgm:t>
    </dgm:pt>
    <dgm:pt modelId="{5B2100B0-182D-4C9D-B5F4-C27FFFC66A51}" type="parTrans" cxnId="{7DE2FF82-D5FE-41F1-BB55-B70287636168}">
      <dgm:prSet/>
      <dgm:spPr/>
      <dgm:t>
        <a:bodyPr/>
        <a:lstStyle/>
        <a:p>
          <a:endParaRPr lang="en-US"/>
        </a:p>
      </dgm:t>
    </dgm:pt>
    <dgm:pt modelId="{71F04961-9941-45D5-BD8B-7EF71A2BA86F}" type="sibTrans" cxnId="{7DE2FF82-D5FE-41F1-BB55-B70287636168}">
      <dgm:prSet/>
      <dgm:spPr/>
      <dgm:t>
        <a:bodyPr/>
        <a:lstStyle/>
        <a:p>
          <a:endParaRPr lang="en-US"/>
        </a:p>
      </dgm:t>
    </dgm:pt>
    <dgm:pt modelId="{2E07414F-51EB-4B5C-AB9D-B48D69987480}">
      <dgm:prSet custT="1"/>
      <dgm:spPr/>
      <dgm:t>
        <a:bodyPr/>
        <a:lstStyle/>
        <a:p>
          <a:r>
            <a:rPr lang="en-US" sz="3200" b="0" dirty="0">
              <a:latin typeface="Segoe UI Semibold" panose="020B0702040204020203" pitchFamily="34" charset="0"/>
              <a:cs typeface="Segoe UI Semibold" panose="020B0702040204020203" pitchFamily="34" charset="0"/>
            </a:rPr>
            <a:t>Mandatory</a:t>
          </a:r>
        </a:p>
      </dgm:t>
    </dgm:pt>
    <dgm:pt modelId="{21A2132F-2BC7-4F43-8013-E8151C3E9FD4}" type="parTrans" cxnId="{7A209090-AF9D-4929-BA45-2611F4AB63E2}">
      <dgm:prSet/>
      <dgm:spPr/>
      <dgm:t>
        <a:bodyPr/>
        <a:lstStyle/>
        <a:p>
          <a:endParaRPr lang="en-US"/>
        </a:p>
      </dgm:t>
    </dgm:pt>
    <dgm:pt modelId="{B1DEA50F-4D8B-4087-A40F-0FD3DCB5F09E}" type="sibTrans" cxnId="{7A209090-AF9D-4929-BA45-2611F4AB63E2}">
      <dgm:prSet/>
      <dgm:spPr/>
      <dgm:t>
        <a:bodyPr/>
        <a:lstStyle/>
        <a:p>
          <a:endParaRPr lang="en-US"/>
        </a:p>
      </dgm:t>
    </dgm:pt>
    <dgm:pt modelId="{36F6ED7D-9DBD-4352-880C-D618B2A327B9}">
      <dgm:prSet custT="1"/>
      <dgm:spPr/>
      <dgm:t>
        <a:bodyPr lIns="182880" tIns="91440" rIns="182880"/>
        <a:lstStyle/>
        <a:p>
          <a:r>
            <a:rPr lang="en-US" sz="1800" dirty="0"/>
            <a:t>Define pool of VMs that will perform the underlying work </a:t>
          </a:r>
          <a:br>
            <a:rPr lang="en-US" sz="1800" dirty="0"/>
          </a:br>
          <a:r>
            <a:rPr lang="en-US" sz="1800" dirty="0"/>
            <a:t>for Azure Batch Jobs</a:t>
          </a:r>
        </a:p>
      </dgm:t>
    </dgm:pt>
    <dgm:pt modelId="{7E370294-B552-4E0E-83A6-2D1160789CBE}" type="parTrans" cxnId="{BB044F5C-3E28-45FC-A8E7-F14ED39CDED4}">
      <dgm:prSet/>
      <dgm:spPr/>
      <dgm:t>
        <a:bodyPr/>
        <a:lstStyle/>
        <a:p>
          <a:endParaRPr lang="en-US"/>
        </a:p>
      </dgm:t>
    </dgm:pt>
    <dgm:pt modelId="{C5B6EBD3-923A-4EEC-A859-066DDEA9CBA9}" type="sibTrans" cxnId="{BB044F5C-3E28-45FC-A8E7-F14ED39CDED4}">
      <dgm:prSet/>
      <dgm:spPr/>
      <dgm:t>
        <a:bodyPr/>
        <a:lstStyle/>
        <a:p>
          <a:endParaRPr lang="en-US"/>
        </a:p>
      </dgm:t>
    </dgm:pt>
    <dgm:pt modelId="{0190B49C-BB58-46A0-90BD-062D5BAF73E9}">
      <dgm:prSet custT="1"/>
      <dgm:spPr/>
      <dgm:t>
        <a:bodyPr lIns="182880" tIns="91440" rIns="182880"/>
        <a:lstStyle/>
        <a:p>
          <a:r>
            <a:rPr lang="en-US" sz="1800" dirty="0"/>
            <a:t>Analyze the workload to determine which model is the better fit, Azure Batch or Azure Batch Apps</a:t>
          </a:r>
        </a:p>
      </dgm:t>
    </dgm:pt>
    <dgm:pt modelId="{FCC678D0-4084-4406-9A2F-8DE90A9288CE}" type="parTrans" cxnId="{35174360-EC6A-476D-8A56-1189C877A3F9}">
      <dgm:prSet/>
      <dgm:spPr/>
      <dgm:t>
        <a:bodyPr/>
        <a:lstStyle/>
        <a:p>
          <a:endParaRPr lang="en-US"/>
        </a:p>
      </dgm:t>
    </dgm:pt>
    <dgm:pt modelId="{F80198FE-8144-4C29-9AF4-8FBC6E1F3CA9}" type="sibTrans" cxnId="{35174360-EC6A-476D-8A56-1189C877A3F9}">
      <dgm:prSet/>
      <dgm:spPr/>
      <dgm:t>
        <a:bodyPr/>
        <a:lstStyle/>
        <a:p>
          <a:endParaRPr lang="en-US"/>
        </a:p>
      </dgm:t>
    </dgm:pt>
    <dgm:pt modelId="{83F67AFC-B961-4375-BDCF-8365D2FED456}">
      <dgm:prSet custT="1"/>
      <dgm:spPr/>
      <dgm:t>
        <a:bodyPr/>
        <a:lstStyle/>
        <a:p>
          <a:pPr marL="0" lvl="0" indent="0" algn="ctr" defTabSz="1422400">
            <a:lnSpc>
              <a:spcPct val="90000"/>
            </a:lnSpc>
            <a:spcBef>
              <a:spcPct val="0"/>
            </a:spcBef>
            <a:spcAft>
              <a:spcPct val="35000"/>
            </a:spcAft>
            <a:buNone/>
          </a:pPr>
          <a:r>
            <a:rPr lang="en-US" sz="3200" b="0" kern="1200" dirty="0">
              <a:solidFill>
                <a:srgbClr val="FFFFFF"/>
              </a:solidFill>
              <a:latin typeface="Segoe UI Semibold" panose="020B0702040204020203" pitchFamily="34" charset="0"/>
              <a:ea typeface="+mn-ea"/>
              <a:cs typeface="Segoe UI Semibold" panose="020B0702040204020203" pitchFamily="34" charset="0"/>
            </a:rPr>
            <a:t>Optional</a:t>
          </a:r>
        </a:p>
      </dgm:t>
    </dgm:pt>
    <dgm:pt modelId="{42EEF55D-A7E9-4F67-9E16-26E6E5514689}" type="parTrans" cxnId="{936F2A66-288A-4171-8425-E77A0CBB0FC6}">
      <dgm:prSet/>
      <dgm:spPr/>
      <dgm:t>
        <a:bodyPr/>
        <a:lstStyle/>
        <a:p>
          <a:endParaRPr lang="en-US"/>
        </a:p>
      </dgm:t>
    </dgm:pt>
    <dgm:pt modelId="{C263EAB1-47F9-4B9C-9477-EE1EC593E4D3}" type="sibTrans" cxnId="{936F2A66-288A-4171-8425-E77A0CBB0FC6}">
      <dgm:prSet/>
      <dgm:spPr/>
      <dgm:t>
        <a:bodyPr/>
        <a:lstStyle/>
        <a:p>
          <a:endParaRPr lang="en-US"/>
        </a:p>
      </dgm:t>
    </dgm:pt>
    <dgm:pt modelId="{59CD0C11-2FEE-4BE3-BD72-54F0E7C6908E}">
      <dgm:prSet custT="1"/>
      <dgm:spPr/>
      <dgm:t>
        <a:bodyPr lIns="182880" tIns="91440" rIns="182880"/>
        <a:lstStyle/>
        <a:p>
          <a:r>
            <a:rPr lang="en-US" sz="1800" dirty="0"/>
            <a:t>Leverage the REST API to output monitoring and telemetry to existing systems</a:t>
          </a:r>
        </a:p>
      </dgm:t>
    </dgm:pt>
    <dgm:pt modelId="{F32D812B-E2B9-4ED1-BC6A-97E169C9E0D6}" type="parTrans" cxnId="{76DC1319-3BF0-439A-9975-2AD2DCC4152E}">
      <dgm:prSet/>
      <dgm:spPr/>
      <dgm:t>
        <a:bodyPr/>
        <a:lstStyle/>
        <a:p>
          <a:endParaRPr lang="en-US"/>
        </a:p>
      </dgm:t>
    </dgm:pt>
    <dgm:pt modelId="{6D9C1B24-2426-4F6D-97C1-A6E2711245BC}" type="sibTrans" cxnId="{76DC1319-3BF0-439A-9975-2AD2DCC4152E}">
      <dgm:prSet/>
      <dgm:spPr/>
      <dgm:t>
        <a:bodyPr/>
        <a:lstStyle/>
        <a:p>
          <a:endParaRPr lang="en-US"/>
        </a:p>
      </dgm:t>
    </dgm:pt>
    <dgm:pt modelId="{C3A70C83-E6FB-4BC4-B98F-70530CC0C07C}">
      <dgm:prSet custT="1"/>
      <dgm:spPr/>
      <dgm:t>
        <a:bodyPr/>
        <a:lstStyle/>
        <a:p>
          <a:endParaRPr lang="en-US" sz="1800" dirty="0"/>
        </a:p>
      </dgm:t>
    </dgm:pt>
    <dgm:pt modelId="{04FC640B-888D-4B1F-A151-CACD336FB558}" type="parTrans" cxnId="{9FD42523-80A0-47ED-926D-70D65DFBBC69}">
      <dgm:prSet/>
      <dgm:spPr/>
      <dgm:t>
        <a:bodyPr/>
        <a:lstStyle/>
        <a:p>
          <a:endParaRPr lang="en-US"/>
        </a:p>
      </dgm:t>
    </dgm:pt>
    <dgm:pt modelId="{FDE8B323-6D7B-47AE-A6E7-A2A691E3B255}" type="sibTrans" cxnId="{9FD42523-80A0-47ED-926D-70D65DFBBC69}">
      <dgm:prSet/>
      <dgm:spPr/>
      <dgm:t>
        <a:bodyPr/>
        <a:lstStyle/>
        <a:p>
          <a:endParaRPr lang="en-US"/>
        </a:p>
      </dgm:t>
    </dgm:pt>
    <dgm:pt modelId="{EA7AC903-2A0A-4CDC-9304-DC3823D9B040}" type="pres">
      <dgm:prSet presAssocID="{05B79ADD-EF3B-450C-B561-7D2B8FE16335}" presName="Name0" presStyleCnt="0">
        <dgm:presLayoutVars>
          <dgm:dir/>
          <dgm:animLvl val="lvl"/>
          <dgm:resizeHandles/>
        </dgm:presLayoutVars>
      </dgm:prSet>
      <dgm:spPr/>
    </dgm:pt>
    <dgm:pt modelId="{D4199897-136D-4EAB-BF9F-C5F55C4ACFFC}" type="pres">
      <dgm:prSet presAssocID="{2E07414F-51EB-4B5C-AB9D-B48D69987480}" presName="linNode" presStyleCnt="0"/>
      <dgm:spPr/>
    </dgm:pt>
    <dgm:pt modelId="{C0085984-AAFD-4DEB-92C0-E59BEAB1444A}" type="pres">
      <dgm:prSet presAssocID="{2E07414F-51EB-4B5C-AB9D-B48D69987480}" presName="parentShp" presStyleLbl="node1" presStyleIdx="0" presStyleCnt="3" custScaleY="273599">
        <dgm:presLayoutVars>
          <dgm:bulletEnabled val="1"/>
        </dgm:presLayoutVars>
      </dgm:prSet>
      <dgm:spPr/>
    </dgm:pt>
    <dgm:pt modelId="{0A8113A1-F9D1-4A5B-9F7B-7AADFE9A6A65}" type="pres">
      <dgm:prSet presAssocID="{2E07414F-51EB-4B5C-AB9D-B48D69987480}" presName="childShp" presStyleLbl="bgAccFollowNode1" presStyleIdx="0" presStyleCnt="3" custScaleY="331168" custLinFactNeighborX="-2362">
        <dgm:presLayoutVars>
          <dgm:bulletEnabled val="1"/>
        </dgm:presLayoutVars>
      </dgm:prSet>
      <dgm:spPr/>
    </dgm:pt>
    <dgm:pt modelId="{B8B7F072-84AD-4757-A9CA-8D0EEB6615B3}" type="pres">
      <dgm:prSet presAssocID="{B1DEA50F-4D8B-4087-A40F-0FD3DCB5F09E}" presName="spacing" presStyleCnt="0"/>
      <dgm:spPr/>
    </dgm:pt>
    <dgm:pt modelId="{8100EA6D-F7CA-4D02-A139-37F2837A9FA9}" type="pres">
      <dgm:prSet presAssocID="{E6841D98-CCB6-4ACD-A770-599D15DC964D}" presName="linNode" presStyleCnt="0"/>
      <dgm:spPr/>
    </dgm:pt>
    <dgm:pt modelId="{AF601908-1BCC-4D16-B9A7-97E1AB278EC7}" type="pres">
      <dgm:prSet presAssocID="{E6841D98-CCB6-4ACD-A770-599D15DC964D}" presName="parentShp" presStyleLbl="node1" presStyleIdx="1" presStyleCnt="3" custScaleX="101458" custScaleY="272747" custLinFactNeighborX="-4262" custLinFactNeighborY="1726">
        <dgm:presLayoutVars>
          <dgm:bulletEnabled val="1"/>
        </dgm:presLayoutVars>
      </dgm:prSet>
      <dgm:spPr/>
    </dgm:pt>
    <dgm:pt modelId="{AD4923FE-E322-4BB7-B593-6A6239D3FAE8}" type="pres">
      <dgm:prSet presAssocID="{E6841D98-CCB6-4ACD-A770-599D15DC964D}" presName="childShp" presStyleLbl="bgAccFollowNode1" presStyleIdx="1" presStyleCnt="3" custScaleX="100304" custScaleY="312270" custLinFactNeighborX="-5347" custLinFactNeighborY="1700">
        <dgm:presLayoutVars>
          <dgm:bulletEnabled val="1"/>
        </dgm:presLayoutVars>
      </dgm:prSet>
      <dgm:spPr/>
    </dgm:pt>
    <dgm:pt modelId="{5FAC147B-0CAD-4B98-99EE-AE6C2A54C861}" type="pres">
      <dgm:prSet presAssocID="{71F04961-9941-45D5-BD8B-7EF71A2BA86F}" presName="spacing" presStyleCnt="0"/>
      <dgm:spPr/>
    </dgm:pt>
    <dgm:pt modelId="{512ECA44-FA43-46C6-9FC9-E5CFBF3ED025}" type="pres">
      <dgm:prSet presAssocID="{83F67AFC-B961-4375-BDCF-8365D2FED456}" presName="linNode" presStyleCnt="0"/>
      <dgm:spPr/>
    </dgm:pt>
    <dgm:pt modelId="{AFAB1B19-CAE8-440B-9CCB-5694D6EBAD69}" type="pres">
      <dgm:prSet presAssocID="{83F67AFC-B961-4375-BDCF-8365D2FED456}" presName="parentShp" presStyleLbl="node1" presStyleIdx="2" presStyleCnt="3" custScaleX="107650" custScaleY="277606">
        <dgm:presLayoutVars>
          <dgm:bulletEnabled val="1"/>
        </dgm:presLayoutVars>
      </dgm:prSet>
      <dgm:spPr/>
    </dgm:pt>
    <dgm:pt modelId="{552042D3-DA16-49BF-8955-96746597232F}" type="pres">
      <dgm:prSet presAssocID="{83F67AFC-B961-4375-BDCF-8365D2FED456}" presName="childShp" presStyleLbl="bgAccFollowNode1" presStyleIdx="2" presStyleCnt="3" custScaleX="105040" custScaleY="350255" custLinFactNeighborX="-3195">
        <dgm:presLayoutVars>
          <dgm:bulletEnabled val="1"/>
        </dgm:presLayoutVars>
      </dgm:prSet>
      <dgm:spPr/>
    </dgm:pt>
  </dgm:ptLst>
  <dgm:cxnLst>
    <dgm:cxn modelId="{76DC1319-3BF0-439A-9975-2AD2DCC4152E}" srcId="{83F67AFC-B961-4375-BDCF-8365D2FED456}" destId="{59CD0C11-2FEE-4BE3-BD72-54F0E7C6908E}" srcOrd="0" destOrd="0" parTransId="{F32D812B-E2B9-4ED1-BC6A-97E169C9E0D6}" sibTransId="{6D9C1B24-2426-4F6D-97C1-A6E2711245BC}"/>
    <dgm:cxn modelId="{9FD42523-80A0-47ED-926D-70D65DFBBC69}" srcId="{83F67AFC-B961-4375-BDCF-8365D2FED456}" destId="{C3A70C83-E6FB-4BC4-B98F-70530CC0C07C}" srcOrd="1" destOrd="0" parTransId="{04FC640B-888D-4B1F-A151-CACD336FB558}" sibTransId="{FDE8B323-6D7B-47AE-A6E7-A2A691E3B255}"/>
    <dgm:cxn modelId="{BB044F5C-3E28-45FC-A8E7-F14ED39CDED4}" srcId="{2E07414F-51EB-4B5C-AB9D-B48D69987480}" destId="{36F6ED7D-9DBD-4352-880C-D618B2A327B9}" srcOrd="0" destOrd="0" parTransId="{7E370294-B552-4E0E-83A6-2D1160789CBE}" sibTransId="{C5B6EBD3-923A-4EEC-A859-066DDEA9CBA9}"/>
    <dgm:cxn modelId="{1FBBF75F-ABA2-4B94-855A-0B4C8F300F0F}" type="presOf" srcId="{0190B49C-BB58-46A0-90BD-062D5BAF73E9}" destId="{AD4923FE-E322-4BB7-B593-6A6239D3FAE8}" srcOrd="0" destOrd="0" presId="urn:microsoft.com/office/officeart/2005/8/layout/vList6"/>
    <dgm:cxn modelId="{35174360-EC6A-476D-8A56-1189C877A3F9}" srcId="{E6841D98-CCB6-4ACD-A770-599D15DC964D}" destId="{0190B49C-BB58-46A0-90BD-062D5BAF73E9}" srcOrd="0" destOrd="0" parTransId="{FCC678D0-4084-4406-9A2F-8DE90A9288CE}" sibTransId="{F80198FE-8144-4C29-9AF4-8FBC6E1F3CA9}"/>
    <dgm:cxn modelId="{936F2A66-288A-4171-8425-E77A0CBB0FC6}" srcId="{05B79ADD-EF3B-450C-B561-7D2B8FE16335}" destId="{83F67AFC-B961-4375-BDCF-8365D2FED456}" srcOrd="2" destOrd="0" parTransId="{42EEF55D-A7E9-4F67-9E16-26E6E5514689}" sibTransId="{C263EAB1-47F9-4B9C-9477-EE1EC593E4D3}"/>
    <dgm:cxn modelId="{ECBD664B-6D64-46BD-B6BC-4850DBFE72B3}" type="presOf" srcId="{E6841D98-CCB6-4ACD-A770-599D15DC964D}" destId="{AF601908-1BCC-4D16-B9A7-97E1AB278EC7}" srcOrd="0" destOrd="0" presId="urn:microsoft.com/office/officeart/2005/8/layout/vList6"/>
    <dgm:cxn modelId="{E1CAE64C-955A-44E6-84FD-219F6B9FE69D}" type="presOf" srcId="{2E07414F-51EB-4B5C-AB9D-B48D69987480}" destId="{C0085984-AAFD-4DEB-92C0-E59BEAB1444A}" srcOrd="0" destOrd="0" presId="urn:microsoft.com/office/officeart/2005/8/layout/vList6"/>
    <dgm:cxn modelId="{6743D350-489D-489F-A3D3-83EF53B644E3}" type="presOf" srcId="{36F6ED7D-9DBD-4352-880C-D618B2A327B9}" destId="{0A8113A1-F9D1-4A5B-9F7B-7AADFE9A6A65}" srcOrd="0" destOrd="0" presId="urn:microsoft.com/office/officeart/2005/8/layout/vList6"/>
    <dgm:cxn modelId="{6C879F51-72FD-4774-B5F7-2638E2B44B90}" type="presOf" srcId="{C3A70C83-E6FB-4BC4-B98F-70530CC0C07C}" destId="{552042D3-DA16-49BF-8955-96746597232F}" srcOrd="0" destOrd="1" presId="urn:microsoft.com/office/officeart/2005/8/layout/vList6"/>
    <dgm:cxn modelId="{F822AD73-D7DF-49B9-82F6-7F78BD3A0E9C}" type="presOf" srcId="{05B79ADD-EF3B-450C-B561-7D2B8FE16335}" destId="{EA7AC903-2A0A-4CDC-9304-DC3823D9B040}" srcOrd="0" destOrd="0" presId="urn:microsoft.com/office/officeart/2005/8/layout/vList6"/>
    <dgm:cxn modelId="{C50D5A78-E2E5-439C-BC51-3FFFD241C511}" type="presOf" srcId="{83F67AFC-B961-4375-BDCF-8365D2FED456}" destId="{AFAB1B19-CAE8-440B-9CCB-5694D6EBAD69}" srcOrd="0" destOrd="0" presId="urn:microsoft.com/office/officeart/2005/8/layout/vList6"/>
    <dgm:cxn modelId="{7DE2FF82-D5FE-41F1-BB55-B70287636168}" srcId="{05B79ADD-EF3B-450C-B561-7D2B8FE16335}" destId="{E6841D98-CCB6-4ACD-A770-599D15DC964D}" srcOrd="1" destOrd="0" parTransId="{5B2100B0-182D-4C9D-B5F4-C27FFFC66A51}" sibTransId="{71F04961-9941-45D5-BD8B-7EF71A2BA86F}"/>
    <dgm:cxn modelId="{7A209090-AF9D-4929-BA45-2611F4AB63E2}" srcId="{05B79ADD-EF3B-450C-B561-7D2B8FE16335}" destId="{2E07414F-51EB-4B5C-AB9D-B48D69987480}" srcOrd="0" destOrd="0" parTransId="{21A2132F-2BC7-4F43-8013-E8151C3E9FD4}" sibTransId="{B1DEA50F-4D8B-4087-A40F-0FD3DCB5F09E}"/>
    <dgm:cxn modelId="{722BB5FC-2F76-4A3F-8C68-F0EE2FD3CF2C}" type="presOf" srcId="{59CD0C11-2FEE-4BE3-BD72-54F0E7C6908E}" destId="{552042D3-DA16-49BF-8955-96746597232F}" srcOrd="0" destOrd="0" presId="urn:microsoft.com/office/officeart/2005/8/layout/vList6"/>
    <dgm:cxn modelId="{C8087B16-45B0-4C4A-894D-72137871D2B0}" type="presParOf" srcId="{EA7AC903-2A0A-4CDC-9304-DC3823D9B040}" destId="{D4199897-136D-4EAB-BF9F-C5F55C4ACFFC}" srcOrd="0" destOrd="0" presId="urn:microsoft.com/office/officeart/2005/8/layout/vList6"/>
    <dgm:cxn modelId="{EBAA6975-AB02-42FD-A027-6FA2688B2C40}" type="presParOf" srcId="{D4199897-136D-4EAB-BF9F-C5F55C4ACFFC}" destId="{C0085984-AAFD-4DEB-92C0-E59BEAB1444A}" srcOrd="0" destOrd="0" presId="urn:microsoft.com/office/officeart/2005/8/layout/vList6"/>
    <dgm:cxn modelId="{0AC9C2C1-3CE8-41B4-8213-847192868360}" type="presParOf" srcId="{D4199897-136D-4EAB-BF9F-C5F55C4ACFFC}" destId="{0A8113A1-F9D1-4A5B-9F7B-7AADFE9A6A65}" srcOrd="1" destOrd="0" presId="urn:microsoft.com/office/officeart/2005/8/layout/vList6"/>
    <dgm:cxn modelId="{F1321A67-0FDC-43B3-9EBB-21D6A4CC759A}" type="presParOf" srcId="{EA7AC903-2A0A-4CDC-9304-DC3823D9B040}" destId="{B8B7F072-84AD-4757-A9CA-8D0EEB6615B3}" srcOrd="1" destOrd="0" presId="urn:microsoft.com/office/officeart/2005/8/layout/vList6"/>
    <dgm:cxn modelId="{7B148792-532A-41D0-8F96-6E772694AD18}" type="presParOf" srcId="{EA7AC903-2A0A-4CDC-9304-DC3823D9B040}" destId="{8100EA6D-F7CA-4D02-A139-37F2837A9FA9}" srcOrd="2" destOrd="0" presId="urn:microsoft.com/office/officeart/2005/8/layout/vList6"/>
    <dgm:cxn modelId="{C33A9899-6B06-49ED-9B1E-0C7B49CFC750}" type="presParOf" srcId="{8100EA6D-F7CA-4D02-A139-37F2837A9FA9}" destId="{AF601908-1BCC-4D16-B9A7-97E1AB278EC7}" srcOrd="0" destOrd="0" presId="urn:microsoft.com/office/officeart/2005/8/layout/vList6"/>
    <dgm:cxn modelId="{0D0F32BA-0A9D-46F9-9A56-71CEA4C0985E}" type="presParOf" srcId="{8100EA6D-F7CA-4D02-A139-37F2837A9FA9}" destId="{AD4923FE-E322-4BB7-B593-6A6239D3FAE8}" srcOrd="1" destOrd="0" presId="urn:microsoft.com/office/officeart/2005/8/layout/vList6"/>
    <dgm:cxn modelId="{7A820778-5160-46B1-8AD0-1AD4FF1BACF3}" type="presParOf" srcId="{EA7AC903-2A0A-4CDC-9304-DC3823D9B040}" destId="{5FAC147B-0CAD-4B98-99EE-AE6C2A54C861}" srcOrd="3" destOrd="0" presId="urn:microsoft.com/office/officeart/2005/8/layout/vList6"/>
    <dgm:cxn modelId="{48C00142-D2E7-45AE-A923-AD893FB10D14}" type="presParOf" srcId="{EA7AC903-2A0A-4CDC-9304-DC3823D9B040}" destId="{512ECA44-FA43-46C6-9FC9-E5CFBF3ED025}" srcOrd="4" destOrd="0" presId="urn:microsoft.com/office/officeart/2005/8/layout/vList6"/>
    <dgm:cxn modelId="{66547E76-E145-4125-AFE7-54944CA5BD7F}" type="presParOf" srcId="{512ECA44-FA43-46C6-9FC9-E5CFBF3ED025}" destId="{AFAB1B19-CAE8-440B-9CCB-5694D6EBAD69}" srcOrd="0" destOrd="0" presId="urn:microsoft.com/office/officeart/2005/8/layout/vList6"/>
    <dgm:cxn modelId="{F66F9C00-937C-4584-BEAC-BAB8209DA399}" type="presParOf" srcId="{512ECA44-FA43-46C6-9FC9-E5CFBF3ED025}" destId="{552042D3-DA16-49BF-8955-96746597232F}" srcOrd="1" destOrd="0" presId="urn:microsoft.com/office/officeart/2005/8/layout/vList6"/>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05B79ADD-EF3B-450C-B561-7D2B8FE16335}" type="doc">
      <dgm:prSet loTypeId="urn:microsoft.com/office/officeart/2005/8/layout/vList6" loCatId="process" qsTypeId="urn:microsoft.com/office/officeart/2005/8/quickstyle/simple1" qsCatId="simple" csTypeId="urn:microsoft.com/office/officeart/2005/8/colors/accent1_2" csCatId="accent1" phldr="1"/>
      <dgm:spPr/>
    </dgm:pt>
    <dgm:pt modelId="{E6841D98-CCB6-4ACD-A770-599D15DC964D}">
      <dgm:prSet phldrT="[Text]" custT="1"/>
      <dgm:spPr/>
      <dgm:t>
        <a:bodyPr/>
        <a:lstStyle/>
        <a:p>
          <a:pPr marL="0" lvl="0" indent="0" algn="ctr" defTabSz="1422400">
            <a:lnSpc>
              <a:spcPct val="90000"/>
            </a:lnSpc>
            <a:spcBef>
              <a:spcPct val="0"/>
            </a:spcBef>
            <a:spcAft>
              <a:spcPct val="35000"/>
            </a:spcAft>
            <a:buNone/>
          </a:pPr>
          <a:r>
            <a:rPr lang="en-US" sz="3200" b="0" kern="1200" dirty="0">
              <a:solidFill>
                <a:srgbClr val="FFFFFF"/>
              </a:solidFill>
              <a:latin typeface="Segoe UI Semibold" panose="020B0702040204020203" pitchFamily="34" charset="0"/>
              <a:ea typeface="+mn-ea"/>
              <a:cs typeface="Segoe UI Semibold" panose="020B0702040204020203" pitchFamily="34" charset="0"/>
            </a:rPr>
            <a:t>Recommended</a:t>
          </a:r>
        </a:p>
      </dgm:t>
    </dgm:pt>
    <dgm:pt modelId="{5B2100B0-182D-4C9D-B5F4-C27FFFC66A51}" type="parTrans" cxnId="{7DE2FF82-D5FE-41F1-BB55-B70287636168}">
      <dgm:prSet/>
      <dgm:spPr/>
      <dgm:t>
        <a:bodyPr/>
        <a:lstStyle/>
        <a:p>
          <a:endParaRPr lang="en-US"/>
        </a:p>
      </dgm:t>
    </dgm:pt>
    <dgm:pt modelId="{71F04961-9941-45D5-BD8B-7EF71A2BA86F}" type="sibTrans" cxnId="{7DE2FF82-D5FE-41F1-BB55-B70287636168}">
      <dgm:prSet/>
      <dgm:spPr/>
      <dgm:t>
        <a:bodyPr/>
        <a:lstStyle/>
        <a:p>
          <a:endParaRPr lang="en-US"/>
        </a:p>
      </dgm:t>
    </dgm:pt>
    <dgm:pt modelId="{2E07414F-51EB-4B5C-AB9D-B48D69987480}">
      <dgm:prSet custT="1"/>
      <dgm:spPr/>
      <dgm:t>
        <a:bodyPr/>
        <a:lstStyle/>
        <a:p>
          <a:r>
            <a:rPr lang="en-US" sz="3200" b="0" dirty="0">
              <a:latin typeface="Segoe UI Semibold" panose="020B0702040204020203" pitchFamily="34" charset="0"/>
              <a:cs typeface="Segoe UI Semibold" panose="020B0702040204020203" pitchFamily="34" charset="0"/>
            </a:rPr>
            <a:t>Mandatory</a:t>
          </a:r>
        </a:p>
      </dgm:t>
    </dgm:pt>
    <dgm:pt modelId="{21A2132F-2BC7-4F43-8013-E8151C3E9FD4}" type="parTrans" cxnId="{7A209090-AF9D-4929-BA45-2611F4AB63E2}">
      <dgm:prSet/>
      <dgm:spPr/>
      <dgm:t>
        <a:bodyPr/>
        <a:lstStyle/>
        <a:p>
          <a:endParaRPr lang="en-US"/>
        </a:p>
      </dgm:t>
    </dgm:pt>
    <dgm:pt modelId="{B1DEA50F-4D8B-4087-A40F-0FD3DCB5F09E}" type="sibTrans" cxnId="{7A209090-AF9D-4929-BA45-2611F4AB63E2}">
      <dgm:prSet/>
      <dgm:spPr/>
      <dgm:t>
        <a:bodyPr/>
        <a:lstStyle/>
        <a:p>
          <a:endParaRPr lang="en-US"/>
        </a:p>
      </dgm:t>
    </dgm:pt>
    <dgm:pt modelId="{36F6ED7D-9DBD-4352-880C-D618B2A327B9}">
      <dgm:prSet custT="1"/>
      <dgm:spPr/>
      <dgm:t>
        <a:bodyPr lIns="182880" tIns="91440" rIns="182880" anchor="ctr"/>
        <a:lstStyle/>
        <a:p>
          <a:pPr>
            <a:buFont typeface="Arial" panose="020B0604020202020204" pitchFamily="34" charset="0"/>
            <a:buChar char="•"/>
          </a:pPr>
          <a:r>
            <a:rPr lang="en-US" sz="1800" dirty="0"/>
            <a:t>Understand which tier of service will be required and implement the Redis client in the application</a:t>
          </a:r>
        </a:p>
      </dgm:t>
    </dgm:pt>
    <dgm:pt modelId="{7E370294-B552-4E0E-83A6-2D1160789CBE}" type="parTrans" cxnId="{BB044F5C-3E28-45FC-A8E7-F14ED39CDED4}">
      <dgm:prSet/>
      <dgm:spPr/>
      <dgm:t>
        <a:bodyPr/>
        <a:lstStyle/>
        <a:p>
          <a:endParaRPr lang="en-US"/>
        </a:p>
      </dgm:t>
    </dgm:pt>
    <dgm:pt modelId="{C5B6EBD3-923A-4EEC-A859-066DDEA9CBA9}" type="sibTrans" cxnId="{BB044F5C-3E28-45FC-A8E7-F14ED39CDED4}">
      <dgm:prSet/>
      <dgm:spPr/>
      <dgm:t>
        <a:bodyPr/>
        <a:lstStyle/>
        <a:p>
          <a:endParaRPr lang="en-US"/>
        </a:p>
      </dgm:t>
    </dgm:pt>
    <dgm:pt modelId="{0190B49C-BB58-46A0-90BD-062D5BAF73E9}">
      <dgm:prSet custT="1"/>
      <dgm:spPr/>
      <dgm:t>
        <a:bodyPr lIns="274320" tIns="91440" rIns="182880"/>
        <a:lstStyle/>
        <a:p>
          <a:r>
            <a:rPr lang="en-US" sz="1800" dirty="0"/>
            <a:t>Use the advanced structure caching options with Redis </a:t>
          </a:r>
          <a:br>
            <a:rPr lang="en-US" sz="1800" dirty="0"/>
          </a:br>
          <a:r>
            <a:rPr lang="en-US" sz="1800" dirty="0"/>
            <a:t>to simplify the application </a:t>
          </a:r>
          <a:br>
            <a:rPr lang="en-US" sz="1800" dirty="0"/>
          </a:br>
          <a:r>
            <a:rPr lang="en-US" sz="1800" dirty="0"/>
            <a:t>caching code</a:t>
          </a:r>
        </a:p>
      </dgm:t>
    </dgm:pt>
    <dgm:pt modelId="{FCC678D0-4084-4406-9A2F-8DE90A9288CE}" type="parTrans" cxnId="{35174360-EC6A-476D-8A56-1189C877A3F9}">
      <dgm:prSet/>
      <dgm:spPr/>
      <dgm:t>
        <a:bodyPr/>
        <a:lstStyle/>
        <a:p>
          <a:endParaRPr lang="en-US"/>
        </a:p>
      </dgm:t>
    </dgm:pt>
    <dgm:pt modelId="{F80198FE-8144-4C29-9AF4-8FBC6E1F3CA9}" type="sibTrans" cxnId="{35174360-EC6A-476D-8A56-1189C877A3F9}">
      <dgm:prSet/>
      <dgm:spPr/>
      <dgm:t>
        <a:bodyPr/>
        <a:lstStyle/>
        <a:p>
          <a:endParaRPr lang="en-US"/>
        </a:p>
      </dgm:t>
    </dgm:pt>
    <dgm:pt modelId="{83F67AFC-B961-4375-BDCF-8365D2FED456}">
      <dgm:prSet custT="1"/>
      <dgm:spPr/>
      <dgm:t>
        <a:bodyPr/>
        <a:lstStyle/>
        <a:p>
          <a:pPr marL="0" lvl="0" indent="0" algn="ctr" defTabSz="1422400">
            <a:lnSpc>
              <a:spcPct val="90000"/>
            </a:lnSpc>
            <a:spcBef>
              <a:spcPct val="0"/>
            </a:spcBef>
            <a:spcAft>
              <a:spcPct val="35000"/>
            </a:spcAft>
            <a:buNone/>
          </a:pPr>
          <a:r>
            <a:rPr lang="en-US" sz="3200" b="0" kern="1200" dirty="0">
              <a:solidFill>
                <a:srgbClr val="FFFFFF"/>
              </a:solidFill>
              <a:latin typeface="Segoe UI Semibold" panose="020B0702040204020203" pitchFamily="34" charset="0"/>
              <a:ea typeface="+mn-ea"/>
              <a:cs typeface="Segoe UI Semibold" panose="020B0702040204020203" pitchFamily="34" charset="0"/>
            </a:rPr>
            <a:t>Optional</a:t>
          </a:r>
        </a:p>
      </dgm:t>
    </dgm:pt>
    <dgm:pt modelId="{42EEF55D-A7E9-4F67-9E16-26E6E5514689}" type="parTrans" cxnId="{936F2A66-288A-4171-8425-E77A0CBB0FC6}">
      <dgm:prSet/>
      <dgm:spPr/>
      <dgm:t>
        <a:bodyPr/>
        <a:lstStyle/>
        <a:p>
          <a:endParaRPr lang="en-US"/>
        </a:p>
      </dgm:t>
    </dgm:pt>
    <dgm:pt modelId="{C263EAB1-47F9-4B9C-9477-EE1EC593E4D3}" type="sibTrans" cxnId="{936F2A66-288A-4171-8425-E77A0CBB0FC6}">
      <dgm:prSet/>
      <dgm:spPr/>
      <dgm:t>
        <a:bodyPr/>
        <a:lstStyle/>
        <a:p>
          <a:endParaRPr lang="en-US"/>
        </a:p>
      </dgm:t>
    </dgm:pt>
    <dgm:pt modelId="{59CD0C11-2FEE-4BE3-BD72-54F0E7C6908E}">
      <dgm:prSet custT="1"/>
      <dgm:spPr/>
      <dgm:t>
        <a:bodyPr lIns="182880" tIns="91440" rIns="182880" anchor="ctr"/>
        <a:lstStyle/>
        <a:p>
          <a:r>
            <a:rPr lang="en-US" sz="1800" dirty="0"/>
            <a:t>Setup policies for cache rejection, lifetime, </a:t>
          </a:r>
          <a:r>
            <a:rPr lang="en-US" sz="1800" dirty="0" err="1"/>
            <a:t>etc</a:t>
          </a:r>
          <a:endParaRPr lang="en-US" sz="1800" dirty="0"/>
        </a:p>
      </dgm:t>
    </dgm:pt>
    <dgm:pt modelId="{F32D812B-E2B9-4ED1-BC6A-97E169C9E0D6}" type="parTrans" cxnId="{76DC1319-3BF0-439A-9975-2AD2DCC4152E}">
      <dgm:prSet/>
      <dgm:spPr/>
      <dgm:t>
        <a:bodyPr/>
        <a:lstStyle/>
        <a:p>
          <a:endParaRPr lang="en-US"/>
        </a:p>
      </dgm:t>
    </dgm:pt>
    <dgm:pt modelId="{6D9C1B24-2426-4F6D-97C1-A6E2711245BC}" type="sibTrans" cxnId="{76DC1319-3BF0-439A-9975-2AD2DCC4152E}">
      <dgm:prSet/>
      <dgm:spPr/>
      <dgm:t>
        <a:bodyPr/>
        <a:lstStyle/>
        <a:p>
          <a:endParaRPr lang="en-US"/>
        </a:p>
      </dgm:t>
    </dgm:pt>
    <dgm:pt modelId="{5FCB4AEC-3400-4639-866F-C0F7D83241A4}">
      <dgm:prSet custT="1"/>
      <dgm:spPr/>
      <dgm:t>
        <a:bodyPr anchor="ctr"/>
        <a:lstStyle/>
        <a:p>
          <a:endParaRPr lang="en-US" sz="1800" dirty="0"/>
        </a:p>
      </dgm:t>
    </dgm:pt>
    <dgm:pt modelId="{350F88AE-F972-404B-B25F-5D2A5446FBDD}" type="parTrans" cxnId="{B68A036B-6F74-4CB8-A305-FE1474785AF9}">
      <dgm:prSet/>
      <dgm:spPr/>
      <dgm:t>
        <a:bodyPr/>
        <a:lstStyle/>
        <a:p>
          <a:endParaRPr lang="en-US"/>
        </a:p>
      </dgm:t>
    </dgm:pt>
    <dgm:pt modelId="{FFAB6277-22D2-48E1-8389-673C896C3EB7}" type="sibTrans" cxnId="{B68A036B-6F74-4CB8-A305-FE1474785AF9}">
      <dgm:prSet/>
      <dgm:spPr/>
      <dgm:t>
        <a:bodyPr/>
        <a:lstStyle/>
        <a:p>
          <a:endParaRPr lang="en-US"/>
        </a:p>
      </dgm:t>
    </dgm:pt>
    <dgm:pt modelId="{325DD007-8201-4444-A739-2F85AF8D1E10}">
      <dgm:prSet custT="1"/>
      <dgm:spPr/>
      <dgm:t>
        <a:bodyPr lIns="274320"/>
        <a:lstStyle/>
        <a:p>
          <a:endParaRPr lang="en-US" sz="1800" dirty="0"/>
        </a:p>
      </dgm:t>
    </dgm:pt>
    <dgm:pt modelId="{0FFB1D30-4518-4B04-BE46-1169B16F9F9F}" type="parTrans" cxnId="{5CBE00A0-3B24-463E-80DA-963D2D518F28}">
      <dgm:prSet/>
      <dgm:spPr/>
      <dgm:t>
        <a:bodyPr/>
        <a:lstStyle/>
        <a:p>
          <a:endParaRPr lang="en-US"/>
        </a:p>
      </dgm:t>
    </dgm:pt>
    <dgm:pt modelId="{1ADC8F46-D983-40FC-A132-913BDD83FA2F}" type="sibTrans" cxnId="{5CBE00A0-3B24-463E-80DA-963D2D518F28}">
      <dgm:prSet/>
      <dgm:spPr/>
      <dgm:t>
        <a:bodyPr/>
        <a:lstStyle/>
        <a:p>
          <a:endParaRPr lang="en-US"/>
        </a:p>
      </dgm:t>
    </dgm:pt>
    <dgm:pt modelId="{C0A16119-D7FA-45F5-9546-86DFC8D56E03}">
      <dgm:prSet custT="1"/>
      <dgm:spPr/>
      <dgm:t>
        <a:bodyPr lIns="182880" tIns="91440" rIns="182880" anchor="ctr"/>
        <a:lstStyle/>
        <a:p>
          <a:pPr>
            <a:buNone/>
          </a:pPr>
          <a:endParaRPr lang="en-US" sz="1800" dirty="0"/>
        </a:p>
      </dgm:t>
    </dgm:pt>
    <dgm:pt modelId="{A7453F4F-B07E-4F12-9EBA-C6DC794C2BD7}" type="parTrans" cxnId="{441AE186-5863-4285-9E7E-D976097B2544}">
      <dgm:prSet/>
      <dgm:spPr/>
    </dgm:pt>
    <dgm:pt modelId="{58767F2E-FBA5-46DD-AB39-FAB2672CDCBD}" type="sibTrans" cxnId="{441AE186-5863-4285-9E7E-D976097B2544}">
      <dgm:prSet/>
      <dgm:spPr/>
    </dgm:pt>
    <dgm:pt modelId="{EA7AC903-2A0A-4CDC-9304-DC3823D9B040}" type="pres">
      <dgm:prSet presAssocID="{05B79ADD-EF3B-450C-B561-7D2B8FE16335}" presName="Name0" presStyleCnt="0">
        <dgm:presLayoutVars>
          <dgm:dir/>
          <dgm:animLvl val="lvl"/>
          <dgm:resizeHandles/>
        </dgm:presLayoutVars>
      </dgm:prSet>
      <dgm:spPr/>
    </dgm:pt>
    <dgm:pt modelId="{D4199897-136D-4EAB-BF9F-C5F55C4ACFFC}" type="pres">
      <dgm:prSet presAssocID="{2E07414F-51EB-4B5C-AB9D-B48D69987480}" presName="linNode" presStyleCnt="0"/>
      <dgm:spPr/>
    </dgm:pt>
    <dgm:pt modelId="{C0085984-AAFD-4DEB-92C0-E59BEAB1444A}" type="pres">
      <dgm:prSet presAssocID="{2E07414F-51EB-4B5C-AB9D-B48D69987480}" presName="parentShp" presStyleLbl="node1" presStyleIdx="0" presStyleCnt="3" custScaleY="273599">
        <dgm:presLayoutVars>
          <dgm:bulletEnabled val="1"/>
        </dgm:presLayoutVars>
      </dgm:prSet>
      <dgm:spPr/>
    </dgm:pt>
    <dgm:pt modelId="{0A8113A1-F9D1-4A5B-9F7B-7AADFE9A6A65}" type="pres">
      <dgm:prSet presAssocID="{2E07414F-51EB-4B5C-AB9D-B48D69987480}" presName="childShp" presStyleLbl="bgAccFollowNode1" presStyleIdx="0" presStyleCnt="3" custScaleY="331168" custLinFactNeighborX="-2362">
        <dgm:presLayoutVars>
          <dgm:bulletEnabled val="1"/>
        </dgm:presLayoutVars>
      </dgm:prSet>
      <dgm:spPr/>
    </dgm:pt>
    <dgm:pt modelId="{B8B7F072-84AD-4757-A9CA-8D0EEB6615B3}" type="pres">
      <dgm:prSet presAssocID="{B1DEA50F-4D8B-4087-A40F-0FD3DCB5F09E}" presName="spacing" presStyleCnt="0"/>
      <dgm:spPr/>
    </dgm:pt>
    <dgm:pt modelId="{8100EA6D-F7CA-4D02-A139-37F2837A9FA9}" type="pres">
      <dgm:prSet presAssocID="{E6841D98-CCB6-4ACD-A770-599D15DC964D}" presName="linNode" presStyleCnt="0"/>
      <dgm:spPr/>
    </dgm:pt>
    <dgm:pt modelId="{AF601908-1BCC-4D16-B9A7-97E1AB278EC7}" type="pres">
      <dgm:prSet presAssocID="{E6841D98-CCB6-4ACD-A770-599D15DC964D}" presName="parentShp" presStyleLbl="node1" presStyleIdx="1" presStyleCnt="3" custScaleX="101458" custScaleY="272747" custLinFactNeighborX="-4262" custLinFactNeighborY="1726">
        <dgm:presLayoutVars>
          <dgm:bulletEnabled val="1"/>
        </dgm:presLayoutVars>
      </dgm:prSet>
      <dgm:spPr/>
    </dgm:pt>
    <dgm:pt modelId="{AD4923FE-E322-4BB7-B593-6A6239D3FAE8}" type="pres">
      <dgm:prSet presAssocID="{E6841D98-CCB6-4ACD-A770-599D15DC964D}" presName="childShp" presStyleLbl="bgAccFollowNode1" presStyleIdx="1" presStyleCnt="3" custScaleX="100304" custScaleY="312270" custLinFactNeighborX="-5347" custLinFactNeighborY="1700">
        <dgm:presLayoutVars>
          <dgm:bulletEnabled val="1"/>
        </dgm:presLayoutVars>
      </dgm:prSet>
      <dgm:spPr/>
    </dgm:pt>
    <dgm:pt modelId="{5FAC147B-0CAD-4B98-99EE-AE6C2A54C861}" type="pres">
      <dgm:prSet presAssocID="{71F04961-9941-45D5-BD8B-7EF71A2BA86F}" presName="spacing" presStyleCnt="0"/>
      <dgm:spPr/>
    </dgm:pt>
    <dgm:pt modelId="{512ECA44-FA43-46C6-9FC9-E5CFBF3ED025}" type="pres">
      <dgm:prSet presAssocID="{83F67AFC-B961-4375-BDCF-8365D2FED456}" presName="linNode" presStyleCnt="0"/>
      <dgm:spPr/>
    </dgm:pt>
    <dgm:pt modelId="{AFAB1B19-CAE8-440B-9CCB-5694D6EBAD69}" type="pres">
      <dgm:prSet presAssocID="{83F67AFC-B961-4375-BDCF-8365D2FED456}" presName="parentShp" presStyleLbl="node1" presStyleIdx="2" presStyleCnt="3" custScaleX="107650" custScaleY="277606">
        <dgm:presLayoutVars>
          <dgm:bulletEnabled val="1"/>
        </dgm:presLayoutVars>
      </dgm:prSet>
      <dgm:spPr/>
    </dgm:pt>
    <dgm:pt modelId="{552042D3-DA16-49BF-8955-96746597232F}" type="pres">
      <dgm:prSet presAssocID="{83F67AFC-B961-4375-BDCF-8365D2FED456}" presName="childShp" presStyleLbl="bgAccFollowNode1" presStyleIdx="2" presStyleCnt="3" custScaleX="105040" custScaleY="350255" custLinFactNeighborX="-3195">
        <dgm:presLayoutVars>
          <dgm:bulletEnabled val="1"/>
        </dgm:presLayoutVars>
      </dgm:prSet>
      <dgm:spPr/>
    </dgm:pt>
  </dgm:ptLst>
  <dgm:cxnLst>
    <dgm:cxn modelId="{B92A1B08-9624-48E7-859F-95BDEECF0186}" type="presOf" srcId="{5FCB4AEC-3400-4639-866F-C0F7D83241A4}" destId="{0A8113A1-F9D1-4A5B-9F7B-7AADFE9A6A65}" srcOrd="0" destOrd="2" presId="urn:microsoft.com/office/officeart/2005/8/layout/vList6"/>
    <dgm:cxn modelId="{76DC1319-3BF0-439A-9975-2AD2DCC4152E}" srcId="{83F67AFC-B961-4375-BDCF-8365D2FED456}" destId="{59CD0C11-2FEE-4BE3-BD72-54F0E7C6908E}" srcOrd="0" destOrd="0" parTransId="{F32D812B-E2B9-4ED1-BC6A-97E169C9E0D6}" sibTransId="{6D9C1B24-2426-4F6D-97C1-A6E2711245BC}"/>
    <dgm:cxn modelId="{BC13F93B-00BC-43E2-995E-BBA1CFAA07DD}" type="presOf" srcId="{C0A16119-D7FA-45F5-9546-86DFC8D56E03}" destId="{0A8113A1-F9D1-4A5B-9F7B-7AADFE9A6A65}" srcOrd="0" destOrd="0" presId="urn:microsoft.com/office/officeart/2005/8/layout/vList6"/>
    <dgm:cxn modelId="{BB044F5C-3E28-45FC-A8E7-F14ED39CDED4}" srcId="{2E07414F-51EB-4B5C-AB9D-B48D69987480}" destId="{36F6ED7D-9DBD-4352-880C-D618B2A327B9}" srcOrd="1" destOrd="0" parTransId="{7E370294-B552-4E0E-83A6-2D1160789CBE}" sibTransId="{C5B6EBD3-923A-4EEC-A859-066DDEA9CBA9}"/>
    <dgm:cxn modelId="{1FBBF75F-ABA2-4B94-855A-0B4C8F300F0F}" type="presOf" srcId="{0190B49C-BB58-46A0-90BD-062D5BAF73E9}" destId="{AD4923FE-E322-4BB7-B593-6A6239D3FAE8}" srcOrd="0" destOrd="0" presId="urn:microsoft.com/office/officeart/2005/8/layout/vList6"/>
    <dgm:cxn modelId="{35174360-EC6A-476D-8A56-1189C877A3F9}" srcId="{E6841D98-CCB6-4ACD-A770-599D15DC964D}" destId="{0190B49C-BB58-46A0-90BD-062D5BAF73E9}" srcOrd="0" destOrd="0" parTransId="{FCC678D0-4084-4406-9A2F-8DE90A9288CE}" sibTransId="{F80198FE-8144-4C29-9AF4-8FBC6E1F3CA9}"/>
    <dgm:cxn modelId="{936F2A66-288A-4171-8425-E77A0CBB0FC6}" srcId="{05B79ADD-EF3B-450C-B561-7D2B8FE16335}" destId="{83F67AFC-B961-4375-BDCF-8365D2FED456}" srcOrd="2" destOrd="0" parTransId="{42EEF55D-A7E9-4F67-9E16-26E6E5514689}" sibTransId="{C263EAB1-47F9-4B9C-9477-EE1EC593E4D3}"/>
    <dgm:cxn modelId="{B68A036B-6F74-4CB8-A305-FE1474785AF9}" srcId="{2E07414F-51EB-4B5C-AB9D-B48D69987480}" destId="{5FCB4AEC-3400-4639-866F-C0F7D83241A4}" srcOrd="2" destOrd="0" parTransId="{350F88AE-F972-404B-B25F-5D2A5446FBDD}" sibTransId="{FFAB6277-22D2-48E1-8389-673C896C3EB7}"/>
    <dgm:cxn modelId="{ECBD664B-6D64-46BD-B6BC-4850DBFE72B3}" type="presOf" srcId="{E6841D98-CCB6-4ACD-A770-599D15DC964D}" destId="{AF601908-1BCC-4D16-B9A7-97E1AB278EC7}" srcOrd="0" destOrd="0" presId="urn:microsoft.com/office/officeart/2005/8/layout/vList6"/>
    <dgm:cxn modelId="{E1CAE64C-955A-44E6-84FD-219F6B9FE69D}" type="presOf" srcId="{2E07414F-51EB-4B5C-AB9D-B48D69987480}" destId="{C0085984-AAFD-4DEB-92C0-E59BEAB1444A}" srcOrd="0" destOrd="0" presId="urn:microsoft.com/office/officeart/2005/8/layout/vList6"/>
    <dgm:cxn modelId="{6743D350-489D-489F-A3D3-83EF53B644E3}" type="presOf" srcId="{36F6ED7D-9DBD-4352-880C-D618B2A327B9}" destId="{0A8113A1-F9D1-4A5B-9F7B-7AADFE9A6A65}" srcOrd="0" destOrd="1" presId="urn:microsoft.com/office/officeart/2005/8/layout/vList6"/>
    <dgm:cxn modelId="{687D8551-1AA7-4C6A-A58D-C992E7886ABE}" type="presOf" srcId="{325DD007-8201-4444-A739-2F85AF8D1E10}" destId="{AD4923FE-E322-4BB7-B593-6A6239D3FAE8}" srcOrd="0" destOrd="1" presId="urn:microsoft.com/office/officeart/2005/8/layout/vList6"/>
    <dgm:cxn modelId="{F822AD73-D7DF-49B9-82F6-7F78BD3A0E9C}" type="presOf" srcId="{05B79ADD-EF3B-450C-B561-7D2B8FE16335}" destId="{EA7AC903-2A0A-4CDC-9304-DC3823D9B040}" srcOrd="0" destOrd="0" presId="urn:microsoft.com/office/officeart/2005/8/layout/vList6"/>
    <dgm:cxn modelId="{C50D5A78-E2E5-439C-BC51-3FFFD241C511}" type="presOf" srcId="{83F67AFC-B961-4375-BDCF-8365D2FED456}" destId="{AFAB1B19-CAE8-440B-9CCB-5694D6EBAD69}" srcOrd="0" destOrd="0" presId="urn:microsoft.com/office/officeart/2005/8/layout/vList6"/>
    <dgm:cxn modelId="{7DE2FF82-D5FE-41F1-BB55-B70287636168}" srcId="{05B79ADD-EF3B-450C-B561-7D2B8FE16335}" destId="{E6841D98-CCB6-4ACD-A770-599D15DC964D}" srcOrd="1" destOrd="0" parTransId="{5B2100B0-182D-4C9D-B5F4-C27FFFC66A51}" sibTransId="{71F04961-9941-45D5-BD8B-7EF71A2BA86F}"/>
    <dgm:cxn modelId="{441AE186-5863-4285-9E7E-D976097B2544}" srcId="{2E07414F-51EB-4B5C-AB9D-B48D69987480}" destId="{C0A16119-D7FA-45F5-9546-86DFC8D56E03}" srcOrd="0" destOrd="0" parTransId="{A7453F4F-B07E-4F12-9EBA-C6DC794C2BD7}" sibTransId="{58767F2E-FBA5-46DD-AB39-FAB2672CDCBD}"/>
    <dgm:cxn modelId="{7A209090-AF9D-4929-BA45-2611F4AB63E2}" srcId="{05B79ADD-EF3B-450C-B561-7D2B8FE16335}" destId="{2E07414F-51EB-4B5C-AB9D-B48D69987480}" srcOrd="0" destOrd="0" parTransId="{21A2132F-2BC7-4F43-8013-E8151C3E9FD4}" sibTransId="{B1DEA50F-4D8B-4087-A40F-0FD3DCB5F09E}"/>
    <dgm:cxn modelId="{5CBE00A0-3B24-463E-80DA-963D2D518F28}" srcId="{E6841D98-CCB6-4ACD-A770-599D15DC964D}" destId="{325DD007-8201-4444-A739-2F85AF8D1E10}" srcOrd="1" destOrd="0" parTransId="{0FFB1D30-4518-4B04-BE46-1169B16F9F9F}" sibTransId="{1ADC8F46-D983-40FC-A132-913BDD83FA2F}"/>
    <dgm:cxn modelId="{722BB5FC-2F76-4A3F-8C68-F0EE2FD3CF2C}" type="presOf" srcId="{59CD0C11-2FEE-4BE3-BD72-54F0E7C6908E}" destId="{552042D3-DA16-49BF-8955-96746597232F}" srcOrd="0" destOrd="0" presId="urn:microsoft.com/office/officeart/2005/8/layout/vList6"/>
    <dgm:cxn modelId="{C8087B16-45B0-4C4A-894D-72137871D2B0}" type="presParOf" srcId="{EA7AC903-2A0A-4CDC-9304-DC3823D9B040}" destId="{D4199897-136D-4EAB-BF9F-C5F55C4ACFFC}" srcOrd="0" destOrd="0" presId="urn:microsoft.com/office/officeart/2005/8/layout/vList6"/>
    <dgm:cxn modelId="{EBAA6975-AB02-42FD-A027-6FA2688B2C40}" type="presParOf" srcId="{D4199897-136D-4EAB-BF9F-C5F55C4ACFFC}" destId="{C0085984-AAFD-4DEB-92C0-E59BEAB1444A}" srcOrd="0" destOrd="0" presId="urn:microsoft.com/office/officeart/2005/8/layout/vList6"/>
    <dgm:cxn modelId="{0AC9C2C1-3CE8-41B4-8213-847192868360}" type="presParOf" srcId="{D4199897-136D-4EAB-BF9F-C5F55C4ACFFC}" destId="{0A8113A1-F9D1-4A5B-9F7B-7AADFE9A6A65}" srcOrd="1" destOrd="0" presId="urn:microsoft.com/office/officeart/2005/8/layout/vList6"/>
    <dgm:cxn modelId="{F1321A67-0FDC-43B3-9EBB-21D6A4CC759A}" type="presParOf" srcId="{EA7AC903-2A0A-4CDC-9304-DC3823D9B040}" destId="{B8B7F072-84AD-4757-A9CA-8D0EEB6615B3}" srcOrd="1" destOrd="0" presId="urn:microsoft.com/office/officeart/2005/8/layout/vList6"/>
    <dgm:cxn modelId="{7B148792-532A-41D0-8F96-6E772694AD18}" type="presParOf" srcId="{EA7AC903-2A0A-4CDC-9304-DC3823D9B040}" destId="{8100EA6D-F7CA-4D02-A139-37F2837A9FA9}" srcOrd="2" destOrd="0" presId="urn:microsoft.com/office/officeart/2005/8/layout/vList6"/>
    <dgm:cxn modelId="{C33A9899-6B06-49ED-9B1E-0C7B49CFC750}" type="presParOf" srcId="{8100EA6D-F7CA-4D02-A139-37F2837A9FA9}" destId="{AF601908-1BCC-4D16-B9A7-97E1AB278EC7}" srcOrd="0" destOrd="0" presId="urn:microsoft.com/office/officeart/2005/8/layout/vList6"/>
    <dgm:cxn modelId="{0D0F32BA-0A9D-46F9-9A56-71CEA4C0985E}" type="presParOf" srcId="{8100EA6D-F7CA-4D02-A139-37F2837A9FA9}" destId="{AD4923FE-E322-4BB7-B593-6A6239D3FAE8}" srcOrd="1" destOrd="0" presId="urn:microsoft.com/office/officeart/2005/8/layout/vList6"/>
    <dgm:cxn modelId="{7A820778-5160-46B1-8AD0-1AD4FF1BACF3}" type="presParOf" srcId="{EA7AC903-2A0A-4CDC-9304-DC3823D9B040}" destId="{5FAC147B-0CAD-4B98-99EE-AE6C2A54C861}" srcOrd="3" destOrd="0" presId="urn:microsoft.com/office/officeart/2005/8/layout/vList6"/>
    <dgm:cxn modelId="{48C00142-D2E7-45AE-A923-AD893FB10D14}" type="presParOf" srcId="{EA7AC903-2A0A-4CDC-9304-DC3823D9B040}" destId="{512ECA44-FA43-46C6-9FC9-E5CFBF3ED025}" srcOrd="4" destOrd="0" presId="urn:microsoft.com/office/officeart/2005/8/layout/vList6"/>
    <dgm:cxn modelId="{66547E76-E145-4125-AFE7-54944CA5BD7F}" type="presParOf" srcId="{512ECA44-FA43-46C6-9FC9-E5CFBF3ED025}" destId="{AFAB1B19-CAE8-440B-9CCB-5694D6EBAD69}" srcOrd="0" destOrd="0" presId="urn:microsoft.com/office/officeart/2005/8/layout/vList6"/>
    <dgm:cxn modelId="{F66F9C00-937C-4584-BEAC-BAB8209DA399}" type="presParOf" srcId="{512ECA44-FA43-46C6-9FC9-E5CFBF3ED025}" destId="{552042D3-DA16-49BF-8955-96746597232F}" srcOrd="1" destOrd="0" presId="urn:microsoft.com/office/officeart/2005/8/layout/vList6"/>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2F2C329-5122-4610-B82D-C10F0B6DC02D}">
      <dsp:nvSpPr>
        <dsp:cNvPr id="0" name=""/>
        <dsp:cNvSpPr/>
      </dsp:nvSpPr>
      <dsp:spPr>
        <a:xfrm>
          <a:off x="232783" y="2160"/>
          <a:ext cx="2151039" cy="1735401"/>
        </a:xfrm>
        <a:prstGeom prst="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82880" tIns="91440" rIns="182880" bIns="91440" numCol="1" spcCol="1270" anchor="ctr" anchorCtr="0">
          <a:noAutofit/>
        </a:bodyPr>
        <a:lstStyle/>
        <a:p>
          <a:pPr marL="0" lvl="0" indent="0" algn="ctr" defTabSz="444500">
            <a:lnSpc>
              <a:spcPct val="90000"/>
            </a:lnSpc>
            <a:spcBef>
              <a:spcPct val="0"/>
            </a:spcBef>
            <a:spcAft>
              <a:spcPct val="35000"/>
            </a:spcAft>
            <a:buNone/>
          </a:pPr>
          <a:r>
            <a:rPr lang="en-US" sz="1000" b="0" kern="1200" dirty="0">
              <a:latin typeface="Segoe UI Semibold" panose="020B0702040204020203" pitchFamily="34" charset="0"/>
              <a:cs typeface="Segoe UI Semibold" panose="020B0702040204020203" pitchFamily="34" charset="0"/>
            </a:rPr>
            <a:t>Azure Batch:</a:t>
          </a:r>
          <a:r>
            <a:rPr lang="en-US" sz="1000" b="1" kern="1200" dirty="0"/>
            <a:t> </a:t>
          </a:r>
          <a:r>
            <a:rPr lang="en-US" sz="1000" b="0" kern="1200" dirty="0"/>
            <a:t>Create pools of VMs and define work artifacts (work items) that will be schedule for processing. Azure Batch brings with it an API to support the infrastructure. No need to manually build servers and software libraries to handle job scheduling.  </a:t>
          </a:r>
          <a:r>
            <a:rPr lang="en-US" sz="1000" b="1" kern="1200" dirty="0"/>
            <a:t>  </a:t>
          </a:r>
        </a:p>
      </dsp:txBody>
      <dsp:txXfrm>
        <a:off x="232783" y="2160"/>
        <a:ext cx="2151039" cy="1735401"/>
      </dsp:txXfrm>
    </dsp:sp>
    <dsp:sp modelId="{BECECC3C-5AD2-4529-87FD-7FCA9E8C1AFB}">
      <dsp:nvSpPr>
        <dsp:cNvPr id="0" name=""/>
        <dsp:cNvSpPr/>
      </dsp:nvSpPr>
      <dsp:spPr>
        <a:xfrm>
          <a:off x="220427" y="1909532"/>
          <a:ext cx="2175751" cy="1805884"/>
        </a:xfrm>
        <a:prstGeom prst="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82880" tIns="91440" rIns="182880" bIns="91440" numCol="1" spcCol="1270" anchor="ctr" anchorCtr="0">
          <a:noAutofit/>
        </a:bodyPr>
        <a:lstStyle/>
        <a:p>
          <a:pPr marL="0" lvl="0" indent="0" algn="ctr" defTabSz="444500">
            <a:lnSpc>
              <a:spcPct val="90000"/>
            </a:lnSpc>
            <a:spcBef>
              <a:spcPct val="0"/>
            </a:spcBef>
            <a:spcAft>
              <a:spcPct val="35000"/>
            </a:spcAft>
            <a:buNone/>
          </a:pPr>
          <a:r>
            <a:rPr lang="en-US" sz="1000" b="0" kern="1200" dirty="0">
              <a:latin typeface="Segoe UI Semibold" panose="020B0702040204020203" pitchFamily="34" charset="0"/>
              <a:cs typeface="Segoe UI Semibold" panose="020B0702040204020203" pitchFamily="34" charset="0"/>
            </a:rPr>
            <a:t>Azure Batch Apps: </a:t>
          </a:r>
          <a:r>
            <a:rPr lang="en-US" sz="1000" b="0" kern="1200" dirty="0"/>
            <a:t>Azure Batch Apps take Azure Batch a step further. The goal is to publish an “app” that is essentially a service that will allow data to be fed to it, and it will run as needed. New ability to monitor the jobs through the portal and REST APIs is provided.</a:t>
          </a:r>
          <a:endParaRPr lang="en-US" sz="1000" b="1" kern="1200" dirty="0"/>
        </a:p>
      </dsp:txBody>
      <dsp:txXfrm>
        <a:off x="220427" y="1909532"/>
        <a:ext cx="2175751" cy="1805884"/>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A8113A1-F9D1-4A5B-9F7B-7AADFE9A6A65}">
      <dsp:nvSpPr>
        <dsp:cNvPr id="0" name=""/>
        <dsp:cNvSpPr/>
      </dsp:nvSpPr>
      <dsp:spPr>
        <a:xfrm>
          <a:off x="3916795" y="436"/>
          <a:ext cx="6009801" cy="1716890"/>
        </a:xfrm>
        <a:prstGeom prst="rightArrow">
          <a:avLst>
            <a:gd name="adj1" fmla="val 75000"/>
            <a:gd name="adj2" fmla="val 50000"/>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82880" tIns="91440" rIns="182880" bIns="11430" numCol="1" spcCol="1270" anchor="t" anchorCtr="0">
          <a:noAutofit/>
        </a:bodyPr>
        <a:lstStyle/>
        <a:p>
          <a:pPr marL="171450" lvl="1" indent="-171450" algn="l" defTabSz="800100">
            <a:lnSpc>
              <a:spcPct val="90000"/>
            </a:lnSpc>
            <a:spcBef>
              <a:spcPct val="0"/>
            </a:spcBef>
            <a:spcAft>
              <a:spcPct val="15000"/>
            </a:spcAft>
            <a:buChar char="•"/>
          </a:pPr>
          <a:r>
            <a:rPr lang="en-US" sz="1800" kern="1200" dirty="0"/>
            <a:t>Place all assets in cloud services, including code and other installations required to run the application. Everything must be included in the cloud service package and scripts installation.</a:t>
          </a:r>
        </a:p>
        <a:p>
          <a:pPr marL="171450" lvl="1" indent="-171450" algn="l" defTabSz="800100">
            <a:lnSpc>
              <a:spcPct val="90000"/>
            </a:lnSpc>
            <a:spcBef>
              <a:spcPct val="0"/>
            </a:spcBef>
            <a:spcAft>
              <a:spcPct val="15000"/>
            </a:spcAft>
            <a:buChar char="•"/>
          </a:pPr>
          <a:endParaRPr lang="en-US" sz="1800" kern="1200" dirty="0"/>
        </a:p>
      </dsp:txBody>
      <dsp:txXfrm>
        <a:off x="3916795" y="215047"/>
        <a:ext cx="5365967" cy="1287668"/>
      </dsp:txXfrm>
    </dsp:sp>
    <dsp:sp modelId="{C0085984-AAFD-4DEB-92C0-E59BEAB1444A}">
      <dsp:nvSpPr>
        <dsp:cNvPr id="0" name=""/>
        <dsp:cNvSpPr/>
      </dsp:nvSpPr>
      <dsp:spPr>
        <a:xfrm>
          <a:off x="4895" y="149665"/>
          <a:ext cx="4006534" cy="1418432"/>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1920" tIns="60960" rIns="121920" bIns="60960" numCol="1" spcCol="1270" anchor="ctr" anchorCtr="0">
          <a:noAutofit/>
        </a:bodyPr>
        <a:lstStyle/>
        <a:p>
          <a:pPr marL="0" lvl="0" indent="0" algn="ctr" defTabSz="1422400">
            <a:lnSpc>
              <a:spcPct val="90000"/>
            </a:lnSpc>
            <a:spcBef>
              <a:spcPct val="0"/>
            </a:spcBef>
            <a:spcAft>
              <a:spcPct val="35000"/>
            </a:spcAft>
            <a:buNone/>
          </a:pPr>
          <a:r>
            <a:rPr lang="en-US" sz="3200" b="0" kern="1200" dirty="0">
              <a:latin typeface="Segoe UI Semibold" panose="020B0702040204020203" pitchFamily="34" charset="0"/>
              <a:cs typeface="Segoe UI Semibold" panose="020B0702040204020203" pitchFamily="34" charset="0"/>
            </a:rPr>
            <a:t>Mandatory</a:t>
          </a:r>
        </a:p>
      </dsp:txBody>
      <dsp:txXfrm>
        <a:off x="74137" y="218907"/>
        <a:ext cx="3868050" cy="1279948"/>
      </dsp:txXfrm>
    </dsp:sp>
    <dsp:sp modelId="{AD4923FE-E322-4BB7-B593-6A6239D3FAE8}">
      <dsp:nvSpPr>
        <dsp:cNvPr id="0" name=""/>
        <dsp:cNvSpPr/>
      </dsp:nvSpPr>
      <dsp:spPr>
        <a:xfrm>
          <a:off x="3699521" y="1777983"/>
          <a:ext cx="6028071" cy="1618916"/>
        </a:xfrm>
        <a:prstGeom prst="rightArrow">
          <a:avLst>
            <a:gd name="adj1" fmla="val 75000"/>
            <a:gd name="adj2" fmla="val 50000"/>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82880" tIns="91440" rIns="182880" bIns="11430" numCol="1" spcCol="1270" anchor="t" anchorCtr="0">
          <a:noAutofit/>
        </a:bodyPr>
        <a:lstStyle/>
        <a:p>
          <a:pPr marL="171450" lvl="1" indent="-171450" algn="l" defTabSz="800100">
            <a:lnSpc>
              <a:spcPct val="90000"/>
            </a:lnSpc>
            <a:spcBef>
              <a:spcPct val="0"/>
            </a:spcBef>
            <a:spcAft>
              <a:spcPct val="15000"/>
            </a:spcAft>
            <a:buChar char="•"/>
          </a:pPr>
          <a:r>
            <a:rPr lang="en-US" sz="1800" kern="1200" dirty="0"/>
            <a:t>Consider the deployment models that will be given when updating the application. There exist a few options, so it’s important to understand the pros and cons.</a:t>
          </a:r>
        </a:p>
        <a:p>
          <a:pPr marL="171450" lvl="1" indent="-171450" algn="l" defTabSz="800100">
            <a:lnSpc>
              <a:spcPct val="90000"/>
            </a:lnSpc>
            <a:spcBef>
              <a:spcPct val="0"/>
            </a:spcBef>
            <a:spcAft>
              <a:spcPct val="15000"/>
            </a:spcAft>
            <a:buChar char="•"/>
          </a:pPr>
          <a:endParaRPr lang="en-US" sz="1800" kern="1200" dirty="0"/>
        </a:p>
      </dsp:txBody>
      <dsp:txXfrm>
        <a:off x="3699521" y="1980348"/>
        <a:ext cx="5420978" cy="1214187"/>
      </dsp:txXfrm>
    </dsp:sp>
    <dsp:sp modelId="{AF601908-1BCC-4D16-B9A7-97E1AB278EC7}">
      <dsp:nvSpPr>
        <dsp:cNvPr id="0" name=""/>
        <dsp:cNvSpPr/>
      </dsp:nvSpPr>
      <dsp:spPr>
        <a:xfrm>
          <a:off x="0" y="1880568"/>
          <a:ext cx="3829445" cy="1414015"/>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1920" tIns="60960" rIns="121920" bIns="60960" numCol="1" spcCol="1270" anchor="ctr" anchorCtr="0">
          <a:noAutofit/>
        </a:bodyPr>
        <a:lstStyle/>
        <a:p>
          <a:pPr marL="0" lvl="0" indent="0" algn="ctr" defTabSz="1422400">
            <a:lnSpc>
              <a:spcPct val="90000"/>
            </a:lnSpc>
            <a:spcBef>
              <a:spcPct val="0"/>
            </a:spcBef>
            <a:spcAft>
              <a:spcPct val="35000"/>
            </a:spcAft>
            <a:buNone/>
          </a:pPr>
          <a:r>
            <a:rPr lang="en-US" sz="3200" b="0" kern="1200" dirty="0">
              <a:solidFill>
                <a:srgbClr val="FFFFFF"/>
              </a:solidFill>
              <a:latin typeface="Segoe UI Semibold" panose="020B0702040204020203" pitchFamily="34" charset="0"/>
              <a:ea typeface="+mn-ea"/>
              <a:cs typeface="Segoe UI Semibold" panose="020B0702040204020203" pitchFamily="34" charset="0"/>
            </a:rPr>
            <a:t>Recommended</a:t>
          </a:r>
        </a:p>
      </dsp:txBody>
      <dsp:txXfrm>
        <a:off x="69027" y="1949595"/>
        <a:ext cx="3691391" cy="1275961"/>
      </dsp:txXfrm>
    </dsp:sp>
    <dsp:sp modelId="{552042D3-DA16-49BF-8955-96746597232F}">
      <dsp:nvSpPr>
        <dsp:cNvPr id="0" name=""/>
        <dsp:cNvSpPr/>
      </dsp:nvSpPr>
      <dsp:spPr>
        <a:xfrm>
          <a:off x="3769542" y="3439929"/>
          <a:ext cx="6127572" cy="1815843"/>
        </a:xfrm>
        <a:prstGeom prst="rightArrow">
          <a:avLst>
            <a:gd name="adj1" fmla="val 75000"/>
            <a:gd name="adj2" fmla="val 50000"/>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82880" tIns="91440" rIns="182880" bIns="11430" numCol="1" spcCol="1270" anchor="t" anchorCtr="0">
          <a:noAutofit/>
        </a:bodyPr>
        <a:lstStyle/>
        <a:p>
          <a:pPr marL="171450" lvl="1" indent="-171450" algn="l" defTabSz="800100">
            <a:lnSpc>
              <a:spcPct val="90000"/>
            </a:lnSpc>
            <a:spcBef>
              <a:spcPct val="0"/>
            </a:spcBef>
            <a:spcAft>
              <a:spcPct val="15000"/>
            </a:spcAft>
            <a:buChar char="•"/>
          </a:pPr>
          <a:r>
            <a:rPr lang="en-US" sz="1800" kern="1200" dirty="0"/>
            <a:t>Consider the ability of multiple running deployment models for your cloud service. It’s possible to have multiple deployments in the form of production, test, and staging. </a:t>
          </a:r>
        </a:p>
        <a:p>
          <a:pPr marL="171450" lvl="1" indent="-171450" algn="l" defTabSz="800100">
            <a:lnSpc>
              <a:spcPct val="90000"/>
            </a:lnSpc>
            <a:spcBef>
              <a:spcPct val="0"/>
            </a:spcBef>
            <a:spcAft>
              <a:spcPct val="15000"/>
            </a:spcAft>
            <a:buChar char="•"/>
          </a:pPr>
          <a:endParaRPr lang="en-US" sz="1800" kern="1200" dirty="0"/>
        </a:p>
      </dsp:txBody>
      <dsp:txXfrm>
        <a:off x="3769542" y="3666909"/>
        <a:ext cx="5446631" cy="1361883"/>
      </dsp:txXfrm>
    </dsp:sp>
    <dsp:sp modelId="{AFAB1B19-CAE8-440B-9CCB-5694D6EBAD69}">
      <dsp:nvSpPr>
        <dsp:cNvPr id="0" name=""/>
        <dsp:cNvSpPr/>
      </dsp:nvSpPr>
      <dsp:spPr>
        <a:xfrm>
          <a:off x="4756" y="3628248"/>
          <a:ext cx="3889040" cy="1439206"/>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1920" tIns="60960" rIns="121920" bIns="60960" numCol="1" spcCol="1270" anchor="ctr" anchorCtr="0">
          <a:noAutofit/>
        </a:bodyPr>
        <a:lstStyle/>
        <a:p>
          <a:pPr marL="0" lvl="0" indent="0" algn="ctr" defTabSz="1422400">
            <a:lnSpc>
              <a:spcPct val="90000"/>
            </a:lnSpc>
            <a:spcBef>
              <a:spcPct val="0"/>
            </a:spcBef>
            <a:spcAft>
              <a:spcPct val="35000"/>
            </a:spcAft>
            <a:buNone/>
          </a:pPr>
          <a:r>
            <a:rPr lang="en-US" sz="3200" b="0" kern="1200" dirty="0">
              <a:solidFill>
                <a:srgbClr val="FFFFFF"/>
              </a:solidFill>
              <a:latin typeface="Segoe UI Semibold" panose="020B0702040204020203" pitchFamily="34" charset="0"/>
              <a:ea typeface="+mn-ea"/>
              <a:cs typeface="Segoe UI Semibold" panose="020B0702040204020203" pitchFamily="34" charset="0"/>
            </a:rPr>
            <a:t>Optional</a:t>
          </a:r>
        </a:p>
      </dsp:txBody>
      <dsp:txXfrm>
        <a:off x="75012" y="3698504"/>
        <a:ext cx="3748528" cy="1298694"/>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A8113A1-F9D1-4A5B-9F7B-7AADFE9A6A65}">
      <dsp:nvSpPr>
        <dsp:cNvPr id="0" name=""/>
        <dsp:cNvSpPr/>
      </dsp:nvSpPr>
      <dsp:spPr>
        <a:xfrm>
          <a:off x="3844108" y="1221"/>
          <a:ext cx="7459233" cy="1272705"/>
        </a:xfrm>
        <a:prstGeom prst="rightArrow">
          <a:avLst>
            <a:gd name="adj1" fmla="val 75000"/>
            <a:gd name="adj2" fmla="val 50000"/>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82880" tIns="91440" rIns="182880" bIns="11430" numCol="1" spcCol="1270" anchor="t" anchorCtr="0">
          <a:noAutofit/>
        </a:bodyPr>
        <a:lstStyle/>
        <a:p>
          <a:pPr marL="171450" lvl="1" indent="-171450" algn="l" defTabSz="800100">
            <a:lnSpc>
              <a:spcPct val="90000"/>
            </a:lnSpc>
            <a:spcBef>
              <a:spcPct val="0"/>
            </a:spcBef>
            <a:spcAft>
              <a:spcPct val="15000"/>
            </a:spcAft>
            <a:buChar char="•"/>
          </a:pPr>
          <a:r>
            <a:rPr lang="en-US" sz="1800" kern="1200" dirty="0"/>
            <a:t>Decide on the amount of instances for Web and Worker roles. Web and Worker roles require at least two instances to provide fault tolerance for the automatic maintenance nature of PaaS.</a:t>
          </a:r>
        </a:p>
        <a:p>
          <a:pPr marL="171450" lvl="1" indent="-171450" algn="l" defTabSz="800100">
            <a:lnSpc>
              <a:spcPct val="90000"/>
            </a:lnSpc>
            <a:spcBef>
              <a:spcPct val="0"/>
            </a:spcBef>
            <a:spcAft>
              <a:spcPct val="15000"/>
            </a:spcAft>
            <a:buChar char="•"/>
          </a:pPr>
          <a:endParaRPr lang="en-US" sz="1800" kern="1200" dirty="0"/>
        </a:p>
      </dsp:txBody>
      <dsp:txXfrm>
        <a:off x="3844108" y="160309"/>
        <a:ext cx="6981969" cy="954529"/>
      </dsp:txXfrm>
    </dsp:sp>
    <dsp:sp modelId="{C0085984-AAFD-4DEB-92C0-E59BEAB1444A}">
      <dsp:nvSpPr>
        <dsp:cNvPr id="0" name=""/>
        <dsp:cNvSpPr/>
      </dsp:nvSpPr>
      <dsp:spPr>
        <a:xfrm>
          <a:off x="0" y="115754"/>
          <a:ext cx="3865948" cy="1051463"/>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1920" tIns="60960" rIns="121920" bIns="60960" numCol="1" spcCol="1270" anchor="ctr" anchorCtr="0">
          <a:noAutofit/>
        </a:bodyPr>
        <a:lstStyle/>
        <a:p>
          <a:pPr marL="0" lvl="0" indent="0" algn="ctr" defTabSz="1422400">
            <a:lnSpc>
              <a:spcPct val="90000"/>
            </a:lnSpc>
            <a:spcBef>
              <a:spcPct val="0"/>
            </a:spcBef>
            <a:spcAft>
              <a:spcPct val="35000"/>
            </a:spcAft>
            <a:buNone/>
          </a:pPr>
          <a:r>
            <a:rPr lang="en-US" sz="3200" b="0" kern="1200" dirty="0">
              <a:latin typeface="Segoe UI Semibold" panose="020B0702040204020203" pitchFamily="34" charset="0"/>
              <a:cs typeface="Segoe UI Semibold" panose="020B0702040204020203" pitchFamily="34" charset="0"/>
            </a:rPr>
            <a:t>Mandatory</a:t>
          </a:r>
        </a:p>
      </dsp:txBody>
      <dsp:txXfrm>
        <a:off x="51328" y="167082"/>
        <a:ext cx="3763292" cy="948807"/>
      </dsp:txXfrm>
    </dsp:sp>
    <dsp:sp modelId="{AD4923FE-E322-4BB7-B593-6A6239D3FAE8}">
      <dsp:nvSpPr>
        <dsp:cNvPr id="0" name=""/>
        <dsp:cNvSpPr/>
      </dsp:nvSpPr>
      <dsp:spPr>
        <a:xfrm>
          <a:off x="3735828" y="1318891"/>
          <a:ext cx="7400372" cy="1200079"/>
        </a:xfrm>
        <a:prstGeom prst="rightArrow">
          <a:avLst>
            <a:gd name="adj1" fmla="val 75000"/>
            <a:gd name="adj2" fmla="val 50000"/>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82880" tIns="91440" rIns="182880" bIns="11430" numCol="1" spcCol="1270" anchor="t" anchorCtr="0">
          <a:noAutofit/>
        </a:bodyPr>
        <a:lstStyle/>
        <a:p>
          <a:pPr marL="171450" lvl="1" indent="-171450" algn="l" defTabSz="800100">
            <a:lnSpc>
              <a:spcPct val="90000"/>
            </a:lnSpc>
            <a:spcBef>
              <a:spcPct val="0"/>
            </a:spcBef>
            <a:spcAft>
              <a:spcPct val="15000"/>
            </a:spcAft>
            <a:buChar char="•"/>
          </a:pPr>
          <a:r>
            <a:rPr lang="en-US" sz="1800" kern="1200" dirty="0"/>
            <a:t>Consider Web and/or Worker roles if the application requires installation of binaries on the web or application server.</a:t>
          </a:r>
        </a:p>
        <a:p>
          <a:pPr marL="171450" lvl="1" indent="-171450" algn="l" defTabSz="800100">
            <a:lnSpc>
              <a:spcPct val="90000"/>
            </a:lnSpc>
            <a:spcBef>
              <a:spcPct val="0"/>
            </a:spcBef>
            <a:spcAft>
              <a:spcPct val="15000"/>
            </a:spcAft>
            <a:buChar char="•"/>
          </a:pPr>
          <a:endParaRPr lang="en-US" sz="1800" kern="1200" dirty="0"/>
        </a:p>
        <a:p>
          <a:pPr marL="171450" lvl="1" indent="-171450" algn="l" defTabSz="800100">
            <a:lnSpc>
              <a:spcPct val="90000"/>
            </a:lnSpc>
            <a:spcBef>
              <a:spcPct val="0"/>
            </a:spcBef>
            <a:spcAft>
              <a:spcPct val="15000"/>
            </a:spcAft>
            <a:buChar char="•"/>
          </a:pPr>
          <a:endParaRPr lang="en-US" sz="1800" kern="1200" dirty="0"/>
        </a:p>
      </dsp:txBody>
      <dsp:txXfrm>
        <a:off x="3735828" y="1468901"/>
        <a:ext cx="6950342" cy="900059"/>
      </dsp:txXfrm>
    </dsp:sp>
    <dsp:sp modelId="{AF601908-1BCC-4D16-B9A7-97E1AB278EC7}">
      <dsp:nvSpPr>
        <dsp:cNvPr id="0" name=""/>
        <dsp:cNvSpPr/>
      </dsp:nvSpPr>
      <dsp:spPr>
        <a:xfrm>
          <a:off x="0" y="1394936"/>
          <a:ext cx="3864845" cy="1048189"/>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1920" tIns="60960" rIns="121920" bIns="60960" numCol="1" spcCol="1270" anchor="ctr" anchorCtr="0">
          <a:noAutofit/>
        </a:bodyPr>
        <a:lstStyle/>
        <a:p>
          <a:pPr marL="0" lvl="0" indent="0" algn="ctr" defTabSz="1422400">
            <a:lnSpc>
              <a:spcPct val="90000"/>
            </a:lnSpc>
            <a:spcBef>
              <a:spcPct val="0"/>
            </a:spcBef>
            <a:spcAft>
              <a:spcPct val="35000"/>
            </a:spcAft>
            <a:buNone/>
          </a:pPr>
          <a:r>
            <a:rPr lang="en-US" sz="3200" b="0" kern="1200" dirty="0">
              <a:solidFill>
                <a:srgbClr val="FFFFFF"/>
              </a:solidFill>
              <a:latin typeface="Segoe UI Semibold" panose="020B0702040204020203" pitchFamily="34" charset="0"/>
              <a:ea typeface="+mn-ea"/>
              <a:cs typeface="Segoe UI Semibold" panose="020B0702040204020203" pitchFamily="34" charset="0"/>
            </a:rPr>
            <a:t>Recommended</a:t>
          </a:r>
        </a:p>
      </dsp:txBody>
      <dsp:txXfrm>
        <a:off x="51168" y="1446104"/>
        <a:ext cx="3762509" cy="945853"/>
      </dsp:txXfrm>
    </dsp:sp>
    <dsp:sp modelId="{552042D3-DA16-49BF-8955-96746597232F}">
      <dsp:nvSpPr>
        <dsp:cNvPr id="0" name=""/>
        <dsp:cNvSpPr/>
      </dsp:nvSpPr>
      <dsp:spPr>
        <a:xfrm>
          <a:off x="3787498" y="2550868"/>
          <a:ext cx="7495900" cy="1754686"/>
        </a:xfrm>
        <a:prstGeom prst="rightArrow">
          <a:avLst>
            <a:gd name="adj1" fmla="val 75000"/>
            <a:gd name="adj2" fmla="val 50000"/>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82880" tIns="91440" rIns="182880" bIns="11430" numCol="1" spcCol="1270" anchor="t" anchorCtr="0">
          <a:noAutofit/>
        </a:bodyPr>
        <a:lstStyle/>
        <a:p>
          <a:pPr marL="171450" lvl="1" indent="-171450" algn="l" defTabSz="800100">
            <a:lnSpc>
              <a:spcPct val="90000"/>
            </a:lnSpc>
            <a:spcBef>
              <a:spcPct val="0"/>
            </a:spcBef>
            <a:spcAft>
              <a:spcPct val="15000"/>
            </a:spcAft>
            <a:buChar char="•"/>
          </a:pPr>
          <a:r>
            <a:rPr lang="en-US" sz="1800" kern="1200" dirty="0"/>
            <a:t>Understand that Virtual Networking is common to allow the communication needed for databases, management services, and other services but it’s not a hard requirement for deploying Web or Worker role applications. </a:t>
          </a:r>
        </a:p>
        <a:p>
          <a:pPr marL="171450" lvl="1" indent="-171450" algn="l" defTabSz="800100">
            <a:lnSpc>
              <a:spcPct val="90000"/>
            </a:lnSpc>
            <a:spcBef>
              <a:spcPct val="0"/>
            </a:spcBef>
            <a:spcAft>
              <a:spcPct val="15000"/>
            </a:spcAft>
            <a:buChar char="•"/>
          </a:pPr>
          <a:endParaRPr lang="en-US" sz="1800" kern="1200" dirty="0"/>
        </a:p>
      </dsp:txBody>
      <dsp:txXfrm>
        <a:off x="3787498" y="2770204"/>
        <a:ext cx="6837893" cy="1316014"/>
      </dsp:txXfrm>
    </dsp:sp>
    <dsp:sp modelId="{AFAB1B19-CAE8-440B-9CCB-5694D6EBAD69}">
      <dsp:nvSpPr>
        <dsp:cNvPr id="0" name=""/>
        <dsp:cNvSpPr/>
      </dsp:nvSpPr>
      <dsp:spPr>
        <a:xfrm>
          <a:off x="0" y="2670626"/>
          <a:ext cx="3865948" cy="1515169"/>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1920" tIns="60960" rIns="121920" bIns="60960" numCol="1" spcCol="1270" anchor="ctr" anchorCtr="0">
          <a:noAutofit/>
        </a:bodyPr>
        <a:lstStyle/>
        <a:p>
          <a:pPr marL="0" lvl="0" indent="0" algn="ctr" defTabSz="1422400">
            <a:lnSpc>
              <a:spcPct val="90000"/>
            </a:lnSpc>
            <a:spcBef>
              <a:spcPct val="0"/>
            </a:spcBef>
            <a:spcAft>
              <a:spcPct val="35000"/>
            </a:spcAft>
            <a:buNone/>
          </a:pPr>
          <a:r>
            <a:rPr lang="en-US" sz="3200" b="0" kern="1200" dirty="0">
              <a:solidFill>
                <a:srgbClr val="FFFFFF"/>
              </a:solidFill>
              <a:latin typeface="Segoe UI Semibold" panose="020B0702040204020203" pitchFamily="34" charset="0"/>
              <a:ea typeface="+mn-ea"/>
              <a:cs typeface="Segoe UI Semibold" panose="020B0702040204020203" pitchFamily="34" charset="0"/>
            </a:rPr>
            <a:t>Optional</a:t>
          </a:r>
        </a:p>
      </dsp:txBody>
      <dsp:txXfrm>
        <a:off x="73964" y="2744590"/>
        <a:ext cx="3718020" cy="1367241"/>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A8113A1-F9D1-4A5B-9F7B-7AADFE9A6A65}">
      <dsp:nvSpPr>
        <dsp:cNvPr id="0" name=""/>
        <dsp:cNvSpPr/>
      </dsp:nvSpPr>
      <dsp:spPr>
        <a:xfrm>
          <a:off x="3063673" y="436"/>
          <a:ext cx="4700799" cy="1716890"/>
        </a:xfrm>
        <a:prstGeom prst="rightArrow">
          <a:avLst>
            <a:gd name="adj1" fmla="val 75000"/>
            <a:gd name="adj2" fmla="val 50000"/>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82880" tIns="91440" rIns="182880" bIns="11430" numCol="1" spcCol="1270" anchor="t" anchorCtr="0">
          <a:noAutofit/>
        </a:bodyPr>
        <a:lstStyle/>
        <a:p>
          <a:pPr marL="171450" lvl="1" indent="-171450" algn="l" defTabSz="800100">
            <a:lnSpc>
              <a:spcPct val="90000"/>
            </a:lnSpc>
            <a:spcBef>
              <a:spcPct val="0"/>
            </a:spcBef>
            <a:spcAft>
              <a:spcPct val="15000"/>
            </a:spcAft>
            <a:buChar char="•"/>
          </a:pPr>
          <a:r>
            <a:rPr lang="en-US" sz="1800" kern="1200" dirty="0"/>
            <a:t>Define pool of VMs that will perform the underlying work </a:t>
          </a:r>
          <a:br>
            <a:rPr lang="en-US" sz="1800" kern="1200" dirty="0"/>
          </a:br>
          <a:r>
            <a:rPr lang="en-US" sz="1800" kern="1200" dirty="0"/>
            <a:t>for Azure Batch Jobs</a:t>
          </a:r>
        </a:p>
      </dsp:txBody>
      <dsp:txXfrm>
        <a:off x="3063673" y="215047"/>
        <a:ext cx="4056965" cy="1287668"/>
      </dsp:txXfrm>
    </dsp:sp>
    <dsp:sp modelId="{C0085984-AAFD-4DEB-92C0-E59BEAB1444A}">
      <dsp:nvSpPr>
        <dsp:cNvPr id="0" name=""/>
        <dsp:cNvSpPr/>
      </dsp:nvSpPr>
      <dsp:spPr>
        <a:xfrm>
          <a:off x="3829" y="149665"/>
          <a:ext cx="3133866" cy="1418432"/>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1920" tIns="60960" rIns="121920" bIns="60960" numCol="1" spcCol="1270" anchor="ctr" anchorCtr="0">
          <a:noAutofit/>
        </a:bodyPr>
        <a:lstStyle/>
        <a:p>
          <a:pPr marL="0" lvl="0" indent="0" algn="ctr" defTabSz="1422400">
            <a:lnSpc>
              <a:spcPct val="90000"/>
            </a:lnSpc>
            <a:spcBef>
              <a:spcPct val="0"/>
            </a:spcBef>
            <a:spcAft>
              <a:spcPct val="35000"/>
            </a:spcAft>
            <a:buNone/>
          </a:pPr>
          <a:r>
            <a:rPr lang="en-US" sz="3200" b="0" kern="1200" dirty="0">
              <a:latin typeface="Segoe UI Semibold" panose="020B0702040204020203" pitchFamily="34" charset="0"/>
              <a:cs typeface="Segoe UI Semibold" panose="020B0702040204020203" pitchFamily="34" charset="0"/>
            </a:rPr>
            <a:t>Mandatory</a:t>
          </a:r>
        </a:p>
      </dsp:txBody>
      <dsp:txXfrm>
        <a:off x="73071" y="218907"/>
        <a:ext cx="2995382" cy="1279948"/>
      </dsp:txXfrm>
    </dsp:sp>
    <dsp:sp modelId="{AD4923FE-E322-4BB7-B593-6A6239D3FAE8}">
      <dsp:nvSpPr>
        <dsp:cNvPr id="0" name=""/>
        <dsp:cNvSpPr/>
      </dsp:nvSpPr>
      <dsp:spPr>
        <a:xfrm>
          <a:off x="2992228" y="1777983"/>
          <a:ext cx="4682826" cy="1618916"/>
        </a:xfrm>
        <a:prstGeom prst="rightArrow">
          <a:avLst>
            <a:gd name="adj1" fmla="val 75000"/>
            <a:gd name="adj2" fmla="val 50000"/>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82880" tIns="91440" rIns="182880" bIns="11430" numCol="1" spcCol="1270" anchor="t" anchorCtr="0">
          <a:noAutofit/>
        </a:bodyPr>
        <a:lstStyle/>
        <a:p>
          <a:pPr marL="171450" lvl="1" indent="-171450" algn="l" defTabSz="800100">
            <a:lnSpc>
              <a:spcPct val="90000"/>
            </a:lnSpc>
            <a:spcBef>
              <a:spcPct val="0"/>
            </a:spcBef>
            <a:spcAft>
              <a:spcPct val="15000"/>
            </a:spcAft>
            <a:buChar char="•"/>
          </a:pPr>
          <a:r>
            <a:rPr lang="en-US" sz="1800" kern="1200" dirty="0"/>
            <a:t>Analyze the workload to determine which model is the better fit, Azure Batch or Azure Batch Apps</a:t>
          </a:r>
        </a:p>
      </dsp:txBody>
      <dsp:txXfrm>
        <a:off x="2992228" y="1980348"/>
        <a:ext cx="4075733" cy="1214187"/>
      </dsp:txXfrm>
    </dsp:sp>
    <dsp:sp modelId="{AF601908-1BCC-4D16-B9A7-97E1AB278EC7}">
      <dsp:nvSpPr>
        <dsp:cNvPr id="0" name=""/>
        <dsp:cNvSpPr/>
      </dsp:nvSpPr>
      <dsp:spPr>
        <a:xfrm>
          <a:off x="0" y="1880568"/>
          <a:ext cx="3157801" cy="1414015"/>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1920" tIns="60960" rIns="121920" bIns="60960" numCol="1" spcCol="1270" anchor="ctr" anchorCtr="0">
          <a:noAutofit/>
        </a:bodyPr>
        <a:lstStyle/>
        <a:p>
          <a:pPr marL="0" lvl="0" indent="0" algn="ctr" defTabSz="1422400">
            <a:lnSpc>
              <a:spcPct val="90000"/>
            </a:lnSpc>
            <a:spcBef>
              <a:spcPct val="0"/>
            </a:spcBef>
            <a:spcAft>
              <a:spcPct val="35000"/>
            </a:spcAft>
            <a:buNone/>
          </a:pPr>
          <a:r>
            <a:rPr lang="en-US" sz="3200" b="0" kern="1200" dirty="0">
              <a:solidFill>
                <a:srgbClr val="FFFFFF"/>
              </a:solidFill>
              <a:latin typeface="Segoe UI Semibold" panose="020B0702040204020203" pitchFamily="34" charset="0"/>
              <a:ea typeface="+mn-ea"/>
              <a:cs typeface="Segoe UI Semibold" panose="020B0702040204020203" pitchFamily="34" charset="0"/>
            </a:rPr>
            <a:t>Recommended</a:t>
          </a:r>
        </a:p>
      </dsp:txBody>
      <dsp:txXfrm>
        <a:off x="69027" y="1949595"/>
        <a:ext cx="3019747" cy="1275961"/>
      </dsp:txXfrm>
    </dsp:sp>
    <dsp:sp modelId="{552042D3-DA16-49BF-8955-96746597232F}">
      <dsp:nvSpPr>
        <dsp:cNvPr id="0" name=""/>
        <dsp:cNvSpPr/>
      </dsp:nvSpPr>
      <dsp:spPr>
        <a:xfrm>
          <a:off x="3088995" y="3439929"/>
          <a:ext cx="4657771" cy="1815843"/>
        </a:xfrm>
        <a:prstGeom prst="rightArrow">
          <a:avLst>
            <a:gd name="adj1" fmla="val 75000"/>
            <a:gd name="adj2" fmla="val 50000"/>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82880" tIns="91440" rIns="182880" bIns="11430" numCol="1" spcCol="1270" anchor="t" anchorCtr="0">
          <a:noAutofit/>
        </a:bodyPr>
        <a:lstStyle/>
        <a:p>
          <a:pPr marL="171450" lvl="1" indent="-171450" algn="l" defTabSz="800100">
            <a:lnSpc>
              <a:spcPct val="90000"/>
            </a:lnSpc>
            <a:spcBef>
              <a:spcPct val="0"/>
            </a:spcBef>
            <a:spcAft>
              <a:spcPct val="15000"/>
            </a:spcAft>
            <a:buChar char="•"/>
          </a:pPr>
          <a:r>
            <a:rPr lang="en-US" sz="1800" kern="1200" dirty="0"/>
            <a:t>Leverage the REST API to output monitoring and telemetry to existing systems</a:t>
          </a:r>
        </a:p>
        <a:p>
          <a:pPr marL="171450" lvl="1" indent="-171450" algn="l" defTabSz="800100">
            <a:lnSpc>
              <a:spcPct val="90000"/>
            </a:lnSpc>
            <a:spcBef>
              <a:spcPct val="0"/>
            </a:spcBef>
            <a:spcAft>
              <a:spcPct val="15000"/>
            </a:spcAft>
            <a:buChar char="•"/>
          </a:pPr>
          <a:endParaRPr lang="en-US" sz="1800" kern="1200" dirty="0"/>
        </a:p>
      </dsp:txBody>
      <dsp:txXfrm>
        <a:off x="3088995" y="3666909"/>
        <a:ext cx="3976830" cy="1361883"/>
      </dsp:txXfrm>
    </dsp:sp>
    <dsp:sp modelId="{AFAB1B19-CAE8-440B-9CCB-5694D6EBAD69}">
      <dsp:nvSpPr>
        <dsp:cNvPr id="0" name=""/>
        <dsp:cNvSpPr/>
      </dsp:nvSpPr>
      <dsp:spPr>
        <a:xfrm>
          <a:off x="1108" y="3628248"/>
          <a:ext cx="3182337" cy="1439206"/>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1920" tIns="60960" rIns="121920" bIns="60960" numCol="1" spcCol="1270" anchor="ctr" anchorCtr="0">
          <a:noAutofit/>
        </a:bodyPr>
        <a:lstStyle/>
        <a:p>
          <a:pPr marL="0" lvl="0" indent="0" algn="ctr" defTabSz="1422400">
            <a:lnSpc>
              <a:spcPct val="90000"/>
            </a:lnSpc>
            <a:spcBef>
              <a:spcPct val="0"/>
            </a:spcBef>
            <a:spcAft>
              <a:spcPct val="35000"/>
            </a:spcAft>
            <a:buNone/>
          </a:pPr>
          <a:r>
            <a:rPr lang="en-US" sz="3200" b="0" kern="1200" dirty="0">
              <a:solidFill>
                <a:srgbClr val="FFFFFF"/>
              </a:solidFill>
              <a:latin typeface="Segoe UI Semibold" panose="020B0702040204020203" pitchFamily="34" charset="0"/>
              <a:ea typeface="+mn-ea"/>
              <a:cs typeface="Segoe UI Semibold" panose="020B0702040204020203" pitchFamily="34" charset="0"/>
            </a:rPr>
            <a:t>Optional</a:t>
          </a:r>
        </a:p>
      </dsp:txBody>
      <dsp:txXfrm>
        <a:off x="71364" y="3698504"/>
        <a:ext cx="3041825" cy="1298694"/>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A8113A1-F9D1-4A5B-9F7B-7AADFE9A6A65}">
      <dsp:nvSpPr>
        <dsp:cNvPr id="0" name=""/>
        <dsp:cNvSpPr/>
      </dsp:nvSpPr>
      <dsp:spPr>
        <a:xfrm>
          <a:off x="3295532" y="436"/>
          <a:ext cx="5056555" cy="1716890"/>
        </a:xfrm>
        <a:prstGeom prst="rightArrow">
          <a:avLst>
            <a:gd name="adj1" fmla="val 75000"/>
            <a:gd name="adj2" fmla="val 50000"/>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82880" tIns="91440" rIns="182880" bIns="11430" numCol="1" spcCol="1270" anchor="t" anchorCtr="0">
          <a:noAutofit/>
        </a:bodyPr>
        <a:lstStyle/>
        <a:p>
          <a:pPr marL="171450" lvl="1" indent="-171450" algn="l" defTabSz="800100">
            <a:lnSpc>
              <a:spcPct val="90000"/>
            </a:lnSpc>
            <a:spcBef>
              <a:spcPct val="0"/>
            </a:spcBef>
            <a:spcAft>
              <a:spcPct val="15000"/>
            </a:spcAft>
            <a:buChar char="•"/>
          </a:pPr>
          <a:r>
            <a:rPr lang="en-US" sz="1800" kern="1200" dirty="0"/>
            <a:t>Start with a well-designed engagement plan to help you identify the granular data you will need to be able to segment your user base</a:t>
          </a:r>
        </a:p>
        <a:p>
          <a:pPr marL="171450" lvl="1" indent="-171450" algn="l" defTabSz="800100">
            <a:lnSpc>
              <a:spcPct val="90000"/>
            </a:lnSpc>
            <a:spcBef>
              <a:spcPct val="0"/>
            </a:spcBef>
            <a:spcAft>
              <a:spcPct val="15000"/>
            </a:spcAft>
            <a:buChar char="•"/>
          </a:pPr>
          <a:endParaRPr lang="en-US" sz="1800" kern="1200" dirty="0"/>
        </a:p>
      </dsp:txBody>
      <dsp:txXfrm>
        <a:off x="3295532" y="215047"/>
        <a:ext cx="4412721" cy="1287668"/>
      </dsp:txXfrm>
    </dsp:sp>
    <dsp:sp modelId="{C0085984-AAFD-4DEB-92C0-E59BEAB1444A}">
      <dsp:nvSpPr>
        <dsp:cNvPr id="0" name=""/>
        <dsp:cNvSpPr/>
      </dsp:nvSpPr>
      <dsp:spPr>
        <a:xfrm>
          <a:off x="4119" y="149665"/>
          <a:ext cx="3371037" cy="1418432"/>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1920" tIns="60960" rIns="121920" bIns="60960" numCol="1" spcCol="1270" anchor="ctr" anchorCtr="0">
          <a:noAutofit/>
        </a:bodyPr>
        <a:lstStyle/>
        <a:p>
          <a:pPr marL="0" lvl="0" indent="0" algn="ctr" defTabSz="1422400">
            <a:lnSpc>
              <a:spcPct val="90000"/>
            </a:lnSpc>
            <a:spcBef>
              <a:spcPct val="0"/>
            </a:spcBef>
            <a:spcAft>
              <a:spcPct val="35000"/>
            </a:spcAft>
            <a:buNone/>
          </a:pPr>
          <a:r>
            <a:rPr lang="en-US" sz="3200" b="0" kern="1200" dirty="0">
              <a:latin typeface="Segoe UI Semibold" panose="020B0702040204020203" pitchFamily="34" charset="0"/>
              <a:cs typeface="Segoe UI Semibold" panose="020B0702040204020203" pitchFamily="34" charset="0"/>
            </a:rPr>
            <a:t>Mandatory</a:t>
          </a:r>
        </a:p>
      </dsp:txBody>
      <dsp:txXfrm>
        <a:off x="73361" y="218907"/>
        <a:ext cx="3232553" cy="1279948"/>
      </dsp:txXfrm>
    </dsp:sp>
    <dsp:sp modelId="{AD4923FE-E322-4BB7-B593-6A6239D3FAE8}">
      <dsp:nvSpPr>
        <dsp:cNvPr id="0" name=""/>
        <dsp:cNvSpPr/>
      </dsp:nvSpPr>
      <dsp:spPr>
        <a:xfrm>
          <a:off x="3218680" y="1777983"/>
          <a:ext cx="5037222" cy="1618916"/>
        </a:xfrm>
        <a:prstGeom prst="rightArrow">
          <a:avLst>
            <a:gd name="adj1" fmla="val 75000"/>
            <a:gd name="adj2" fmla="val 50000"/>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82880" tIns="91440" rIns="182880" bIns="11430" numCol="1" spcCol="1270" anchor="t" anchorCtr="0">
          <a:noAutofit/>
        </a:bodyPr>
        <a:lstStyle/>
        <a:p>
          <a:pPr marL="171450" lvl="1" indent="-171450" algn="l" defTabSz="800100">
            <a:lnSpc>
              <a:spcPct val="90000"/>
            </a:lnSpc>
            <a:spcBef>
              <a:spcPct val="0"/>
            </a:spcBef>
            <a:spcAft>
              <a:spcPct val="15000"/>
            </a:spcAft>
            <a:buChar char="•"/>
          </a:pPr>
          <a:r>
            <a:rPr lang="en-US" sz="1800" kern="1200" dirty="0"/>
            <a:t>Use an iterative, step-by-step approach to defining your engagement plan</a:t>
          </a:r>
        </a:p>
      </dsp:txBody>
      <dsp:txXfrm>
        <a:off x="3218680" y="1980348"/>
        <a:ext cx="4430129" cy="1214187"/>
      </dsp:txXfrm>
    </dsp:sp>
    <dsp:sp modelId="{AF601908-1BCC-4D16-B9A7-97E1AB278EC7}">
      <dsp:nvSpPr>
        <dsp:cNvPr id="0" name=""/>
        <dsp:cNvSpPr/>
      </dsp:nvSpPr>
      <dsp:spPr>
        <a:xfrm>
          <a:off x="0" y="1880568"/>
          <a:ext cx="3396783" cy="1414015"/>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1920" tIns="60960" rIns="121920" bIns="60960" numCol="1" spcCol="1270" anchor="ctr" anchorCtr="0">
          <a:noAutofit/>
        </a:bodyPr>
        <a:lstStyle/>
        <a:p>
          <a:pPr marL="0" lvl="0" indent="0" algn="ctr" defTabSz="1422400">
            <a:lnSpc>
              <a:spcPct val="90000"/>
            </a:lnSpc>
            <a:spcBef>
              <a:spcPct val="0"/>
            </a:spcBef>
            <a:spcAft>
              <a:spcPct val="35000"/>
            </a:spcAft>
            <a:buNone/>
          </a:pPr>
          <a:r>
            <a:rPr lang="en-US" sz="3200" b="0" kern="1200" dirty="0">
              <a:solidFill>
                <a:srgbClr val="FFFFFF"/>
              </a:solidFill>
              <a:latin typeface="Segoe UI Semibold" panose="020B0702040204020203" pitchFamily="34" charset="0"/>
              <a:ea typeface="+mn-ea"/>
              <a:cs typeface="Segoe UI Semibold" panose="020B0702040204020203" pitchFamily="34" charset="0"/>
            </a:rPr>
            <a:t>Recommended</a:t>
          </a:r>
        </a:p>
      </dsp:txBody>
      <dsp:txXfrm>
        <a:off x="69027" y="1949595"/>
        <a:ext cx="3258729" cy="1275961"/>
      </dsp:txXfrm>
    </dsp:sp>
    <dsp:sp modelId="{552042D3-DA16-49BF-8955-96746597232F}">
      <dsp:nvSpPr>
        <dsp:cNvPr id="0" name=""/>
        <dsp:cNvSpPr/>
      </dsp:nvSpPr>
      <dsp:spPr>
        <a:xfrm>
          <a:off x="3322770" y="3439929"/>
          <a:ext cx="5010270" cy="1815843"/>
        </a:xfrm>
        <a:prstGeom prst="rightArrow">
          <a:avLst>
            <a:gd name="adj1" fmla="val 75000"/>
            <a:gd name="adj2" fmla="val 50000"/>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82880" tIns="91440" rIns="182880" bIns="11430" numCol="1" spcCol="1270" anchor="t" anchorCtr="0">
          <a:noAutofit/>
        </a:bodyPr>
        <a:lstStyle/>
        <a:p>
          <a:pPr marL="171450" lvl="1" indent="-171450" algn="l" defTabSz="800100">
            <a:lnSpc>
              <a:spcPct val="90000"/>
            </a:lnSpc>
            <a:spcBef>
              <a:spcPct val="0"/>
            </a:spcBef>
            <a:spcAft>
              <a:spcPct val="15000"/>
            </a:spcAft>
            <a:buChar char="•"/>
          </a:pPr>
          <a:r>
            <a:rPr lang="en-US" sz="1800" kern="1200" dirty="0"/>
            <a:t>Use the BET (Business, Engagement, Technical) model to define your key performance indicators</a:t>
          </a:r>
        </a:p>
      </dsp:txBody>
      <dsp:txXfrm>
        <a:off x="3322770" y="3666909"/>
        <a:ext cx="4329329" cy="1361883"/>
      </dsp:txXfrm>
    </dsp:sp>
    <dsp:sp modelId="{AFAB1B19-CAE8-440B-9CCB-5694D6EBAD69}">
      <dsp:nvSpPr>
        <dsp:cNvPr id="0" name=""/>
        <dsp:cNvSpPr/>
      </dsp:nvSpPr>
      <dsp:spPr>
        <a:xfrm>
          <a:off x="1192" y="3628248"/>
          <a:ext cx="3423176" cy="1439206"/>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1920" tIns="60960" rIns="121920" bIns="60960" numCol="1" spcCol="1270" anchor="ctr" anchorCtr="0">
          <a:noAutofit/>
        </a:bodyPr>
        <a:lstStyle/>
        <a:p>
          <a:pPr marL="0" lvl="0" indent="0" algn="ctr" defTabSz="1422400">
            <a:lnSpc>
              <a:spcPct val="90000"/>
            </a:lnSpc>
            <a:spcBef>
              <a:spcPct val="0"/>
            </a:spcBef>
            <a:spcAft>
              <a:spcPct val="35000"/>
            </a:spcAft>
            <a:buNone/>
          </a:pPr>
          <a:r>
            <a:rPr lang="en-US" sz="3200" b="0" kern="1200" dirty="0">
              <a:solidFill>
                <a:srgbClr val="FFFFFF"/>
              </a:solidFill>
              <a:latin typeface="Segoe UI Semibold" panose="020B0702040204020203" pitchFamily="34" charset="0"/>
              <a:ea typeface="+mn-ea"/>
              <a:cs typeface="Segoe UI Semibold" panose="020B0702040204020203" pitchFamily="34" charset="0"/>
            </a:rPr>
            <a:t>Optional</a:t>
          </a:r>
        </a:p>
      </dsp:txBody>
      <dsp:txXfrm>
        <a:off x="71448" y="3698504"/>
        <a:ext cx="3282664" cy="1298694"/>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A8113A1-F9D1-4A5B-9F7B-7AADFE9A6A65}">
      <dsp:nvSpPr>
        <dsp:cNvPr id="0" name=""/>
        <dsp:cNvSpPr/>
      </dsp:nvSpPr>
      <dsp:spPr>
        <a:xfrm>
          <a:off x="3065693" y="436"/>
          <a:ext cx="4703898" cy="1716890"/>
        </a:xfrm>
        <a:prstGeom prst="rightArrow">
          <a:avLst>
            <a:gd name="adj1" fmla="val 75000"/>
            <a:gd name="adj2" fmla="val 50000"/>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82880" tIns="91440" rIns="182880" bIns="11430" numCol="1" spcCol="1270" anchor="ctr" anchorCtr="0">
          <a:noAutofit/>
        </a:bodyPr>
        <a:lstStyle/>
        <a:p>
          <a:pPr marL="171450" lvl="1" indent="-171450" algn="l" defTabSz="800100">
            <a:lnSpc>
              <a:spcPct val="90000"/>
            </a:lnSpc>
            <a:spcBef>
              <a:spcPct val="0"/>
            </a:spcBef>
            <a:spcAft>
              <a:spcPct val="15000"/>
            </a:spcAft>
            <a:buChar char="•"/>
          </a:pPr>
          <a:r>
            <a:rPr lang="en-US" sz="1800" kern="1200" dirty="0"/>
            <a:t>Configure policies for services and profiles for existing web services to use API management</a:t>
          </a:r>
        </a:p>
      </dsp:txBody>
      <dsp:txXfrm>
        <a:off x="3065693" y="215047"/>
        <a:ext cx="4060064" cy="1287668"/>
      </dsp:txXfrm>
    </dsp:sp>
    <dsp:sp modelId="{C0085984-AAFD-4DEB-92C0-E59BEAB1444A}">
      <dsp:nvSpPr>
        <dsp:cNvPr id="0" name=""/>
        <dsp:cNvSpPr/>
      </dsp:nvSpPr>
      <dsp:spPr>
        <a:xfrm>
          <a:off x="3831" y="149665"/>
          <a:ext cx="3135932" cy="1418432"/>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1920" tIns="60960" rIns="121920" bIns="60960" numCol="1" spcCol="1270" anchor="ctr" anchorCtr="0">
          <a:noAutofit/>
        </a:bodyPr>
        <a:lstStyle/>
        <a:p>
          <a:pPr marL="0" lvl="0" indent="0" algn="ctr" defTabSz="1422400">
            <a:lnSpc>
              <a:spcPct val="90000"/>
            </a:lnSpc>
            <a:spcBef>
              <a:spcPct val="0"/>
            </a:spcBef>
            <a:spcAft>
              <a:spcPct val="35000"/>
            </a:spcAft>
            <a:buNone/>
          </a:pPr>
          <a:r>
            <a:rPr lang="en-US" sz="3200" b="0" kern="1200" dirty="0">
              <a:latin typeface="Segoe UI Semibold" panose="020B0702040204020203" pitchFamily="34" charset="0"/>
              <a:cs typeface="Segoe UI Semibold" panose="020B0702040204020203" pitchFamily="34" charset="0"/>
            </a:rPr>
            <a:t>Mandatory</a:t>
          </a:r>
        </a:p>
      </dsp:txBody>
      <dsp:txXfrm>
        <a:off x="73073" y="218907"/>
        <a:ext cx="2997448" cy="1279948"/>
      </dsp:txXfrm>
    </dsp:sp>
    <dsp:sp modelId="{AD4923FE-E322-4BB7-B593-6A6239D3FAE8}">
      <dsp:nvSpPr>
        <dsp:cNvPr id="0" name=""/>
        <dsp:cNvSpPr/>
      </dsp:nvSpPr>
      <dsp:spPr>
        <a:xfrm>
          <a:off x="2994201" y="1777983"/>
          <a:ext cx="4685913" cy="1618916"/>
        </a:xfrm>
        <a:prstGeom prst="rightArrow">
          <a:avLst>
            <a:gd name="adj1" fmla="val 75000"/>
            <a:gd name="adj2" fmla="val 50000"/>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82880" tIns="91440" rIns="182880" bIns="11430" numCol="1" spcCol="1270" anchor="ctr" anchorCtr="0">
          <a:noAutofit/>
        </a:bodyPr>
        <a:lstStyle/>
        <a:p>
          <a:pPr marL="171450" lvl="1" indent="-171450" algn="l" defTabSz="800100">
            <a:lnSpc>
              <a:spcPct val="90000"/>
            </a:lnSpc>
            <a:spcBef>
              <a:spcPct val="0"/>
            </a:spcBef>
            <a:spcAft>
              <a:spcPct val="15000"/>
            </a:spcAft>
            <a:buChar char="•"/>
          </a:pPr>
          <a:r>
            <a:rPr lang="en-US" sz="1800" kern="1200" dirty="0"/>
            <a:t>Protect web services with API </a:t>
          </a:r>
          <a:br>
            <a:rPr lang="en-US" sz="1800" kern="1200" dirty="0"/>
          </a:br>
          <a:r>
            <a:rPr lang="en-US" sz="1800" kern="1200" dirty="0"/>
            <a:t>rate limits and quota policies</a:t>
          </a:r>
        </a:p>
      </dsp:txBody>
      <dsp:txXfrm>
        <a:off x="2994201" y="1980348"/>
        <a:ext cx="4078820" cy="1214187"/>
      </dsp:txXfrm>
    </dsp:sp>
    <dsp:sp modelId="{AF601908-1BCC-4D16-B9A7-97E1AB278EC7}">
      <dsp:nvSpPr>
        <dsp:cNvPr id="0" name=""/>
        <dsp:cNvSpPr/>
      </dsp:nvSpPr>
      <dsp:spPr>
        <a:xfrm>
          <a:off x="0" y="1880568"/>
          <a:ext cx="3159883" cy="1414015"/>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1920" tIns="60960" rIns="121920" bIns="60960" numCol="1" spcCol="1270" anchor="ctr" anchorCtr="0">
          <a:noAutofit/>
        </a:bodyPr>
        <a:lstStyle/>
        <a:p>
          <a:pPr marL="0" lvl="0" indent="0" algn="ctr" defTabSz="1422400">
            <a:lnSpc>
              <a:spcPct val="90000"/>
            </a:lnSpc>
            <a:spcBef>
              <a:spcPct val="0"/>
            </a:spcBef>
            <a:spcAft>
              <a:spcPct val="35000"/>
            </a:spcAft>
            <a:buNone/>
          </a:pPr>
          <a:r>
            <a:rPr lang="en-US" sz="3200" b="0" kern="1200" dirty="0">
              <a:solidFill>
                <a:srgbClr val="FFFFFF"/>
              </a:solidFill>
              <a:latin typeface="Segoe UI Semibold" panose="020B0702040204020203" pitchFamily="34" charset="0"/>
              <a:ea typeface="+mn-ea"/>
              <a:cs typeface="Segoe UI Semibold" panose="020B0702040204020203" pitchFamily="34" charset="0"/>
            </a:rPr>
            <a:t>Recommended</a:t>
          </a:r>
        </a:p>
      </dsp:txBody>
      <dsp:txXfrm>
        <a:off x="69027" y="1949595"/>
        <a:ext cx="3021829" cy="1275961"/>
      </dsp:txXfrm>
    </dsp:sp>
    <dsp:sp modelId="{552042D3-DA16-49BF-8955-96746597232F}">
      <dsp:nvSpPr>
        <dsp:cNvPr id="0" name=""/>
        <dsp:cNvSpPr/>
      </dsp:nvSpPr>
      <dsp:spPr>
        <a:xfrm>
          <a:off x="3091031" y="3439929"/>
          <a:ext cx="4660841" cy="1815843"/>
        </a:xfrm>
        <a:prstGeom prst="rightArrow">
          <a:avLst>
            <a:gd name="adj1" fmla="val 75000"/>
            <a:gd name="adj2" fmla="val 50000"/>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82880" tIns="91440" rIns="182880" bIns="11430" numCol="1" spcCol="1270" anchor="ctr" anchorCtr="0">
          <a:noAutofit/>
        </a:bodyPr>
        <a:lstStyle/>
        <a:p>
          <a:pPr marL="171450" lvl="1" indent="-171450" algn="l" defTabSz="800100">
            <a:lnSpc>
              <a:spcPct val="90000"/>
            </a:lnSpc>
            <a:spcBef>
              <a:spcPct val="0"/>
            </a:spcBef>
            <a:spcAft>
              <a:spcPct val="15000"/>
            </a:spcAft>
            <a:buChar char="•"/>
          </a:pPr>
          <a:r>
            <a:rPr lang="en-US" sz="1800" kern="1200" dirty="0"/>
            <a:t>Customize the developer portal to allow for developer registration and subscription models</a:t>
          </a:r>
        </a:p>
      </dsp:txBody>
      <dsp:txXfrm>
        <a:off x="3091031" y="3666909"/>
        <a:ext cx="3979900" cy="1361883"/>
      </dsp:txXfrm>
    </dsp:sp>
    <dsp:sp modelId="{AFAB1B19-CAE8-440B-9CCB-5694D6EBAD69}">
      <dsp:nvSpPr>
        <dsp:cNvPr id="0" name=""/>
        <dsp:cNvSpPr/>
      </dsp:nvSpPr>
      <dsp:spPr>
        <a:xfrm>
          <a:off x="1108" y="3628248"/>
          <a:ext cx="3184435" cy="1439206"/>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1920" tIns="60960" rIns="121920" bIns="60960" numCol="1" spcCol="1270" anchor="ctr" anchorCtr="0">
          <a:noAutofit/>
        </a:bodyPr>
        <a:lstStyle/>
        <a:p>
          <a:pPr marL="0" lvl="0" indent="0" algn="ctr" defTabSz="1422400">
            <a:lnSpc>
              <a:spcPct val="90000"/>
            </a:lnSpc>
            <a:spcBef>
              <a:spcPct val="0"/>
            </a:spcBef>
            <a:spcAft>
              <a:spcPct val="35000"/>
            </a:spcAft>
            <a:buNone/>
          </a:pPr>
          <a:r>
            <a:rPr lang="en-US" sz="3200" b="0" kern="1200" dirty="0">
              <a:solidFill>
                <a:srgbClr val="FFFFFF"/>
              </a:solidFill>
              <a:latin typeface="Segoe UI Semibold" panose="020B0702040204020203" pitchFamily="34" charset="0"/>
              <a:ea typeface="+mn-ea"/>
              <a:cs typeface="Segoe UI Semibold" panose="020B0702040204020203" pitchFamily="34" charset="0"/>
            </a:rPr>
            <a:t>Optional</a:t>
          </a:r>
        </a:p>
      </dsp:txBody>
      <dsp:txXfrm>
        <a:off x="71364" y="3698504"/>
        <a:ext cx="3043923" cy="1298694"/>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A8113A1-F9D1-4A5B-9F7B-7AADFE9A6A65}">
      <dsp:nvSpPr>
        <dsp:cNvPr id="0" name=""/>
        <dsp:cNvSpPr/>
      </dsp:nvSpPr>
      <dsp:spPr>
        <a:xfrm>
          <a:off x="3063673" y="436"/>
          <a:ext cx="4700799" cy="1716890"/>
        </a:xfrm>
        <a:prstGeom prst="rightArrow">
          <a:avLst>
            <a:gd name="adj1" fmla="val 75000"/>
            <a:gd name="adj2" fmla="val 50000"/>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82880" tIns="91440" rIns="182880" bIns="11430" numCol="1" spcCol="1270" anchor="t" anchorCtr="0">
          <a:noAutofit/>
        </a:bodyPr>
        <a:lstStyle/>
        <a:p>
          <a:pPr marL="171450" lvl="1" indent="-171450" algn="l" defTabSz="800100">
            <a:lnSpc>
              <a:spcPct val="90000"/>
            </a:lnSpc>
            <a:spcBef>
              <a:spcPct val="0"/>
            </a:spcBef>
            <a:spcAft>
              <a:spcPct val="15000"/>
            </a:spcAft>
            <a:buChar char="•"/>
          </a:pPr>
          <a:r>
            <a:rPr lang="en-US" sz="1800" kern="1200" dirty="0"/>
            <a:t>Define pool of VMs that will perform the underlying work </a:t>
          </a:r>
          <a:br>
            <a:rPr lang="en-US" sz="1800" kern="1200" dirty="0"/>
          </a:br>
          <a:r>
            <a:rPr lang="en-US" sz="1800" kern="1200" dirty="0"/>
            <a:t>for Azure Batch Jobs</a:t>
          </a:r>
        </a:p>
      </dsp:txBody>
      <dsp:txXfrm>
        <a:off x="3063673" y="215047"/>
        <a:ext cx="4056965" cy="1287668"/>
      </dsp:txXfrm>
    </dsp:sp>
    <dsp:sp modelId="{C0085984-AAFD-4DEB-92C0-E59BEAB1444A}">
      <dsp:nvSpPr>
        <dsp:cNvPr id="0" name=""/>
        <dsp:cNvSpPr/>
      </dsp:nvSpPr>
      <dsp:spPr>
        <a:xfrm>
          <a:off x="3829" y="149665"/>
          <a:ext cx="3133866" cy="1418432"/>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1920" tIns="60960" rIns="121920" bIns="60960" numCol="1" spcCol="1270" anchor="ctr" anchorCtr="0">
          <a:noAutofit/>
        </a:bodyPr>
        <a:lstStyle/>
        <a:p>
          <a:pPr marL="0" lvl="0" indent="0" algn="ctr" defTabSz="1422400">
            <a:lnSpc>
              <a:spcPct val="90000"/>
            </a:lnSpc>
            <a:spcBef>
              <a:spcPct val="0"/>
            </a:spcBef>
            <a:spcAft>
              <a:spcPct val="35000"/>
            </a:spcAft>
            <a:buNone/>
          </a:pPr>
          <a:r>
            <a:rPr lang="en-US" sz="3200" b="0" kern="1200" dirty="0">
              <a:latin typeface="Segoe UI Semibold" panose="020B0702040204020203" pitchFamily="34" charset="0"/>
              <a:cs typeface="Segoe UI Semibold" panose="020B0702040204020203" pitchFamily="34" charset="0"/>
            </a:rPr>
            <a:t>Mandatory</a:t>
          </a:r>
        </a:p>
      </dsp:txBody>
      <dsp:txXfrm>
        <a:off x="73071" y="218907"/>
        <a:ext cx="2995382" cy="1279948"/>
      </dsp:txXfrm>
    </dsp:sp>
    <dsp:sp modelId="{AD4923FE-E322-4BB7-B593-6A6239D3FAE8}">
      <dsp:nvSpPr>
        <dsp:cNvPr id="0" name=""/>
        <dsp:cNvSpPr/>
      </dsp:nvSpPr>
      <dsp:spPr>
        <a:xfrm>
          <a:off x="2992228" y="1777983"/>
          <a:ext cx="4682826" cy="1618916"/>
        </a:xfrm>
        <a:prstGeom prst="rightArrow">
          <a:avLst>
            <a:gd name="adj1" fmla="val 75000"/>
            <a:gd name="adj2" fmla="val 50000"/>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82880" tIns="91440" rIns="182880" bIns="11430" numCol="1" spcCol="1270" anchor="t" anchorCtr="0">
          <a:noAutofit/>
        </a:bodyPr>
        <a:lstStyle/>
        <a:p>
          <a:pPr marL="171450" lvl="1" indent="-171450" algn="l" defTabSz="800100">
            <a:lnSpc>
              <a:spcPct val="90000"/>
            </a:lnSpc>
            <a:spcBef>
              <a:spcPct val="0"/>
            </a:spcBef>
            <a:spcAft>
              <a:spcPct val="15000"/>
            </a:spcAft>
            <a:buChar char="•"/>
          </a:pPr>
          <a:r>
            <a:rPr lang="en-US" sz="1800" kern="1200" dirty="0"/>
            <a:t>Analyze the workload to determine which model is the better fit, Azure Batch or Azure Batch Apps</a:t>
          </a:r>
        </a:p>
      </dsp:txBody>
      <dsp:txXfrm>
        <a:off x="2992228" y="1980348"/>
        <a:ext cx="4075733" cy="1214187"/>
      </dsp:txXfrm>
    </dsp:sp>
    <dsp:sp modelId="{AF601908-1BCC-4D16-B9A7-97E1AB278EC7}">
      <dsp:nvSpPr>
        <dsp:cNvPr id="0" name=""/>
        <dsp:cNvSpPr/>
      </dsp:nvSpPr>
      <dsp:spPr>
        <a:xfrm>
          <a:off x="0" y="1880568"/>
          <a:ext cx="3157801" cy="1414015"/>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1920" tIns="60960" rIns="121920" bIns="60960" numCol="1" spcCol="1270" anchor="ctr" anchorCtr="0">
          <a:noAutofit/>
        </a:bodyPr>
        <a:lstStyle/>
        <a:p>
          <a:pPr marL="0" lvl="0" indent="0" algn="ctr" defTabSz="1422400">
            <a:lnSpc>
              <a:spcPct val="90000"/>
            </a:lnSpc>
            <a:spcBef>
              <a:spcPct val="0"/>
            </a:spcBef>
            <a:spcAft>
              <a:spcPct val="35000"/>
            </a:spcAft>
            <a:buNone/>
          </a:pPr>
          <a:r>
            <a:rPr lang="en-US" sz="3200" b="0" kern="1200" dirty="0">
              <a:solidFill>
                <a:srgbClr val="FFFFFF"/>
              </a:solidFill>
              <a:latin typeface="Segoe UI Semibold" panose="020B0702040204020203" pitchFamily="34" charset="0"/>
              <a:ea typeface="+mn-ea"/>
              <a:cs typeface="Segoe UI Semibold" panose="020B0702040204020203" pitchFamily="34" charset="0"/>
            </a:rPr>
            <a:t>Recommended</a:t>
          </a:r>
        </a:p>
      </dsp:txBody>
      <dsp:txXfrm>
        <a:off x="69027" y="1949595"/>
        <a:ext cx="3019747" cy="1275961"/>
      </dsp:txXfrm>
    </dsp:sp>
    <dsp:sp modelId="{552042D3-DA16-49BF-8955-96746597232F}">
      <dsp:nvSpPr>
        <dsp:cNvPr id="0" name=""/>
        <dsp:cNvSpPr/>
      </dsp:nvSpPr>
      <dsp:spPr>
        <a:xfrm>
          <a:off x="3088995" y="3439929"/>
          <a:ext cx="4657771" cy="1815843"/>
        </a:xfrm>
        <a:prstGeom prst="rightArrow">
          <a:avLst>
            <a:gd name="adj1" fmla="val 75000"/>
            <a:gd name="adj2" fmla="val 50000"/>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82880" tIns="91440" rIns="182880" bIns="11430" numCol="1" spcCol="1270" anchor="t" anchorCtr="0">
          <a:noAutofit/>
        </a:bodyPr>
        <a:lstStyle/>
        <a:p>
          <a:pPr marL="171450" lvl="1" indent="-171450" algn="l" defTabSz="800100">
            <a:lnSpc>
              <a:spcPct val="90000"/>
            </a:lnSpc>
            <a:spcBef>
              <a:spcPct val="0"/>
            </a:spcBef>
            <a:spcAft>
              <a:spcPct val="15000"/>
            </a:spcAft>
            <a:buChar char="•"/>
          </a:pPr>
          <a:r>
            <a:rPr lang="en-US" sz="1800" kern="1200" dirty="0"/>
            <a:t>Leverage the REST API to output monitoring and telemetry to existing systems</a:t>
          </a:r>
        </a:p>
        <a:p>
          <a:pPr marL="171450" lvl="1" indent="-171450" algn="l" defTabSz="800100">
            <a:lnSpc>
              <a:spcPct val="90000"/>
            </a:lnSpc>
            <a:spcBef>
              <a:spcPct val="0"/>
            </a:spcBef>
            <a:spcAft>
              <a:spcPct val="15000"/>
            </a:spcAft>
            <a:buChar char="•"/>
          </a:pPr>
          <a:endParaRPr lang="en-US" sz="1800" kern="1200" dirty="0"/>
        </a:p>
      </dsp:txBody>
      <dsp:txXfrm>
        <a:off x="3088995" y="3666909"/>
        <a:ext cx="3976830" cy="1361883"/>
      </dsp:txXfrm>
    </dsp:sp>
    <dsp:sp modelId="{AFAB1B19-CAE8-440B-9CCB-5694D6EBAD69}">
      <dsp:nvSpPr>
        <dsp:cNvPr id="0" name=""/>
        <dsp:cNvSpPr/>
      </dsp:nvSpPr>
      <dsp:spPr>
        <a:xfrm>
          <a:off x="1108" y="3628248"/>
          <a:ext cx="3182337" cy="1439206"/>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1920" tIns="60960" rIns="121920" bIns="60960" numCol="1" spcCol="1270" anchor="ctr" anchorCtr="0">
          <a:noAutofit/>
        </a:bodyPr>
        <a:lstStyle/>
        <a:p>
          <a:pPr marL="0" lvl="0" indent="0" algn="ctr" defTabSz="1422400">
            <a:lnSpc>
              <a:spcPct val="90000"/>
            </a:lnSpc>
            <a:spcBef>
              <a:spcPct val="0"/>
            </a:spcBef>
            <a:spcAft>
              <a:spcPct val="35000"/>
            </a:spcAft>
            <a:buNone/>
          </a:pPr>
          <a:r>
            <a:rPr lang="en-US" sz="3200" b="0" kern="1200" dirty="0">
              <a:solidFill>
                <a:srgbClr val="FFFFFF"/>
              </a:solidFill>
              <a:latin typeface="Segoe UI Semibold" panose="020B0702040204020203" pitchFamily="34" charset="0"/>
              <a:ea typeface="+mn-ea"/>
              <a:cs typeface="Segoe UI Semibold" panose="020B0702040204020203" pitchFamily="34" charset="0"/>
            </a:rPr>
            <a:t>Optional</a:t>
          </a:r>
        </a:p>
      </dsp:txBody>
      <dsp:txXfrm>
        <a:off x="71364" y="3698504"/>
        <a:ext cx="3041825" cy="1298694"/>
      </dsp:txXfrm>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A8113A1-F9D1-4A5B-9F7B-7AADFE9A6A65}">
      <dsp:nvSpPr>
        <dsp:cNvPr id="0" name=""/>
        <dsp:cNvSpPr/>
      </dsp:nvSpPr>
      <dsp:spPr>
        <a:xfrm>
          <a:off x="3063673" y="436"/>
          <a:ext cx="4700799" cy="1716890"/>
        </a:xfrm>
        <a:prstGeom prst="rightArrow">
          <a:avLst>
            <a:gd name="adj1" fmla="val 75000"/>
            <a:gd name="adj2" fmla="val 50000"/>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82880" tIns="91440" rIns="182880" bIns="11430" numCol="1" spcCol="1270" anchor="ctr" anchorCtr="0">
          <a:noAutofit/>
        </a:bodyPr>
        <a:lstStyle/>
        <a:p>
          <a:pPr marL="171450" lvl="1" indent="-171450" algn="l" defTabSz="800100">
            <a:lnSpc>
              <a:spcPct val="90000"/>
            </a:lnSpc>
            <a:spcBef>
              <a:spcPct val="0"/>
            </a:spcBef>
            <a:spcAft>
              <a:spcPct val="15000"/>
            </a:spcAft>
            <a:buNone/>
          </a:pPr>
          <a:endParaRPr lang="en-US" sz="1800" kern="1200" dirty="0"/>
        </a:p>
        <a:p>
          <a:pPr marL="171450" lvl="1" indent="-171450" algn="l" defTabSz="800100">
            <a:lnSpc>
              <a:spcPct val="90000"/>
            </a:lnSpc>
            <a:spcBef>
              <a:spcPct val="0"/>
            </a:spcBef>
            <a:spcAft>
              <a:spcPct val="15000"/>
            </a:spcAft>
            <a:buFont typeface="Arial" panose="020B0604020202020204" pitchFamily="34" charset="0"/>
            <a:buChar char="•"/>
          </a:pPr>
          <a:r>
            <a:rPr lang="en-US" sz="1800" kern="1200" dirty="0"/>
            <a:t>Understand which tier of service will be required and implement the Redis client in the application</a:t>
          </a:r>
        </a:p>
        <a:p>
          <a:pPr marL="171450" lvl="1" indent="-171450" algn="l" defTabSz="800100">
            <a:lnSpc>
              <a:spcPct val="90000"/>
            </a:lnSpc>
            <a:spcBef>
              <a:spcPct val="0"/>
            </a:spcBef>
            <a:spcAft>
              <a:spcPct val="15000"/>
            </a:spcAft>
            <a:buChar char="•"/>
          </a:pPr>
          <a:endParaRPr lang="en-US" sz="1800" kern="1200" dirty="0"/>
        </a:p>
      </dsp:txBody>
      <dsp:txXfrm>
        <a:off x="3063673" y="215047"/>
        <a:ext cx="4056965" cy="1287668"/>
      </dsp:txXfrm>
    </dsp:sp>
    <dsp:sp modelId="{C0085984-AAFD-4DEB-92C0-E59BEAB1444A}">
      <dsp:nvSpPr>
        <dsp:cNvPr id="0" name=""/>
        <dsp:cNvSpPr/>
      </dsp:nvSpPr>
      <dsp:spPr>
        <a:xfrm>
          <a:off x="3829" y="149665"/>
          <a:ext cx="3133866" cy="1418432"/>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1920" tIns="60960" rIns="121920" bIns="60960" numCol="1" spcCol="1270" anchor="ctr" anchorCtr="0">
          <a:noAutofit/>
        </a:bodyPr>
        <a:lstStyle/>
        <a:p>
          <a:pPr marL="0" lvl="0" indent="0" algn="ctr" defTabSz="1422400">
            <a:lnSpc>
              <a:spcPct val="90000"/>
            </a:lnSpc>
            <a:spcBef>
              <a:spcPct val="0"/>
            </a:spcBef>
            <a:spcAft>
              <a:spcPct val="35000"/>
            </a:spcAft>
            <a:buNone/>
          </a:pPr>
          <a:r>
            <a:rPr lang="en-US" sz="3200" b="0" kern="1200" dirty="0">
              <a:latin typeface="Segoe UI Semibold" panose="020B0702040204020203" pitchFamily="34" charset="0"/>
              <a:cs typeface="Segoe UI Semibold" panose="020B0702040204020203" pitchFamily="34" charset="0"/>
            </a:rPr>
            <a:t>Mandatory</a:t>
          </a:r>
        </a:p>
      </dsp:txBody>
      <dsp:txXfrm>
        <a:off x="73071" y="218907"/>
        <a:ext cx="2995382" cy="1279948"/>
      </dsp:txXfrm>
    </dsp:sp>
    <dsp:sp modelId="{AD4923FE-E322-4BB7-B593-6A6239D3FAE8}">
      <dsp:nvSpPr>
        <dsp:cNvPr id="0" name=""/>
        <dsp:cNvSpPr/>
      </dsp:nvSpPr>
      <dsp:spPr>
        <a:xfrm>
          <a:off x="2992228" y="1777983"/>
          <a:ext cx="4682826" cy="1618916"/>
        </a:xfrm>
        <a:prstGeom prst="rightArrow">
          <a:avLst>
            <a:gd name="adj1" fmla="val 75000"/>
            <a:gd name="adj2" fmla="val 50000"/>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74320" tIns="91440" rIns="182880" bIns="11430" numCol="1" spcCol="1270" anchor="t" anchorCtr="0">
          <a:noAutofit/>
        </a:bodyPr>
        <a:lstStyle/>
        <a:p>
          <a:pPr marL="171450" lvl="1" indent="-171450" algn="l" defTabSz="800100">
            <a:lnSpc>
              <a:spcPct val="90000"/>
            </a:lnSpc>
            <a:spcBef>
              <a:spcPct val="0"/>
            </a:spcBef>
            <a:spcAft>
              <a:spcPct val="15000"/>
            </a:spcAft>
            <a:buChar char="•"/>
          </a:pPr>
          <a:r>
            <a:rPr lang="en-US" sz="1800" kern="1200" dirty="0"/>
            <a:t>Use the advanced structure caching options with Redis </a:t>
          </a:r>
          <a:br>
            <a:rPr lang="en-US" sz="1800" kern="1200" dirty="0"/>
          </a:br>
          <a:r>
            <a:rPr lang="en-US" sz="1800" kern="1200" dirty="0"/>
            <a:t>to simplify the application </a:t>
          </a:r>
          <a:br>
            <a:rPr lang="en-US" sz="1800" kern="1200" dirty="0"/>
          </a:br>
          <a:r>
            <a:rPr lang="en-US" sz="1800" kern="1200" dirty="0"/>
            <a:t>caching code</a:t>
          </a:r>
        </a:p>
        <a:p>
          <a:pPr marL="171450" lvl="1" indent="-171450" algn="l" defTabSz="800100">
            <a:lnSpc>
              <a:spcPct val="90000"/>
            </a:lnSpc>
            <a:spcBef>
              <a:spcPct val="0"/>
            </a:spcBef>
            <a:spcAft>
              <a:spcPct val="15000"/>
            </a:spcAft>
            <a:buChar char="•"/>
          </a:pPr>
          <a:endParaRPr lang="en-US" sz="1800" kern="1200" dirty="0"/>
        </a:p>
      </dsp:txBody>
      <dsp:txXfrm>
        <a:off x="2992228" y="1980348"/>
        <a:ext cx="4075733" cy="1214187"/>
      </dsp:txXfrm>
    </dsp:sp>
    <dsp:sp modelId="{AF601908-1BCC-4D16-B9A7-97E1AB278EC7}">
      <dsp:nvSpPr>
        <dsp:cNvPr id="0" name=""/>
        <dsp:cNvSpPr/>
      </dsp:nvSpPr>
      <dsp:spPr>
        <a:xfrm>
          <a:off x="0" y="1880568"/>
          <a:ext cx="3157801" cy="1414015"/>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1920" tIns="60960" rIns="121920" bIns="60960" numCol="1" spcCol="1270" anchor="ctr" anchorCtr="0">
          <a:noAutofit/>
        </a:bodyPr>
        <a:lstStyle/>
        <a:p>
          <a:pPr marL="0" lvl="0" indent="0" algn="ctr" defTabSz="1422400">
            <a:lnSpc>
              <a:spcPct val="90000"/>
            </a:lnSpc>
            <a:spcBef>
              <a:spcPct val="0"/>
            </a:spcBef>
            <a:spcAft>
              <a:spcPct val="35000"/>
            </a:spcAft>
            <a:buNone/>
          </a:pPr>
          <a:r>
            <a:rPr lang="en-US" sz="3200" b="0" kern="1200" dirty="0">
              <a:solidFill>
                <a:srgbClr val="FFFFFF"/>
              </a:solidFill>
              <a:latin typeface="Segoe UI Semibold" panose="020B0702040204020203" pitchFamily="34" charset="0"/>
              <a:ea typeface="+mn-ea"/>
              <a:cs typeface="Segoe UI Semibold" panose="020B0702040204020203" pitchFamily="34" charset="0"/>
            </a:rPr>
            <a:t>Recommended</a:t>
          </a:r>
        </a:p>
      </dsp:txBody>
      <dsp:txXfrm>
        <a:off x="69027" y="1949595"/>
        <a:ext cx="3019747" cy="1275961"/>
      </dsp:txXfrm>
    </dsp:sp>
    <dsp:sp modelId="{552042D3-DA16-49BF-8955-96746597232F}">
      <dsp:nvSpPr>
        <dsp:cNvPr id="0" name=""/>
        <dsp:cNvSpPr/>
      </dsp:nvSpPr>
      <dsp:spPr>
        <a:xfrm>
          <a:off x="3088995" y="3439929"/>
          <a:ext cx="4657771" cy="1815843"/>
        </a:xfrm>
        <a:prstGeom prst="rightArrow">
          <a:avLst>
            <a:gd name="adj1" fmla="val 75000"/>
            <a:gd name="adj2" fmla="val 50000"/>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82880" tIns="91440" rIns="182880" bIns="11430" numCol="1" spcCol="1270" anchor="ctr" anchorCtr="0">
          <a:noAutofit/>
        </a:bodyPr>
        <a:lstStyle/>
        <a:p>
          <a:pPr marL="171450" lvl="1" indent="-171450" algn="l" defTabSz="800100">
            <a:lnSpc>
              <a:spcPct val="90000"/>
            </a:lnSpc>
            <a:spcBef>
              <a:spcPct val="0"/>
            </a:spcBef>
            <a:spcAft>
              <a:spcPct val="15000"/>
            </a:spcAft>
            <a:buChar char="•"/>
          </a:pPr>
          <a:r>
            <a:rPr lang="en-US" sz="1800" kern="1200" dirty="0"/>
            <a:t>Setup policies for cache rejection, lifetime, </a:t>
          </a:r>
          <a:r>
            <a:rPr lang="en-US" sz="1800" kern="1200" dirty="0" err="1"/>
            <a:t>etc</a:t>
          </a:r>
          <a:endParaRPr lang="en-US" sz="1800" kern="1200" dirty="0"/>
        </a:p>
      </dsp:txBody>
      <dsp:txXfrm>
        <a:off x="3088995" y="3666909"/>
        <a:ext cx="3976830" cy="1361883"/>
      </dsp:txXfrm>
    </dsp:sp>
    <dsp:sp modelId="{AFAB1B19-CAE8-440B-9CCB-5694D6EBAD69}">
      <dsp:nvSpPr>
        <dsp:cNvPr id="0" name=""/>
        <dsp:cNvSpPr/>
      </dsp:nvSpPr>
      <dsp:spPr>
        <a:xfrm>
          <a:off x="1108" y="3628248"/>
          <a:ext cx="3182337" cy="1439206"/>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1920" tIns="60960" rIns="121920" bIns="60960" numCol="1" spcCol="1270" anchor="ctr" anchorCtr="0">
          <a:noAutofit/>
        </a:bodyPr>
        <a:lstStyle/>
        <a:p>
          <a:pPr marL="0" lvl="0" indent="0" algn="ctr" defTabSz="1422400">
            <a:lnSpc>
              <a:spcPct val="90000"/>
            </a:lnSpc>
            <a:spcBef>
              <a:spcPct val="0"/>
            </a:spcBef>
            <a:spcAft>
              <a:spcPct val="35000"/>
            </a:spcAft>
            <a:buNone/>
          </a:pPr>
          <a:r>
            <a:rPr lang="en-US" sz="3200" b="0" kern="1200" dirty="0">
              <a:solidFill>
                <a:srgbClr val="FFFFFF"/>
              </a:solidFill>
              <a:latin typeface="Segoe UI Semibold" panose="020B0702040204020203" pitchFamily="34" charset="0"/>
              <a:ea typeface="+mn-ea"/>
              <a:cs typeface="Segoe UI Semibold" panose="020B0702040204020203" pitchFamily="34" charset="0"/>
            </a:rPr>
            <a:t>Optional</a:t>
          </a:r>
        </a:p>
      </dsp:txBody>
      <dsp:txXfrm>
        <a:off x="71364" y="3698504"/>
        <a:ext cx="3041825" cy="1298694"/>
      </dsp:txXfrm>
    </dsp:sp>
  </dsp:spTree>
</dsp:drawing>
</file>

<file path=ppt/diagrams/layout1.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vList6">
  <dgm:title val=""/>
  <dgm:desc val=""/>
  <dgm:catLst>
    <dgm:cat type="process" pri="22000"/>
    <dgm:cat type="list" pri="1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dgm:varLst>
    <dgm:alg type="lin">
      <dgm:param type="linDir" val="fromT"/>
    </dgm:alg>
    <dgm:shape xmlns:r="http://schemas.openxmlformats.org/officeDocument/2006/relationships" r:blip="">
      <dgm:adjLst/>
    </dgm:shape>
    <dgm:presOf/>
    <dgm:constrLst>
      <dgm:constr type="w" for="ch" forName="linNode" refType="w"/>
      <dgm:constr type="h" for="ch" forName="linNode" refType="h"/>
      <dgm:constr type="h" for="ch" forName="spacing" refType="h" refFor="ch" refForName="linNode" fact="0.1"/>
      <dgm:constr type="primFontSz" for="des" forName="parentShp" op="equ" val="65"/>
      <dgm:constr type="primFontSz" for="des" forName="childShp" op="equ" val="65"/>
    </dgm:constrLst>
    <dgm:ruleLst/>
    <dgm:forEach name="Name1" axis="ch" ptType="node">
      <dgm:layoutNode name="linNode">
        <dgm:choose name="Name2">
          <dgm:if name="Name3" func="var" arg="dir" op="equ" val="norm">
            <dgm:alg type="lin">
              <dgm:param type="linDir" val="fromL"/>
            </dgm:alg>
          </dgm:if>
          <dgm:else name="Name4">
            <dgm:alg type="lin">
              <dgm:param type="linDir" val="fromR"/>
            </dgm:alg>
          </dgm:else>
        </dgm:choose>
        <dgm:shape xmlns:r="http://schemas.openxmlformats.org/officeDocument/2006/relationships" r:blip="">
          <dgm:adjLst/>
        </dgm:shape>
        <dgm:presOf/>
        <dgm:choose name="Name5">
          <dgm:if name="Name6" func="var" arg="dir" op="equ" val="norm">
            <dgm:constrLst>
              <dgm:constr type="w" for="ch" forName="parentShp" refType="w" fact="0.4"/>
              <dgm:constr type="h" for="ch" forName="parentShp" refType="h"/>
              <dgm:constr type="w" for="ch" forName="childShp" refType="w" fact="0.6"/>
              <dgm:constr type="h" for="ch" forName="childShp" refType="h" refFor="ch" refForName="parentShp"/>
            </dgm:constrLst>
          </dgm:if>
          <dgm:else name="Name7">
            <dgm:constrLst>
              <dgm:constr type="w" for="ch" forName="parentShp" refType="w" fact="0.4"/>
              <dgm:constr type="h" for="ch" forName="parentShp" refType="h"/>
              <dgm:constr type="w" for="ch" forName="childShp" refType="w" fact="0.6"/>
              <dgm:constr type="h" for="ch" forName="childShp" refType="h" refFor="ch" refForName="parentShp"/>
            </dgm:constrLst>
          </dgm:else>
        </dgm:choose>
        <dgm:ruleLst/>
        <dgm:layoutNode name="parentShp" styleLbl="node1">
          <dgm:varLst>
            <dgm:bulletEnabled val="1"/>
          </dgm:varLst>
          <dgm:alg type="tx"/>
          <dgm:shape xmlns:r="http://schemas.openxmlformats.org/officeDocument/2006/relationships" type="roundRect" r:blip="">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layoutNode name="childShp" styleLbl="bgAccFollowNode1">
          <dgm:varLst>
            <dgm:bulletEnabled val="1"/>
          </dgm:varLst>
          <dgm:alg type="tx">
            <dgm:param type="stBulletLvl" val="1"/>
          </dgm:alg>
          <dgm:choose name="Name8">
            <dgm:if name="Name9" func="var" arg="dir" op="equ" val="norm">
              <dgm:shape xmlns:r="http://schemas.openxmlformats.org/officeDocument/2006/relationships" type="rightArrow" r:blip="" zOrderOff="-2">
                <dgm:adjLst>
                  <dgm:adj idx="1" val="0.75"/>
                </dgm:adjLst>
              </dgm:shape>
            </dgm:if>
            <dgm:else name="Name10">
              <dgm:shape xmlns:r="http://schemas.openxmlformats.org/officeDocument/2006/relationships" rot="180" type="rightArrow" r:blip="" zOrderOff="-2">
                <dgm:adjLst>
                  <dgm:adj idx="1" val="0.75"/>
                </dgm:adjLst>
              </dgm:shape>
            </dgm:else>
          </dgm:choose>
          <dgm:presOf axis="des" ptType="node"/>
          <dgm:constrLst>
            <dgm:constr type="secFontSz" refType="primFontSz"/>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layoutNode>
      <dgm:forEach name="Name11" axis="followSib" ptType="sibTrans" cnt="1">
        <dgm:layoutNode name="spacing">
          <dgm:alg type="sp"/>
          <dgm:shape xmlns:r="http://schemas.openxmlformats.org/officeDocument/2006/relationships" r:blip="">
            <dgm:adjLst/>
          </dgm:shape>
          <dgm:presO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vList6">
  <dgm:title val=""/>
  <dgm:desc val=""/>
  <dgm:catLst>
    <dgm:cat type="process" pri="22000"/>
    <dgm:cat type="list" pri="1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dgm:varLst>
    <dgm:alg type="lin">
      <dgm:param type="linDir" val="fromT"/>
    </dgm:alg>
    <dgm:shape xmlns:r="http://schemas.openxmlformats.org/officeDocument/2006/relationships" r:blip="">
      <dgm:adjLst/>
    </dgm:shape>
    <dgm:presOf/>
    <dgm:constrLst>
      <dgm:constr type="w" for="ch" forName="linNode" refType="w"/>
      <dgm:constr type="h" for="ch" forName="linNode" refType="h"/>
      <dgm:constr type="h" for="ch" forName="spacing" refType="h" refFor="ch" refForName="linNode" fact="0.1"/>
      <dgm:constr type="primFontSz" for="des" forName="parentShp" op="equ" val="65"/>
      <dgm:constr type="primFontSz" for="des" forName="childShp" op="equ" val="65"/>
    </dgm:constrLst>
    <dgm:ruleLst/>
    <dgm:forEach name="Name1" axis="ch" ptType="node">
      <dgm:layoutNode name="linNode">
        <dgm:choose name="Name2">
          <dgm:if name="Name3" func="var" arg="dir" op="equ" val="norm">
            <dgm:alg type="lin">
              <dgm:param type="linDir" val="fromL"/>
            </dgm:alg>
          </dgm:if>
          <dgm:else name="Name4">
            <dgm:alg type="lin">
              <dgm:param type="linDir" val="fromR"/>
            </dgm:alg>
          </dgm:else>
        </dgm:choose>
        <dgm:shape xmlns:r="http://schemas.openxmlformats.org/officeDocument/2006/relationships" r:blip="">
          <dgm:adjLst/>
        </dgm:shape>
        <dgm:presOf/>
        <dgm:choose name="Name5">
          <dgm:if name="Name6" func="var" arg="dir" op="equ" val="norm">
            <dgm:constrLst>
              <dgm:constr type="w" for="ch" forName="parentShp" refType="w" fact="0.4"/>
              <dgm:constr type="h" for="ch" forName="parentShp" refType="h"/>
              <dgm:constr type="w" for="ch" forName="childShp" refType="w" fact="0.6"/>
              <dgm:constr type="h" for="ch" forName="childShp" refType="h" refFor="ch" refForName="parentShp"/>
            </dgm:constrLst>
          </dgm:if>
          <dgm:else name="Name7">
            <dgm:constrLst>
              <dgm:constr type="w" for="ch" forName="parentShp" refType="w" fact="0.4"/>
              <dgm:constr type="h" for="ch" forName="parentShp" refType="h"/>
              <dgm:constr type="w" for="ch" forName="childShp" refType="w" fact="0.6"/>
              <dgm:constr type="h" for="ch" forName="childShp" refType="h" refFor="ch" refForName="parentShp"/>
            </dgm:constrLst>
          </dgm:else>
        </dgm:choose>
        <dgm:ruleLst/>
        <dgm:layoutNode name="parentShp" styleLbl="node1">
          <dgm:varLst>
            <dgm:bulletEnabled val="1"/>
          </dgm:varLst>
          <dgm:alg type="tx"/>
          <dgm:shape xmlns:r="http://schemas.openxmlformats.org/officeDocument/2006/relationships" type="roundRect" r:blip="">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layoutNode name="childShp" styleLbl="bgAccFollowNode1">
          <dgm:varLst>
            <dgm:bulletEnabled val="1"/>
          </dgm:varLst>
          <dgm:alg type="tx">
            <dgm:param type="stBulletLvl" val="1"/>
          </dgm:alg>
          <dgm:choose name="Name8">
            <dgm:if name="Name9" func="var" arg="dir" op="equ" val="norm">
              <dgm:shape xmlns:r="http://schemas.openxmlformats.org/officeDocument/2006/relationships" type="rightArrow" r:blip="" zOrderOff="-2">
                <dgm:adjLst>
                  <dgm:adj idx="1" val="0.75"/>
                </dgm:adjLst>
              </dgm:shape>
            </dgm:if>
            <dgm:else name="Name10">
              <dgm:shape xmlns:r="http://schemas.openxmlformats.org/officeDocument/2006/relationships" rot="180" type="rightArrow" r:blip="" zOrderOff="-2">
                <dgm:adjLst>
                  <dgm:adj idx="1" val="0.75"/>
                </dgm:adjLst>
              </dgm:shape>
            </dgm:else>
          </dgm:choose>
          <dgm:presOf axis="des" ptType="node"/>
          <dgm:constrLst>
            <dgm:constr type="secFontSz" refType="primFontSz"/>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layoutNode>
      <dgm:forEach name="Name11" axis="followSib" ptType="sibTrans" cnt="1">
        <dgm:layoutNode name="spacing">
          <dgm:alg type="sp"/>
          <dgm:shape xmlns:r="http://schemas.openxmlformats.org/officeDocument/2006/relationships" r:blip="">
            <dgm:adjLst/>
          </dgm:shape>
          <dgm:presOf/>
          <dgm:constrLst/>
          <dgm:ruleLst/>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vList6">
  <dgm:title val=""/>
  <dgm:desc val=""/>
  <dgm:catLst>
    <dgm:cat type="process" pri="22000"/>
    <dgm:cat type="list" pri="1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dgm:varLst>
    <dgm:alg type="lin">
      <dgm:param type="linDir" val="fromT"/>
    </dgm:alg>
    <dgm:shape xmlns:r="http://schemas.openxmlformats.org/officeDocument/2006/relationships" r:blip="">
      <dgm:adjLst/>
    </dgm:shape>
    <dgm:presOf/>
    <dgm:constrLst>
      <dgm:constr type="w" for="ch" forName="linNode" refType="w"/>
      <dgm:constr type="h" for="ch" forName="linNode" refType="h"/>
      <dgm:constr type="h" for="ch" forName="spacing" refType="h" refFor="ch" refForName="linNode" fact="0.1"/>
      <dgm:constr type="primFontSz" for="des" forName="parentShp" op="equ" val="65"/>
      <dgm:constr type="primFontSz" for="des" forName="childShp" op="equ" val="65"/>
    </dgm:constrLst>
    <dgm:ruleLst/>
    <dgm:forEach name="Name1" axis="ch" ptType="node">
      <dgm:layoutNode name="linNode">
        <dgm:choose name="Name2">
          <dgm:if name="Name3" func="var" arg="dir" op="equ" val="norm">
            <dgm:alg type="lin">
              <dgm:param type="linDir" val="fromL"/>
            </dgm:alg>
          </dgm:if>
          <dgm:else name="Name4">
            <dgm:alg type="lin">
              <dgm:param type="linDir" val="fromR"/>
            </dgm:alg>
          </dgm:else>
        </dgm:choose>
        <dgm:shape xmlns:r="http://schemas.openxmlformats.org/officeDocument/2006/relationships" r:blip="">
          <dgm:adjLst/>
        </dgm:shape>
        <dgm:presOf/>
        <dgm:choose name="Name5">
          <dgm:if name="Name6" func="var" arg="dir" op="equ" val="norm">
            <dgm:constrLst>
              <dgm:constr type="w" for="ch" forName="parentShp" refType="w" fact="0.4"/>
              <dgm:constr type="h" for="ch" forName="parentShp" refType="h"/>
              <dgm:constr type="w" for="ch" forName="childShp" refType="w" fact="0.6"/>
              <dgm:constr type="h" for="ch" forName="childShp" refType="h" refFor="ch" refForName="parentShp"/>
            </dgm:constrLst>
          </dgm:if>
          <dgm:else name="Name7">
            <dgm:constrLst>
              <dgm:constr type="w" for="ch" forName="parentShp" refType="w" fact="0.4"/>
              <dgm:constr type="h" for="ch" forName="parentShp" refType="h"/>
              <dgm:constr type="w" for="ch" forName="childShp" refType="w" fact="0.6"/>
              <dgm:constr type="h" for="ch" forName="childShp" refType="h" refFor="ch" refForName="parentShp"/>
            </dgm:constrLst>
          </dgm:else>
        </dgm:choose>
        <dgm:ruleLst/>
        <dgm:layoutNode name="parentShp" styleLbl="node1">
          <dgm:varLst>
            <dgm:bulletEnabled val="1"/>
          </dgm:varLst>
          <dgm:alg type="tx"/>
          <dgm:shape xmlns:r="http://schemas.openxmlformats.org/officeDocument/2006/relationships" type="roundRect" r:blip="">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layoutNode name="childShp" styleLbl="bgAccFollowNode1">
          <dgm:varLst>
            <dgm:bulletEnabled val="1"/>
          </dgm:varLst>
          <dgm:alg type="tx">
            <dgm:param type="stBulletLvl" val="1"/>
          </dgm:alg>
          <dgm:choose name="Name8">
            <dgm:if name="Name9" func="var" arg="dir" op="equ" val="norm">
              <dgm:shape xmlns:r="http://schemas.openxmlformats.org/officeDocument/2006/relationships" type="rightArrow" r:blip="" zOrderOff="-2">
                <dgm:adjLst>
                  <dgm:adj idx="1" val="0.75"/>
                </dgm:adjLst>
              </dgm:shape>
            </dgm:if>
            <dgm:else name="Name10">
              <dgm:shape xmlns:r="http://schemas.openxmlformats.org/officeDocument/2006/relationships" rot="180" type="rightArrow" r:blip="" zOrderOff="-2">
                <dgm:adjLst>
                  <dgm:adj idx="1" val="0.75"/>
                </dgm:adjLst>
              </dgm:shape>
            </dgm:else>
          </dgm:choose>
          <dgm:presOf axis="des" ptType="node"/>
          <dgm:constrLst>
            <dgm:constr type="secFontSz" refType="primFontSz"/>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layoutNode>
      <dgm:forEach name="Name11" axis="followSib" ptType="sibTrans" cnt="1">
        <dgm:layoutNode name="spacing">
          <dgm:alg type="sp"/>
          <dgm:shape xmlns:r="http://schemas.openxmlformats.org/officeDocument/2006/relationships" r:blip="">
            <dgm:adjLst/>
          </dgm:shape>
          <dgm:presOf/>
          <dgm:constrLst/>
          <dgm:ruleLst/>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5/8/layout/vList6">
  <dgm:title val=""/>
  <dgm:desc val=""/>
  <dgm:catLst>
    <dgm:cat type="process" pri="22000"/>
    <dgm:cat type="list" pri="1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dgm:varLst>
    <dgm:alg type="lin">
      <dgm:param type="linDir" val="fromT"/>
    </dgm:alg>
    <dgm:shape xmlns:r="http://schemas.openxmlformats.org/officeDocument/2006/relationships" r:blip="">
      <dgm:adjLst/>
    </dgm:shape>
    <dgm:presOf/>
    <dgm:constrLst>
      <dgm:constr type="w" for="ch" forName="linNode" refType="w"/>
      <dgm:constr type="h" for="ch" forName="linNode" refType="h"/>
      <dgm:constr type="h" for="ch" forName="spacing" refType="h" refFor="ch" refForName="linNode" fact="0.1"/>
      <dgm:constr type="primFontSz" for="des" forName="parentShp" op="equ" val="65"/>
      <dgm:constr type="primFontSz" for="des" forName="childShp" op="equ" val="65"/>
    </dgm:constrLst>
    <dgm:ruleLst/>
    <dgm:forEach name="Name1" axis="ch" ptType="node">
      <dgm:layoutNode name="linNode">
        <dgm:choose name="Name2">
          <dgm:if name="Name3" func="var" arg="dir" op="equ" val="norm">
            <dgm:alg type="lin">
              <dgm:param type="linDir" val="fromL"/>
            </dgm:alg>
          </dgm:if>
          <dgm:else name="Name4">
            <dgm:alg type="lin">
              <dgm:param type="linDir" val="fromR"/>
            </dgm:alg>
          </dgm:else>
        </dgm:choose>
        <dgm:shape xmlns:r="http://schemas.openxmlformats.org/officeDocument/2006/relationships" r:blip="">
          <dgm:adjLst/>
        </dgm:shape>
        <dgm:presOf/>
        <dgm:choose name="Name5">
          <dgm:if name="Name6" func="var" arg="dir" op="equ" val="norm">
            <dgm:constrLst>
              <dgm:constr type="w" for="ch" forName="parentShp" refType="w" fact="0.4"/>
              <dgm:constr type="h" for="ch" forName="parentShp" refType="h"/>
              <dgm:constr type="w" for="ch" forName="childShp" refType="w" fact="0.6"/>
              <dgm:constr type="h" for="ch" forName="childShp" refType="h" refFor="ch" refForName="parentShp"/>
            </dgm:constrLst>
          </dgm:if>
          <dgm:else name="Name7">
            <dgm:constrLst>
              <dgm:constr type="w" for="ch" forName="parentShp" refType="w" fact="0.4"/>
              <dgm:constr type="h" for="ch" forName="parentShp" refType="h"/>
              <dgm:constr type="w" for="ch" forName="childShp" refType="w" fact="0.6"/>
              <dgm:constr type="h" for="ch" forName="childShp" refType="h" refFor="ch" refForName="parentShp"/>
            </dgm:constrLst>
          </dgm:else>
        </dgm:choose>
        <dgm:ruleLst/>
        <dgm:layoutNode name="parentShp" styleLbl="node1">
          <dgm:varLst>
            <dgm:bulletEnabled val="1"/>
          </dgm:varLst>
          <dgm:alg type="tx"/>
          <dgm:shape xmlns:r="http://schemas.openxmlformats.org/officeDocument/2006/relationships" type="roundRect" r:blip="">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layoutNode name="childShp" styleLbl="bgAccFollowNode1">
          <dgm:varLst>
            <dgm:bulletEnabled val="1"/>
          </dgm:varLst>
          <dgm:alg type="tx">
            <dgm:param type="stBulletLvl" val="1"/>
          </dgm:alg>
          <dgm:choose name="Name8">
            <dgm:if name="Name9" func="var" arg="dir" op="equ" val="norm">
              <dgm:shape xmlns:r="http://schemas.openxmlformats.org/officeDocument/2006/relationships" type="rightArrow" r:blip="" zOrderOff="-2">
                <dgm:adjLst>
                  <dgm:adj idx="1" val="0.75"/>
                </dgm:adjLst>
              </dgm:shape>
            </dgm:if>
            <dgm:else name="Name10">
              <dgm:shape xmlns:r="http://schemas.openxmlformats.org/officeDocument/2006/relationships" rot="180" type="rightArrow" r:blip="" zOrderOff="-2">
                <dgm:adjLst>
                  <dgm:adj idx="1" val="0.75"/>
                </dgm:adjLst>
              </dgm:shape>
            </dgm:else>
          </dgm:choose>
          <dgm:presOf axis="des" ptType="node"/>
          <dgm:constrLst>
            <dgm:constr type="secFontSz" refType="primFontSz"/>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layoutNode>
      <dgm:forEach name="Name11" axis="followSib" ptType="sibTrans" cnt="1">
        <dgm:layoutNode name="spacing">
          <dgm:alg type="sp"/>
          <dgm:shape xmlns:r="http://schemas.openxmlformats.org/officeDocument/2006/relationships" r:blip="">
            <dgm:adjLst/>
          </dgm:shape>
          <dgm:presOf/>
          <dgm:constrLst/>
          <dgm:ruleLst/>
        </dgm:layoutNode>
      </dgm:forEach>
    </dgm:forEach>
  </dgm:layoutNode>
</dgm:layoutDef>
</file>

<file path=ppt/diagrams/layout6.xml><?xml version="1.0" encoding="utf-8"?>
<dgm:layoutDef xmlns:dgm="http://schemas.openxmlformats.org/drawingml/2006/diagram" xmlns:a="http://schemas.openxmlformats.org/drawingml/2006/main" uniqueId="urn:microsoft.com/office/officeart/2005/8/layout/vList6">
  <dgm:title val=""/>
  <dgm:desc val=""/>
  <dgm:catLst>
    <dgm:cat type="process" pri="22000"/>
    <dgm:cat type="list" pri="1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dgm:varLst>
    <dgm:alg type="lin">
      <dgm:param type="linDir" val="fromT"/>
    </dgm:alg>
    <dgm:shape xmlns:r="http://schemas.openxmlformats.org/officeDocument/2006/relationships" r:blip="">
      <dgm:adjLst/>
    </dgm:shape>
    <dgm:presOf/>
    <dgm:constrLst>
      <dgm:constr type="w" for="ch" forName="linNode" refType="w"/>
      <dgm:constr type="h" for="ch" forName="linNode" refType="h"/>
      <dgm:constr type="h" for="ch" forName="spacing" refType="h" refFor="ch" refForName="linNode" fact="0.1"/>
      <dgm:constr type="primFontSz" for="des" forName="parentShp" op="equ" val="65"/>
      <dgm:constr type="primFontSz" for="des" forName="childShp" op="equ" val="65"/>
    </dgm:constrLst>
    <dgm:ruleLst/>
    <dgm:forEach name="Name1" axis="ch" ptType="node">
      <dgm:layoutNode name="linNode">
        <dgm:choose name="Name2">
          <dgm:if name="Name3" func="var" arg="dir" op="equ" val="norm">
            <dgm:alg type="lin">
              <dgm:param type="linDir" val="fromL"/>
            </dgm:alg>
          </dgm:if>
          <dgm:else name="Name4">
            <dgm:alg type="lin">
              <dgm:param type="linDir" val="fromR"/>
            </dgm:alg>
          </dgm:else>
        </dgm:choose>
        <dgm:shape xmlns:r="http://schemas.openxmlformats.org/officeDocument/2006/relationships" r:blip="">
          <dgm:adjLst/>
        </dgm:shape>
        <dgm:presOf/>
        <dgm:choose name="Name5">
          <dgm:if name="Name6" func="var" arg="dir" op="equ" val="norm">
            <dgm:constrLst>
              <dgm:constr type="w" for="ch" forName="parentShp" refType="w" fact="0.4"/>
              <dgm:constr type="h" for="ch" forName="parentShp" refType="h"/>
              <dgm:constr type="w" for="ch" forName="childShp" refType="w" fact="0.6"/>
              <dgm:constr type="h" for="ch" forName="childShp" refType="h" refFor="ch" refForName="parentShp"/>
            </dgm:constrLst>
          </dgm:if>
          <dgm:else name="Name7">
            <dgm:constrLst>
              <dgm:constr type="w" for="ch" forName="parentShp" refType="w" fact="0.4"/>
              <dgm:constr type="h" for="ch" forName="parentShp" refType="h"/>
              <dgm:constr type="w" for="ch" forName="childShp" refType="w" fact="0.6"/>
              <dgm:constr type="h" for="ch" forName="childShp" refType="h" refFor="ch" refForName="parentShp"/>
            </dgm:constrLst>
          </dgm:else>
        </dgm:choose>
        <dgm:ruleLst/>
        <dgm:layoutNode name="parentShp" styleLbl="node1">
          <dgm:varLst>
            <dgm:bulletEnabled val="1"/>
          </dgm:varLst>
          <dgm:alg type="tx"/>
          <dgm:shape xmlns:r="http://schemas.openxmlformats.org/officeDocument/2006/relationships" type="roundRect" r:blip="">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layoutNode name="childShp" styleLbl="bgAccFollowNode1">
          <dgm:varLst>
            <dgm:bulletEnabled val="1"/>
          </dgm:varLst>
          <dgm:alg type="tx">
            <dgm:param type="stBulletLvl" val="1"/>
          </dgm:alg>
          <dgm:choose name="Name8">
            <dgm:if name="Name9" func="var" arg="dir" op="equ" val="norm">
              <dgm:shape xmlns:r="http://schemas.openxmlformats.org/officeDocument/2006/relationships" type="rightArrow" r:blip="" zOrderOff="-2">
                <dgm:adjLst>
                  <dgm:adj idx="1" val="0.75"/>
                </dgm:adjLst>
              </dgm:shape>
            </dgm:if>
            <dgm:else name="Name10">
              <dgm:shape xmlns:r="http://schemas.openxmlformats.org/officeDocument/2006/relationships" rot="180" type="rightArrow" r:blip="" zOrderOff="-2">
                <dgm:adjLst>
                  <dgm:adj idx="1" val="0.75"/>
                </dgm:adjLst>
              </dgm:shape>
            </dgm:else>
          </dgm:choose>
          <dgm:presOf axis="des" ptType="node"/>
          <dgm:constrLst>
            <dgm:constr type="secFontSz" refType="primFontSz"/>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layoutNode>
      <dgm:forEach name="Name11" axis="followSib" ptType="sibTrans" cnt="1">
        <dgm:layoutNode name="spacing">
          <dgm:alg type="sp"/>
          <dgm:shape xmlns:r="http://schemas.openxmlformats.org/officeDocument/2006/relationships" r:blip="">
            <dgm:adjLst/>
          </dgm:shape>
          <dgm:presOf/>
          <dgm:constrLst/>
          <dgm:ruleLst/>
        </dgm:layoutNode>
      </dgm:forEach>
    </dgm:forEach>
  </dgm:layoutNode>
</dgm:layoutDef>
</file>

<file path=ppt/diagrams/layout7.xml><?xml version="1.0" encoding="utf-8"?>
<dgm:layoutDef xmlns:dgm="http://schemas.openxmlformats.org/drawingml/2006/diagram" xmlns:a="http://schemas.openxmlformats.org/drawingml/2006/main" uniqueId="urn:microsoft.com/office/officeart/2005/8/layout/vList6">
  <dgm:title val=""/>
  <dgm:desc val=""/>
  <dgm:catLst>
    <dgm:cat type="process" pri="22000"/>
    <dgm:cat type="list" pri="1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dgm:varLst>
    <dgm:alg type="lin">
      <dgm:param type="linDir" val="fromT"/>
    </dgm:alg>
    <dgm:shape xmlns:r="http://schemas.openxmlformats.org/officeDocument/2006/relationships" r:blip="">
      <dgm:adjLst/>
    </dgm:shape>
    <dgm:presOf/>
    <dgm:constrLst>
      <dgm:constr type="w" for="ch" forName="linNode" refType="w"/>
      <dgm:constr type="h" for="ch" forName="linNode" refType="h"/>
      <dgm:constr type="h" for="ch" forName="spacing" refType="h" refFor="ch" refForName="linNode" fact="0.1"/>
      <dgm:constr type="primFontSz" for="des" forName="parentShp" op="equ" val="65"/>
      <dgm:constr type="primFontSz" for="des" forName="childShp" op="equ" val="65"/>
    </dgm:constrLst>
    <dgm:ruleLst/>
    <dgm:forEach name="Name1" axis="ch" ptType="node">
      <dgm:layoutNode name="linNode">
        <dgm:choose name="Name2">
          <dgm:if name="Name3" func="var" arg="dir" op="equ" val="norm">
            <dgm:alg type="lin">
              <dgm:param type="linDir" val="fromL"/>
            </dgm:alg>
          </dgm:if>
          <dgm:else name="Name4">
            <dgm:alg type="lin">
              <dgm:param type="linDir" val="fromR"/>
            </dgm:alg>
          </dgm:else>
        </dgm:choose>
        <dgm:shape xmlns:r="http://schemas.openxmlformats.org/officeDocument/2006/relationships" r:blip="">
          <dgm:adjLst/>
        </dgm:shape>
        <dgm:presOf/>
        <dgm:choose name="Name5">
          <dgm:if name="Name6" func="var" arg="dir" op="equ" val="norm">
            <dgm:constrLst>
              <dgm:constr type="w" for="ch" forName="parentShp" refType="w" fact="0.4"/>
              <dgm:constr type="h" for="ch" forName="parentShp" refType="h"/>
              <dgm:constr type="w" for="ch" forName="childShp" refType="w" fact="0.6"/>
              <dgm:constr type="h" for="ch" forName="childShp" refType="h" refFor="ch" refForName="parentShp"/>
            </dgm:constrLst>
          </dgm:if>
          <dgm:else name="Name7">
            <dgm:constrLst>
              <dgm:constr type="w" for="ch" forName="parentShp" refType="w" fact="0.4"/>
              <dgm:constr type="h" for="ch" forName="parentShp" refType="h"/>
              <dgm:constr type="w" for="ch" forName="childShp" refType="w" fact="0.6"/>
              <dgm:constr type="h" for="ch" forName="childShp" refType="h" refFor="ch" refForName="parentShp"/>
            </dgm:constrLst>
          </dgm:else>
        </dgm:choose>
        <dgm:ruleLst/>
        <dgm:layoutNode name="parentShp" styleLbl="node1">
          <dgm:varLst>
            <dgm:bulletEnabled val="1"/>
          </dgm:varLst>
          <dgm:alg type="tx"/>
          <dgm:shape xmlns:r="http://schemas.openxmlformats.org/officeDocument/2006/relationships" type="roundRect" r:blip="">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layoutNode name="childShp" styleLbl="bgAccFollowNode1">
          <dgm:varLst>
            <dgm:bulletEnabled val="1"/>
          </dgm:varLst>
          <dgm:alg type="tx">
            <dgm:param type="stBulletLvl" val="1"/>
          </dgm:alg>
          <dgm:choose name="Name8">
            <dgm:if name="Name9" func="var" arg="dir" op="equ" val="norm">
              <dgm:shape xmlns:r="http://schemas.openxmlformats.org/officeDocument/2006/relationships" type="rightArrow" r:blip="" zOrderOff="-2">
                <dgm:adjLst>
                  <dgm:adj idx="1" val="0.75"/>
                </dgm:adjLst>
              </dgm:shape>
            </dgm:if>
            <dgm:else name="Name10">
              <dgm:shape xmlns:r="http://schemas.openxmlformats.org/officeDocument/2006/relationships" rot="180" type="rightArrow" r:blip="" zOrderOff="-2">
                <dgm:adjLst>
                  <dgm:adj idx="1" val="0.75"/>
                </dgm:adjLst>
              </dgm:shape>
            </dgm:else>
          </dgm:choose>
          <dgm:presOf axis="des" ptType="node"/>
          <dgm:constrLst>
            <dgm:constr type="secFontSz" refType="primFontSz"/>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layoutNode>
      <dgm:forEach name="Name11" axis="followSib" ptType="sibTrans" cnt="1">
        <dgm:layoutNode name="spacing">
          <dgm:alg type="sp"/>
          <dgm:shape xmlns:r="http://schemas.openxmlformats.org/officeDocument/2006/relationships" r:blip="">
            <dgm:adjLst/>
          </dgm:shape>
          <dgm:presOf/>
          <dgm:constrLst/>
          <dgm:ruleLst/>
        </dgm:layoutNode>
      </dgm:forEach>
    </dgm:forEach>
  </dgm:layoutNode>
</dgm:layoutDef>
</file>

<file path=ppt/diagrams/layout8.xml><?xml version="1.0" encoding="utf-8"?>
<dgm:layoutDef xmlns:dgm="http://schemas.openxmlformats.org/drawingml/2006/diagram" xmlns:a="http://schemas.openxmlformats.org/drawingml/2006/main" uniqueId="urn:microsoft.com/office/officeart/2005/8/layout/vList6">
  <dgm:title val=""/>
  <dgm:desc val=""/>
  <dgm:catLst>
    <dgm:cat type="process" pri="22000"/>
    <dgm:cat type="list" pri="1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dgm:varLst>
    <dgm:alg type="lin">
      <dgm:param type="linDir" val="fromT"/>
    </dgm:alg>
    <dgm:shape xmlns:r="http://schemas.openxmlformats.org/officeDocument/2006/relationships" r:blip="">
      <dgm:adjLst/>
    </dgm:shape>
    <dgm:presOf/>
    <dgm:constrLst>
      <dgm:constr type="w" for="ch" forName="linNode" refType="w"/>
      <dgm:constr type="h" for="ch" forName="linNode" refType="h"/>
      <dgm:constr type="h" for="ch" forName="spacing" refType="h" refFor="ch" refForName="linNode" fact="0.1"/>
      <dgm:constr type="primFontSz" for="des" forName="parentShp" op="equ" val="65"/>
      <dgm:constr type="primFontSz" for="des" forName="childShp" op="equ" val="65"/>
    </dgm:constrLst>
    <dgm:ruleLst/>
    <dgm:forEach name="Name1" axis="ch" ptType="node">
      <dgm:layoutNode name="linNode">
        <dgm:choose name="Name2">
          <dgm:if name="Name3" func="var" arg="dir" op="equ" val="norm">
            <dgm:alg type="lin">
              <dgm:param type="linDir" val="fromL"/>
            </dgm:alg>
          </dgm:if>
          <dgm:else name="Name4">
            <dgm:alg type="lin">
              <dgm:param type="linDir" val="fromR"/>
            </dgm:alg>
          </dgm:else>
        </dgm:choose>
        <dgm:shape xmlns:r="http://schemas.openxmlformats.org/officeDocument/2006/relationships" r:blip="">
          <dgm:adjLst/>
        </dgm:shape>
        <dgm:presOf/>
        <dgm:choose name="Name5">
          <dgm:if name="Name6" func="var" arg="dir" op="equ" val="norm">
            <dgm:constrLst>
              <dgm:constr type="w" for="ch" forName="parentShp" refType="w" fact="0.4"/>
              <dgm:constr type="h" for="ch" forName="parentShp" refType="h"/>
              <dgm:constr type="w" for="ch" forName="childShp" refType="w" fact="0.6"/>
              <dgm:constr type="h" for="ch" forName="childShp" refType="h" refFor="ch" refForName="parentShp"/>
            </dgm:constrLst>
          </dgm:if>
          <dgm:else name="Name7">
            <dgm:constrLst>
              <dgm:constr type="w" for="ch" forName="parentShp" refType="w" fact="0.4"/>
              <dgm:constr type="h" for="ch" forName="parentShp" refType="h"/>
              <dgm:constr type="w" for="ch" forName="childShp" refType="w" fact="0.6"/>
              <dgm:constr type="h" for="ch" forName="childShp" refType="h" refFor="ch" refForName="parentShp"/>
            </dgm:constrLst>
          </dgm:else>
        </dgm:choose>
        <dgm:ruleLst/>
        <dgm:layoutNode name="parentShp" styleLbl="node1">
          <dgm:varLst>
            <dgm:bulletEnabled val="1"/>
          </dgm:varLst>
          <dgm:alg type="tx"/>
          <dgm:shape xmlns:r="http://schemas.openxmlformats.org/officeDocument/2006/relationships" type="roundRect" r:blip="">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layoutNode name="childShp" styleLbl="bgAccFollowNode1">
          <dgm:varLst>
            <dgm:bulletEnabled val="1"/>
          </dgm:varLst>
          <dgm:alg type="tx">
            <dgm:param type="stBulletLvl" val="1"/>
          </dgm:alg>
          <dgm:choose name="Name8">
            <dgm:if name="Name9" func="var" arg="dir" op="equ" val="norm">
              <dgm:shape xmlns:r="http://schemas.openxmlformats.org/officeDocument/2006/relationships" type="rightArrow" r:blip="" zOrderOff="-2">
                <dgm:adjLst>
                  <dgm:adj idx="1" val="0.75"/>
                </dgm:adjLst>
              </dgm:shape>
            </dgm:if>
            <dgm:else name="Name10">
              <dgm:shape xmlns:r="http://schemas.openxmlformats.org/officeDocument/2006/relationships" rot="180" type="rightArrow" r:blip="" zOrderOff="-2">
                <dgm:adjLst>
                  <dgm:adj idx="1" val="0.75"/>
                </dgm:adjLst>
              </dgm:shape>
            </dgm:else>
          </dgm:choose>
          <dgm:presOf axis="des" ptType="node"/>
          <dgm:constrLst>
            <dgm:constr type="secFontSz" refType="primFontSz"/>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layoutNode>
      <dgm:forEach name="Name11" axis="followSib" ptType="sibTrans" cnt="1">
        <dgm:layoutNode name="spacing">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5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1.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574"/>
            <a:ext cx="2971800" cy="457200"/>
          </a:xfrm>
          <a:prstGeom prst="rect">
            <a:avLst/>
          </a:prstGeom>
        </p:spPr>
        <p:txBody>
          <a:bodyPr vert="horz" lIns="91440" tIns="45720" rIns="91440" bIns="45720" rtlCol="0"/>
          <a:lstStyle>
            <a:lvl1pPr algn="l">
              <a:defRPr sz="1200"/>
            </a:lvl1pPr>
          </a:lstStyle>
          <a:p>
            <a:endParaRPr lang="en-US" dirty="0">
              <a:latin typeface="Segoe UI" pitchFamily="34" charset="0"/>
            </a:endParaRP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8C8D045D-9A66-44E7-900A-FC6D0BD4E54A}" type="datetime8">
              <a:rPr lang="en-US" smtClean="0">
                <a:latin typeface="Segoe UI" pitchFamily="34" charset="0"/>
              </a:rPr>
              <a:t>3/22/2018 3:03 PM</a:t>
            </a:fld>
            <a:endParaRPr lang="en-US" dirty="0">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endParaRP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endParaRPr lang="en-US" dirty="0"/>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38EEC551-8CDA-4EB6-89BB-2A86C9F091C8}" type="datetime8">
              <a:rPr lang="en-US" smtClean="0"/>
              <a:t>3/22/2018 3:03 PM</a:t>
            </a:fld>
            <a:endParaRPr lang="en-US" dirty="0"/>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dirty="0"/>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32742" rtl="0" eaLnBrk="1" latinLnBrk="0" hangingPunct="1">
      <a:lnSpc>
        <a:spcPct val="90000"/>
      </a:lnSpc>
      <a:spcAft>
        <a:spcPts val="340"/>
      </a:spcAft>
      <a:defRPr sz="900" kern="1200">
        <a:solidFill>
          <a:schemeClr val="tx1"/>
        </a:solidFill>
        <a:latin typeface="Segoe UI Light" pitchFamily="34" charset="0"/>
        <a:ea typeface="+mn-ea"/>
        <a:cs typeface="+mn-cs"/>
      </a:defRPr>
    </a:lvl1pPr>
    <a:lvl2pPr marL="217262" indent="-107956"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2pPr>
    <a:lvl3pPr marL="334664"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3pPr>
    <a:lvl4pPr marL="492551" indent="-149789"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4pPr>
    <a:lvl5pPr marL="627496"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5pPr>
    <a:lvl6pPr marL="2331856" algn="l" defTabSz="932742" rtl="0" eaLnBrk="1" latinLnBrk="0" hangingPunct="1">
      <a:defRPr sz="1200" kern="1200">
        <a:solidFill>
          <a:schemeClr val="tx1"/>
        </a:solidFill>
        <a:latin typeface="+mn-lt"/>
        <a:ea typeface="+mn-ea"/>
        <a:cs typeface="+mn-cs"/>
      </a:defRPr>
    </a:lvl6pPr>
    <a:lvl7pPr marL="2798226" algn="l" defTabSz="932742" rtl="0" eaLnBrk="1" latinLnBrk="0" hangingPunct="1">
      <a:defRPr sz="1200" kern="1200">
        <a:solidFill>
          <a:schemeClr val="tx1"/>
        </a:solidFill>
        <a:latin typeface="+mn-lt"/>
        <a:ea typeface="+mn-ea"/>
        <a:cs typeface="+mn-cs"/>
      </a:defRPr>
    </a:lvl7pPr>
    <a:lvl8pPr marL="3264597" algn="l" defTabSz="932742" rtl="0" eaLnBrk="1" latinLnBrk="0" hangingPunct="1">
      <a:defRPr sz="1200" kern="1200">
        <a:solidFill>
          <a:schemeClr val="tx1"/>
        </a:solidFill>
        <a:latin typeface="+mn-lt"/>
        <a:ea typeface="+mn-ea"/>
        <a:cs typeface="+mn-cs"/>
      </a:defRPr>
    </a:lvl8pPr>
    <a:lvl9pPr marL="3730969" algn="l" defTabSz="9327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00.xml.rels><?xml version="1.0" encoding="UTF-8" standalone="yes"?>
<Relationships xmlns="http://schemas.openxmlformats.org/package/2006/relationships"><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_rels/notesSlide101.xml.rels><?xml version="1.0" encoding="UTF-8" standalone="yes"?>
<Relationships xmlns="http://schemas.openxmlformats.org/package/2006/relationships"><Relationship Id="rId2" Type="http://schemas.openxmlformats.org/officeDocument/2006/relationships/slide" Target="../slides/slide101.xml"/><Relationship Id="rId1" Type="http://schemas.openxmlformats.org/officeDocument/2006/relationships/notesMaster" Target="../notesMasters/notesMaster1.xml"/></Relationships>
</file>

<file path=ppt/notesSlides/_rels/notesSlide102.xml.rels><?xml version="1.0" encoding="UTF-8" standalone="yes"?>
<Relationships xmlns="http://schemas.openxmlformats.org/package/2006/relationships"><Relationship Id="rId2" Type="http://schemas.openxmlformats.org/officeDocument/2006/relationships/slide" Target="../slides/slide102.xml"/><Relationship Id="rId1" Type="http://schemas.openxmlformats.org/officeDocument/2006/relationships/notesMaster" Target="../notesMasters/notesMaster1.xml"/></Relationships>
</file>

<file path=ppt/notesSlides/_rels/notesSlide103.xml.rels><?xml version="1.0" encoding="UTF-8" standalone="yes"?>
<Relationships xmlns="http://schemas.openxmlformats.org/package/2006/relationships"><Relationship Id="rId2" Type="http://schemas.openxmlformats.org/officeDocument/2006/relationships/slide" Target="../slides/slide103.xml"/><Relationship Id="rId1" Type="http://schemas.openxmlformats.org/officeDocument/2006/relationships/notesMaster" Target="../notesMasters/notesMaster1.xml"/></Relationships>
</file>

<file path=ppt/notesSlides/_rels/notesSlide104.xml.rels><?xml version="1.0" encoding="UTF-8" standalone="yes"?>
<Relationships xmlns="http://schemas.openxmlformats.org/package/2006/relationships"><Relationship Id="rId2" Type="http://schemas.openxmlformats.org/officeDocument/2006/relationships/slide" Target="../slides/slide104.xml"/><Relationship Id="rId1" Type="http://schemas.openxmlformats.org/officeDocument/2006/relationships/notesMaster" Target="../notesMasters/notesMaster1.xml"/></Relationships>
</file>

<file path=ppt/notesSlides/_rels/notesSlide105.xml.rels><?xml version="1.0" encoding="UTF-8" standalone="yes"?>
<Relationships xmlns="http://schemas.openxmlformats.org/package/2006/relationships"><Relationship Id="rId2" Type="http://schemas.openxmlformats.org/officeDocument/2006/relationships/slide" Target="../slides/slide105.xml"/><Relationship Id="rId1" Type="http://schemas.openxmlformats.org/officeDocument/2006/relationships/notesMaster" Target="../notesMasters/notesMaster1.xml"/></Relationships>
</file>

<file path=ppt/notesSlides/_rels/notesSlide106.xml.rels><?xml version="1.0" encoding="UTF-8" standalone="yes"?>
<Relationships xmlns="http://schemas.openxmlformats.org/package/2006/relationships"><Relationship Id="rId2" Type="http://schemas.openxmlformats.org/officeDocument/2006/relationships/slide" Target="../slides/slide106.xml"/><Relationship Id="rId1" Type="http://schemas.openxmlformats.org/officeDocument/2006/relationships/notesMaster" Target="../notesMasters/notesMaster1.xml"/></Relationships>
</file>

<file path=ppt/notesSlides/_rels/notesSlide107.xml.rels><?xml version="1.0" encoding="UTF-8" standalone="yes"?>
<Relationships xmlns="http://schemas.openxmlformats.org/package/2006/relationships"><Relationship Id="rId2" Type="http://schemas.openxmlformats.org/officeDocument/2006/relationships/slide" Target="../slides/slide107.xml"/><Relationship Id="rId1" Type="http://schemas.openxmlformats.org/officeDocument/2006/relationships/notesMaster" Target="../notesMasters/notesMaster1.xml"/></Relationships>
</file>

<file path=ppt/notesSlides/_rels/notesSlide108.xml.rels><?xml version="1.0" encoding="UTF-8" standalone="yes"?>
<Relationships xmlns="http://schemas.openxmlformats.org/package/2006/relationships"><Relationship Id="rId2" Type="http://schemas.openxmlformats.org/officeDocument/2006/relationships/slide" Target="../slides/slide108.xml"/><Relationship Id="rId1" Type="http://schemas.openxmlformats.org/officeDocument/2006/relationships/notesMaster" Target="../notesMasters/notesMaster1.xml"/></Relationships>
</file>

<file path=ppt/notesSlides/_rels/notesSlide109.xml.rels><?xml version="1.0" encoding="UTF-8" standalone="yes"?>
<Relationships xmlns="http://schemas.openxmlformats.org/package/2006/relationships"><Relationship Id="rId2" Type="http://schemas.openxmlformats.org/officeDocument/2006/relationships/slide" Target="../slides/slide109.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0.xml.rels><?xml version="1.0" encoding="UTF-8" standalone="yes"?>
<Relationships xmlns="http://schemas.openxmlformats.org/package/2006/relationships"><Relationship Id="rId2" Type="http://schemas.openxmlformats.org/officeDocument/2006/relationships/slide" Target="../slides/slide110.xml"/><Relationship Id="rId1" Type="http://schemas.openxmlformats.org/officeDocument/2006/relationships/notesMaster" Target="../notesMasters/notesMaster1.xml"/></Relationships>
</file>

<file path=ppt/notesSlides/_rels/notesSlide111.xml.rels><?xml version="1.0" encoding="UTF-8" standalone="yes"?>
<Relationships xmlns="http://schemas.openxmlformats.org/package/2006/relationships"><Relationship Id="rId2" Type="http://schemas.openxmlformats.org/officeDocument/2006/relationships/slide" Target="../slides/slide111.xml"/><Relationship Id="rId1" Type="http://schemas.openxmlformats.org/officeDocument/2006/relationships/notesMaster" Target="../notesMasters/notesMaster1.xml"/></Relationships>
</file>

<file path=ppt/notesSlides/_rels/notesSlide112.xml.rels><?xml version="1.0" encoding="UTF-8" standalone="yes"?>
<Relationships xmlns="http://schemas.openxmlformats.org/package/2006/relationships"><Relationship Id="rId2" Type="http://schemas.openxmlformats.org/officeDocument/2006/relationships/slide" Target="../slides/slide112.xml"/><Relationship Id="rId1" Type="http://schemas.openxmlformats.org/officeDocument/2006/relationships/notesMaster" Target="../notesMasters/notesMaster1.xml"/></Relationships>
</file>

<file path=ppt/notesSlides/_rels/notesSlide113.xml.rels><?xml version="1.0" encoding="UTF-8" standalone="yes"?>
<Relationships xmlns="http://schemas.openxmlformats.org/package/2006/relationships"><Relationship Id="rId2" Type="http://schemas.openxmlformats.org/officeDocument/2006/relationships/slide" Target="../slides/slide113.xml"/><Relationship Id="rId1" Type="http://schemas.openxmlformats.org/officeDocument/2006/relationships/notesMaster" Target="../notesMasters/notesMaster1.xml"/></Relationships>
</file>

<file path=ppt/notesSlides/_rels/notesSlide114.xml.rels><?xml version="1.0" encoding="UTF-8" standalone="yes"?>
<Relationships xmlns="http://schemas.openxmlformats.org/package/2006/relationships"><Relationship Id="rId2" Type="http://schemas.openxmlformats.org/officeDocument/2006/relationships/slide" Target="../slides/slide114.xml"/><Relationship Id="rId1" Type="http://schemas.openxmlformats.org/officeDocument/2006/relationships/notesMaster" Target="../notesMasters/notesMaster1.xml"/></Relationships>
</file>

<file path=ppt/notesSlides/_rels/notesSlide115.xml.rels><?xml version="1.0" encoding="UTF-8" standalone="yes"?>
<Relationships xmlns="http://schemas.openxmlformats.org/package/2006/relationships"><Relationship Id="rId2" Type="http://schemas.openxmlformats.org/officeDocument/2006/relationships/slide" Target="../slides/slide115.xml"/><Relationship Id="rId1" Type="http://schemas.openxmlformats.org/officeDocument/2006/relationships/notesMaster" Target="../notesMasters/notesMaster1.xml"/></Relationships>
</file>

<file path=ppt/notesSlides/_rels/notesSlide116.xml.rels><?xml version="1.0" encoding="UTF-8" standalone="yes"?>
<Relationships xmlns="http://schemas.openxmlformats.org/package/2006/relationships"><Relationship Id="rId2" Type="http://schemas.openxmlformats.org/officeDocument/2006/relationships/slide" Target="../slides/slide116.xml"/><Relationship Id="rId1" Type="http://schemas.openxmlformats.org/officeDocument/2006/relationships/notesMaster" Target="../notesMasters/notesMaster1.xml"/></Relationships>
</file>

<file path=ppt/notesSlides/_rels/notesSlide117.xml.rels><?xml version="1.0" encoding="UTF-8" standalone="yes"?>
<Relationships xmlns="http://schemas.openxmlformats.org/package/2006/relationships"><Relationship Id="rId2" Type="http://schemas.openxmlformats.org/officeDocument/2006/relationships/slide" Target="../slides/slide117.xml"/><Relationship Id="rId1" Type="http://schemas.openxmlformats.org/officeDocument/2006/relationships/notesMaster" Target="../notesMasters/notesMaster1.xml"/></Relationships>
</file>

<file path=ppt/notesSlides/_rels/notesSlide118.xml.rels><?xml version="1.0" encoding="UTF-8" standalone="yes"?>
<Relationships xmlns="http://schemas.openxmlformats.org/package/2006/relationships"><Relationship Id="rId2" Type="http://schemas.openxmlformats.org/officeDocument/2006/relationships/slide" Target="../slides/slide118.xml"/><Relationship Id="rId1" Type="http://schemas.openxmlformats.org/officeDocument/2006/relationships/notesMaster" Target="../notesMasters/notesMaster1.xml"/></Relationships>
</file>

<file path=ppt/notesSlides/_rels/notesSlide119.xml.rels><?xml version="1.0" encoding="UTF-8" standalone="yes"?>
<Relationships xmlns="http://schemas.openxmlformats.org/package/2006/relationships"><Relationship Id="rId2" Type="http://schemas.openxmlformats.org/officeDocument/2006/relationships/slide" Target="../slides/slide11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0.xml.rels><?xml version="1.0" encoding="UTF-8" standalone="yes"?>
<Relationships xmlns="http://schemas.openxmlformats.org/package/2006/relationships"><Relationship Id="rId2" Type="http://schemas.openxmlformats.org/officeDocument/2006/relationships/slide" Target="../slides/slide120.xml"/><Relationship Id="rId1" Type="http://schemas.openxmlformats.org/officeDocument/2006/relationships/notesMaster" Target="../notesMasters/notesMaster1.xml"/></Relationships>
</file>

<file path=ppt/notesSlides/_rels/notesSlide121.xml.rels><?xml version="1.0" encoding="UTF-8" standalone="yes"?>
<Relationships xmlns="http://schemas.openxmlformats.org/package/2006/relationships"><Relationship Id="rId2" Type="http://schemas.openxmlformats.org/officeDocument/2006/relationships/slide" Target="../slides/slide121.xml"/><Relationship Id="rId1" Type="http://schemas.openxmlformats.org/officeDocument/2006/relationships/notesMaster" Target="../notesMasters/notesMaster1.xml"/></Relationships>
</file>

<file path=ppt/notesSlides/_rels/notesSlide122.xml.rels><?xml version="1.0" encoding="UTF-8" standalone="yes"?>
<Relationships xmlns="http://schemas.openxmlformats.org/package/2006/relationships"><Relationship Id="rId2" Type="http://schemas.openxmlformats.org/officeDocument/2006/relationships/slide" Target="../slides/slide122.xml"/><Relationship Id="rId1" Type="http://schemas.openxmlformats.org/officeDocument/2006/relationships/notesMaster" Target="../notesMasters/notesMaster1.xml"/></Relationships>
</file>

<file path=ppt/notesSlides/_rels/notesSlide123.xml.rels><?xml version="1.0" encoding="UTF-8" standalone="yes"?>
<Relationships xmlns="http://schemas.openxmlformats.org/package/2006/relationships"><Relationship Id="rId2" Type="http://schemas.openxmlformats.org/officeDocument/2006/relationships/slide" Target="../slides/slide123.xml"/><Relationship Id="rId1" Type="http://schemas.openxmlformats.org/officeDocument/2006/relationships/notesMaster" Target="../notesMasters/notesMaster1.xml"/></Relationships>
</file>

<file path=ppt/notesSlides/_rels/notesSlide124.xml.rels><?xml version="1.0" encoding="UTF-8" standalone="yes"?>
<Relationships xmlns="http://schemas.openxmlformats.org/package/2006/relationships"><Relationship Id="rId2" Type="http://schemas.openxmlformats.org/officeDocument/2006/relationships/slide" Target="../slides/slide124.xml"/><Relationship Id="rId1" Type="http://schemas.openxmlformats.org/officeDocument/2006/relationships/notesMaster" Target="../notesMasters/notesMaster1.xml"/></Relationships>
</file>

<file path=ppt/notesSlides/_rels/notesSlide125.xml.rels><?xml version="1.0" encoding="UTF-8" standalone="yes"?>
<Relationships xmlns="http://schemas.openxmlformats.org/package/2006/relationships"><Relationship Id="rId2" Type="http://schemas.openxmlformats.org/officeDocument/2006/relationships/slide" Target="../slides/slide125.xml"/><Relationship Id="rId1" Type="http://schemas.openxmlformats.org/officeDocument/2006/relationships/notesMaster" Target="../notesMasters/notesMaster1.xml"/></Relationships>
</file>

<file path=ppt/notesSlides/_rels/notesSlide126.xml.rels><?xml version="1.0" encoding="UTF-8" standalone="yes"?>
<Relationships xmlns="http://schemas.openxmlformats.org/package/2006/relationships"><Relationship Id="rId2" Type="http://schemas.openxmlformats.org/officeDocument/2006/relationships/slide" Target="../slides/slide126.xml"/><Relationship Id="rId1" Type="http://schemas.openxmlformats.org/officeDocument/2006/relationships/notesMaster" Target="../notesMasters/notesMaster1.xml"/></Relationships>
</file>

<file path=ppt/notesSlides/_rels/notesSlide127.xml.rels><?xml version="1.0" encoding="UTF-8" standalone="yes"?>
<Relationships xmlns="http://schemas.openxmlformats.org/package/2006/relationships"><Relationship Id="rId2" Type="http://schemas.openxmlformats.org/officeDocument/2006/relationships/slide" Target="../slides/slide127.xml"/><Relationship Id="rId1" Type="http://schemas.openxmlformats.org/officeDocument/2006/relationships/notesMaster" Target="../notesMasters/notesMaster1.xml"/></Relationships>
</file>

<file path=ppt/notesSlides/_rels/notesSlide128.xml.rels><?xml version="1.0" encoding="UTF-8" standalone="yes"?>
<Relationships xmlns="http://schemas.openxmlformats.org/package/2006/relationships"><Relationship Id="rId2" Type="http://schemas.openxmlformats.org/officeDocument/2006/relationships/slide" Target="../slides/slide128.xml"/><Relationship Id="rId1" Type="http://schemas.openxmlformats.org/officeDocument/2006/relationships/notesMaster" Target="../notesMasters/notesMaster1.xml"/></Relationships>
</file>

<file path=ppt/notesSlides/_rels/notesSlide129.xml.rels><?xml version="1.0" encoding="UTF-8" standalone="yes"?>
<Relationships xmlns="http://schemas.openxmlformats.org/package/2006/relationships"><Relationship Id="rId2" Type="http://schemas.openxmlformats.org/officeDocument/2006/relationships/slide" Target="../slides/slide129.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0.xml.rels><?xml version="1.0" encoding="UTF-8" standalone="yes"?>
<Relationships xmlns="http://schemas.openxmlformats.org/package/2006/relationships"><Relationship Id="rId2" Type="http://schemas.openxmlformats.org/officeDocument/2006/relationships/slide" Target="../slides/slide130.xml"/><Relationship Id="rId1" Type="http://schemas.openxmlformats.org/officeDocument/2006/relationships/notesMaster" Target="../notesMasters/notesMaster1.xml"/></Relationships>
</file>

<file path=ppt/notesSlides/_rels/notesSlide131.xml.rels><?xml version="1.0" encoding="UTF-8" standalone="yes"?>
<Relationships xmlns="http://schemas.openxmlformats.org/package/2006/relationships"><Relationship Id="rId2" Type="http://schemas.openxmlformats.org/officeDocument/2006/relationships/slide" Target="../slides/slide131.xml"/><Relationship Id="rId1" Type="http://schemas.openxmlformats.org/officeDocument/2006/relationships/notesMaster" Target="../notesMasters/notesMaster1.xml"/></Relationships>
</file>

<file path=ppt/notesSlides/_rels/notesSlide132.xml.rels><?xml version="1.0" encoding="UTF-8" standalone="yes"?>
<Relationships xmlns="http://schemas.openxmlformats.org/package/2006/relationships"><Relationship Id="rId2" Type="http://schemas.openxmlformats.org/officeDocument/2006/relationships/slide" Target="../slides/slide132.xml"/><Relationship Id="rId1" Type="http://schemas.openxmlformats.org/officeDocument/2006/relationships/notesMaster" Target="../notesMasters/notesMaster1.xml"/></Relationships>
</file>

<file path=ppt/notesSlides/_rels/notesSlide133.xml.rels><?xml version="1.0" encoding="UTF-8" standalone="yes"?>
<Relationships xmlns="http://schemas.openxmlformats.org/package/2006/relationships"><Relationship Id="rId2" Type="http://schemas.openxmlformats.org/officeDocument/2006/relationships/slide" Target="../slides/slide133.xml"/><Relationship Id="rId1" Type="http://schemas.openxmlformats.org/officeDocument/2006/relationships/notesMaster" Target="../notesMasters/notesMaster1.xml"/></Relationships>
</file>

<file path=ppt/notesSlides/_rels/notesSlide134.xml.rels><?xml version="1.0" encoding="UTF-8" standalone="yes"?>
<Relationships xmlns="http://schemas.openxmlformats.org/package/2006/relationships"><Relationship Id="rId2" Type="http://schemas.openxmlformats.org/officeDocument/2006/relationships/slide" Target="../slides/slide134.xml"/><Relationship Id="rId1" Type="http://schemas.openxmlformats.org/officeDocument/2006/relationships/notesMaster" Target="../notesMasters/notesMaster1.xml"/></Relationships>
</file>

<file path=ppt/notesSlides/_rels/notesSlide135.xml.rels><?xml version="1.0" encoding="UTF-8" standalone="yes"?>
<Relationships xmlns="http://schemas.openxmlformats.org/package/2006/relationships"><Relationship Id="rId2" Type="http://schemas.openxmlformats.org/officeDocument/2006/relationships/slide" Target="../slides/slide135.xml"/><Relationship Id="rId1" Type="http://schemas.openxmlformats.org/officeDocument/2006/relationships/notesMaster" Target="../notesMasters/notesMaster1.xml"/></Relationships>
</file>

<file path=ppt/notesSlides/_rels/notesSlide136.xml.rels><?xml version="1.0" encoding="UTF-8" standalone="yes"?>
<Relationships xmlns="http://schemas.openxmlformats.org/package/2006/relationships"><Relationship Id="rId2" Type="http://schemas.openxmlformats.org/officeDocument/2006/relationships/slide" Target="../slides/slide136.xml"/><Relationship Id="rId1" Type="http://schemas.openxmlformats.org/officeDocument/2006/relationships/notesMaster" Target="../notesMasters/notesMaster1.xml"/></Relationships>
</file>

<file path=ppt/notesSlides/_rels/notesSlide137.xml.rels><?xml version="1.0" encoding="UTF-8" standalone="yes"?>
<Relationships xmlns="http://schemas.openxmlformats.org/package/2006/relationships"><Relationship Id="rId2" Type="http://schemas.openxmlformats.org/officeDocument/2006/relationships/slide" Target="../slides/slide137.xml"/><Relationship Id="rId1" Type="http://schemas.openxmlformats.org/officeDocument/2006/relationships/notesMaster" Target="../notesMasters/notesMaster1.xml"/></Relationships>
</file>

<file path=ppt/notesSlides/_rels/notesSlide138.xml.rels><?xml version="1.0" encoding="UTF-8" standalone="yes"?>
<Relationships xmlns="http://schemas.openxmlformats.org/package/2006/relationships"><Relationship Id="rId2" Type="http://schemas.openxmlformats.org/officeDocument/2006/relationships/slide" Target="../slides/slide138.xml"/><Relationship Id="rId1" Type="http://schemas.openxmlformats.org/officeDocument/2006/relationships/notesMaster" Target="../notesMasters/notesMaster1.xml"/></Relationships>
</file>

<file path=ppt/notesSlides/_rels/notesSlide139.xml.rels><?xml version="1.0" encoding="UTF-8" standalone="yes"?>
<Relationships xmlns="http://schemas.openxmlformats.org/package/2006/relationships"><Relationship Id="rId2" Type="http://schemas.openxmlformats.org/officeDocument/2006/relationships/slide" Target="../slides/slide13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0.xml.rels><?xml version="1.0" encoding="UTF-8" standalone="yes"?>
<Relationships xmlns="http://schemas.openxmlformats.org/package/2006/relationships"><Relationship Id="rId2" Type="http://schemas.openxmlformats.org/officeDocument/2006/relationships/slide" Target="../slides/slide140.xml"/><Relationship Id="rId1" Type="http://schemas.openxmlformats.org/officeDocument/2006/relationships/notesMaster" Target="../notesMasters/notesMaster1.xml"/></Relationships>
</file>

<file path=ppt/notesSlides/_rels/notesSlide141.xml.rels><?xml version="1.0" encoding="UTF-8" standalone="yes"?>
<Relationships xmlns="http://schemas.openxmlformats.org/package/2006/relationships"><Relationship Id="rId2" Type="http://schemas.openxmlformats.org/officeDocument/2006/relationships/slide" Target="../slides/slide141.xml"/><Relationship Id="rId1" Type="http://schemas.openxmlformats.org/officeDocument/2006/relationships/notesMaster" Target="../notesMasters/notesMaster1.xml"/></Relationships>
</file>

<file path=ppt/notesSlides/_rels/notesSlide142.xml.rels><?xml version="1.0" encoding="UTF-8" standalone="yes"?>
<Relationships xmlns="http://schemas.openxmlformats.org/package/2006/relationships"><Relationship Id="rId2" Type="http://schemas.openxmlformats.org/officeDocument/2006/relationships/slide" Target="../slides/slide142.xml"/><Relationship Id="rId1" Type="http://schemas.openxmlformats.org/officeDocument/2006/relationships/notesMaster" Target="../notesMasters/notesMaster1.xml"/></Relationships>
</file>

<file path=ppt/notesSlides/_rels/notesSlide143.xml.rels><?xml version="1.0" encoding="UTF-8" standalone="yes"?>
<Relationships xmlns="http://schemas.openxmlformats.org/package/2006/relationships"><Relationship Id="rId2" Type="http://schemas.openxmlformats.org/officeDocument/2006/relationships/slide" Target="../slides/slide143.xml"/><Relationship Id="rId1" Type="http://schemas.openxmlformats.org/officeDocument/2006/relationships/notesMaster" Target="../notesMasters/notesMaster1.xml"/></Relationships>
</file>

<file path=ppt/notesSlides/_rels/notesSlide144.xml.rels><?xml version="1.0" encoding="UTF-8" standalone="yes"?>
<Relationships xmlns="http://schemas.openxmlformats.org/package/2006/relationships"><Relationship Id="rId2" Type="http://schemas.openxmlformats.org/officeDocument/2006/relationships/slide" Target="../slides/slide144.xml"/><Relationship Id="rId1" Type="http://schemas.openxmlformats.org/officeDocument/2006/relationships/notesMaster" Target="../notesMasters/notesMaster1.xml"/></Relationships>
</file>

<file path=ppt/notesSlides/_rels/notesSlide145.xml.rels><?xml version="1.0" encoding="UTF-8" standalone="yes"?>
<Relationships xmlns="http://schemas.openxmlformats.org/package/2006/relationships"><Relationship Id="rId2" Type="http://schemas.openxmlformats.org/officeDocument/2006/relationships/slide" Target="../slides/slide145.xml"/><Relationship Id="rId1" Type="http://schemas.openxmlformats.org/officeDocument/2006/relationships/notesMaster" Target="../notesMasters/notesMaster1.xml"/></Relationships>
</file>

<file path=ppt/notesSlides/_rels/notesSlide146.xml.rels><?xml version="1.0" encoding="UTF-8" standalone="yes"?>
<Relationships xmlns="http://schemas.openxmlformats.org/package/2006/relationships"><Relationship Id="rId2" Type="http://schemas.openxmlformats.org/officeDocument/2006/relationships/slide" Target="../slides/slide146.xml"/><Relationship Id="rId1" Type="http://schemas.openxmlformats.org/officeDocument/2006/relationships/notesMaster" Target="../notesMasters/notesMaster1.xml"/></Relationships>
</file>

<file path=ppt/notesSlides/_rels/notesSlide147.xml.rels><?xml version="1.0" encoding="UTF-8" standalone="yes"?>
<Relationships xmlns="http://schemas.openxmlformats.org/package/2006/relationships"><Relationship Id="rId2" Type="http://schemas.openxmlformats.org/officeDocument/2006/relationships/slide" Target="../slides/slide147.xml"/><Relationship Id="rId1" Type="http://schemas.openxmlformats.org/officeDocument/2006/relationships/notesMaster" Target="../notesMasters/notesMaster1.xml"/></Relationships>
</file>

<file path=ppt/notesSlides/_rels/notesSlide148.xml.rels><?xml version="1.0" encoding="UTF-8" standalone="yes"?>
<Relationships xmlns="http://schemas.openxmlformats.org/package/2006/relationships"><Relationship Id="rId2" Type="http://schemas.openxmlformats.org/officeDocument/2006/relationships/slide" Target="../slides/slide148.xml"/><Relationship Id="rId1" Type="http://schemas.openxmlformats.org/officeDocument/2006/relationships/notesMaster" Target="../notesMasters/notesMaster1.xml"/></Relationships>
</file>

<file path=ppt/notesSlides/_rels/notesSlide149.xml.rels><?xml version="1.0" encoding="UTF-8" standalone="yes"?>
<Relationships xmlns="http://schemas.openxmlformats.org/package/2006/relationships"><Relationship Id="rId2" Type="http://schemas.openxmlformats.org/officeDocument/2006/relationships/slide" Target="../slides/slide14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0.xml.rels><?xml version="1.0" encoding="UTF-8" standalone="yes"?>
<Relationships xmlns="http://schemas.openxmlformats.org/package/2006/relationships"><Relationship Id="rId2" Type="http://schemas.openxmlformats.org/officeDocument/2006/relationships/slide" Target="../slides/slide150.xml"/><Relationship Id="rId1" Type="http://schemas.openxmlformats.org/officeDocument/2006/relationships/notesMaster" Target="../notesMasters/notesMaster1.xml"/></Relationships>
</file>

<file path=ppt/notesSlides/_rels/notesSlide151.xml.rels><?xml version="1.0" encoding="UTF-8" standalone="yes"?>
<Relationships xmlns="http://schemas.openxmlformats.org/package/2006/relationships"><Relationship Id="rId2" Type="http://schemas.openxmlformats.org/officeDocument/2006/relationships/slide" Target="../slides/slide151.xml"/><Relationship Id="rId1" Type="http://schemas.openxmlformats.org/officeDocument/2006/relationships/notesMaster" Target="../notesMasters/notesMaster1.xml"/></Relationships>
</file>

<file path=ppt/notesSlides/_rels/notesSlide152.xml.rels><?xml version="1.0" encoding="UTF-8" standalone="yes"?>
<Relationships xmlns="http://schemas.openxmlformats.org/package/2006/relationships"><Relationship Id="rId2" Type="http://schemas.openxmlformats.org/officeDocument/2006/relationships/slide" Target="../slides/slide152.xml"/><Relationship Id="rId1" Type="http://schemas.openxmlformats.org/officeDocument/2006/relationships/notesMaster" Target="../notesMasters/notesMaster1.xml"/></Relationships>
</file>

<file path=ppt/notesSlides/_rels/notesSlide153.xml.rels><?xml version="1.0" encoding="UTF-8" standalone="yes"?>
<Relationships xmlns="http://schemas.openxmlformats.org/package/2006/relationships"><Relationship Id="rId2" Type="http://schemas.openxmlformats.org/officeDocument/2006/relationships/slide" Target="../slides/slide153.xml"/><Relationship Id="rId1" Type="http://schemas.openxmlformats.org/officeDocument/2006/relationships/notesMaster" Target="../notesMasters/notesMaster1.xml"/></Relationships>
</file>

<file path=ppt/notesSlides/_rels/notesSlide154.xml.rels><?xml version="1.0" encoding="UTF-8" standalone="yes"?>
<Relationships xmlns="http://schemas.openxmlformats.org/package/2006/relationships"><Relationship Id="rId2" Type="http://schemas.openxmlformats.org/officeDocument/2006/relationships/slide" Target="../slides/slide154.xml"/><Relationship Id="rId1" Type="http://schemas.openxmlformats.org/officeDocument/2006/relationships/notesMaster" Target="../notesMasters/notesMaster1.xml"/></Relationships>
</file>

<file path=ppt/notesSlides/_rels/notesSlide155.xml.rels><?xml version="1.0" encoding="UTF-8" standalone="yes"?>
<Relationships xmlns="http://schemas.openxmlformats.org/package/2006/relationships"><Relationship Id="rId2" Type="http://schemas.openxmlformats.org/officeDocument/2006/relationships/slide" Target="../slides/slide155.xml"/><Relationship Id="rId1" Type="http://schemas.openxmlformats.org/officeDocument/2006/relationships/notesMaster" Target="../notesMasters/notesMaster1.xml"/></Relationships>
</file>

<file path=ppt/notesSlides/_rels/notesSlide156.xml.rels><?xml version="1.0" encoding="UTF-8" standalone="yes"?>
<Relationships xmlns="http://schemas.openxmlformats.org/package/2006/relationships"><Relationship Id="rId2" Type="http://schemas.openxmlformats.org/officeDocument/2006/relationships/slide" Target="../slides/slide156.xml"/><Relationship Id="rId1" Type="http://schemas.openxmlformats.org/officeDocument/2006/relationships/notesMaster" Target="../notesMasters/notesMaster1.xml"/></Relationships>
</file>

<file path=ppt/notesSlides/_rels/notesSlide157.xml.rels><?xml version="1.0" encoding="UTF-8" standalone="yes"?>
<Relationships xmlns="http://schemas.openxmlformats.org/package/2006/relationships"><Relationship Id="rId2" Type="http://schemas.openxmlformats.org/officeDocument/2006/relationships/slide" Target="../slides/slide157.xml"/><Relationship Id="rId1" Type="http://schemas.openxmlformats.org/officeDocument/2006/relationships/notesMaster" Target="../notesMasters/notesMaster1.xml"/></Relationships>
</file>

<file path=ppt/notesSlides/_rels/notesSlide158.xml.rels><?xml version="1.0" encoding="UTF-8" standalone="yes"?>
<Relationships xmlns="http://schemas.openxmlformats.org/package/2006/relationships"><Relationship Id="rId2" Type="http://schemas.openxmlformats.org/officeDocument/2006/relationships/slide" Target="../slides/slide158.xml"/><Relationship Id="rId1" Type="http://schemas.openxmlformats.org/officeDocument/2006/relationships/notesMaster" Target="../notesMasters/notesMaster1.xml"/></Relationships>
</file>

<file path=ppt/notesSlides/_rels/notesSlide159.xml.rels><?xml version="1.0" encoding="UTF-8" standalone="yes"?>
<Relationships xmlns="http://schemas.openxmlformats.org/package/2006/relationships"><Relationship Id="rId2" Type="http://schemas.openxmlformats.org/officeDocument/2006/relationships/slide" Target="../slides/slide15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0.xml.rels><?xml version="1.0" encoding="UTF-8" standalone="yes"?>
<Relationships xmlns="http://schemas.openxmlformats.org/package/2006/relationships"><Relationship Id="rId2" Type="http://schemas.openxmlformats.org/officeDocument/2006/relationships/slide" Target="../slides/slide160.xml"/><Relationship Id="rId1" Type="http://schemas.openxmlformats.org/officeDocument/2006/relationships/notesMaster" Target="../notesMasters/notesMaster1.xml"/></Relationships>
</file>

<file path=ppt/notesSlides/_rels/notesSlide161.xml.rels><?xml version="1.0" encoding="UTF-8" standalone="yes"?>
<Relationships xmlns="http://schemas.openxmlformats.org/package/2006/relationships"><Relationship Id="rId2" Type="http://schemas.openxmlformats.org/officeDocument/2006/relationships/slide" Target="../slides/slide161.xml"/><Relationship Id="rId1" Type="http://schemas.openxmlformats.org/officeDocument/2006/relationships/notesMaster" Target="../notesMasters/notesMaster1.xml"/></Relationships>
</file>

<file path=ppt/notesSlides/_rels/notesSlide162.xml.rels><?xml version="1.0" encoding="UTF-8" standalone="yes"?>
<Relationships xmlns="http://schemas.openxmlformats.org/package/2006/relationships"><Relationship Id="rId2" Type="http://schemas.openxmlformats.org/officeDocument/2006/relationships/slide" Target="../slides/slide162.xml"/><Relationship Id="rId1" Type="http://schemas.openxmlformats.org/officeDocument/2006/relationships/notesMaster" Target="../notesMasters/notesMaster1.xml"/></Relationships>
</file>

<file path=ppt/notesSlides/_rels/notesSlide163.xml.rels><?xml version="1.0" encoding="UTF-8" standalone="yes"?>
<Relationships xmlns="http://schemas.openxmlformats.org/package/2006/relationships"><Relationship Id="rId2" Type="http://schemas.openxmlformats.org/officeDocument/2006/relationships/slide" Target="../slides/slide163.xml"/><Relationship Id="rId1" Type="http://schemas.openxmlformats.org/officeDocument/2006/relationships/notesMaster" Target="../notesMasters/notesMaster1.xml"/></Relationships>
</file>

<file path=ppt/notesSlides/_rels/notesSlide164.xml.rels><?xml version="1.0" encoding="UTF-8" standalone="yes"?>
<Relationships xmlns="http://schemas.openxmlformats.org/package/2006/relationships"><Relationship Id="rId2" Type="http://schemas.openxmlformats.org/officeDocument/2006/relationships/slide" Target="../slides/slide164.xml"/><Relationship Id="rId1" Type="http://schemas.openxmlformats.org/officeDocument/2006/relationships/notesMaster" Target="../notesMasters/notesMaster1.xml"/></Relationships>
</file>

<file path=ppt/notesSlides/_rels/notesSlide165.xml.rels><?xml version="1.0" encoding="UTF-8" standalone="yes"?>
<Relationships xmlns="http://schemas.openxmlformats.org/package/2006/relationships"><Relationship Id="rId2" Type="http://schemas.openxmlformats.org/officeDocument/2006/relationships/slide" Target="../slides/slide165.xml"/><Relationship Id="rId1" Type="http://schemas.openxmlformats.org/officeDocument/2006/relationships/notesMaster" Target="../notesMasters/notesMaster1.xml"/></Relationships>
</file>

<file path=ppt/notesSlides/_rels/notesSlide166.xml.rels><?xml version="1.0" encoding="UTF-8" standalone="yes"?>
<Relationships xmlns="http://schemas.openxmlformats.org/package/2006/relationships"><Relationship Id="rId2" Type="http://schemas.openxmlformats.org/officeDocument/2006/relationships/slide" Target="../slides/slide166.xml"/><Relationship Id="rId1" Type="http://schemas.openxmlformats.org/officeDocument/2006/relationships/notesMaster" Target="../notesMasters/notesMaster1.xml"/></Relationships>
</file>

<file path=ppt/notesSlides/_rels/notesSlide167.xml.rels><?xml version="1.0" encoding="UTF-8" standalone="yes"?>
<Relationships xmlns="http://schemas.openxmlformats.org/package/2006/relationships"><Relationship Id="rId2" Type="http://schemas.openxmlformats.org/officeDocument/2006/relationships/slide" Target="../slides/slide167.xml"/><Relationship Id="rId1" Type="http://schemas.openxmlformats.org/officeDocument/2006/relationships/notesMaster" Target="../notesMasters/notesMaster1.xml"/></Relationships>
</file>

<file path=ppt/notesSlides/_rels/notesSlide168.xml.rels><?xml version="1.0" encoding="UTF-8" standalone="yes"?>
<Relationships xmlns="http://schemas.openxmlformats.org/package/2006/relationships"><Relationship Id="rId2" Type="http://schemas.openxmlformats.org/officeDocument/2006/relationships/slide" Target="../slides/slide168.xml"/><Relationship Id="rId1" Type="http://schemas.openxmlformats.org/officeDocument/2006/relationships/notesMaster" Target="../notesMasters/notesMaster1.xml"/></Relationships>
</file>

<file path=ppt/notesSlides/_rels/notesSlide169.xml.rels><?xml version="1.0" encoding="UTF-8" standalone="yes"?>
<Relationships xmlns="http://schemas.openxmlformats.org/package/2006/relationships"><Relationship Id="rId2" Type="http://schemas.openxmlformats.org/officeDocument/2006/relationships/slide" Target="../slides/slide16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0.xml.rels><?xml version="1.0" encoding="UTF-8" standalone="yes"?>
<Relationships xmlns="http://schemas.openxmlformats.org/package/2006/relationships"><Relationship Id="rId2" Type="http://schemas.openxmlformats.org/officeDocument/2006/relationships/slide" Target="../slides/slide170.xml"/><Relationship Id="rId1" Type="http://schemas.openxmlformats.org/officeDocument/2006/relationships/notesMaster" Target="../notesMasters/notesMaster1.xml"/></Relationships>
</file>

<file path=ppt/notesSlides/_rels/notesSlide171.xml.rels><?xml version="1.0" encoding="UTF-8" standalone="yes"?>
<Relationships xmlns="http://schemas.openxmlformats.org/package/2006/relationships"><Relationship Id="rId2" Type="http://schemas.openxmlformats.org/officeDocument/2006/relationships/slide" Target="../slides/slide171.xml"/><Relationship Id="rId1" Type="http://schemas.openxmlformats.org/officeDocument/2006/relationships/notesMaster" Target="../notesMasters/notesMaster1.xml"/></Relationships>
</file>

<file path=ppt/notesSlides/_rels/notesSlide172.xml.rels><?xml version="1.0" encoding="UTF-8" standalone="yes"?>
<Relationships xmlns="http://schemas.openxmlformats.org/package/2006/relationships"><Relationship Id="rId2" Type="http://schemas.openxmlformats.org/officeDocument/2006/relationships/slide" Target="../slides/slide172.xml"/><Relationship Id="rId1" Type="http://schemas.openxmlformats.org/officeDocument/2006/relationships/notesMaster" Target="../notesMasters/notesMaster1.xml"/></Relationships>
</file>

<file path=ppt/notesSlides/_rels/notesSlide173.xml.rels><?xml version="1.0" encoding="UTF-8" standalone="yes"?>
<Relationships xmlns="http://schemas.openxmlformats.org/package/2006/relationships"><Relationship Id="rId2" Type="http://schemas.openxmlformats.org/officeDocument/2006/relationships/slide" Target="../slides/slide173.xml"/><Relationship Id="rId1" Type="http://schemas.openxmlformats.org/officeDocument/2006/relationships/notesMaster" Target="../notesMasters/notesMaster1.xml"/></Relationships>
</file>

<file path=ppt/notesSlides/_rels/notesSlide174.xml.rels><?xml version="1.0" encoding="UTF-8" standalone="yes"?>
<Relationships xmlns="http://schemas.openxmlformats.org/package/2006/relationships"><Relationship Id="rId2" Type="http://schemas.openxmlformats.org/officeDocument/2006/relationships/slide" Target="../slides/slide174.xml"/><Relationship Id="rId1" Type="http://schemas.openxmlformats.org/officeDocument/2006/relationships/notesMaster" Target="../notesMasters/notesMaster1.xml"/></Relationships>
</file>

<file path=ppt/notesSlides/_rels/notesSlide175.xml.rels><?xml version="1.0" encoding="UTF-8" standalone="yes"?>
<Relationships xmlns="http://schemas.openxmlformats.org/package/2006/relationships"><Relationship Id="rId2" Type="http://schemas.openxmlformats.org/officeDocument/2006/relationships/slide" Target="../slides/slide175.xml"/><Relationship Id="rId1" Type="http://schemas.openxmlformats.org/officeDocument/2006/relationships/notesMaster" Target="../notesMasters/notesMaster1.xml"/></Relationships>
</file>

<file path=ppt/notesSlides/_rels/notesSlide176.xml.rels><?xml version="1.0" encoding="UTF-8" standalone="yes"?>
<Relationships xmlns="http://schemas.openxmlformats.org/package/2006/relationships"><Relationship Id="rId2" Type="http://schemas.openxmlformats.org/officeDocument/2006/relationships/slide" Target="../slides/slide176.xml"/><Relationship Id="rId1" Type="http://schemas.openxmlformats.org/officeDocument/2006/relationships/notesMaster" Target="../notesMasters/notesMaster1.xml"/></Relationships>
</file>

<file path=ppt/notesSlides/_rels/notesSlide177.xml.rels><?xml version="1.0" encoding="UTF-8" standalone="yes"?>
<Relationships xmlns="http://schemas.openxmlformats.org/package/2006/relationships"><Relationship Id="rId2" Type="http://schemas.openxmlformats.org/officeDocument/2006/relationships/slide" Target="../slides/slide177.xml"/><Relationship Id="rId1" Type="http://schemas.openxmlformats.org/officeDocument/2006/relationships/notesMaster" Target="../notesMasters/notesMaster1.xml"/></Relationships>
</file>

<file path=ppt/notesSlides/_rels/notesSlide178.xml.rels><?xml version="1.0" encoding="UTF-8" standalone="yes"?>
<Relationships xmlns="http://schemas.openxmlformats.org/package/2006/relationships"><Relationship Id="rId2" Type="http://schemas.openxmlformats.org/officeDocument/2006/relationships/slide" Target="../slides/slide178.xml"/><Relationship Id="rId1" Type="http://schemas.openxmlformats.org/officeDocument/2006/relationships/notesMaster" Target="../notesMasters/notesMaster1.xml"/></Relationships>
</file>

<file path=ppt/notesSlides/_rels/notesSlide179.xml.rels><?xml version="1.0" encoding="UTF-8" standalone="yes"?>
<Relationships xmlns="http://schemas.openxmlformats.org/package/2006/relationships"><Relationship Id="rId2" Type="http://schemas.openxmlformats.org/officeDocument/2006/relationships/slide" Target="../slides/slide17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0.xml.rels><?xml version="1.0" encoding="UTF-8" standalone="yes"?>
<Relationships xmlns="http://schemas.openxmlformats.org/package/2006/relationships"><Relationship Id="rId2" Type="http://schemas.openxmlformats.org/officeDocument/2006/relationships/slide" Target="../slides/slide180.xml"/><Relationship Id="rId1" Type="http://schemas.openxmlformats.org/officeDocument/2006/relationships/notesMaster" Target="../notesMasters/notesMaster1.xml"/></Relationships>
</file>

<file path=ppt/notesSlides/_rels/notesSlide181.xml.rels><?xml version="1.0" encoding="UTF-8" standalone="yes"?>
<Relationships xmlns="http://schemas.openxmlformats.org/package/2006/relationships"><Relationship Id="rId2" Type="http://schemas.openxmlformats.org/officeDocument/2006/relationships/slide" Target="../slides/slide181.xml"/><Relationship Id="rId1" Type="http://schemas.openxmlformats.org/officeDocument/2006/relationships/notesMaster" Target="../notesMasters/notesMaster1.xml"/></Relationships>
</file>

<file path=ppt/notesSlides/_rels/notesSlide182.xml.rels><?xml version="1.0" encoding="UTF-8" standalone="yes"?>
<Relationships xmlns="http://schemas.openxmlformats.org/package/2006/relationships"><Relationship Id="rId2" Type="http://schemas.openxmlformats.org/officeDocument/2006/relationships/slide" Target="../slides/slide182.xml"/><Relationship Id="rId1" Type="http://schemas.openxmlformats.org/officeDocument/2006/relationships/notesMaster" Target="../notesMasters/notesMaster1.xml"/></Relationships>
</file>

<file path=ppt/notesSlides/_rels/notesSlide183.xml.rels><?xml version="1.0" encoding="UTF-8" standalone="yes"?>
<Relationships xmlns="http://schemas.openxmlformats.org/package/2006/relationships"><Relationship Id="rId2" Type="http://schemas.openxmlformats.org/officeDocument/2006/relationships/slide" Target="../slides/slide183.xml"/><Relationship Id="rId1" Type="http://schemas.openxmlformats.org/officeDocument/2006/relationships/notesMaster" Target="../notesMasters/notesMaster1.xml"/></Relationships>
</file>

<file path=ppt/notesSlides/_rels/notesSlide184.xml.rels><?xml version="1.0" encoding="UTF-8" standalone="yes"?>
<Relationships xmlns="http://schemas.openxmlformats.org/package/2006/relationships"><Relationship Id="rId2" Type="http://schemas.openxmlformats.org/officeDocument/2006/relationships/slide" Target="../slides/slide184.xml"/><Relationship Id="rId1" Type="http://schemas.openxmlformats.org/officeDocument/2006/relationships/notesMaster" Target="../notesMasters/notesMaster1.xml"/></Relationships>
</file>

<file path=ppt/notesSlides/_rels/notesSlide185.xml.rels><?xml version="1.0" encoding="UTF-8" standalone="yes"?>
<Relationships xmlns="http://schemas.openxmlformats.org/package/2006/relationships"><Relationship Id="rId2" Type="http://schemas.openxmlformats.org/officeDocument/2006/relationships/slide" Target="../slides/slide185.xml"/><Relationship Id="rId1" Type="http://schemas.openxmlformats.org/officeDocument/2006/relationships/notesMaster" Target="../notesMasters/notesMaster1.xml"/></Relationships>
</file>

<file path=ppt/notesSlides/_rels/notesSlide186.xml.rels><?xml version="1.0" encoding="UTF-8" standalone="yes"?>
<Relationships xmlns="http://schemas.openxmlformats.org/package/2006/relationships"><Relationship Id="rId2" Type="http://schemas.openxmlformats.org/officeDocument/2006/relationships/slide" Target="../slides/slide186.xml"/><Relationship Id="rId1" Type="http://schemas.openxmlformats.org/officeDocument/2006/relationships/notesMaster" Target="../notesMasters/notesMaster1.xml"/></Relationships>
</file>

<file path=ppt/notesSlides/_rels/notesSlide187.xml.rels><?xml version="1.0" encoding="UTF-8" standalone="yes"?>
<Relationships xmlns="http://schemas.openxmlformats.org/package/2006/relationships"><Relationship Id="rId2" Type="http://schemas.openxmlformats.org/officeDocument/2006/relationships/slide" Target="../slides/slide187.xml"/><Relationship Id="rId1" Type="http://schemas.openxmlformats.org/officeDocument/2006/relationships/notesMaster" Target="../notesMasters/notesMaster1.xml"/></Relationships>
</file>

<file path=ppt/notesSlides/_rels/notesSlide188.xml.rels><?xml version="1.0" encoding="UTF-8" standalone="yes"?>
<Relationships xmlns="http://schemas.openxmlformats.org/package/2006/relationships"><Relationship Id="rId2" Type="http://schemas.openxmlformats.org/officeDocument/2006/relationships/slide" Target="../slides/slide188.xml"/><Relationship Id="rId1" Type="http://schemas.openxmlformats.org/officeDocument/2006/relationships/notesMaster" Target="../notesMasters/notesMaster1.xml"/></Relationships>
</file>

<file path=ppt/notesSlides/_rels/notesSlide189.xml.rels><?xml version="1.0" encoding="UTF-8" standalone="yes"?>
<Relationships xmlns="http://schemas.openxmlformats.org/package/2006/relationships"><Relationship Id="rId2" Type="http://schemas.openxmlformats.org/officeDocument/2006/relationships/slide" Target="../slides/slide18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0.xml.rels><?xml version="1.0" encoding="UTF-8" standalone="yes"?>
<Relationships xmlns="http://schemas.openxmlformats.org/package/2006/relationships"><Relationship Id="rId2" Type="http://schemas.openxmlformats.org/officeDocument/2006/relationships/slide" Target="../slides/slide190.xml"/><Relationship Id="rId1" Type="http://schemas.openxmlformats.org/officeDocument/2006/relationships/notesMaster" Target="../notesMasters/notesMaster1.xml"/></Relationships>
</file>

<file path=ppt/notesSlides/_rels/notesSlide191.xml.rels><?xml version="1.0" encoding="UTF-8" standalone="yes"?>
<Relationships xmlns="http://schemas.openxmlformats.org/package/2006/relationships"><Relationship Id="rId2" Type="http://schemas.openxmlformats.org/officeDocument/2006/relationships/slide" Target="../slides/slide191.xml"/><Relationship Id="rId1" Type="http://schemas.openxmlformats.org/officeDocument/2006/relationships/notesMaster" Target="../notesMasters/notesMaster1.xml"/></Relationships>
</file>

<file path=ppt/notesSlides/_rels/notesSlide192.xml.rels><?xml version="1.0" encoding="UTF-8" standalone="yes"?>
<Relationships xmlns="http://schemas.openxmlformats.org/package/2006/relationships"><Relationship Id="rId2" Type="http://schemas.openxmlformats.org/officeDocument/2006/relationships/slide" Target="../slides/slide192.xml"/><Relationship Id="rId1" Type="http://schemas.openxmlformats.org/officeDocument/2006/relationships/notesMaster" Target="../notesMasters/notesMaster1.xml"/></Relationships>
</file>

<file path=ppt/notesSlides/_rels/notesSlide193.xml.rels><?xml version="1.0" encoding="UTF-8" standalone="yes"?>
<Relationships xmlns="http://schemas.openxmlformats.org/package/2006/relationships"><Relationship Id="rId2" Type="http://schemas.openxmlformats.org/officeDocument/2006/relationships/slide" Target="../slides/slide193.xml"/><Relationship Id="rId1" Type="http://schemas.openxmlformats.org/officeDocument/2006/relationships/notesMaster" Target="../notesMasters/notesMaster1.xml"/></Relationships>
</file>

<file path=ppt/notesSlides/_rels/notesSlide194.xml.rels><?xml version="1.0" encoding="UTF-8" standalone="yes"?>
<Relationships xmlns="http://schemas.openxmlformats.org/package/2006/relationships"><Relationship Id="rId2" Type="http://schemas.openxmlformats.org/officeDocument/2006/relationships/slide" Target="../slides/slide194.xml"/><Relationship Id="rId1" Type="http://schemas.openxmlformats.org/officeDocument/2006/relationships/notesMaster" Target="../notesMasters/notesMaster1.xml"/></Relationships>
</file>

<file path=ppt/notesSlides/_rels/notesSlide195.xml.rels><?xml version="1.0" encoding="UTF-8" standalone="yes"?>
<Relationships xmlns="http://schemas.openxmlformats.org/package/2006/relationships"><Relationship Id="rId2" Type="http://schemas.openxmlformats.org/officeDocument/2006/relationships/slide" Target="../slides/slide195.xml"/><Relationship Id="rId1" Type="http://schemas.openxmlformats.org/officeDocument/2006/relationships/notesMaster" Target="../notesMasters/notesMaster1.xml"/></Relationships>
</file>

<file path=ppt/notesSlides/_rels/notesSlide196.xml.rels><?xml version="1.0" encoding="UTF-8" standalone="yes"?>
<Relationships xmlns="http://schemas.openxmlformats.org/package/2006/relationships"><Relationship Id="rId2" Type="http://schemas.openxmlformats.org/officeDocument/2006/relationships/slide" Target="../slides/slide196.xml"/><Relationship Id="rId1" Type="http://schemas.openxmlformats.org/officeDocument/2006/relationships/notesMaster" Target="../notesMasters/notesMaster1.xml"/></Relationships>
</file>

<file path=ppt/notesSlides/_rels/notesSlide197.xml.rels><?xml version="1.0" encoding="UTF-8" standalone="yes"?>
<Relationships xmlns="http://schemas.openxmlformats.org/package/2006/relationships"><Relationship Id="rId2" Type="http://schemas.openxmlformats.org/officeDocument/2006/relationships/slide" Target="../slides/slide197.xml"/><Relationship Id="rId1" Type="http://schemas.openxmlformats.org/officeDocument/2006/relationships/notesMaster" Target="../notesMasters/notesMaster1.xml"/></Relationships>
</file>

<file path=ppt/notesSlides/_rels/notesSlide198.xml.rels><?xml version="1.0" encoding="UTF-8" standalone="yes"?>
<Relationships xmlns="http://schemas.openxmlformats.org/package/2006/relationships"><Relationship Id="rId2" Type="http://schemas.openxmlformats.org/officeDocument/2006/relationships/slide" Target="../slides/slide19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8" Type="http://schemas.openxmlformats.org/officeDocument/2006/relationships/hyperlink" Target="https://docs.microsoft.com/en-us/azure/cosmos-db/use-cases#gaming" TargetMode="External"/><Relationship Id="rId3" Type="http://schemas.openxmlformats.org/officeDocument/2006/relationships/hyperlink" Target="https://docs.microsoft.com/en-us/azure/cosmos-db/use-cases" TargetMode="External"/><Relationship Id="rId7" Type="http://schemas.openxmlformats.org/officeDocument/2006/relationships/hyperlink" Target="https://docs.microsoft.com/en-us/azure/cosmos-db/use-cases#retail-and-marketing" TargetMode="External"/><Relationship Id="rId2" Type="http://schemas.openxmlformats.org/officeDocument/2006/relationships/slide" Target="../slides/slide44.xml"/><Relationship Id="rId1" Type="http://schemas.openxmlformats.org/officeDocument/2006/relationships/notesMaster" Target="../notesMasters/notesMaster1.xml"/><Relationship Id="rId6" Type="http://schemas.openxmlformats.org/officeDocument/2006/relationships/hyperlink" Target="https://docs.microsoft.com/en-us/azure/cosmos-db/use-cases#iot-and-telematics" TargetMode="External"/><Relationship Id="rId5" Type="http://schemas.openxmlformats.org/officeDocument/2006/relationships/hyperlink" Target="https://azure.microsoft.com/support/legal/sla/cosmos-db/" TargetMode="External"/><Relationship Id="rId4" Type="http://schemas.openxmlformats.org/officeDocument/2006/relationships/hyperlink" Target="https://docs.microsoft.com/en-us/azure/cosmos-db/distribute-data-globally" TargetMode="External"/><Relationship Id="rId9" Type="http://schemas.openxmlformats.org/officeDocument/2006/relationships/hyperlink" Target="https://docs.microsoft.com/en-us/azure/cosmos-db/use-cases#web-and-mobile-applications" TargetMode="External"/></Relationships>
</file>

<file path=ppt/notesSlides/_rels/notesSlide45.xml.rels><?xml version="1.0" encoding="UTF-8" standalone="yes"?>
<Relationships xmlns="http://schemas.openxmlformats.org/package/2006/relationships"><Relationship Id="rId3" Type="http://schemas.openxmlformats.org/officeDocument/2006/relationships/hyperlink" Target="https://aka.ms/acdbsla" TargetMode="External"/><Relationship Id="rId2" Type="http://schemas.openxmlformats.org/officeDocument/2006/relationships/slide" Target="../slides/slide45.xml"/><Relationship Id="rId1" Type="http://schemas.openxmlformats.org/officeDocument/2006/relationships/notesMaster" Target="../notesMasters/notesMaster1.xml"/><Relationship Id="rId4" Type="http://schemas.openxmlformats.org/officeDocument/2006/relationships/hyperlink" Target="https://azure.microsoft.com/try/cosmosdb/" TargetMode="Externa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3" Type="http://schemas.openxmlformats.org/officeDocument/2006/relationships/hyperlink" Target="https://docs.microsoft.com/en-us/rest/api/searchservice/" TargetMode="External"/><Relationship Id="rId2" Type="http://schemas.openxmlformats.org/officeDocument/2006/relationships/slide" Target="../slides/slide51.xml"/><Relationship Id="rId1" Type="http://schemas.openxmlformats.org/officeDocument/2006/relationships/notesMaster" Target="../notesMasters/notesMaster1.xml"/><Relationship Id="rId5" Type="http://schemas.openxmlformats.org/officeDocument/2006/relationships/hyperlink" Target="https://docs.microsoft.com/en-us/azure/search/search-what-is-azure-search#feature-drilldown" TargetMode="External"/><Relationship Id="rId4" Type="http://schemas.openxmlformats.org/officeDocument/2006/relationships/hyperlink" Target="https://docs.microsoft.com/en-us/azure/search/search-howto-dotnet-sdk" TargetMode="Externa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3" Type="http://schemas.openxmlformats.org/officeDocument/2006/relationships/hyperlink" Target="https://azure.microsoft.com/en-us/documentation/articles/hdinsight-hadoop-visual-studio-tools-get-started/" TargetMode="External"/><Relationship Id="rId7" Type="http://schemas.openxmlformats.org/officeDocument/2006/relationships/hyperlink" Target="https://azure.microsoft.com/en-us/documentation/articles/hdinsight-apache-spark-zeppelin-notebook/" TargetMode="External"/><Relationship Id="rId2" Type="http://schemas.openxmlformats.org/officeDocument/2006/relationships/slide" Target="../slides/slide55.xml"/><Relationship Id="rId1" Type="http://schemas.openxmlformats.org/officeDocument/2006/relationships/notesMaster" Target="../notesMasters/notesMaster1.xml"/><Relationship Id="rId6" Type="http://schemas.openxmlformats.org/officeDocument/2006/relationships/hyperlink" Target="https://azure.microsoft.com/en-us/documentation/articles/hdinsight-apache-spark-jupyter-notebook-kernels/" TargetMode="External"/><Relationship Id="rId5" Type="http://schemas.openxmlformats.org/officeDocument/2006/relationships/hyperlink" Target="https://azure.microsoft.com/en-us/documentation/articles/hdinsight-apache-spark-intellij-tool-plugin-debug-jobs-remotely/" TargetMode="External"/><Relationship Id="rId4" Type="http://schemas.openxmlformats.org/officeDocument/2006/relationships/hyperlink" Target="https://azure.microsoft.com/en-us/documentation/articles/hdinsight-apache-spark-eclipse-tool-plugin/" TargetMode="Externa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88.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89.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0.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91.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92.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93.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94.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95.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96.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97.xml.rels><?xml version="1.0" encoding="UTF-8" standalone="yes"?>
<Relationships xmlns="http://schemas.openxmlformats.org/package/2006/relationships"><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98.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99.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D0596E5-6523-4DD8-A9ED-0418BD42519C}" type="datetime8">
              <a:rPr lang="en-US" smtClean="0"/>
              <a:t>3/22/2018 3:03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a:t>
            </a:fld>
            <a:endParaRPr lang="en-US" dirty="0"/>
          </a:p>
        </p:txBody>
      </p:sp>
    </p:spTree>
    <p:extLst>
      <p:ext uri="{BB962C8B-B14F-4D97-AF65-F5344CB8AC3E}">
        <p14:creationId xmlns:p14="http://schemas.microsoft.com/office/powerpoint/2010/main" val="134293159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3/22/2018 3:03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0</a:t>
            </a:fld>
            <a:endParaRPr lang="en-US" dirty="0"/>
          </a:p>
        </p:txBody>
      </p:sp>
    </p:spTree>
    <p:extLst>
      <p:ext uri="{BB962C8B-B14F-4D97-AF65-F5344CB8AC3E}">
        <p14:creationId xmlns:p14="http://schemas.microsoft.com/office/powerpoint/2010/main" val="457147525"/>
      </p:ext>
    </p:extLst>
  </p:cSld>
  <p:clrMapOvr>
    <a:masterClrMapping/>
  </p:clrMapOvr>
</p:notes>
</file>

<file path=ppt/notesSlides/notesSlide1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3/22/2018 3:03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00</a:t>
            </a:fld>
            <a:endParaRPr lang="en-US" dirty="0"/>
          </a:p>
        </p:txBody>
      </p:sp>
    </p:spTree>
    <p:extLst>
      <p:ext uri="{BB962C8B-B14F-4D97-AF65-F5344CB8AC3E}">
        <p14:creationId xmlns:p14="http://schemas.microsoft.com/office/powerpoint/2010/main" val="1772118148"/>
      </p:ext>
    </p:extLst>
  </p:cSld>
  <p:clrMapOvr>
    <a:masterClrMapping/>
  </p:clrMapOvr>
</p:notes>
</file>

<file path=ppt/notesSlides/notesSlide1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a:solidFill>
                  <a:prstClr val="black"/>
                </a:solidFill>
              </a:rPr>
              <a:t>Build 2012</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32933"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2933"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59A0D577-7625-48DC-B897-41F7A5B47ECB}" type="datetime1">
              <a:rPr lang="en-US" smtClean="0">
                <a:solidFill>
                  <a:prstClr val="black"/>
                </a:solidFill>
              </a:rPr>
              <a:pPr/>
              <a:t>3/22/2018</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01</a:t>
            </a:fld>
            <a:endParaRPr lang="en-US" dirty="0">
              <a:solidFill>
                <a:prstClr val="black"/>
              </a:solidFill>
            </a:endParaRPr>
          </a:p>
        </p:txBody>
      </p:sp>
    </p:spTree>
    <p:extLst>
      <p:ext uri="{BB962C8B-B14F-4D97-AF65-F5344CB8AC3E}">
        <p14:creationId xmlns:p14="http://schemas.microsoft.com/office/powerpoint/2010/main" val="833801649"/>
      </p:ext>
    </p:extLst>
  </p:cSld>
  <p:clrMapOvr>
    <a:masterClrMapping/>
  </p:clrMapOvr>
</p:notes>
</file>

<file path=ppt/notesSlides/notesSlide1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a:solidFill>
                  <a:prstClr val="black"/>
                </a:solidFill>
              </a:rPr>
              <a:t>Build 2012</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32933"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2933"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59A0D577-7625-48DC-B897-41F7A5B47ECB}" type="datetime1">
              <a:rPr lang="en-US" smtClean="0">
                <a:solidFill>
                  <a:prstClr val="black"/>
                </a:solidFill>
              </a:rPr>
              <a:pPr/>
              <a:t>3/22/2018</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02</a:t>
            </a:fld>
            <a:endParaRPr lang="en-US" dirty="0">
              <a:solidFill>
                <a:prstClr val="black"/>
              </a:solidFill>
            </a:endParaRPr>
          </a:p>
        </p:txBody>
      </p:sp>
    </p:spTree>
    <p:extLst>
      <p:ext uri="{BB962C8B-B14F-4D97-AF65-F5344CB8AC3E}">
        <p14:creationId xmlns:p14="http://schemas.microsoft.com/office/powerpoint/2010/main" val="1946191059"/>
      </p:ext>
    </p:extLst>
  </p:cSld>
  <p:clrMapOvr>
    <a:masterClrMapping/>
  </p:clrMapOvr>
</p:notes>
</file>

<file path=ppt/notesSlides/notesSlide1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3/22/2018 3:03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03</a:t>
            </a:fld>
            <a:endParaRPr lang="en-US" dirty="0"/>
          </a:p>
        </p:txBody>
      </p:sp>
    </p:spTree>
    <p:extLst>
      <p:ext uri="{BB962C8B-B14F-4D97-AF65-F5344CB8AC3E}">
        <p14:creationId xmlns:p14="http://schemas.microsoft.com/office/powerpoint/2010/main" val="2444948499"/>
      </p:ext>
    </p:extLst>
  </p:cSld>
  <p:clrMapOvr>
    <a:masterClrMapping/>
  </p:clrMapOvr>
</p:notes>
</file>

<file path=ppt/notesSlides/notesSlide1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a:solidFill>
                  <a:prstClr val="black"/>
                </a:solidFill>
              </a:rPr>
              <a:t>Build 2012</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32933"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2933"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59A0D577-7625-48DC-B897-41F7A5B47ECB}" type="datetime1">
              <a:rPr lang="en-US" smtClean="0">
                <a:solidFill>
                  <a:prstClr val="black"/>
                </a:solidFill>
              </a:rPr>
              <a:pPr/>
              <a:t>3/22/2018</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04</a:t>
            </a:fld>
            <a:endParaRPr lang="en-US" dirty="0">
              <a:solidFill>
                <a:prstClr val="black"/>
              </a:solidFill>
            </a:endParaRPr>
          </a:p>
        </p:txBody>
      </p:sp>
    </p:spTree>
    <p:extLst>
      <p:ext uri="{BB962C8B-B14F-4D97-AF65-F5344CB8AC3E}">
        <p14:creationId xmlns:p14="http://schemas.microsoft.com/office/powerpoint/2010/main" val="417174835"/>
      </p:ext>
    </p:extLst>
  </p:cSld>
  <p:clrMapOvr>
    <a:masterClrMapping/>
  </p:clrMapOvr>
</p:notes>
</file>

<file path=ppt/notesSlides/notesSlide1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a:solidFill>
                  <a:prstClr val="black"/>
                </a:solidFill>
              </a:rPr>
              <a:t>Build 2012</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32933"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2933"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59A0D577-7625-48DC-B897-41F7A5B47ECB}" type="datetime1">
              <a:rPr lang="en-US" smtClean="0">
                <a:solidFill>
                  <a:prstClr val="black"/>
                </a:solidFill>
              </a:rPr>
              <a:pPr/>
              <a:t>3/22/2018</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05</a:t>
            </a:fld>
            <a:endParaRPr lang="en-US" dirty="0">
              <a:solidFill>
                <a:prstClr val="black"/>
              </a:solidFill>
            </a:endParaRPr>
          </a:p>
        </p:txBody>
      </p:sp>
    </p:spTree>
    <p:extLst>
      <p:ext uri="{BB962C8B-B14F-4D97-AF65-F5344CB8AC3E}">
        <p14:creationId xmlns:p14="http://schemas.microsoft.com/office/powerpoint/2010/main" val="3767821880"/>
      </p:ext>
    </p:extLst>
  </p:cSld>
  <p:clrMapOvr>
    <a:masterClrMapping/>
  </p:clrMapOvr>
</p:notes>
</file>

<file path=ppt/notesSlides/notesSlide1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3/22/2018 3:03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06</a:t>
            </a:fld>
            <a:endParaRPr lang="en-US" dirty="0"/>
          </a:p>
        </p:txBody>
      </p:sp>
    </p:spTree>
    <p:extLst>
      <p:ext uri="{BB962C8B-B14F-4D97-AF65-F5344CB8AC3E}">
        <p14:creationId xmlns:p14="http://schemas.microsoft.com/office/powerpoint/2010/main" val="3442996946"/>
      </p:ext>
    </p:extLst>
  </p:cSld>
  <p:clrMapOvr>
    <a:masterClrMapping/>
  </p:clrMapOvr>
</p:notes>
</file>

<file path=ppt/notesSlides/notesSlide1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3/22/2018 3:03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07</a:t>
            </a:fld>
            <a:endParaRPr lang="en-US" dirty="0"/>
          </a:p>
        </p:txBody>
      </p:sp>
    </p:spTree>
    <p:extLst>
      <p:ext uri="{BB962C8B-B14F-4D97-AF65-F5344CB8AC3E}">
        <p14:creationId xmlns:p14="http://schemas.microsoft.com/office/powerpoint/2010/main" val="978789527"/>
      </p:ext>
    </p:extLst>
  </p:cSld>
  <p:clrMapOvr>
    <a:masterClrMapping/>
  </p:clrMapOvr>
</p:notes>
</file>

<file path=ppt/notesSlides/notesSlide1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3/22/2018 3:03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08</a:t>
            </a:fld>
            <a:endParaRPr lang="en-US" dirty="0"/>
          </a:p>
        </p:txBody>
      </p:sp>
    </p:spTree>
    <p:extLst>
      <p:ext uri="{BB962C8B-B14F-4D97-AF65-F5344CB8AC3E}">
        <p14:creationId xmlns:p14="http://schemas.microsoft.com/office/powerpoint/2010/main" val="409007706"/>
      </p:ext>
    </p:extLst>
  </p:cSld>
  <p:clrMapOvr>
    <a:masterClrMapping/>
  </p:clrMapOvr>
</p:notes>
</file>

<file path=ppt/notesSlides/notesSlide1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3/22/2018 3:03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09</a:t>
            </a:fld>
            <a:endParaRPr lang="en-US" dirty="0"/>
          </a:p>
        </p:txBody>
      </p:sp>
    </p:spTree>
    <p:extLst>
      <p:ext uri="{BB962C8B-B14F-4D97-AF65-F5344CB8AC3E}">
        <p14:creationId xmlns:p14="http://schemas.microsoft.com/office/powerpoint/2010/main" val="16680361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688" rtl="0" eaLnBrk="1" fontAlgn="auto" latinLnBrk="0" hangingPunct="1">
              <a:lnSpc>
                <a:spcPct val="100000"/>
              </a:lnSpc>
              <a:spcBef>
                <a:spcPts val="0"/>
              </a:spcBef>
              <a:spcAft>
                <a:spcPts val="0"/>
              </a:spcAft>
              <a:buClrTx/>
              <a:buSzTx/>
              <a:buFontTx/>
              <a:buNone/>
              <a:tabLst/>
              <a:defRPr/>
            </a:pPr>
            <a:r>
              <a:rPr lang="en-US" dirty="0"/>
              <a:t>*App Service on Azure Stack is in Preview as of July 2017. </a:t>
            </a: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450795A-3AEA-4113-9713-DCEC7476C5F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24765324"/>
      </p:ext>
    </p:extLst>
  </p:cSld>
  <p:clrMapOvr>
    <a:masterClrMapping/>
  </p:clrMapOvr>
</p:notes>
</file>

<file path=ppt/notesSlides/notesSlide1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3/22/2018 3:03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10</a:t>
            </a:fld>
            <a:endParaRPr lang="en-US" dirty="0"/>
          </a:p>
        </p:txBody>
      </p:sp>
    </p:spTree>
    <p:extLst>
      <p:ext uri="{BB962C8B-B14F-4D97-AF65-F5344CB8AC3E}">
        <p14:creationId xmlns:p14="http://schemas.microsoft.com/office/powerpoint/2010/main" val="1828774886"/>
      </p:ext>
    </p:extLst>
  </p:cSld>
  <p:clrMapOvr>
    <a:masterClrMapping/>
  </p:clrMapOvr>
</p:notes>
</file>

<file path=ppt/notesSlides/notesSlide1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3/22/2018 3:03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11</a:t>
            </a:fld>
            <a:endParaRPr lang="en-US" dirty="0"/>
          </a:p>
        </p:txBody>
      </p:sp>
    </p:spTree>
    <p:extLst>
      <p:ext uri="{BB962C8B-B14F-4D97-AF65-F5344CB8AC3E}">
        <p14:creationId xmlns:p14="http://schemas.microsoft.com/office/powerpoint/2010/main" val="3388801999"/>
      </p:ext>
    </p:extLst>
  </p:cSld>
  <p:clrMapOvr>
    <a:masterClrMapping/>
  </p:clrMapOvr>
</p:notes>
</file>

<file path=ppt/notesSlides/notesSlide1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3/22/2018 3:03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12</a:t>
            </a:fld>
            <a:endParaRPr lang="en-US" dirty="0"/>
          </a:p>
        </p:txBody>
      </p:sp>
    </p:spTree>
    <p:extLst>
      <p:ext uri="{BB962C8B-B14F-4D97-AF65-F5344CB8AC3E}">
        <p14:creationId xmlns:p14="http://schemas.microsoft.com/office/powerpoint/2010/main" val="1380570555"/>
      </p:ext>
    </p:extLst>
  </p:cSld>
  <p:clrMapOvr>
    <a:masterClrMapping/>
  </p:clrMapOvr>
</p:notes>
</file>

<file path=ppt/notesSlides/notesSlide1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spcAft>
                <a:spcPts val="306"/>
              </a:spcAft>
              <a:defRPr/>
            </a:pPr>
            <a:endParaRPr lang="en-US" dirty="0"/>
          </a:p>
        </p:txBody>
      </p:sp>
      <p:sp>
        <p:nvSpPr>
          <p:cNvPr id="4" name="Slide Number Placeholder 3"/>
          <p:cNvSpPr>
            <a:spLocks noGrp="1"/>
          </p:cNvSpPr>
          <p:nvPr>
            <p:ph type="sldNum" sz="quarter" idx="10"/>
          </p:nvPr>
        </p:nvSpPr>
        <p:spPr/>
        <p:txBody>
          <a:bodyPr/>
          <a:lstStyle/>
          <a:p>
            <a:fld id="{6D581EC0-6C77-47EF-A5F1-48F7DF3073C0}" type="slidenum">
              <a:rPr lang="en-US" smtClean="0">
                <a:solidFill>
                  <a:prstClr val="black"/>
                </a:solidFill>
              </a:rPr>
              <a:pPr/>
              <a:t>113</a:t>
            </a:fld>
            <a:endParaRPr lang="en-US" dirty="0">
              <a:solidFill>
                <a:prstClr val="black"/>
              </a:solidFill>
            </a:endParaRPr>
          </a:p>
        </p:txBody>
      </p:sp>
    </p:spTree>
    <p:extLst>
      <p:ext uri="{BB962C8B-B14F-4D97-AF65-F5344CB8AC3E}">
        <p14:creationId xmlns:p14="http://schemas.microsoft.com/office/powerpoint/2010/main" val="3126668038"/>
      </p:ext>
    </p:extLst>
  </p:cSld>
  <p:clrMapOvr>
    <a:masterClrMapping/>
  </p:clrMapOvr>
</p:notes>
</file>

<file path=ppt/notesSlides/notesSlide1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3/22/2018 3:03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14</a:t>
            </a:fld>
            <a:endParaRPr lang="en-US" dirty="0"/>
          </a:p>
        </p:txBody>
      </p:sp>
    </p:spTree>
    <p:extLst>
      <p:ext uri="{BB962C8B-B14F-4D97-AF65-F5344CB8AC3E}">
        <p14:creationId xmlns:p14="http://schemas.microsoft.com/office/powerpoint/2010/main" val="841169729"/>
      </p:ext>
    </p:extLst>
  </p:cSld>
  <p:clrMapOvr>
    <a:masterClrMapping/>
  </p:clrMapOvr>
</p:notes>
</file>

<file path=ppt/notesSlides/notesSlide1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3/22/2018 3:03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15</a:t>
            </a:fld>
            <a:endParaRPr lang="en-US" dirty="0"/>
          </a:p>
        </p:txBody>
      </p:sp>
    </p:spTree>
    <p:extLst>
      <p:ext uri="{BB962C8B-B14F-4D97-AF65-F5344CB8AC3E}">
        <p14:creationId xmlns:p14="http://schemas.microsoft.com/office/powerpoint/2010/main" val="4219673481"/>
      </p:ext>
    </p:extLst>
  </p:cSld>
  <p:clrMapOvr>
    <a:masterClrMapping/>
  </p:clrMapOvr>
</p:notes>
</file>

<file path=ppt/notesSlides/notesSlide1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0" indent="0">
              <a:buNone/>
            </a:pPr>
            <a:r>
              <a:rPr lang="en-US" sz="900" dirty="0"/>
              <a:t>A set of machines (physical or virtual), that service fabric</a:t>
            </a:r>
            <a:r>
              <a:rPr lang="en-US" sz="900" baseline="0" dirty="0"/>
              <a:t> stiches together to form a reliable and fault tolerant unit called a cluster. These clusters can be scaled to 1000s of machines.</a:t>
            </a:r>
          </a:p>
          <a:p>
            <a:pPr marL="0" lvl="0" indent="0">
              <a:buNone/>
            </a:pPr>
            <a:r>
              <a:rPr lang="en-US" sz="900" baseline="0" dirty="0"/>
              <a:t>	For example - SQL Azure has regional clusters that are made of 1000s of machines.</a:t>
            </a:r>
          </a:p>
          <a:p>
            <a:pPr marL="0" lvl="0" indent="0">
              <a:buNone/>
            </a:pPr>
            <a:r>
              <a:rPr lang="en-US" sz="900" baseline="0" dirty="0"/>
              <a:t>When setting up, your Service Fabric cluster allows you to specify the failures that the cluster should survive. For example you can choose to set up a cluster that spans three Azure datacenters, so that the cluster can survive the loss of a datacenter.</a:t>
            </a:r>
          </a:p>
          <a:p>
            <a:pPr marL="0" lvl="0" indent="0">
              <a:buNone/>
            </a:pPr>
            <a:endParaRPr lang="en-US" sz="900" baseline="0" dirty="0"/>
          </a:p>
          <a:p>
            <a:pPr marL="0" lvl="0" indent="0">
              <a:buNone/>
            </a:pPr>
            <a:r>
              <a:rPr lang="en-US" sz="900" baseline="0" dirty="0"/>
              <a:t>Bing Cortana service runs on a cluster that spans three regions, making is tolerant of regional failures. Last year they had a widespread outage in one of the datacenters, taking a third of the capacity down, but  the service suffered no disruption. They service just failed over real time to the other two datacenters in the other regions. That is the kind of reliability you can get with Azure Service Fabric.</a:t>
            </a:r>
          </a:p>
          <a:p>
            <a:pPr marL="0" lvl="0" indent="0">
              <a:buNone/>
            </a:pPr>
            <a:endParaRPr lang="en-US" sz="900" baseline="0" dirty="0"/>
          </a:p>
          <a:p>
            <a:pPr marL="0" lvl="0" indent="0">
              <a:buNone/>
            </a:pPr>
            <a:r>
              <a:rPr lang="en-US" sz="900" baseline="0" dirty="0"/>
              <a:t>More about the planning for production later in the session.</a:t>
            </a:r>
          </a:p>
          <a:p>
            <a:pPr marL="0" lvl="0" indent="0">
              <a:buNone/>
            </a:pPr>
            <a:endParaRPr lang="en-US" sz="900" baseline="0" dirty="0"/>
          </a:p>
          <a:p>
            <a:r>
              <a:rPr lang="en-US" dirty="0"/>
              <a:t>Importantly</a:t>
            </a:r>
            <a:r>
              <a:rPr lang="en-US" baseline="0" dirty="0"/>
              <a:t> Service Fabric orchestration of the services is transparent to you in the event of failures. </a:t>
            </a:r>
          </a:p>
          <a:p>
            <a:endParaRPr lang="en-US" baseline="0" dirty="0"/>
          </a:p>
          <a:p>
            <a:r>
              <a:rPr lang="en-US" baseline="0" dirty="0"/>
              <a:t>For example, if a machine fails then all the services that were running on that machine are automatically redistributed across the cluster, based on the available machine resources as well as understanding the resource usage of the microservices. This is critical for example for running SQL Azure DBs where you have some very large databases and many smaller ones. Getting the best package density enables you to run the service efficiently at scale, something no human could realistically achieve.  </a:t>
            </a:r>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3/22/2018 3:03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16</a:t>
            </a:fld>
            <a:endParaRPr lang="en-US" dirty="0"/>
          </a:p>
        </p:txBody>
      </p:sp>
    </p:spTree>
    <p:extLst>
      <p:ext uri="{BB962C8B-B14F-4D97-AF65-F5344CB8AC3E}">
        <p14:creationId xmlns:p14="http://schemas.microsoft.com/office/powerpoint/2010/main" val="1941059837"/>
      </p:ext>
    </p:extLst>
  </p:cSld>
  <p:clrMapOvr>
    <a:masterClrMapping/>
  </p:clrMapOvr>
</p:notes>
</file>

<file path=ppt/notesSlides/notesSlide1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7D10C09F-FCA1-48C8-B40D-42E1045D109E}" type="datetime8">
              <a:rPr lang="en-US" smtClean="0"/>
              <a:t>3/22/2018 3:03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17</a:t>
            </a:fld>
            <a:endParaRPr lang="en-US" dirty="0"/>
          </a:p>
        </p:txBody>
      </p:sp>
    </p:spTree>
    <p:extLst>
      <p:ext uri="{BB962C8B-B14F-4D97-AF65-F5344CB8AC3E}">
        <p14:creationId xmlns:p14="http://schemas.microsoft.com/office/powerpoint/2010/main" val="123469263"/>
      </p:ext>
    </p:extLst>
  </p:cSld>
  <p:clrMapOvr>
    <a:masterClrMapping/>
  </p:clrMapOvr>
</p:notes>
</file>

<file path=ppt/notesSlides/notesSlide1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3/22/2018 3:03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18</a:t>
            </a:fld>
            <a:endParaRPr lang="en-US" dirty="0"/>
          </a:p>
        </p:txBody>
      </p:sp>
    </p:spTree>
    <p:extLst>
      <p:ext uri="{BB962C8B-B14F-4D97-AF65-F5344CB8AC3E}">
        <p14:creationId xmlns:p14="http://schemas.microsoft.com/office/powerpoint/2010/main" val="2784833727"/>
      </p:ext>
    </p:extLst>
  </p:cSld>
  <p:clrMapOvr>
    <a:masterClrMapping/>
  </p:clrMapOvr>
</p:notes>
</file>

<file path=ppt/notesSlides/notesSlide1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3/22/2018 3:03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19</a:t>
            </a:fld>
            <a:endParaRPr lang="en-US" dirty="0"/>
          </a:p>
        </p:txBody>
      </p:sp>
    </p:spTree>
    <p:extLst>
      <p:ext uri="{BB962C8B-B14F-4D97-AF65-F5344CB8AC3E}">
        <p14:creationId xmlns:p14="http://schemas.microsoft.com/office/powerpoint/2010/main" val="45767893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3/22/2018 3:03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2</a:t>
            </a:fld>
            <a:endParaRPr lang="en-US" dirty="0"/>
          </a:p>
        </p:txBody>
      </p:sp>
    </p:spTree>
    <p:extLst>
      <p:ext uri="{BB962C8B-B14F-4D97-AF65-F5344CB8AC3E}">
        <p14:creationId xmlns:p14="http://schemas.microsoft.com/office/powerpoint/2010/main" val="3108886119"/>
      </p:ext>
    </p:extLst>
  </p:cSld>
  <p:clrMapOvr>
    <a:masterClrMapping/>
  </p:clrMapOvr>
</p:notes>
</file>

<file path=ppt/notesSlides/notesSlide1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solidFill>
                  <a:schemeClr val="tx1"/>
                </a:solidFill>
              </a:rPr>
              <a:t>&lt;build slide&gt;</a:t>
            </a:r>
          </a:p>
          <a:p>
            <a:r>
              <a:rPr lang="en-US" dirty="0">
                <a:solidFill>
                  <a:schemeClr val="tx1"/>
                </a:solidFill>
              </a:rPr>
              <a:t>All first party services are </a:t>
            </a:r>
            <a:r>
              <a:rPr lang="en-US" dirty="0" err="1">
                <a:solidFill>
                  <a:schemeClr val="tx1"/>
                </a:solidFill>
              </a:rPr>
              <a:t>stateful</a:t>
            </a:r>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3/22/2018 3:03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20</a:t>
            </a:fld>
            <a:endParaRPr lang="en-US" dirty="0"/>
          </a:p>
        </p:txBody>
      </p:sp>
    </p:spTree>
    <p:extLst>
      <p:ext uri="{BB962C8B-B14F-4D97-AF65-F5344CB8AC3E}">
        <p14:creationId xmlns:p14="http://schemas.microsoft.com/office/powerpoint/2010/main" val="4195668278"/>
      </p:ext>
    </p:extLst>
  </p:cSld>
  <p:clrMapOvr>
    <a:masterClrMapping/>
  </p:clrMapOvr>
</p:notes>
</file>

<file path=ppt/notesSlides/notesSlide1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ith that short</a:t>
            </a:r>
            <a:r>
              <a:rPr lang="en-US" baseline="0" dirty="0"/>
              <a:t> background, let talk about what and how you can build applications with Service Fabric.</a:t>
            </a:r>
          </a:p>
          <a:p>
            <a:endParaRPr lang="en-US" baseline="0" dirty="0"/>
          </a:p>
          <a:p>
            <a:r>
              <a:rPr lang="en-US" baseline="0" dirty="0"/>
              <a:t>First, stateless applications are no different from the web and worker roles that you build today, in that the state is retained in an externalized store such as SQL Azure or Azure storage. This is a fine approach for certain application designs and of course you still need to handle scaling out each tier. Service Fabric brings benefits to the stateless approach with its microservices architecture by enabling fast deployment time (applications are now deployed in seconds) as well as much, much higher density. You can package 1000s of microservices on a VM, where are with Cloud Service today you are forced to have only one service per VM, underutilizing the resources.</a:t>
            </a:r>
          </a:p>
          <a:p>
            <a:endParaRPr lang="en-US" baseline="0" dirty="0"/>
          </a:p>
          <a:p>
            <a:r>
              <a:rPr lang="en-US" baseline="0" dirty="0"/>
              <a:t>Stateless services are where you let Service Fabric take care of the application state through replication and local persistence. This is really the democratization of high availability. Everyone, not just databases and high ends stores, can now have HA in your applications through simple programming models with full data consistency. Think about this. Your apps do not need to do lots of data manipulation to write data to another store. </a:t>
            </a:r>
          </a:p>
          <a:p>
            <a:endParaRPr lang="en-US" baseline="0" dirty="0"/>
          </a:p>
          <a:p>
            <a:r>
              <a:rPr lang="en-US" baseline="0" dirty="0" err="1"/>
              <a:t>Stateful</a:t>
            </a:r>
            <a:r>
              <a:rPr lang="en-US" baseline="0" dirty="0"/>
              <a:t> services are recognition that there are limitation with just a pure stateless service design to address two issues. Reduces latency of your applications and makes it more responsive to users, since data is locally stored. Reduces complexity of you application since you no longer need to have additional caches (which only deal with read latency) and additional queues in order to make your services reliable. You literally remove these extra services from your design, making the overall service simple and have a SINGLE approach to management.</a:t>
            </a:r>
          </a:p>
          <a:p>
            <a:endParaRPr lang="en-US" baseline="0" dirty="0"/>
          </a:p>
          <a:p>
            <a:r>
              <a:rPr lang="en-US" baseline="0" dirty="0"/>
              <a:t>Finally, although Service Fabric provides a runtime for you to build applications, this does not prevent you from using other runtime in you applications. So, you may have a service that has a node.js front end that communicate with back-end Stateless and </a:t>
            </a:r>
            <a:r>
              <a:rPr lang="en-US" baseline="0" dirty="0" err="1"/>
              <a:t>Stateful</a:t>
            </a:r>
            <a:r>
              <a:rPr lang="en-US" baseline="0" dirty="0"/>
              <a:t> Services. Or you may deploy application that run in Java VM or simply deploy some EXE that you have that need to be used by your service. Service Fabric will makes these other runtime reliable, if needed, but ensuring that the specified number of instances is always running. You will get the full benefits of the deep resource balancing of the Service Fabric microservices built with the Service Fabric runtime and ALM capabilities; you can reuse existing code and have the benefit of a SINGLE approach to management. Not bad!</a:t>
            </a:r>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3/22/2018 3:03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21</a:t>
            </a:fld>
            <a:endParaRPr lang="en-US" dirty="0"/>
          </a:p>
        </p:txBody>
      </p:sp>
    </p:spTree>
    <p:extLst>
      <p:ext uri="{BB962C8B-B14F-4D97-AF65-F5344CB8AC3E}">
        <p14:creationId xmlns:p14="http://schemas.microsoft.com/office/powerpoint/2010/main" val="405560228"/>
      </p:ext>
    </p:extLst>
  </p:cSld>
  <p:clrMapOvr>
    <a:masterClrMapping/>
  </p:clrMapOvr>
</p:notes>
</file>

<file path=ppt/notesSlides/notesSlide1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3/22/2018 3:03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22</a:t>
            </a:fld>
            <a:endParaRPr lang="en-US" dirty="0"/>
          </a:p>
        </p:txBody>
      </p:sp>
    </p:spTree>
    <p:extLst>
      <p:ext uri="{BB962C8B-B14F-4D97-AF65-F5344CB8AC3E}">
        <p14:creationId xmlns:p14="http://schemas.microsoft.com/office/powerpoint/2010/main" val="1463844430"/>
      </p:ext>
    </p:extLst>
  </p:cSld>
  <p:clrMapOvr>
    <a:masterClrMapping/>
  </p:clrMapOvr>
</p:notes>
</file>

<file path=ppt/notesSlides/notesSlide1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Actor</a:t>
            </a:r>
            <a:r>
              <a:rPr lang="en-US" baseline="0" dirty="0"/>
              <a:t> concept was originated in the early 70</a:t>
            </a:r>
            <a:r>
              <a:rPr lang="en-US" baseline="30000" dirty="0"/>
              <a:t> </a:t>
            </a:r>
            <a:r>
              <a:rPr lang="en-US" baseline="0" dirty="0"/>
              <a:t>in order to do large scale parallel processing and is becoming more popular with the advent of cloud computing. It’s meant to make writing distributed applications easier by dividing the problem in multiple units of state and computation that can run in parallel. Each unit in a simple single-threaded. Actors are actually very similar to objects in the way they represent state with some logic that operates on that state. These actors communicates with each other using asynchronous messages. </a:t>
            </a:r>
          </a:p>
          <a:p>
            <a:endParaRPr lang="en-US" baseline="0" dirty="0"/>
          </a:p>
          <a:p>
            <a:r>
              <a:rPr lang="en-US" baseline="0" dirty="0"/>
              <a:t>Running the actors on top of Service Fabric, you get the reliability of code as well as state and all other benefits of Service Fabric platform, like security, placement and resource balancing, zero downtime upgrade, locally replicated stores. </a:t>
            </a:r>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3/22/2018 3:03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23</a:t>
            </a:fld>
            <a:endParaRPr lang="en-US" dirty="0"/>
          </a:p>
        </p:txBody>
      </p:sp>
    </p:spTree>
    <p:extLst>
      <p:ext uri="{BB962C8B-B14F-4D97-AF65-F5344CB8AC3E}">
        <p14:creationId xmlns:p14="http://schemas.microsoft.com/office/powerpoint/2010/main" val="291072225"/>
      </p:ext>
    </p:extLst>
  </p:cSld>
  <p:clrMapOvr>
    <a:masterClrMapping/>
  </p:clrMapOvr>
</p:notes>
</file>

<file path=ppt/notesSlides/notesSlide1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3/22/2018 3:03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24</a:t>
            </a:fld>
            <a:endParaRPr lang="en-US" dirty="0"/>
          </a:p>
        </p:txBody>
      </p:sp>
    </p:spTree>
    <p:extLst>
      <p:ext uri="{BB962C8B-B14F-4D97-AF65-F5344CB8AC3E}">
        <p14:creationId xmlns:p14="http://schemas.microsoft.com/office/powerpoint/2010/main" val="3468536276"/>
      </p:ext>
    </p:extLst>
  </p:cSld>
  <p:clrMapOvr>
    <a:masterClrMapping/>
  </p:clrMapOvr>
</p:notes>
</file>

<file path=ppt/notesSlides/notesSlide1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7D10C09F-FCA1-48C8-B40D-42E1045D109E}" type="datetime8">
              <a:rPr lang="en-US" smtClean="0"/>
              <a:t>3/22/2018 3:03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25</a:t>
            </a:fld>
            <a:endParaRPr lang="en-US" dirty="0"/>
          </a:p>
        </p:txBody>
      </p:sp>
    </p:spTree>
    <p:extLst>
      <p:ext uri="{BB962C8B-B14F-4D97-AF65-F5344CB8AC3E}">
        <p14:creationId xmlns:p14="http://schemas.microsoft.com/office/powerpoint/2010/main" val="3438838223"/>
      </p:ext>
    </p:extLst>
  </p:cSld>
  <p:clrMapOvr>
    <a:masterClrMapping/>
  </p:clrMapOvr>
</p:notes>
</file>

<file path=ppt/notesSlides/notesSlide1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r>
              <a:rPr lang="en-US" dirty="0"/>
              <a:t>The</a:t>
            </a:r>
            <a:r>
              <a:rPr lang="en-US" baseline="0" dirty="0"/>
              <a:t> Actor API allows you to build objects with virtual actor programming model. The actors are just like objects, you write your services in a natural object-oriented way. It is suitable for applications with multiple independent units of state and compute. The framework provides automatic state management and simple turn based concurrency model that eliminates the needs to write synchronization code. Let’s go ahead and build a reliable actor using the APIs.</a:t>
            </a:r>
            <a:endParaRPr lang="en-US" dirty="0"/>
          </a:p>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3/22/2018 3:03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26</a:t>
            </a:fld>
            <a:endParaRPr lang="en-US" dirty="0"/>
          </a:p>
        </p:txBody>
      </p:sp>
    </p:spTree>
    <p:extLst>
      <p:ext uri="{BB962C8B-B14F-4D97-AF65-F5344CB8AC3E}">
        <p14:creationId xmlns:p14="http://schemas.microsoft.com/office/powerpoint/2010/main" val="4035758202"/>
      </p:ext>
    </p:extLst>
  </p:cSld>
  <p:clrMapOvr>
    <a:masterClrMapping/>
  </p:clrMapOvr>
</p:notes>
</file>

<file path=ppt/notesSlides/notesSlide1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dirty="0"/>
              <a:t>We have looked at the Reliable Actors API,</a:t>
            </a:r>
            <a:r>
              <a:rPr lang="en-US" baseline="0" dirty="0"/>
              <a:t> now let’s look at the </a:t>
            </a:r>
            <a:r>
              <a:rPr lang="en-US" dirty="0"/>
              <a:t>Reliable services APIs. They provides</a:t>
            </a:r>
            <a:r>
              <a:rPr lang="en-US" baseline="0" dirty="0"/>
              <a:t> more flexibility and control in building stateless and </a:t>
            </a:r>
            <a:r>
              <a:rPr lang="en-US" baseline="0" dirty="0" err="1"/>
              <a:t>stateful</a:t>
            </a:r>
            <a:r>
              <a:rPr lang="en-US" baseline="0" dirty="0"/>
              <a:t> services.  For example you can use an existing stateless ASP.NET applications and deploy it in Service Fabric to make use of the application lifecycle, monitoring  and failover capabilities of Service Fabric. </a:t>
            </a:r>
          </a:p>
          <a:p>
            <a:endParaRPr lang="en-US" baseline="0" dirty="0"/>
          </a:p>
          <a:p>
            <a:r>
              <a:rPr lang="en-US" baseline="0" dirty="0"/>
              <a:t>You can build the </a:t>
            </a:r>
            <a:r>
              <a:rPr lang="en-US" baseline="0" dirty="0" err="1"/>
              <a:t>Stateful</a:t>
            </a:r>
            <a:r>
              <a:rPr lang="en-US" baseline="0" dirty="0"/>
              <a:t> Services using reliable collections which we will talk in a bit. In contrast to the actor APIs that provided turn based concurrency only, here you control the concurrency and granularity of changes through transactions. Therefore, you can achieve higher performance in cases where it is not natural to divide the state and processing in multiple independent units.  You can also use the choice of your technology for communicating with the service. E.g. </a:t>
            </a:r>
            <a:r>
              <a:rPr lang="en-US" baseline="0" dirty="0" err="1"/>
              <a:t>WebAPI</a:t>
            </a:r>
            <a:r>
              <a:rPr lang="en-US" baseline="0" dirty="0"/>
              <a:t>, WCF, TCP sockets, FTP  </a:t>
            </a:r>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7D10C09F-FCA1-48C8-B40D-42E1045D109E}" type="datetime8">
              <a:rPr lang="en-US" smtClean="0"/>
              <a:t>3/22/2018 3:03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27</a:t>
            </a:fld>
            <a:endParaRPr lang="en-US" dirty="0"/>
          </a:p>
        </p:txBody>
      </p:sp>
    </p:spTree>
    <p:extLst>
      <p:ext uri="{BB962C8B-B14F-4D97-AF65-F5344CB8AC3E}">
        <p14:creationId xmlns:p14="http://schemas.microsoft.com/office/powerpoint/2010/main" val="1742961657"/>
      </p:ext>
    </p:extLst>
  </p:cSld>
  <p:clrMapOvr>
    <a:masterClrMapping/>
  </p:clrMapOvr>
</p:notes>
</file>

<file path=ppt/notesSlides/notesSlide1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7D10C09F-FCA1-48C8-B40D-42E1045D109E}" type="datetime8">
              <a:rPr lang="en-US" smtClean="0"/>
              <a:t>3/22/2018 3:03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28</a:t>
            </a:fld>
            <a:endParaRPr lang="en-US" dirty="0"/>
          </a:p>
        </p:txBody>
      </p:sp>
    </p:spTree>
    <p:extLst>
      <p:ext uri="{BB962C8B-B14F-4D97-AF65-F5344CB8AC3E}">
        <p14:creationId xmlns:p14="http://schemas.microsoft.com/office/powerpoint/2010/main" val="3972072582"/>
      </p:ext>
    </p:extLst>
  </p:cSld>
  <p:clrMapOvr>
    <a:masterClrMapping/>
  </p:clrMapOvr>
</p:notes>
</file>

<file path=ppt/notesSlides/notesSlide1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7D10C09F-FCA1-48C8-B40D-42E1045D109E}" type="datetime8">
              <a:rPr lang="en-US" smtClean="0"/>
              <a:t>3/22/2018 3:03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29</a:t>
            </a:fld>
            <a:endParaRPr lang="en-US" dirty="0"/>
          </a:p>
        </p:txBody>
      </p:sp>
    </p:spTree>
    <p:extLst>
      <p:ext uri="{BB962C8B-B14F-4D97-AF65-F5344CB8AC3E}">
        <p14:creationId xmlns:p14="http://schemas.microsoft.com/office/powerpoint/2010/main" val="315236849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a:t>And customers</a:t>
            </a:r>
            <a:r>
              <a:rPr lang="en-US" baseline="0" dirty="0"/>
              <a:t> are using some of these features</a:t>
            </a:r>
          </a:p>
          <a:p>
            <a:pPr marL="0" marR="0" indent="0" algn="l" defTabSz="914400" rtl="0" eaLnBrk="1" fontAlgn="auto" latinLnBrk="0" hangingPunct="1">
              <a:lnSpc>
                <a:spcPct val="100000"/>
              </a:lnSpc>
              <a:spcBef>
                <a:spcPts val="0"/>
              </a:spcBef>
              <a:spcAft>
                <a:spcPts val="0"/>
              </a:spcAft>
              <a:buClrTx/>
              <a:buSzTx/>
              <a:buFontTx/>
              <a:buNone/>
              <a:tabLst/>
              <a:defRPr/>
            </a:pPr>
            <a:r>
              <a:rPr lang="en-US" baseline="0" dirty="0"/>
              <a:t>This is a partial feature list and we are not going to cover each and every feature. </a:t>
            </a:r>
          </a:p>
          <a:p>
            <a:pPr marL="0" marR="0" indent="0" algn="l" defTabSz="914400" rtl="0" eaLnBrk="1" fontAlgn="auto" latinLnBrk="0" hangingPunct="1">
              <a:lnSpc>
                <a:spcPct val="100000"/>
              </a:lnSpc>
              <a:spcBef>
                <a:spcPts val="0"/>
              </a:spcBef>
              <a:spcAft>
                <a:spcPts val="0"/>
              </a:spcAft>
              <a:buClrTx/>
              <a:buSzTx/>
              <a:buFontTx/>
              <a:buNone/>
              <a:tabLst/>
              <a:defRPr/>
            </a:pPr>
            <a:r>
              <a:rPr lang="en-US" baseline="0" dirty="0"/>
              <a:t>However, I do want to point that we have relapsed </a:t>
            </a:r>
            <a:r>
              <a:rPr lang="en-US" dirty="0"/>
              <a:t>21</a:t>
            </a:r>
            <a:r>
              <a:rPr lang="en-US" baseline="0" dirty="0"/>
              <a:t>new public facing features in the past 12 months. at a rate more than 2 features per month…. </a:t>
            </a:r>
          </a:p>
          <a:p>
            <a:r>
              <a:rPr lang="en-US" baseline="0" dirty="0"/>
              <a:t>We plan to continue this pace and even accelerate it to provide more value and innovation to our customers </a:t>
            </a:r>
          </a:p>
          <a:p>
            <a:endParaRPr lang="en-US" baseline="0" dirty="0"/>
          </a:p>
          <a:p>
            <a:endParaRPr lang="en-US" baseline="0" dirty="0"/>
          </a:p>
          <a:p>
            <a:pPr>
              <a:spcAft>
                <a:spcPts val="306"/>
              </a:spcAft>
              <a:defRPr/>
            </a:pPr>
            <a:r>
              <a:rPr lang="en-US" sz="900" dirty="0">
                <a:solidFill>
                  <a:srgbClr val="FFFFFF"/>
                </a:solidFill>
                <a:latin typeface="Segoe UI Light" charset="0"/>
                <a:ea typeface="Calibri" panose="020F0502020204030204" pitchFamily="34" charset="0"/>
                <a:cs typeface="Calibri" panose="020F0502020204030204" pitchFamily="34" charset="0"/>
              </a:rPr>
              <a:t>Hybrid Connections / VPN Support</a:t>
            </a:r>
          </a:p>
          <a:p>
            <a:pPr>
              <a:spcAft>
                <a:spcPts val="306"/>
              </a:spcAft>
              <a:defRPr/>
            </a:pPr>
            <a:r>
              <a:rPr lang="en-US" sz="900" dirty="0">
                <a:solidFill>
                  <a:srgbClr val="FFFFFF"/>
                </a:solidFill>
                <a:latin typeface="Segoe UI Light" charset="0"/>
                <a:ea typeface="Calibri" panose="020F0502020204030204" pitchFamily="34" charset="0"/>
                <a:cs typeface="Calibri" panose="020F0502020204030204" pitchFamily="34" charset="0"/>
              </a:rPr>
              <a:t>Scheduled Backup</a:t>
            </a:r>
          </a:p>
          <a:p>
            <a:pPr>
              <a:spcAft>
                <a:spcPts val="306"/>
              </a:spcAft>
              <a:defRPr/>
            </a:pPr>
            <a:r>
              <a:rPr lang="en-US" sz="900" dirty="0">
                <a:solidFill>
                  <a:srgbClr val="FFFFFF"/>
                </a:solidFill>
                <a:latin typeface="Segoe UI Light" charset="0"/>
                <a:ea typeface="Calibri" panose="020F0502020204030204" pitchFamily="34" charset="0"/>
                <a:cs typeface="Calibri" panose="020F0502020204030204" pitchFamily="34" charset="0"/>
              </a:rPr>
              <a:t>Azure Active Directory Integration </a:t>
            </a:r>
          </a:p>
          <a:p>
            <a:pPr>
              <a:spcAft>
                <a:spcPts val="306"/>
              </a:spcAft>
              <a:defRPr/>
            </a:pPr>
            <a:r>
              <a:rPr lang="en-US" sz="900" dirty="0">
                <a:solidFill>
                  <a:srgbClr val="FFFFFF"/>
                </a:solidFill>
                <a:latin typeface="Segoe UI Light" charset="0"/>
                <a:ea typeface="Calibri" panose="020F0502020204030204" pitchFamily="34" charset="0"/>
                <a:cs typeface="Calibri" panose="020F0502020204030204" pitchFamily="34" charset="0"/>
              </a:rPr>
              <a:t>Site Resiliency, HA, and DR</a:t>
            </a:r>
          </a:p>
          <a:p>
            <a:pPr>
              <a:spcAft>
                <a:spcPts val="306"/>
              </a:spcAft>
              <a:defRPr/>
            </a:pPr>
            <a:r>
              <a:rPr lang="en-US" sz="900" dirty="0">
                <a:solidFill>
                  <a:srgbClr val="FFFFFF"/>
                </a:solidFill>
                <a:latin typeface="Segoe UI Light" charset="0"/>
                <a:ea typeface="Calibri" panose="020F0502020204030204" pitchFamily="34" charset="0"/>
                <a:cs typeface="Calibri" panose="020F0502020204030204" pitchFamily="34" charset="0"/>
              </a:rPr>
              <a:t>Web Jobs</a:t>
            </a:r>
          </a:p>
          <a:p>
            <a:pPr>
              <a:spcAft>
                <a:spcPts val="306"/>
              </a:spcAft>
              <a:defRPr/>
            </a:pPr>
            <a:r>
              <a:rPr lang="en-US" sz="900" dirty="0">
                <a:solidFill>
                  <a:srgbClr val="FFFFFF"/>
                </a:solidFill>
                <a:latin typeface="Segoe UI Light" charset="0"/>
                <a:ea typeface="Calibri" panose="020F0502020204030204" pitchFamily="34" charset="0"/>
                <a:cs typeface="Calibri" panose="020F0502020204030204" pitchFamily="34" charset="0"/>
              </a:rPr>
              <a:t>Role Base Access Control </a:t>
            </a:r>
          </a:p>
          <a:p>
            <a:pPr>
              <a:spcAft>
                <a:spcPts val="306"/>
              </a:spcAft>
              <a:defRPr/>
            </a:pPr>
            <a:r>
              <a:rPr lang="en-US" sz="900" dirty="0">
                <a:solidFill>
                  <a:srgbClr val="FFFFFF"/>
                </a:solidFill>
                <a:latin typeface="Segoe UI Light" charset="0"/>
                <a:ea typeface="Calibri" panose="020F0502020204030204" pitchFamily="34" charset="0"/>
                <a:cs typeface="Calibri" panose="020F0502020204030204" pitchFamily="34" charset="0"/>
              </a:rPr>
              <a:t>Audit / Compliance </a:t>
            </a:r>
          </a:p>
          <a:p>
            <a:pPr>
              <a:spcAft>
                <a:spcPts val="306"/>
              </a:spcAft>
              <a:defRPr/>
            </a:pPr>
            <a:r>
              <a:rPr lang="en-US" sz="900" dirty="0">
                <a:solidFill>
                  <a:srgbClr val="FFFFFF"/>
                </a:solidFill>
                <a:latin typeface="Segoe UI Light" charset="0"/>
                <a:ea typeface="Calibri" panose="020F0502020204030204" pitchFamily="34" charset="0"/>
                <a:cs typeface="Calibri" panose="020F0502020204030204" pitchFamily="34" charset="0"/>
              </a:rPr>
              <a:t>Enterprise Migration</a:t>
            </a:r>
          </a:p>
          <a:p>
            <a:pPr>
              <a:spcAft>
                <a:spcPts val="306"/>
              </a:spcAft>
              <a:defRPr/>
            </a:pPr>
            <a:r>
              <a:rPr lang="en-US" sz="900" dirty="0">
                <a:solidFill>
                  <a:srgbClr val="FFFFFF"/>
                </a:solidFill>
                <a:latin typeface="Segoe UI Light" charset="0"/>
                <a:ea typeface="Calibri" panose="020F0502020204030204" pitchFamily="34" charset="0"/>
                <a:cs typeface="Calibri" panose="020F0502020204030204" pitchFamily="34" charset="0"/>
              </a:rPr>
              <a:t>Client Certs </a:t>
            </a:r>
          </a:p>
          <a:p>
            <a:pPr>
              <a:spcAft>
                <a:spcPts val="306"/>
              </a:spcAft>
              <a:defRPr/>
            </a:pPr>
            <a:r>
              <a:rPr lang="en-US" sz="900" dirty="0">
                <a:solidFill>
                  <a:srgbClr val="FFFFFF"/>
                </a:solidFill>
                <a:latin typeface="Segoe UI Light" charset="0"/>
                <a:ea typeface="Calibri" panose="020F0502020204030204" pitchFamily="34" charset="0"/>
                <a:cs typeface="Calibri" panose="020F0502020204030204" pitchFamily="34" charset="0"/>
              </a:rPr>
              <a:t>Cache</a:t>
            </a:r>
          </a:p>
          <a:p>
            <a:pPr>
              <a:spcAft>
                <a:spcPts val="306"/>
              </a:spcAft>
              <a:defRPr/>
            </a:pPr>
            <a:r>
              <a:rPr lang="en-US" sz="900" dirty="0">
                <a:solidFill>
                  <a:srgbClr val="FFFFFF"/>
                </a:solidFill>
                <a:latin typeface="Segoe UI Light" charset="0"/>
                <a:ea typeface="Calibri" panose="020F0502020204030204" pitchFamily="34" charset="0"/>
                <a:cs typeface="Calibri" panose="020F0502020204030204" pitchFamily="34" charset="0"/>
              </a:rPr>
              <a:t>IP Restrictions/ SSL</a:t>
            </a:r>
          </a:p>
          <a:p>
            <a:pPr>
              <a:spcAft>
                <a:spcPts val="306"/>
              </a:spcAft>
              <a:defRPr/>
            </a:pPr>
            <a:r>
              <a:rPr lang="en-US" sz="900" dirty="0">
                <a:solidFill>
                  <a:srgbClr val="FFFFFF"/>
                </a:solidFill>
                <a:latin typeface="Segoe UI Light" charset="0"/>
                <a:ea typeface="Calibri" panose="020F0502020204030204" pitchFamily="34" charset="0"/>
                <a:cs typeface="Calibri" panose="020F0502020204030204" pitchFamily="34" charset="0"/>
              </a:rPr>
              <a:t>Web Sockets</a:t>
            </a:r>
          </a:p>
          <a:p>
            <a:pPr>
              <a:spcAft>
                <a:spcPts val="306"/>
              </a:spcAft>
              <a:defRPr/>
            </a:pPr>
            <a:r>
              <a:rPr lang="en-US" sz="900" dirty="0">
                <a:solidFill>
                  <a:srgbClr val="FFFFFF"/>
                </a:solidFill>
                <a:latin typeface="Segoe UI Light" charset="0"/>
                <a:ea typeface="Calibri" panose="020F0502020204030204" pitchFamily="34" charset="0"/>
                <a:cs typeface="Calibri" panose="020F0502020204030204" pitchFamily="34" charset="0"/>
              </a:rPr>
              <a:t>SQL, MySQL, </a:t>
            </a:r>
            <a:r>
              <a:rPr lang="en-US" sz="900" dirty="0" err="1">
                <a:solidFill>
                  <a:srgbClr val="FFFFFF"/>
                </a:solidFill>
                <a:latin typeface="Segoe UI Light" charset="0"/>
                <a:ea typeface="Calibri" panose="020F0502020204030204" pitchFamily="34" charset="0"/>
                <a:cs typeface="Calibri" panose="020F0502020204030204" pitchFamily="34" charset="0"/>
              </a:rPr>
              <a:t>DocDB</a:t>
            </a:r>
            <a:r>
              <a:rPr lang="en-US" sz="900" dirty="0">
                <a:solidFill>
                  <a:srgbClr val="FFFFFF"/>
                </a:solidFill>
                <a:latin typeface="Segoe UI Light" charset="0"/>
                <a:ea typeface="Calibri" panose="020F0502020204030204" pitchFamily="34" charset="0"/>
                <a:cs typeface="Calibri" panose="020F0502020204030204" pitchFamily="34" charset="0"/>
              </a:rPr>
              <a:t>, &amp; Mongo</a:t>
            </a:r>
          </a:p>
          <a:p>
            <a:pPr>
              <a:spcAft>
                <a:spcPts val="306"/>
              </a:spcAft>
              <a:defRPr/>
            </a:pPr>
            <a:r>
              <a:rPr lang="en-US" sz="900" dirty="0">
                <a:solidFill>
                  <a:srgbClr val="FFFFFF"/>
                </a:solidFill>
                <a:latin typeface="Segoe UI Light" charset="0"/>
                <a:ea typeface="Calibri" panose="020F0502020204030204" pitchFamily="34" charset="0"/>
                <a:cs typeface="Calibri" panose="020F0502020204030204" pitchFamily="34" charset="0"/>
              </a:rPr>
              <a:t>Sticky Sessions </a:t>
            </a:r>
          </a:p>
          <a:p>
            <a:pPr>
              <a:spcAft>
                <a:spcPts val="306"/>
              </a:spcAft>
              <a:defRPr/>
            </a:pPr>
            <a:r>
              <a:rPr lang="en-US" sz="900" dirty="0">
                <a:solidFill>
                  <a:srgbClr val="FFFFFF"/>
                </a:solidFill>
                <a:latin typeface="Segoe UI Light" charset="0"/>
                <a:ea typeface="Calibri" panose="020F0502020204030204" pitchFamily="34" charset="0"/>
                <a:cs typeface="Calibri" panose="020F0502020204030204" pitchFamily="34" charset="0"/>
              </a:rPr>
              <a:t>Authorization/ Authentication</a:t>
            </a:r>
          </a:p>
          <a:p>
            <a:endParaRPr lang="en-US" baseline="0" dirty="0"/>
          </a:p>
          <a:p>
            <a:endParaRPr lang="en-US" baseline="0" dirty="0"/>
          </a:p>
          <a:p>
            <a:pPr>
              <a:spcAft>
                <a:spcPts val="306"/>
              </a:spcAft>
              <a:defRPr/>
            </a:pPr>
            <a:r>
              <a:rPr lang="en-US" sz="900" dirty="0">
                <a:solidFill>
                  <a:srgbClr val="FFFFFF"/>
                </a:solidFill>
                <a:latin typeface="Segoe UI Light" charset="0"/>
                <a:ea typeface="Calibri" panose="020F0502020204030204" pitchFamily="34" charset="0"/>
                <a:cs typeface="Calibri" panose="020F0502020204030204" pitchFamily="34" charset="0"/>
              </a:rPr>
              <a:t>Automated Deployment</a:t>
            </a:r>
            <a:br>
              <a:rPr lang="en-US" sz="900" dirty="0">
                <a:solidFill>
                  <a:srgbClr val="FFFFFF"/>
                </a:solidFill>
                <a:latin typeface="Segoe UI Light" charset="0"/>
                <a:ea typeface="Calibri" panose="020F0502020204030204" pitchFamily="34" charset="0"/>
                <a:cs typeface="Calibri" panose="020F0502020204030204" pitchFamily="34" charset="0"/>
              </a:rPr>
            </a:br>
            <a:r>
              <a:rPr lang="en-US" sz="900" dirty="0" err="1">
                <a:solidFill>
                  <a:srgbClr val="FFFFFF"/>
                </a:solidFill>
                <a:latin typeface="Segoe UI Light" charset="0"/>
                <a:ea typeface="Calibri" panose="020F0502020204030204" pitchFamily="34" charset="0"/>
                <a:cs typeface="Calibri" panose="020F0502020204030204" pitchFamily="34" charset="0"/>
              </a:rPr>
              <a:t>AutoScale</a:t>
            </a:r>
            <a:endParaRPr lang="en-US" sz="900" dirty="0">
              <a:solidFill>
                <a:srgbClr val="FFFFFF"/>
              </a:solidFill>
              <a:latin typeface="Segoe UI Light" charset="0"/>
              <a:ea typeface="Calibri" panose="020F0502020204030204" pitchFamily="34" charset="0"/>
              <a:cs typeface="Calibri" panose="020F0502020204030204" pitchFamily="34" charset="0"/>
            </a:endParaRPr>
          </a:p>
          <a:p>
            <a:pPr>
              <a:spcAft>
                <a:spcPts val="306"/>
              </a:spcAft>
              <a:defRPr/>
            </a:pPr>
            <a:r>
              <a:rPr lang="en-US" sz="900" dirty="0">
                <a:solidFill>
                  <a:srgbClr val="FFFFFF"/>
                </a:solidFill>
                <a:latin typeface="Segoe UI Light" charset="0"/>
                <a:ea typeface="Calibri" panose="020F0502020204030204" pitchFamily="34" charset="0"/>
                <a:cs typeface="Calibri" panose="020F0502020204030204" pitchFamily="34" charset="0"/>
              </a:rPr>
              <a:t>Built-in Load Balancing</a:t>
            </a:r>
          </a:p>
          <a:p>
            <a:pPr>
              <a:spcAft>
                <a:spcPts val="306"/>
              </a:spcAft>
              <a:defRPr/>
            </a:pPr>
            <a:r>
              <a:rPr lang="en-US" sz="900" dirty="0">
                <a:solidFill>
                  <a:srgbClr val="FFFFFF"/>
                </a:solidFill>
                <a:latin typeface="Segoe UI Light" charset="0"/>
                <a:ea typeface="Calibri" panose="020F0502020204030204" pitchFamily="34" charset="0"/>
                <a:cs typeface="Calibri" panose="020F0502020204030204" pitchFamily="34" charset="0"/>
              </a:rPr>
              <a:t>WW Datacenter Coverage</a:t>
            </a:r>
          </a:p>
          <a:p>
            <a:pPr>
              <a:spcAft>
                <a:spcPts val="306"/>
              </a:spcAft>
              <a:defRPr/>
            </a:pPr>
            <a:r>
              <a:rPr lang="en-US" sz="900" dirty="0">
                <a:solidFill>
                  <a:srgbClr val="FFFFFF"/>
                </a:solidFill>
                <a:latin typeface="Segoe UI Light" charset="0"/>
                <a:ea typeface="Calibri" panose="020F0502020204030204" pitchFamily="34" charset="0"/>
                <a:cs typeface="Calibri" panose="020F0502020204030204" pitchFamily="34" charset="0"/>
              </a:rPr>
              <a:t>End Point Monitoring &amp; Alerts</a:t>
            </a:r>
          </a:p>
          <a:p>
            <a:pPr>
              <a:spcAft>
                <a:spcPts val="306"/>
              </a:spcAft>
              <a:defRPr/>
            </a:pPr>
            <a:r>
              <a:rPr lang="en-US" sz="900" dirty="0">
                <a:solidFill>
                  <a:srgbClr val="FFFFFF"/>
                </a:solidFill>
                <a:latin typeface="Segoe UI Light" charset="0"/>
                <a:ea typeface="Calibri" panose="020F0502020204030204" pitchFamily="34" charset="0"/>
                <a:cs typeface="Calibri" panose="020F0502020204030204" pitchFamily="34" charset="0"/>
              </a:rPr>
              <a:t>App Gallery</a:t>
            </a:r>
          </a:p>
          <a:p>
            <a:pPr>
              <a:spcAft>
                <a:spcPts val="306"/>
              </a:spcAft>
              <a:defRPr/>
            </a:pPr>
            <a:r>
              <a:rPr lang="en-US" sz="900" dirty="0">
                <a:solidFill>
                  <a:srgbClr val="FFFFFF"/>
                </a:solidFill>
                <a:latin typeface="Segoe UI Light" charset="0"/>
                <a:ea typeface="Calibri" panose="020F0502020204030204" pitchFamily="34" charset="0"/>
                <a:cs typeface="Calibri" panose="020F0502020204030204" pitchFamily="34" charset="0"/>
              </a:rPr>
              <a:t>DR Site Support</a:t>
            </a:r>
          </a:p>
          <a:p>
            <a:pPr>
              <a:spcAft>
                <a:spcPts val="306"/>
              </a:spcAft>
              <a:defRPr/>
            </a:pPr>
            <a:r>
              <a:rPr lang="en-US" sz="900" dirty="0" err="1">
                <a:solidFill>
                  <a:srgbClr val="FFFFFF"/>
                </a:solidFill>
                <a:latin typeface="Segoe UI Light" charset="0"/>
                <a:ea typeface="Calibri" panose="020F0502020204030204" pitchFamily="34" charset="0"/>
                <a:cs typeface="Calibri" panose="020F0502020204030204" pitchFamily="34" charset="0"/>
              </a:rPr>
              <a:t>WildCard</a:t>
            </a:r>
            <a:r>
              <a:rPr lang="en-US" sz="900" dirty="0">
                <a:solidFill>
                  <a:srgbClr val="FFFFFF"/>
                </a:solidFill>
                <a:latin typeface="Segoe UI Light" charset="0"/>
                <a:ea typeface="Calibri" panose="020F0502020204030204" pitchFamily="34" charset="0"/>
                <a:cs typeface="Calibri" panose="020F0502020204030204" pitchFamily="34" charset="0"/>
              </a:rPr>
              <a:t> Support</a:t>
            </a:r>
          </a:p>
          <a:p>
            <a:pPr>
              <a:spcAft>
                <a:spcPts val="306"/>
              </a:spcAft>
              <a:defRPr/>
            </a:pPr>
            <a:r>
              <a:rPr lang="en-US" sz="900" dirty="0">
                <a:solidFill>
                  <a:srgbClr val="FFFFFF"/>
                </a:solidFill>
                <a:latin typeface="Segoe UI Light" charset="0"/>
                <a:ea typeface="Calibri" panose="020F0502020204030204" pitchFamily="34" charset="0"/>
                <a:cs typeface="Calibri" panose="020F0502020204030204" pitchFamily="34" charset="0"/>
              </a:rPr>
              <a:t>Dedicated IP address</a:t>
            </a:r>
          </a:p>
          <a:p>
            <a:pPr>
              <a:spcAft>
                <a:spcPts val="306"/>
              </a:spcAft>
              <a:defRPr/>
            </a:pPr>
            <a:r>
              <a:rPr lang="en-US" sz="900" dirty="0">
                <a:solidFill>
                  <a:srgbClr val="FFFFFF"/>
                </a:solidFill>
                <a:latin typeface="Segoe UI Light" charset="0"/>
                <a:ea typeface="Calibri" panose="020F0502020204030204" pitchFamily="34" charset="0"/>
                <a:cs typeface="Calibri" panose="020F0502020204030204" pitchFamily="34" charset="0"/>
              </a:rPr>
              <a:t>HTTP Compression </a:t>
            </a:r>
          </a:p>
          <a:p>
            <a:pPr>
              <a:spcAft>
                <a:spcPts val="306"/>
              </a:spcAft>
              <a:defRPr/>
            </a:pPr>
            <a:r>
              <a:rPr lang="en-US" sz="900" dirty="0">
                <a:solidFill>
                  <a:srgbClr val="FFFFFF"/>
                </a:solidFill>
                <a:latin typeface="Segoe UI Light" charset="0"/>
                <a:ea typeface="Calibri" panose="020F0502020204030204" pitchFamily="34" charset="0"/>
                <a:cs typeface="Calibri" panose="020F0502020204030204" pitchFamily="34" charset="0"/>
              </a:rPr>
              <a:t>CDN Support for Websites</a:t>
            </a:r>
          </a:p>
          <a:p>
            <a:pPr>
              <a:spcAft>
                <a:spcPts val="306"/>
              </a:spcAft>
              <a:defRPr/>
            </a:pPr>
            <a:r>
              <a:rPr lang="en-US" sz="900" dirty="0">
                <a:solidFill>
                  <a:srgbClr val="FFFFFF"/>
                </a:solidFill>
                <a:latin typeface="Segoe UI Light" charset="0"/>
                <a:ea typeface="Calibri" panose="020F0502020204030204" pitchFamily="34" charset="0"/>
                <a:cs typeface="Calibri" panose="020F0502020204030204" pitchFamily="34" charset="0"/>
              </a:rPr>
              <a:t>Premium WordPress</a:t>
            </a:r>
          </a:p>
          <a:p>
            <a:pPr>
              <a:spcAft>
                <a:spcPts val="306"/>
              </a:spcAft>
              <a:defRPr/>
            </a:pPr>
            <a:r>
              <a:rPr lang="en-US" sz="900" dirty="0">
                <a:solidFill>
                  <a:srgbClr val="FFFFFF"/>
                </a:solidFill>
                <a:latin typeface="Segoe UI Light" charset="0"/>
                <a:ea typeface="Calibri" panose="020F0502020204030204" pitchFamily="34" charset="0"/>
                <a:cs typeface="Calibri" panose="020F0502020204030204" pitchFamily="34" charset="0"/>
              </a:rPr>
              <a:t>App Services Environments </a:t>
            </a:r>
          </a:p>
          <a:p>
            <a:pPr>
              <a:spcAft>
                <a:spcPts val="306"/>
              </a:spcAft>
              <a:defRPr/>
            </a:pPr>
            <a:endParaRPr lang="en-US" sz="900" baseline="0" dirty="0">
              <a:solidFill>
                <a:srgbClr val="FFFFFF"/>
              </a:solidFill>
              <a:latin typeface="Segoe UI Light" charset="0"/>
            </a:endParaRPr>
          </a:p>
          <a:p>
            <a:pPr>
              <a:spcAft>
                <a:spcPts val="306"/>
              </a:spcAft>
              <a:defRPr/>
            </a:pPr>
            <a:r>
              <a:rPr lang="en-US" sz="900" dirty="0">
                <a:solidFill>
                  <a:srgbClr val="FFFFFF"/>
                </a:solidFill>
                <a:latin typeface="Segoe UI Light" charset="0"/>
                <a:ea typeface="Calibri" panose="020F0502020204030204" pitchFamily="34" charset="0"/>
                <a:cs typeface="Calibri" panose="020F0502020204030204" pitchFamily="34" charset="0"/>
              </a:rPr>
              <a:t>Remote Debugging with Visual Studio </a:t>
            </a:r>
          </a:p>
          <a:p>
            <a:pPr>
              <a:spcAft>
                <a:spcPts val="306"/>
              </a:spcAft>
              <a:defRPr/>
            </a:pPr>
            <a:r>
              <a:rPr lang="en-US" sz="900" dirty="0">
                <a:solidFill>
                  <a:srgbClr val="FFFFFF"/>
                </a:solidFill>
                <a:latin typeface="Segoe UI Light" charset="0"/>
                <a:ea typeface="Calibri" panose="020F0502020204030204" pitchFamily="34" charset="0"/>
                <a:cs typeface="Calibri" panose="020F0502020204030204" pitchFamily="34" charset="0"/>
              </a:rPr>
              <a:t>Site Staging Slots</a:t>
            </a:r>
          </a:p>
          <a:p>
            <a:pPr>
              <a:spcAft>
                <a:spcPts val="306"/>
              </a:spcAft>
              <a:defRPr/>
            </a:pPr>
            <a:r>
              <a:rPr lang="en-US" sz="900" dirty="0">
                <a:solidFill>
                  <a:srgbClr val="FFFFFF"/>
                </a:solidFill>
                <a:latin typeface="Segoe UI Light" charset="0"/>
                <a:ea typeface="Calibri" panose="020F0502020204030204" pitchFamily="34" charset="0"/>
                <a:cs typeface="Calibri" panose="020F0502020204030204" pitchFamily="34" charset="0"/>
              </a:rPr>
              <a:t>Testing in Production</a:t>
            </a:r>
          </a:p>
          <a:p>
            <a:pPr>
              <a:spcAft>
                <a:spcPts val="306"/>
              </a:spcAft>
              <a:defRPr/>
            </a:pPr>
            <a:r>
              <a:rPr lang="en-US" sz="900" dirty="0">
                <a:solidFill>
                  <a:srgbClr val="FFFFFF"/>
                </a:solidFill>
                <a:latin typeface="Segoe UI Light" charset="0"/>
                <a:ea typeface="Calibri" panose="020F0502020204030204" pitchFamily="34" charset="0"/>
                <a:cs typeface="Calibri" panose="020F0502020204030204" pitchFamily="34" charset="0"/>
              </a:rPr>
              <a:t>Continuous Integration/Deployment </a:t>
            </a:r>
          </a:p>
          <a:p>
            <a:pPr>
              <a:spcAft>
                <a:spcPts val="306"/>
              </a:spcAft>
              <a:defRPr/>
            </a:pPr>
            <a:r>
              <a:rPr lang="en-US" sz="900" dirty="0" err="1">
                <a:solidFill>
                  <a:srgbClr val="FFFFFF"/>
                </a:solidFill>
                <a:latin typeface="Segoe UI Light" charset="0"/>
                <a:ea typeface="Calibri" panose="020F0502020204030204" pitchFamily="34" charset="0"/>
                <a:cs typeface="Calibri" panose="020F0502020204030204" pitchFamily="34" charset="0"/>
              </a:rPr>
              <a:t>Git</a:t>
            </a:r>
            <a:r>
              <a:rPr lang="en-US" sz="900" dirty="0">
                <a:solidFill>
                  <a:srgbClr val="FFFFFF"/>
                </a:solidFill>
                <a:latin typeface="Segoe UI Light" charset="0"/>
                <a:ea typeface="Calibri" panose="020F0502020204030204" pitchFamily="34" charset="0"/>
                <a:cs typeface="Calibri" panose="020F0502020204030204" pitchFamily="34" charset="0"/>
              </a:rPr>
              <a:t>, Visual Studio Online and GitHub</a:t>
            </a:r>
          </a:p>
          <a:p>
            <a:pPr>
              <a:spcAft>
                <a:spcPts val="306"/>
              </a:spcAft>
              <a:defRPr/>
            </a:pPr>
            <a:r>
              <a:rPr lang="en-US" sz="900" dirty="0">
                <a:solidFill>
                  <a:srgbClr val="FFFFFF"/>
                </a:solidFill>
                <a:latin typeface="Segoe UI Light" charset="0"/>
                <a:ea typeface="Calibri" panose="020F0502020204030204" pitchFamily="34" charset="0"/>
                <a:cs typeface="Calibri" panose="020F0502020204030204" pitchFamily="34" charset="0"/>
              </a:rPr>
              <a:t>App &amp; Site Diagnostics</a:t>
            </a:r>
          </a:p>
          <a:p>
            <a:pPr>
              <a:spcAft>
                <a:spcPts val="306"/>
              </a:spcAft>
              <a:defRPr/>
            </a:pPr>
            <a:r>
              <a:rPr lang="en-US" sz="900" dirty="0">
                <a:solidFill>
                  <a:srgbClr val="FFFFFF"/>
                </a:solidFill>
                <a:latin typeface="Segoe UI Light" charset="0"/>
                <a:ea typeface="Calibri" panose="020F0502020204030204" pitchFamily="34" charset="0"/>
                <a:cs typeface="Calibri" panose="020F0502020204030204" pitchFamily="34" charset="0"/>
              </a:rPr>
              <a:t>OS &amp; Framework Patching  </a:t>
            </a:r>
          </a:p>
          <a:p>
            <a:pPr>
              <a:spcAft>
                <a:spcPts val="306"/>
              </a:spcAft>
              <a:defRPr/>
            </a:pPr>
            <a:r>
              <a:rPr lang="en-US" sz="900" dirty="0">
                <a:solidFill>
                  <a:srgbClr val="FFFFFF"/>
                </a:solidFill>
                <a:latin typeface="Segoe UI Light" charset="0"/>
                <a:ea typeface="Calibri" panose="020F0502020204030204" pitchFamily="34" charset="0"/>
                <a:cs typeface="Calibri" panose="020F0502020204030204" pitchFamily="34" charset="0"/>
              </a:rPr>
              <a:t>Site Extensions Gallery </a:t>
            </a:r>
          </a:p>
          <a:p>
            <a:pPr>
              <a:spcAft>
                <a:spcPts val="306"/>
              </a:spcAft>
              <a:defRPr/>
            </a:pPr>
            <a:r>
              <a:rPr lang="en-US" sz="900" dirty="0">
                <a:solidFill>
                  <a:srgbClr val="FFFFFF"/>
                </a:solidFill>
                <a:latin typeface="Segoe UI Light" charset="0"/>
                <a:ea typeface="Calibri" panose="020F0502020204030204" pitchFamily="34" charset="0"/>
                <a:cs typeface="Calibri" panose="020F0502020204030204" pitchFamily="34" charset="0"/>
              </a:rPr>
              <a:t>NET, PHP, Python, Node, Java</a:t>
            </a:r>
          </a:p>
          <a:p>
            <a:pPr>
              <a:spcAft>
                <a:spcPts val="306"/>
              </a:spcAft>
              <a:defRPr/>
            </a:pPr>
            <a:r>
              <a:rPr lang="en-US" sz="900" dirty="0">
                <a:solidFill>
                  <a:srgbClr val="FFFFFF"/>
                </a:solidFill>
                <a:latin typeface="Segoe UI Light" charset="0"/>
                <a:ea typeface="Calibri" panose="020F0502020204030204" pitchFamily="34" charset="0"/>
                <a:cs typeface="Calibri" panose="020F0502020204030204" pitchFamily="34" charset="0"/>
              </a:rPr>
              <a:t>Framework Installer</a:t>
            </a:r>
          </a:p>
          <a:p>
            <a:pPr>
              <a:spcAft>
                <a:spcPts val="306"/>
              </a:spcAft>
              <a:defRPr/>
            </a:pPr>
            <a:r>
              <a:rPr lang="en-US" sz="900" dirty="0">
                <a:solidFill>
                  <a:srgbClr val="FFFFFF"/>
                </a:solidFill>
                <a:latin typeface="Segoe UI Light" charset="0"/>
                <a:ea typeface="Calibri" panose="020F0502020204030204" pitchFamily="34" charset="0"/>
                <a:cs typeface="Calibri" panose="020F0502020204030204" pitchFamily="34" charset="0"/>
              </a:rPr>
              <a:t>Browser-based editing</a:t>
            </a:r>
          </a:p>
          <a:p>
            <a:pPr>
              <a:spcAft>
                <a:spcPts val="306"/>
              </a:spcAft>
              <a:defRPr/>
            </a:pPr>
            <a:r>
              <a:rPr lang="en-US" sz="900" dirty="0">
                <a:solidFill>
                  <a:srgbClr val="FFFFFF"/>
                </a:solidFill>
                <a:latin typeface="Segoe UI Light" charset="0"/>
                <a:ea typeface="Calibri" panose="020F0502020204030204" pitchFamily="34" charset="0"/>
                <a:cs typeface="Calibri" panose="020F0502020204030204" pitchFamily="34" charset="0"/>
              </a:rPr>
              <a:t>Auto-Healing</a:t>
            </a:r>
          </a:p>
          <a:p>
            <a:pPr>
              <a:spcAft>
                <a:spcPts val="306"/>
              </a:spcAft>
              <a:defRPr/>
            </a:pPr>
            <a:r>
              <a:rPr lang="en-US" sz="900" dirty="0">
                <a:solidFill>
                  <a:srgbClr val="FFFFFF"/>
                </a:solidFill>
                <a:latin typeface="Segoe UI Light" charset="0"/>
                <a:ea typeface="Calibri" panose="020F0502020204030204" pitchFamily="34" charset="0"/>
                <a:cs typeface="Calibri" panose="020F0502020204030204" pitchFamily="34" charset="0"/>
              </a:rPr>
              <a:t>Logging and Auditing </a:t>
            </a:r>
          </a:p>
          <a:p>
            <a:pPr>
              <a:spcAft>
                <a:spcPts val="306"/>
              </a:spcAft>
              <a:defRPr/>
            </a:pPr>
            <a:r>
              <a:rPr lang="en-US" sz="900" dirty="0">
                <a:solidFill>
                  <a:srgbClr val="FFFFFF"/>
                </a:solidFill>
                <a:latin typeface="Segoe UI Light" charset="0"/>
                <a:ea typeface="Calibri" panose="020F0502020204030204" pitchFamily="34" charset="0"/>
                <a:cs typeface="Calibri" panose="020F0502020204030204" pitchFamily="34" charset="0"/>
              </a:rPr>
              <a:t>Admin-Site</a:t>
            </a:r>
          </a:p>
          <a:p>
            <a:pPr>
              <a:spcAft>
                <a:spcPts val="306"/>
              </a:spcAft>
              <a:defRPr/>
            </a:pPr>
            <a:r>
              <a:rPr lang="en-US" sz="900" dirty="0">
                <a:solidFill>
                  <a:srgbClr val="FFFFFF"/>
                </a:solidFill>
                <a:latin typeface="Segoe UI Light" charset="0"/>
                <a:ea typeface="Calibri" panose="020F0502020204030204" pitchFamily="34" charset="0"/>
                <a:cs typeface="Calibri" panose="020F0502020204030204" pitchFamily="34" charset="0"/>
              </a:rPr>
              <a:t>Support Site Extension </a:t>
            </a:r>
          </a:p>
          <a:p>
            <a:pPr>
              <a:spcAft>
                <a:spcPts val="306"/>
              </a:spcAft>
              <a:defRPr/>
            </a:pPr>
            <a:endParaRPr lang="en-US" baseline="0"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D581EC0-6C77-47EF-A5F1-48F7DF3073C0}"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3515644846"/>
      </p:ext>
    </p:extLst>
  </p:cSld>
  <p:clrMapOvr>
    <a:masterClrMapping/>
  </p:clrMapOvr>
</p:notes>
</file>

<file path=ppt/notesSlides/notesSlide1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3/22/2018 3:03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30</a:t>
            </a:fld>
            <a:endParaRPr lang="en-US" dirty="0"/>
          </a:p>
        </p:txBody>
      </p:sp>
    </p:spTree>
    <p:extLst>
      <p:ext uri="{BB962C8B-B14F-4D97-AF65-F5344CB8AC3E}">
        <p14:creationId xmlns:p14="http://schemas.microsoft.com/office/powerpoint/2010/main" val="2837876061"/>
      </p:ext>
    </p:extLst>
  </p:cSld>
  <p:clrMapOvr>
    <a:masterClrMapping/>
  </p:clrMapOvr>
</p:notes>
</file>

<file path=ppt/notesSlides/notesSlide1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3/22/2018 3:03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31</a:t>
            </a:fld>
            <a:endParaRPr lang="en-US" dirty="0"/>
          </a:p>
        </p:txBody>
      </p:sp>
    </p:spTree>
    <p:extLst>
      <p:ext uri="{BB962C8B-B14F-4D97-AF65-F5344CB8AC3E}">
        <p14:creationId xmlns:p14="http://schemas.microsoft.com/office/powerpoint/2010/main" val="1511101869"/>
      </p:ext>
    </p:extLst>
  </p:cSld>
  <p:clrMapOvr>
    <a:masterClrMapping/>
  </p:clrMapOvr>
</p:notes>
</file>

<file path=ppt/notesSlides/notesSlide1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3/22/2018 3:03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32</a:t>
            </a:fld>
            <a:endParaRPr lang="en-US" dirty="0"/>
          </a:p>
        </p:txBody>
      </p:sp>
    </p:spTree>
    <p:extLst>
      <p:ext uri="{BB962C8B-B14F-4D97-AF65-F5344CB8AC3E}">
        <p14:creationId xmlns:p14="http://schemas.microsoft.com/office/powerpoint/2010/main" val="4089670562"/>
      </p:ext>
    </p:extLst>
  </p:cSld>
  <p:clrMapOvr>
    <a:masterClrMapping/>
  </p:clrMapOvr>
</p:notes>
</file>

<file path=ppt/notesSlides/notesSlide1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7D10C09F-FCA1-48C8-B40D-42E1045D109E}" type="datetime8">
              <a:rPr lang="en-US" smtClean="0"/>
              <a:t>3/22/2018 3:03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33</a:t>
            </a:fld>
            <a:endParaRPr lang="en-US" dirty="0"/>
          </a:p>
        </p:txBody>
      </p:sp>
    </p:spTree>
    <p:extLst>
      <p:ext uri="{BB962C8B-B14F-4D97-AF65-F5344CB8AC3E}">
        <p14:creationId xmlns:p14="http://schemas.microsoft.com/office/powerpoint/2010/main" val="1730078532"/>
      </p:ext>
    </p:extLst>
  </p:cSld>
  <p:clrMapOvr>
    <a:masterClrMapping/>
  </p:clrMapOvr>
</p:notes>
</file>

<file path=ppt/notesSlides/notesSlide1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3/22/2018 3:03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34</a:t>
            </a:fld>
            <a:endParaRPr lang="en-US" dirty="0"/>
          </a:p>
        </p:txBody>
      </p:sp>
    </p:spTree>
    <p:extLst>
      <p:ext uri="{BB962C8B-B14F-4D97-AF65-F5344CB8AC3E}">
        <p14:creationId xmlns:p14="http://schemas.microsoft.com/office/powerpoint/2010/main" val="2915061993"/>
      </p:ext>
    </p:extLst>
  </p:cSld>
  <p:clrMapOvr>
    <a:masterClrMapping/>
  </p:clrMapOvr>
</p:notes>
</file>

<file path=ppt/notesSlides/notesSlide1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3/22/2018 3:03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35</a:t>
            </a:fld>
            <a:endParaRPr lang="en-US" dirty="0"/>
          </a:p>
        </p:txBody>
      </p:sp>
    </p:spTree>
    <p:extLst>
      <p:ext uri="{BB962C8B-B14F-4D97-AF65-F5344CB8AC3E}">
        <p14:creationId xmlns:p14="http://schemas.microsoft.com/office/powerpoint/2010/main" val="321710178"/>
      </p:ext>
    </p:extLst>
  </p:cSld>
  <p:clrMapOvr>
    <a:masterClrMapping/>
  </p:clrMapOvr>
</p:notes>
</file>

<file path=ppt/notesSlides/notesSlide1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3/22/2018 3:03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36</a:t>
            </a:fld>
            <a:endParaRPr lang="en-US" dirty="0"/>
          </a:p>
        </p:txBody>
      </p:sp>
    </p:spTree>
    <p:extLst>
      <p:ext uri="{BB962C8B-B14F-4D97-AF65-F5344CB8AC3E}">
        <p14:creationId xmlns:p14="http://schemas.microsoft.com/office/powerpoint/2010/main" val="301624078"/>
      </p:ext>
    </p:extLst>
  </p:cSld>
  <p:clrMapOvr>
    <a:masterClrMapping/>
  </p:clrMapOvr>
</p:notes>
</file>

<file path=ppt/notesSlides/notesSlide1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7D10C09F-FCA1-48C8-B40D-42E1045D109E}" type="datetime8">
              <a:rPr lang="en-US" smtClean="0"/>
              <a:t>3/22/2018 3:03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37</a:t>
            </a:fld>
            <a:endParaRPr lang="en-US" dirty="0"/>
          </a:p>
        </p:txBody>
      </p:sp>
    </p:spTree>
    <p:extLst>
      <p:ext uri="{BB962C8B-B14F-4D97-AF65-F5344CB8AC3E}">
        <p14:creationId xmlns:p14="http://schemas.microsoft.com/office/powerpoint/2010/main" val="4180639235"/>
      </p:ext>
    </p:extLst>
  </p:cSld>
  <p:clrMapOvr>
    <a:masterClrMapping/>
  </p:clrMapOvr>
</p:notes>
</file>

<file path=ppt/notesSlides/notesSlide1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3/22/2018 3:03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38</a:t>
            </a:fld>
            <a:endParaRPr lang="en-US" dirty="0"/>
          </a:p>
        </p:txBody>
      </p:sp>
    </p:spTree>
    <p:extLst>
      <p:ext uri="{BB962C8B-B14F-4D97-AF65-F5344CB8AC3E}">
        <p14:creationId xmlns:p14="http://schemas.microsoft.com/office/powerpoint/2010/main" val="1266721714"/>
      </p:ext>
    </p:extLst>
  </p:cSld>
  <p:clrMapOvr>
    <a:masterClrMapping/>
  </p:clrMapOvr>
</p:notes>
</file>

<file path=ppt/notesSlides/notesSlide1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3/22/2018 3:03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39</a:t>
            </a:fld>
            <a:endParaRPr lang="en-US" dirty="0"/>
          </a:p>
        </p:txBody>
      </p:sp>
    </p:spTree>
    <p:extLst>
      <p:ext uri="{BB962C8B-B14F-4D97-AF65-F5344CB8AC3E}">
        <p14:creationId xmlns:p14="http://schemas.microsoft.com/office/powerpoint/2010/main" val="332291759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D581EC0-6C77-47EF-A5F1-48F7DF3073C0}"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148077655"/>
      </p:ext>
    </p:extLst>
  </p:cSld>
  <p:clrMapOvr>
    <a:masterClrMapping/>
  </p:clrMapOvr>
</p:notes>
</file>

<file path=ppt/notesSlides/notesSlide1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3/22/2018 3:03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40</a:t>
            </a:fld>
            <a:endParaRPr lang="en-US" dirty="0"/>
          </a:p>
        </p:txBody>
      </p:sp>
    </p:spTree>
    <p:extLst>
      <p:ext uri="{BB962C8B-B14F-4D97-AF65-F5344CB8AC3E}">
        <p14:creationId xmlns:p14="http://schemas.microsoft.com/office/powerpoint/2010/main" val="1235252766"/>
      </p:ext>
    </p:extLst>
  </p:cSld>
  <p:clrMapOvr>
    <a:masterClrMapping/>
  </p:clrMapOvr>
</p:notes>
</file>

<file path=ppt/notesSlides/notesSlide1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3/22/2018 3:03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41</a:t>
            </a:fld>
            <a:endParaRPr lang="en-US" dirty="0"/>
          </a:p>
        </p:txBody>
      </p:sp>
    </p:spTree>
    <p:extLst>
      <p:ext uri="{BB962C8B-B14F-4D97-AF65-F5344CB8AC3E}">
        <p14:creationId xmlns:p14="http://schemas.microsoft.com/office/powerpoint/2010/main" val="4095079049"/>
      </p:ext>
    </p:extLst>
  </p:cSld>
  <p:clrMapOvr>
    <a:masterClrMapping/>
  </p:clrMapOvr>
</p:notes>
</file>

<file path=ppt/notesSlides/notesSlide1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3/22/2018 3:03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42</a:t>
            </a:fld>
            <a:endParaRPr lang="en-US" dirty="0"/>
          </a:p>
        </p:txBody>
      </p:sp>
    </p:spTree>
    <p:extLst>
      <p:ext uri="{BB962C8B-B14F-4D97-AF65-F5344CB8AC3E}">
        <p14:creationId xmlns:p14="http://schemas.microsoft.com/office/powerpoint/2010/main" val="934878156"/>
      </p:ext>
    </p:extLst>
  </p:cSld>
  <p:clrMapOvr>
    <a:masterClrMapping/>
  </p:clrMapOvr>
</p:notes>
</file>

<file path=ppt/notesSlides/notesSlide1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3/22/2018 3:03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43</a:t>
            </a:fld>
            <a:endParaRPr lang="en-US" dirty="0"/>
          </a:p>
        </p:txBody>
      </p:sp>
    </p:spTree>
    <p:extLst>
      <p:ext uri="{BB962C8B-B14F-4D97-AF65-F5344CB8AC3E}">
        <p14:creationId xmlns:p14="http://schemas.microsoft.com/office/powerpoint/2010/main" val="3481094019"/>
      </p:ext>
    </p:extLst>
  </p:cSld>
  <p:clrMapOvr>
    <a:masterClrMapping/>
  </p:clrMapOvr>
</p:notes>
</file>

<file path=ppt/notesSlides/notesSlide1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3/22/2018 3:03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44</a:t>
            </a:fld>
            <a:endParaRPr lang="en-US" dirty="0"/>
          </a:p>
        </p:txBody>
      </p:sp>
    </p:spTree>
    <p:extLst>
      <p:ext uri="{BB962C8B-B14F-4D97-AF65-F5344CB8AC3E}">
        <p14:creationId xmlns:p14="http://schemas.microsoft.com/office/powerpoint/2010/main" val="239511175"/>
      </p:ext>
    </p:extLst>
  </p:cSld>
  <p:clrMapOvr>
    <a:masterClrMapping/>
  </p:clrMapOvr>
</p:notes>
</file>

<file path=ppt/notesSlides/notesSlide1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3/22/2018 3:03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45</a:t>
            </a:fld>
            <a:endParaRPr lang="en-US" dirty="0"/>
          </a:p>
        </p:txBody>
      </p:sp>
    </p:spTree>
    <p:extLst>
      <p:ext uri="{BB962C8B-B14F-4D97-AF65-F5344CB8AC3E}">
        <p14:creationId xmlns:p14="http://schemas.microsoft.com/office/powerpoint/2010/main" val="2506172713"/>
      </p:ext>
    </p:extLst>
  </p:cSld>
  <p:clrMapOvr>
    <a:masterClrMapping/>
  </p:clrMapOvr>
</p:notes>
</file>

<file path=ppt/notesSlides/notesSlide1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7D10C09F-FCA1-48C8-B40D-42E1045D109E}" type="datetime8">
              <a:rPr lang="en-US" smtClean="0"/>
              <a:t>3/22/2018 3:03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46</a:t>
            </a:fld>
            <a:endParaRPr lang="en-US" dirty="0"/>
          </a:p>
        </p:txBody>
      </p:sp>
    </p:spTree>
    <p:extLst>
      <p:ext uri="{BB962C8B-B14F-4D97-AF65-F5344CB8AC3E}">
        <p14:creationId xmlns:p14="http://schemas.microsoft.com/office/powerpoint/2010/main" val="1155529258"/>
      </p:ext>
    </p:extLst>
  </p:cSld>
  <p:clrMapOvr>
    <a:masterClrMapping/>
  </p:clrMapOvr>
</p:notes>
</file>

<file path=ppt/notesSlides/notesSlide1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7D10C09F-FCA1-48C8-B40D-42E1045D109E}" type="datetime8">
              <a:rPr lang="en-US" smtClean="0"/>
              <a:t>3/22/2018 3:03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47</a:t>
            </a:fld>
            <a:endParaRPr lang="en-US" dirty="0"/>
          </a:p>
        </p:txBody>
      </p:sp>
    </p:spTree>
    <p:extLst>
      <p:ext uri="{BB962C8B-B14F-4D97-AF65-F5344CB8AC3E}">
        <p14:creationId xmlns:p14="http://schemas.microsoft.com/office/powerpoint/2010/main" val="4265857832"/>
      </p:ext>
    </p:extLst>
  </p:cSld>
  <p:clrMapOvr>
    <a:masterClrMapping/>
  </p:clrMapOvr>
</p:notes>
</file>

<file path=ppt/notesSlides/notesSlide1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3/22/2018 3:03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48</a:t>
            </a:fld>
            <a:endParaRPr lang="en-US" dirty="0"/>
          </a:p>
        </p:txBody>
      </p:sp>
    </p:spTree>
    <p:extLst>
      <p:ext uri="{BB962C8B-B14F-4D97-AF65-F5344CB8AC3E}">
        <p14:creationId xmlns:p14="http://schemas.microsoft.com/office/powerpoint/2010/main" val="3990115828"/>
      </p:ext>
    </p:extLst>
  </p:cSld>
  <p:clrMapOvr>
    <a:masterClrMapping/>
  </p:clrMapOvr>
</p:notes>
</file>

<file path=ppt/notesSlides/notesSlide1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3/22/2018 3:03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49</a:t>
            </a:fld>
            <a:endParaRPr lang="en-US" dirty="0"/>
          </a:p>
        </p:txBody>
      </p:sp>
    </p:spTree>
    <p:extLst>
      <p:ext uri="{BB962C8B-B14F-4D97-AF65-F5344CB8AC3E}">
        <p14:creationId xmlns:p14="http://schemas.microsoft.com/office/powerpoint/2010/main" val="125807129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TechReady 23</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2/2018 3:03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47179109"/>
      </p:ext>
    </p:extLst>
  </p:cSld>
  <p:clrMapOvr>
    <a:masterClrMapping/>
  </p:clrMapOvr>
</p:notes>
</file>

<file path=ppt/notesSlides/notesSlide1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3/22/2018 3:03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50</a:t>
            </a:fld>
            <a:endParaRPr lang="en-US" dirty="0"/>
          </a:p>
        </p:txBody>
      </p:sp>
    </p:spTree>
    <p:extLst>
      <p:ext uri="{BB962C8B-B14F-4D97-AF65-F5344CB8AC3E}">
        <p14:creationId xmlns:p14="http://schemas.microsoft.com/office/powerpoint/2010/main" val="3707657478"/>
      </p:ext>
    </p:extLst>
  </p:cSld>
  <p:clrMapOvr>
    <a:masterClrMapping/>
  </p:clrMapOvr>
</p:notes>
</file>

<file path=ppt/notesSlides/notesSlide1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3/22/2018 3:03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51</a:t>
            </a:fld>
            <a:endParaRPr lang="en-US" dirty="0"/>
          </a:p>
        </p:txBody>
      </p:sp>
    </p:spTree>
    <p:extLst>
      <p:ext uri="{BB962C8B-B14F-4D97-AF65-F5344CB8AC3E}">
        <p14:creationId xmlns:p14="http://schemas.microsoft.com/office/powerpoint/2010/main" val="592952321"/>
      </p:ext>
    </p:extLst>
  </p:cSld>
  <p:clrMapOvr>
    <a:masterClrMapping/>
  </p:clrMapOvr>
</p:notes>
</file>

<file path=ppt/notesSlides/notesSlide1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7D10C09F-FCA1-48C8-B40D-42E1045D109E}" type="datetime8">
              <a:rPr lang="en-US" smtClean="0"/>
              <a:t>3/22/2018 3:03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52</a:t>
            </a:fld>
            <a:endParaRPr lang="en-US" dirty="0"/>
          </a:p>
        </p:txBody>
      </p:sp>
    </p:spTree>
    <p:extLst>
      <p:ext uri="{BB962C8B-B14F-4D97-AF65-F5344CB8AC3E}">
        <p14:creationId xmlns:p14="http://schemas.microsoft.com/office/powerpoint/2010/main" val="2054094245"/>
      </p:ext>
    </p:extLst>
  </p:cSld>
  <p:clrMapOvr>
    <a:masterClrMapping/>
  </p:clrMapOvr>
</p:notes>
</file>

<file path=ppt/notesSlides/notesSlide1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3/22/2018 3:03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53</a:t>
            </a:fld>
            <a:endParaRPr lang="en-US" dirty="0"/>
          </a:p>
        </p:txBody>
      </p:sp>
    </p:spTree>
    <p:extLst>
      <p:ext uri="{BB962C8B-B14F-4D97-AF65-F5344CB8AC3E}">
        <p14:creationId xmlns:p14="http://schemas.microsoft.com/office/powerpoint/2010/main" val="3521122657"/>
      </p:ext>
    </p:extLst>
  </p:cSld>
  <p:clrMapOvr>
    <a:masterClrMapping/>
  </p:clrMapOvr>
</p:notes>
</file>

<file path=ppt/notesSlides/notesSlide1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3/22/2018 3:03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54</a:t>
            </a:fld>
            <a:endParaRPr lang="en-US" dirty="0"/>
          </a:p>
        </p:txBody>
      </p:sp>
    </p:spTree>
    <p:extLst>
      <p:ext uri="{BB962C8B-B14F-4D97-AF65-F5344CB8AC3E}">
        <p14:creationId xmlns:p14="http://schemas.microsoft.com/office/powerpoint/2010/main" val="3024575084"/>
      </p:ext>
    </p:extLst>
  </p:cSld>
  <p:clrMapOvr>
    <a:masterClrMapping/>
  </p:clrMapOvr>
</p:notes>
</file>

<file path=ppt/notesSlides/notesSlide1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3/22/2018 3:03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55</a:t>
            </a:fld>
            <a:endParaRPr lang="en-US" dirty="0"/>
          </a:p>
        </p:txBody>
      </p:sp>
    </p:spTree>
    <p:extLst>
      <p:ext uri="{BB962C8B-B14F-4D97-AF65-F5344CB8AC3E}">
        <p14:creationId xmlns:p14="http://schemas.microsoft.com/office/powerpoint/2010/main" val="1090753312"/>
      </p:ext>
    </p:extLst>
  </p:cSld>
  <p:clrMapOvr>
    <a:masterClrMapping/>
  </p:clrMapOvr>
</p:notes>
</file>

<file path=ppt/notesSlides/notesSlide1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3/22/2018 3:03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56</a:t>
            </a:fld>
            <a:endParaRPr lang="en-US" dirty="0"/>
          </a:p>
        </p:txBody>
      </p:sp>
    </p:spTree>
    <p:extLst>
      <p:ext uri="{BB962C8B-B14F-4D97-AF65-F5344CB8AC3E}">
        <p14:creationId xmlns:p14="http://schemas.microsoft.com/office/powerpoint/2010/main" val="372345473"/>
      </p:ext>
    </p:extLst>
  </p:cSld>
  <p:clrMapOvr>
    <a:masterClrMapping/>
  </p:clrMapOvr>
</p:notes>
</file>

<file path=ppt/notesSlides/notesSlide1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7D10C09F-FCA1-48C8-B40D-42E1045D109E}" type="datetime8">
              <a:rPr lang="en-US" smtClean="0"/>
              <a:t>3/22/2018 3:03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57</a:t>
            </a:fld>
            <a:endParaRPr lang="en-US" dirty="0"/>
          </a:p>
        </p:txBody>
      </p:sp>
    </p:spTree>
    <p:extLst>
      <p:ext uri="{BB962C8B-B14F-4D97-AF65-F5344CB8AC3E}">
        <p14:creationId xmlns:p14="http://schemas.microsoft.com/office/powerpoint/2010/main" val="1305726148"/>
      </p:ext>
    </p:extLst>
  </p:cSld>
  <p:clrMapOvr>
    <a:masterClrMapping/>
  </p:clrMapOvr>
</p:notes>
</file>

<file path=ppt/notesSlides/notesSlide1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3/22/2018 3:03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58</a:t>
            </a:fld>
            <a:endParaRPr lang="en-US" dirty="0"/>
          </a:p>
        </p:txBody>
      </p:sp>
    </p:spTree>
    <p:extLst>
      <p:ext uri="{BB962C8B-B14F-4D97-AF65-F5344CB8AC3E}">
        <p14:creationId xmlns:p14="http://schemas.microsoft.com/office/powerpoint/2010/main" val="2481116869"/>
      </p:ext>
    </p:extLst>
  </p:cSld>
  <p:clrMapOvr>
    <a:masterClrMapping/>
  </p:clrMapOvr>
</p:notes>
</file>

<file path=ppt/notesSlides/notesSlide1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3/22/2018 3:03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59</a:t>
            </a:fld>
            <a:endParaRPr lang="en-US" dirty="0"/>
          </a:p>
        </p:txBody>
      </p:sp>
    </p:spTree>
    <p:extLst>
      <p:ext uri="{BB962C8B-B14F-4D97-AF65-F5344CB8AC3E}">
        <p14:creationId xmlns:p14="http://schemas.microsoft.com/office/powerpoint/2010/main" val="290736896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3/22/2018 3:03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6</a:t>
            </a:fld>
            <a:endParaRPr lang="en-US" dirty="0"/>
          </a:p>
        </p:txBody>
      </p:sp>
    </p:spTree>
    <p:extLst>
      <p:ext uri="{BB962C8B-B14F-4D97-AF65-F5344CB8AC3E}">
        <p14:creationId xmlns:p14="http://schemas.microsoft.com/office/powerpoint/2010/main" val="3556220542"/>
      </p:ext>
    </p:extLst>
  </p:cSld>
  <p:clrMapOvr>
    <a:masterClrMapping/>
  </p:clrMapOvr>
</p:notes>
</file>

<file path=ppt/notesSlides/notesSlide1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7D10C09F-FCA1-48C8-B40D-42E1045D109E}" type="datetime8">
              <a:rPr lang="en-US" smtClean="0"/>
              <a:t>3/22/2018 3:03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60</a:t>
            </a:fld>
            <a:endParaRPr lang="en-US" dirty="0"/>
          </a:p>
        </p:txBody>
      </p:sp>
    </p:spTree>
    <p:extLst>
      <p:ext uri="{BB962C8B-B14F-4D97-AF65-F5344CB8AC3E}">
        <p14:creationId xmlns:p14="http://schemas.microsoft.com/office/powerpoint/2010/main" val="54461554"/>
      </p:ext>
    </p:extLst>
  </p:cSld>
  <p:clrMapOvr>
    <a:masterClrMapping/>
  </p:clrMapOvr>
</p:notes>
</file>

<file path=ppt/notesSlides/notesSlide1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3/22/2018 3:03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61</a:t>
            </a:fld>
            <a:endParaRPr lang="en-US" dirty="0"/>
          </a:p>
        </p:txBody>
      </p:sp>
    </p:spTree>
    <p:extLst>
      <p:ext uri="{BB962C8B-B14F-4D97-AF65-F5344CB8AC3E}">
        <p14:creationId xmlns:p14="http://schemas.microsoft.com/office/powerpoint/2010/main" val="2218186622"/>
      </p:ext>
    </p:extLst>
  </p:cSld>
  <p:clrMapOvr>
    <a:masterClrMapping/>
  </p:clrMapOvr>
</p:notes>
</file>

<file path=ppt/notesSlides/notesSlide1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3/22/2018 3:03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62</a:t>
            </a:fld>
            <a:endParaRPr lang="en-US" dirty="0"/>
          </a:p>
        </p:txBody>
      </p:sp>
    </p:spTree>
    <p:extLst>
      <p:ext uri="{BB962C8B-B14F-4D97-AF65-F5344CB8AC3E}">
        <p14:creationId xmlns:p14="http://schemas.microsoft.com/office/powerpoint/2010/main" val="4120752742"/>
      </p:ext>
    </p:extLst>
  </p:cSld>
  <p:clrMapOvr>
    <a:masterClrMapping/>
  </p:clrMapOvr>
</p:notes>
</file>

<file path=ppt/notesSlides/notesSlide1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7D10C09F-FCA1-48C8-B40D-42E1045D109E}" type="datetime8">
              <a:rPr lang="en-US" smtClean="0"/>
              <a:t>3/22/2018 3:03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63</a:t>
            </a:fld>
            <a:endParaRPr lang="en-US" dirty="0"/>
          </a:p>
        </p:txBody>
      </p:sp>
    </p:spTree>
    <p:extLst>
      <p:ext uri="{BB962C8B-B14F-4D97-AF65-F5344CB8AC3E}">
        <p14:creationId xmlns:p14="http://schemas.microsoft.com/office/powerpoint/2010/main" val="513913510"/>
      </p:ext>
    </p:extLst>
  </p:cSld>
  <p:clrMapOvr>
    <a:masterClrMapping/>
  </p:clrMapOvr>
</p:notes>
</file>

<file path=ppt/notesSlides/notesSlide1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3/22/2018 3:03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64</a:t>
            </a:fld>
            <a:endParaRPr lang="en-US" dirty="0"/>
          </a:p>
        </p:txBody>
      </p:sp>
    </p:spTree>
    <p:extLst>
      <p:ext uri="{BB962C8B-B14F-4D97-AF65-F5344CB8AC3E}">
        <p14:creationId xmlns:p14="http://schemas.microsoft.com/office/powerpoint/2010/main" val="1505502982"/>
      </p:ext>
    </p:extLst>
  </p:cSld>
  <p:clrMapOvr>
    <a:masterClrMapping/>
  </p:clrMapOvr>
</p:notes>
</file>

<file path=ppt/notesSlides/notesSlide1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3/22/2018 3:03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65</a:t>
            </a:fld>
            <a:endParaRPr lang="en-US" dirty="0"/>
          </a:p>
        </p:txBody>
      </p:sp>
    </p:spTree>
    <p:extLst>
      <p:ext uri="{BB962C8B-B14F-4D97-AF65-F5344CB8AC3E}">
        <p14:creationId xmlns:p14="http://schemas.microsoft.com/office/powerpoint/2010/main" val="1417986573"/>
      </p:ext>
    </p:extLst>
  </p:cSld>
  <p:clrMapOvr>
    <a:masterClrMapping/>
  </p:clrMapOvr>
</p:notes>
</file>

<file path=ppt/notesSlides/notesSlide1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3/22/2018 3:03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66</a:t>
            </a:fld>
            <a:endParaRPr lang="en-US" dirty="0"/>
          </a:p>
        </p:txBody>
      </p:sp>
    </p:spTree>
    <p:extLst>
      <p:ext uri="{BB962C8B-B14F-4D97-AF65-F5344CB8AC3E}">
        <p14:creationId xmlns:p14="http://schemas.microsoft.com/office/powerpoint/2010/main" val="2397247848"/>
      </p:ext>
    </p:extLst>
  </p:cSld>
  <p:clrMapOvr>
    <a:masterClrMapping/>
  </p:clrMapOvr>
</p:notes>
</file>

<file path=ppt/notesSlides/notesSlide1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3/22/2018 3:03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67</a:t>
            </a:fld>
            <a:endParaRPr lang="en-US" dirty="0"/>
          </a:p>
        </p:txBody>
      </p:sp>
    </p:spTree>
    <p:extLst>
      <p:ext uri="{BB962C8B-B14F-4D97-AF65-F5344CB8AC3E}">
        <p14:creationId xmlns:p14="http://schemas.microsoft.com/office/powerpoint/2010/main" val="2474803013"/>
      </p:ext>
    </p:extLst>
  </p:cSld>
  <p:clrMapOvr>
    <a:masterClrMapping/>
  </p:clrMapOvr>
</p:notes>
</file>

<file path=ppt/notesSlides/notesSlide1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3/22/2018 3:03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68</a:t>
            </a:fld>
            <a:endParaRPr lang="en-US" dirty="0"/>
          </a:p>
        </p:txBody>
      </p:sp>
    </p:spTree>
    <p:extLst>
      <p:ext uri="{BB962C8B-B14F-4D97-AF65-F5344CB8AC3E}">
        <p14:creationId xmlns:p14="http://schemas.microsoft.com/office/powerpoint/2010/main" val="2202229674"/>
      </p:ext>
    </p:extLst>
  </p:cSld>
  <p:clrMapOvr>
    <a:masterClrMapping/>
  </p:clrMapOvr>
</p:notes>
</file>

<file path=ppt/notesSlides/notesSlide1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3/22/2018 3:03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69</a:t>
            </a:fld>
            <a:endParaRPr lang="en-US" dirty="0"/>
          </a:p>
        </p:txBody>
      </p:sp>
    </p:spTree>
    <p:extLst>
      <p:ext uri="{BB962C8B-B14F-4D97-AF65-F5344CB8AC3E}">
        <p14:creationId xmlns:p14="http://schemas.microsoft.com/office/powerpoint/2010/main" val="347543400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US" dirty="0"/>
              <a:t>Easier to build, host, and consume APIs in the cloud and on-premises.</a:t>
            </a:r>
          </a:p>
          <a:p>
            <a:pPr marL="0" indent="0">
              <a:buNone/>
            </a:pPr>
            <a:endParaRPr lang="en-US" dirty="0"/>
          </a:p>
          <a:p>
            <a:pPr marL="0" indent="0">
              <a:buNone/>
            </a:pPr>
            <a:r>
              <a:rPr lang="en-US" dirty="0"/>
              <a:t>Enterprise grade security, simple access control, hybrid connectivity, automatic SDK generation, and seamless integration with Logic Apps.</a:t>
            </a:r>
          </a:p>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3/22/2018 3:03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7</a:t>
            </a:fld>
            <a:endParaRPr lang="en-US" dirty="0"/>
          </a:p>
        </p:txBody>
      </p:sp>
    </p:spTree>
    <p:extLst>
      <p:ext uri="{BB962C8B-B14F-4D97-AF65-F5344CB8AC3E}">
        <p14:creationId xmlns:p14="http://schemas.microsoft.com/office/powerpoint/2010/main" val="4130487703"/>
      </p:ext>
    </p:extLst>
  </p:cSld>
  <p:clrMapOvr>
    <a:masterClrMapping/>
  </p:clrMapOvr>
</p:notes>
</file>

<file path=ppt/notesSlides/notesSlide1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3/22/2018 3:03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70</a:t>
            </a:fld>
            <a:endParaRPr lang="en-US" dirty="0"/>
          </a:p>
        </p:txBody>
      </p:sp>
    </p:spTree>
    <p:extLst>
      <p:ext uri="{BB962C8B-B14F-4D97-AF65-F5344CB8AC3E}">
        <p14:creationId xmlns:p14="http://schemas.microsoft.com/office/powerpoint/2010/main" val="3651237505"/>
      </p:ext>
    </p:extLst>
  </p:cSld>
  <p:clrMapOvr>
    <a:masterClrMapping/>
  </p:clrMapOvr>
</p:notes>
</file>

<file path=ppt/notesSlides/notesSlide1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3/22/2018 3:03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71</a:t>
            </a:fld>
            <a:endParaRPr lang="en-US" dirty="0"/>
          </a:p>
        </p:txBody>
      </p:sp>
    </p:spTree>
    <p:extLst>
      <p:ext uri="{BB962C8B-B14F-4D97-AF65-F5344CB8AC3E}">
        <p14:creationId xmlns:p14="http://schemas.microsoft.com/office/powerpoint/2010/main" val="311714478"/>
      </p:ext>
    </p:extLst>
  </p:cSld>
  <p:clrMapOvr>
    <a:masterClrMapping/>
  </p:clrMapOvr>
</p:notes>
</file>

<file path=ppt/notesSlides/notesSlide1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3/22/2018 3:03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72</a:t>
            </a:fld>
            <a:endParaRPr lang="en-US" dirty="0"/>
          </a:p>
        </p:txBody>
      </p:sp>
    </p:spTree>
    <p:extLst>
      <p:ext uri="{BB962C8B-B14F-4D97-AF65-F5344CB8AC3E}">
        <p14:creationId xmlns:p14="http://schemas.microsoft.com/office/powerpoint/2010/main" val="4289547585"/>
      </p:ext>
    </p:extLst>
  </p:cSld>
  <p:clrMapOvr>
    <a:masterClrMapping/>
  </p:clrMapOvr>
</p:notes>
</file>

<file path=ppt/notesSlides/notesSlide1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3/22/2018 3:03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73</a:t>
            </a:fld>
            <a:endParaRPr lang="en-US" dirty="0"/>
          </a:p>
        </p:txBody>
      </p:sp>
    </p:spTree>
    <p:extLst>
      <p:ext uri="{BB962C8B-B14F-4D97-AF65-F5344CB8AC3E}">
        <p14:creationId xmlns:p14="http://schemas.microsoft.com/office/powerpoint/2010/main" val="2862722649"/>
      </p:ext>
    </p:extLst>
  </p:cSld>
  <p:clrMapOvr>
    <a:masterClrMapping/>
  </p:clrMapOvr>
</p:notes>
</file>

<file path=ppt/notesSlides/notesSlide1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3/22/2018 3:03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74</a:t>
            </a:fld>
            <a:endParaRPr lang="en-US" dirty="0"/>
          </a:p>
        </p:txBody>
      </p:sp>
    </p:spTree>
    <p:extLst>
      <p:ext uri="{BB962C8B-B14F-4D97-AF65-F5344CB8AC3E}">
        <p14:creationId xmlns:p14="http://schemas.microsoft.com/office/powerpoint/2010/main" val="500853545"/>
      </p:ext>
    </p:extLst>
  </p:cSld>
  <p:clrMapOvr>
    <a:masterClrMapping/>
  </p:clrMapOvr>
</p:notes>
</file>

<file path=ppt/notesSlides/notesSlide1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3/22/2018 3:03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75</a:t>
            </a:fld>
            <a:endParaRPr lang="en-US" dirty="0"/>
          </a:p>
        </p:txBody>
      </p:sp>
    </p:spTree>
    <p:extLst>
      <p:ext uri="{BB962C8B-B14F-4D97-AF65-F5344CB8AC3E}">
        <p14:creationId xmlns:p14="http://schemas.microsoft.com/office/powerpoint/2010/main" val="1029955784"/>
      </p:ext>
    </p:extLst>
  </p:cSld>
  <p:clrMapOvr>
    <a:masterClrMapping/>
  </p:clrMapOvr>
</p:notes>
</file>

<file path=ppt/notesSlides/notesSlide1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3/22/2018 3:03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76</a:t>
            </a:fld>
            <a:endParaRPr lang="en-US" dirty="0"/>
          </a:p>
        </p:txBody>
      </p:sp>
    </p:spTree>
    <p:extLst>
      <p:ext uri="{BB962C8B-B14F-4D97-AF65-F5344CB8AC3E}">
        <p14:creationId xmlns:p14="http://schemas.microsoft.com/office/powerpoint/2010/main" val="4181582282"/>
      </p:ext>
    </p:extLst>
  </p:cSld>
  <p:clrMapOvr>
    <a:masterClrMapping/>
  </p:clrMapOvr>
</p:notes>
</file>

<file path=ppt/notesSlides/notesSlide1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3/22/2018 3:03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77</a:t>
            </a:fld>
            <a:endParaRPr lang="en-US" dirty="0"/>
          </a:p>
        </p:txBody>
      </p:sp>
    </p:spTree>
    <p:extLst>
      <p:ext uri="{BB962C8B-B14F-4D97-AF65-F5344CB8AC3E}">
        <p14:creationId xmlns:p14="http://schemas.microsoft.com/office/powerpoint/2010/main" val="3272475277"/>
      </p:ext>
    </p:extLst>
  </p:cSld>
  <p:clrMapOvr>
    <a:masterClrMapping/>
  </p:clrMapOvr>
</p:notes>
</file>

<file path=ppt/notesSlides/notesSlide1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3/22/2018 3:03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78</a:t>
            </a:fld>
            <a:endParaRPr lang="en-US" dirty="0"/>
          </a:p>
        </p:txBody>
      </p:sp>
    </p:spTree>
    <p:extLst>
      <p:ext uri="{BB962C8B-B14F-4D97-AF65-F5344CB8AC3E}">
        <p14:creationId xmlns:p14="http://schemas.microsoft.com/office/powerpoint/2010/main" val="914857045"/>
      </p:ext>
    </p:extLst>
  </p:cSld>
  <p:clrMapOvr>
    <a:masterClrMapping/>
  </p:clrMapOvr>
</p:notes>
</file>

<file path=ppt/notesSlides/notesSlide1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3/22/2018 3:03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79</a:t>
            </a:fld>
            <a:endParaRPr lang="en-US" dirty="0"/>
          </a:p>
        </p:txBody>
      </p:sp>
    </p:spTree>
    <p:extLst>
      <p:ext uri="{BB962C8B-B14F-4D97-AF65-F5344CB8AC3E}">
        <p14:creationId xmlns:p14="http://schemas.microsoft.com/office/powerpoint/2010/main" val="375459256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r>
              <a:rPr lang="en-US" dirty="0"/>
              <a:t>Logic Apps allow developers to design workflows that start from a trigger and then execute a series of steps. </a:t>
            </a:r>
          </a:p>
          <a:p>
            <a:pPr marL="0" marR="0" lvl="0" indent="0" algn="l" defTabSz="932742" rtl="0" eaLnBrk="1" fontAlgn="auto" latinLnBrk="0" hangingPunct="1">
              <a:lnSpc>
                <a:spcPct val="90000"/>
              </a:lnSpc>
              <a:spcBef>
                <a:spcPts val="0"/>
              </a:spcBef>
              <a:spcAft>
                <a:spcPts val="340"/>
              </a:spcAft>
              <a:buClrTx/>
              <a:buSzTx/>
              <a:buFontTx/>
              <a:buNone/>
              <a:tabLst/>
              <a:defRPr/>
            </a:pPr>
            <a:r>
              <a:rPr lang="en-US" dirty="0"/>
              <a:t>Each step invokes an API whilst securely taking care of authentication and best practices, like checkpointing and durable execution.</a:t>
            </a:r>
          </a:p>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3/22/2018 3:03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8</a:t>
            </a:fld>
            <a:endParaRPr lang="en-US" dirty="0"/>
          </a:p>
        </p:txBody>
      </p:sp>
    </p:spTree>
    <p:extLst>
      <p:ext uri="{BB962C8B-B14F-4D97-AF65-F5344CB8AC3E}">
        <p14:creationId xmlns:p14="http://schemas.microsoft.com/office/powerpoint/2010/main" val="848232995"/>
      </p:ext>
    </p:extLst>
  </p:cSld>
  <p:clrMapOvr>
    <a:masterClrMapping/>
  </p:clrMapOvr>
</p:notes>
</file>

<file path=ppt/notesSlides/notesSlide1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3/22/2018 3:03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80</a:t>
            </a:fld>
            <a:endParaRPr lang="en-US" dirty="0"/>
          </a:p>
        </p:txBody>
      </p:sp>
    </p:spTree>
    <p:extLst>
      <p:ext uri="{BB962C8B-B14F-4D97-AF65-F5344CB8AC3E}">
        <p14:creationId xmlns:p14="http://schemas.microsoft.com/office/powerpoint/2010/main" val="3066748363"/>
      </p:ext>
    </p:extLst>
  </p:cSld>
  <p:clrMapOvr>
    <a:masterClrMapping/>
  </p:clrMapOvr>
</p:notes>
</file>

<file path=ppt/notesSlides/notesSlide1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3/22/2018 3:03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81</a:t>
            </a:fld>
            <a:endParaRPr lang="en-US" dirty="0"/>
          </a:p>
        </p:txBody>
      </p:sp>
    </p:spTree>
    <p:extLst>
      <p:ext uri="{BB962C8B-B14F-4D97-AF65-F5344CB8AC3E}">
        <p14:creationId xmlns:p14="http://schemas.microsoft.com/office/powerpoint/2010/main" val="1210276759"/>
      </p:ext>
    </p:extLst>
  </p:cSld>
  <p:clrMapOvr>
    <a:masterClrMapping/>
  </p:clrMapOvr>
</p:notes>
</file>

<file path=ppt/notesSlides/notesSlide1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3/22/2018 3:03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82</a:t>
            </a:fld>
            <a:endParaRPr lang="en-US" dirty="0"/>
          </a:p>
        </p:txBody>
      </p:sp>
    </p:spTree>
    <p:extLst>
      <p:ext uri="{BB962C8B-B14F-4D97-AF65-F5344CB8AC3E}">
        <p14:creationId xmlns:p14="http://schemas.microsoft.com/office/powerpoint/2010/main" val="3232659840"/>
      </p:ext>
    </p:extLst>
  </p:cSld>
  <p:clrMapOvr>
    <a:masterClrMapping/>
  </p:clrMapOvr>
</p:notes>
</file>

<file path=ppt/notesSlides/notesSlide1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3/22/2018 3:03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83</a:t>
            </a:fld>
            <a:endParaRPr lang="en-US" dirty="0"/>
          </a:p>
        </p:txBody>
      </p:sp>
    </p:spTree>
    <p:extLst>
      <p:ext uri="{BB962C8B-B14F-4D97-AF65-F5344CB8AC3E}">
        <p14:creationId xmlns:p14="http://schemas.microsoft.com/office/powerpoint/2010/main" val="2213113696"/>
      </p:ext>
    </p:extLst>
  </p:cSld>
  <p:clrMapOvr>
    <a:masterClrMapping/>
  </p:clrMapOvr>
</p:notes>
</file>

<file path=ppt/notesSlides/notesSlide1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3/22/2018 3:03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84</a:t>
            </a:fld>
            <a:endParaRPr lang="en-US" dirty="0"/>
          </a:p>
        </p:txBody>
      </p:sp>
    </p:spTree>
    <p:extLst>
      <p:ext uri="{BB962C8B-B14F-4D97-AF65-F5344CB8AC3E}">
        <p14:creationId xmlns:p14="http://schemas.microsoft.com/office/powerpoint/2010/main" val="313631298"/>
      </p:ext>
    </p:extLst>
  </p:cSld>
  <p:clrMapOvr>
    <a:masterClrMapping/>
  </p:clrMapOvr>
</p:notes>
</file>

<file path=ppt/notesSlides/notesSlide1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3/22/2018 3:03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85</a:t>
            </a:fld>
            <a:endParaRPr lang="en-US" dirty="0"/>
          </a:p>
        </p:txBody>
      </p:sp>
    </p:spTree>
    <p:extLst>
      <p:ext uri="{BB962C8B-B14F-4D97-AF65-F5344CB8AC3E}">
        <p14:creationId xmlns:p14="http://schemas.microsoft.com/office/powerpoint/2010/main" val="150315433"/>
      </p:ext>
    </p:extLst>
  </p:cSld>
  <p:clrMapOvr>
    <a:masterClrMapping/>
  </p:clrMapOvr>
</p:notes>
</file>

<file path=ppt/notesSlides/notesSlide1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3/22/2018 3:03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86</a:t>
            </a:fld>
            <a:endParaRPr lang="en-US" dirty="0"/>
          </a:p>
        </p:txBody>
      </p:sp>
    </p:spTree>
    <p:extLst>
      <p:ext uri="{BB962C8B-B14F-4D97-AF65-F5344CB8AC3E}">
        <p14:creationId xmlns:p14="http://schemas.microsoft.com/office/powerpoint/2010/main" val="2799650699"/>
      </p:ext>
    </p:extLst>
  </p:cSld>
  <p:clrMapOvr>
    <a:masterClrMapping/>
  </p:clrMapOvr>
</p:notes>
</file>

<file path=ppt/notesSlides/notesSlide1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3/22/2018 3:03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87</a:t>
            </a:fld>
            <a:endParaRPr lang="en-US" dirty="0"/>
          </a:p>
        </p:txBody>
      </p:sp>
    </p:spTree>
    <p:extLst>
      <p:ext uri="{BB962C8B-B14F-4D97-AF65-F5344CB8AC3E}">
        <p14:creationId xmlns:p14="http://schemas.microsoft.com/office/powerpoint/2010/main" val="2953764263"/>
      </p:ext>
    </p:extLst>
  </p:cSld>
  <p:clrMapOvr>
    <a:masterClrMapping/>
  </p:clrMapOvr>
</p:notes>
</file>

<file path=ppt/notesSlides/notesSlide1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3/22/2018 3:03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88</a:t>
            </a:fld>
            <a:endParaRPr lang="en-US" dirty="0"/>
          </a:p>
        </p:txBody>
      </p:sp>
    </p:spTree>
    <p:extLst>
      <p:ext uri="{BB962C8B-B14F-4D97-AF65-F5344CB8AC3E}">
        <p14:creationId xmlns:p14="http://schemas.microsoft.com/office/powerpoint/2010/main" val="2641724625"/>
      </p:ext>
    </p:extLst>
  </p:cSld>
  <p:clrMapOvr>
    <a:masterClrMapping/>
  </p:clrMapOvr>
</p:notes>
</file>

<file path=ppt/notesSlides/notesSlide1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3/22/2018 3:03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89</a:t>
            </a:fld>
            <a:endParaRPr lang="en-US" dirty="0"/>
          </a:p>
        </p:txBody>
      </p:sp>
    </p:spTree>
    <p:extLst>
      <p:ext uri="{BB962C8B-B14F-4D97-AF65-F5344CB8AC3E}">
        <p14:creationId xmlns:p14="http://schemas.microsoft.com/office/powerpoint/2010/main" val="152890947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3/22/2018 3:03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9</a:t>
            </a:fld>
            <a:endParaRPr lang="en-US" dirty="0"/>
          </a:p>
        </p:txBody>
      </p:sp>
    </p:spTree>
    <p:extLst>
      <p:ext uri="{BB962C8B-B14F-4D97-AF65-F5344CB8AC3E}">
        <p14:creationId xmlns:p14="http://schemas.microsoft.com/office/powerpoint/2010/main" val="2707066572"/>
      </p:ext>
    </p:extLst>
  </p:cSld>
  <p:clrMapOvr>
    <a:masterClrMapping/>
  </p:clrMapOvr>
</p:notes>
</file>

<file path=ppt/notesSlides/notesSlide1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3/22/2018 3:03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90</a:t>
            </a:fld>
            <a:endParaRPr lang="en-US" dirty="0"/>
          </a:p>
        </p:txBody>
      </p:sp>
    </p:spTree>
    <p:extLst>
      <p:ext uri="{BB962C8B-B14F-4D97-AF65-F5344CB8AC3E}">
        <p14:creationId xmlns:p14="http://schemas.microsoft.com/office/powerpoint/2010/main" val="1942294828"/>
      </p:ext>
    </p:extLst>
  </p:cSld>
  <p:clrMapOvr>
    <a:masterClrMapping/>
  </p:clrMapOvr>
</p:notes>
</file>

<file path=ppt/notesSlides/notesSlide1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3/22/2018 3:03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91</a:t>
            </a:fld>
            <a:endParaRPr lang="en-US" dirty="0"/>
          </a:p>
        </p:txBody>
      </p:sp>
    </p:spTree>
    <p:extLst>
      <p:ext uri="{BB962C8B-B14F-4D97-AF65-F5344CB8AC3E}">
        <p14:creationId xmlns:p14="http://schemas.microsoft.com/office/powerpoint/2010/main" val="2862043066"/>
      </p:ext>
    </p:extLst>
  </p:cSld>
  <p:clrMapOvr>
    <a:masterClrMapping/>
  </p:clrMapOvr>
</p:notes>
</file>

<file path=ppt/notesSlides/notesSlide1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3/22/2018 3:03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92</a:t>
            </a:fld>
            <a:endParaRPr lang="en-US" dirty="0"/>
          </a:p>
        </p:txBody>
      </p:sp>
    </p:spTree>
    <p:extLst>
      <p:ext uri="{BB962C8B-B14F-4D97-AF65-F5344CB8AC3E}">
        <p14:creationId xmlns:p14="http://schemas.microsoft.com/office/powerpoint/2010/main" val="1668890107"/>
      </p:ext>
    </p:extLst>
  </p:cSld>
  <p:clrMapOvr>
    <a:masterClrMapping/>
  </p:clrMapOvr>
</p:notes>
</file>

<file path=ppt/notesSlides/notesSlide1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3/22/2018 3:03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93</a:t>
            </a:fld>
            <a:endParaRPr lang="en-US" dirty="0"/>
          </a:p>
        </p:txBody>
      </p:sp>
    </p:spTree>
    <p:extLst>
      <p:ext uri="{BB962C8B-B14F-4D97-AF65-F5344CB8AC3E}">
        <p14:creationId xmlns:p14="http://schemas.microsoft.com/office/powerpoint/2010/main" val="4086624202"/>
      </p:ext>
    </p:extLst>
  </p:cSld>
  <p:clrMapOvr>
    <a:masterClrMapping/>
  </p:clrMapOvr>
</p:notes>
</file>

<file path=ppt/notesSlides/notesSlide1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3/22/2018 3:03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94</a:t>
            </a:fld>
            <a:endParaRPr lang="en-US" dirty="0"/>
          </a:p>
        </p:txBody>
      </p:sp>
    </p:spTree>
    <p:extLst>
      <p:ext uri="{BB962C8B-B14F-4D97-AF65-F5344CB8AC3E}">
        <p14:creationId xmlns:p14="http://schemas.microsoft.com/office/powerpoint/2010/main" val="2371215879"/>
      </p:ext>
    </p:extLst>
  </p:cSld>
  <p:clrMapOvr>
    <a:masterClrMapping/>
  </p:clrMapOvr>
</p:notes>
</file>

<file path=ppt/notesSlides/notesSlide1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3/22/2018 3:03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95</a:t>
            </a:fld>
            <a:endParaRPr lang="en-US" dirty="0"/>
          </a:p>
        </p:txBody>
      </p:sp>
    </p:spTree>
    <p:extLst>
      <p:ext uri="{BB962C8B-B14F-4D97-AF65-F5344CB8AC3E}">
        <p14:creationId xmlns:p14="http://schemas.microsoft.com/office/powerpoint/2010/main" val="1501291444"/>
      </p:ext>
    </p:extLst>
  </p:cSld>
  <p:clrMapOvr>
    <a:masterClrMapping/>
  </p:clrMapOvr>
</p:notes>
</file>

<file path=ppt/notesSlides/notesSlide1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3/22/2018 3:03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96</a:t>
            </a:fld>
            <a:endParaRPr lang="en-US" dirty="0"/>
          </a:p>
        </p:txBody>
      </p:sp>
    </p:spTree>
    <p:extLst>
      <p:ext uri="{BB962C8B-B14F-4D97-AF65-F5344CB8AC3E}">
        <p14:creationId xmlns:p14="http://schemas.microsoft.com/office/powerpoint/2010/main" val="2958203542"/>
      </p:ext>
    </p:extLst>
  </p:cSld>
  <p:clrMapOvr>
    <a:masterClrMapping/>
  </p:clrMapOvr>
</p:notes>
</file>

<file path=ppt/notesSlides/notesSlide1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3/22/2018 3:03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97</a:t>
            </a:fld>
            <a:endParaRPr lang="en-US" dirty="0"/>
          </a:p>
        </p:txBody>
      </p:sp>
    </p:spTree>
    <p:extLst>
      <p:ext uri="{BB962C8B-B14F-4D97-AF65-F5344CB8AC3E}">
        <p14:creationId xmlns:p14="http://schemas.microsoft.com/office/powerpoint/2010/main" val="1605825178"/>
      </p:ext>
    </p:extLst>
  </p:cSld>
  <p:clrMapOvr>
    <a:masterClrMapping/>
  </p:clrMapOvr>
</p:notes>
</file>

<file path=ppt/notesSlides/notesSlide1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3/22/2018 3:03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98</a:t>
            </a:fld>
            <a:endParaRPr lang="en-US" dirty="0"/>
          </a:p>
        </p:txBody>
      </p:sp>
    </p:spTree>
    <p:extLst>
      <p:ext uri="{BB962C8B-B14F-4D97-AF65-F5344CB8AC3E}">
        <p14:creationId xmlns:p14="http://schemas.microsoft.com/office/powerpoint/2010/main" val="377023826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NOTE: </a:t>
            </a:r>
            <a:r>
              <a:rPr lang="en-US" b="0" dirty="0"/>
              <a:t> The focus should be on delivering the Blue Boxes.  Those are the core PaaS pieces that most organizations are interested in.  The grey boxes are informational if they are interested.  In many cases, you may not be an expert nor even at 200 level for most of those services.  If the customer is really interested in any of the grey boxes, and you do not have the time to ramp up heavily, it would be worth bringing a SME into a call for that topic.  Always keep in mind though to stick to SOW.  These slides are just overviews.  Unless a particular grey box topic is called out in the SOW, there is no need to dive much deeper without a change request to the project or incurring project </a:t>
            </a:r>
            <a:r>
              <a:rPr lang="en-US" b="0"/>
              <a:t>scope creep.</a:t>
            </a:r>
            <a:endParaRPr lang="en-US" b="1"/>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3/22/2018 3:03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a:t>
            </a:fld>
            <a:endParaRPr lang="en-US" dirty="0"/>
          </a:p>
        </p:txBody>
      </p:sp>
    </p:spTree>
    <p:extLst>
      <p:ext uri="{BB962C8B-B14F-4D97-AF65-F5344CB8AC3E}">
        <p14:creationId xmlns:p14="http://schemas.microsoft.com/office/powerpoint/2010/main" val="92854899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3/22/2018 3:03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0</a:t>
            </a:fld>
            <a:endParaRPr lang="en-US" dirty="0"/>
          </a:p>
        </p:txBody>
      </p:sp>
    </p:spTree>
    <p:extLst>
      <p:ext uri="{BB962C8B-B14F-4D97-AF65-F5344CB8AC3E}">
        <p14:creationId xmlns:p14="http://schemas.microsoft.com/office/powerpoint/2010/main" val="388290274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3/22/2018 3:03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1</a:t>
            </a:fld>
            <a:endParaRPr lang="en-US" dirty="0"/>
          </a:p>
        </p:txBody>
      </p:sp>
    </p:spTree>
    <p:extLst>
      <p:ext uri="{BB962C8B-B14F-4D97-AF65-F5344CB8AC3E}">
        <p14:creationId xmlns:p14="http://schemas.microsoft.com/office/powerpoint/2010/main" val="206579207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7D10C09F-FCA1-48C8-B40D-42E1045D109E}" type="datetime8">
              <a:rPr lang="en-US" smtClean="0"/>
              <a:t>3/22/2018 3:03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2</a:t>
            </a:fld>
            <a:endParaRPr lang="en-US" dirty="0"/>
          </a:p>
        </p:txBody>
      </p:sp>
    </p:spTree>
    <p:extLst>
      <p:ext uri="{BB962C8B-B14F-4D97-AF65-F5344CB8AC3E}">
        <p14:creationId xmlns:p14="http://schemas.microsoft.com/office/powerpoint/2010/main" val="309465637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Tx/>
              <a:buNone/>
              <a:tabLst/>
              <a:defRPr/>
            </a:pPr>
            <a:r>
              <a:rPr lang="en-US" sz="2800" baseline="0" dirty="0"/>
              <a:t>Microsoft Azure has been going through the transition of taking Tier 1 products such as SQL Server, Analysis Server, System center, Lync and running these as cloud services, as well as creating brand new “born in the cloud” Tier 1 services such as </a:t>
            </a:r>
            <a:r>
              <a:rPr lang="en-US" sz="2800" baseline="0" dirty="0" err="1"/>
              <a:t>DocumentDB</a:t>
            </a:r>
            <a:r>
              <a:rPr lang="en-US" sz="2800" baseline="0" dirty="0"/>
              <a:t>. In order to do this, we needed a new kind of PaaS, one that provides all the capabilities shown here such as high availability at scale, running at high density to reduce costs, agility in large development teams to be able to decompose the cloud service down into independent discrete smaller services each of which be partitioned for scale. </a:t>
            </a:r>
          </a:p>
          <a:p>
            <a:pPr marL="0" marR="0" indent="0" algn="l" defTabSz="932742" rtl="0" eaLnBrk="1" fontAlgn="auto" latinLnBrk="0" hangingPunct="1">
              <a:lnSpc>
                <a:spcPct val="90000"/>
              </a:lnSpc>
              <a:spcBef>
                <a:spcPts val="0"/>
              </a:spcBef>
              <a:spcAft>
                <a:spcPts val="340"/>
              </a:spcAft>
              <a:buClrTx/>
              <a:buSzTx/>
              <a:buFontTx/>
              <a:buNone/>
              <a:tabLst/>
              <a:defRPr/>
            </a:pPr>
            <a:endParaRPr lang="en-US" sz="2800" baseline="0" dirty="0"/>
          </a:p>
          <a:p>
            <a:pPr marL="0" marR="0" indent="0" algn="l" defTabSz="932742" rtl="0" eaLnBrk="1" fontAlgn="auto" latinLnBrk="0" hangingPunct="1">
              <a:lnSpc>
                <a:spcPct val="90000"/>
              </a:lnSpc>
              <a:spcBef>
                <a:spcPts val="0"/>
              </a:spcBef>
              <a:spcAft>
                <a:spcPts val="340"/>
              </a:spcAft>
              <a:buClrTx/>
              <a:buSzTx/>
              <a:buFontTx/>
              <a:buNone/>
              <a:tabLst/>
              <a:defRPr/>
            </a:pPr>
            <a:r>
              <a:rPr lang="en-US" sz="2800" baseline="0" dirty="0"/>
              <a:t>Importantly, we realized that the largest cost for a cloud service was the day to day management and operation of the service, and not having to worry about the availability of the service in the event of machine, network, process failures. So, Service Fabric also provides a self-healing approach which means you do not need large teams of people to ensure that the service is always running. Equally with the concepts of application versioning, no downtime rolling upgrades and automatic service resource balancing based on current load and health, Service Fabric provides complete lifecycle support for your cloud service.</a:t>
            </a:r>
          </a:p>
          <a:p>
            <a:pPr marL="0" marR="0" indent="0" algn="l" defTabSz="932742" rtl="0" eaLnBrk="1" fontAlgn="auto" latinLnBrk="0" hangingPunct="1">
              <a:lnSpc>
                <a:spcPct val="90000"/>
              </a:lnSpc>
              <a:spcBef>
                <a:spcPts val="0"/>
              </a:spcBef>
              <a:spcAft>
                <a:spcPts val="340"/>
              </a:spcAft>
              <a:buClrTx/>
              <a:buSzTx/>
              <a:buFontTx/>
              <a:buNone/>
              <a:tabLst/>
              <a:defRPr/>
            </a:pPr>
            <a:endParaRPr lang="en-US" sz="2800" baseline="0" dirty="0"/>
          </a:p>
          <a:p>
            <a:pPr marL="0" marR="0" indent="0" algn="l" defTabSz="932742" rtl="0" eaLnBrk="1" fontAlgn="auto" latinLnBrk="0" hangingPunct="1">
              <a:lnSpc>
                <a:spcPct val="90000"/>
              </a:lnSpc>
              <a:spcBef>
                <a:spcPts val="0"/>
              </a:spcBef>
              <a:spcAft>
                <a:spcPts val="340"/>
              </a:spcAft>
              <a:buClrTx/>
              <a:buSzTx/>
              <a:buFontTx/>
              <a:buNone/>
              <a:tabLst/>
              <a:defRPr/>
            </a:pPr>
            <a:r>
              <a:rPr lang="en-US" sz="2800" baseline="0" dirty="0"/>
              <a:t>Service Fabric will be available in Azure as a service and in Windows Server 2016. Applications built against the programming APIs can be deployed to any of these environments with no code changes. Currently, as you would expect given that we developed Service Fabric for our own services, it runs on Windows, but we have started the port on Linux that we will eventually release. </a:t>
            </a:r>
          </a:p>
          <a:p>
            <a:pPr marL="0" marR="0" indent="0" algn="l" defTabSz="932742" rtl="0" eaLnBrk="1" fontAlgn="auto" latinLnBrk="0" hangingPunct="1">
              <a:lnSpc>
                <a:spcPct val="90000"/>
              </a:lnSpc>
              <a:spcBef>
                <a:spcPts val="0"/>
              </a:spcBef>
              <a:spcAft>
                <a:spcPts val="340"/>
              </a:spcAft>
              <a:buClrTx/>
              <a:buSzTx/>
              <a:buFontTx/>
              <a:buNone/>
              <a:tabLst/>
              <a:defRPr/>
            </a:pPr>
            <a:endParaRPr lang="en-US" sz="2800" baseline="0" dirty="0"/>
          </a:p>
          <a:p>
            <a:pPr marL="0" marR="0" indent="0" algn="l" defTabSz="932742" rtl="0" eaLnBrk="1" fontAlgn="auto" latinLnBrk="0" hangingPunct="1">
              <a:lnSpc>
                <a:spcPct val="90000"/>
              </a:lnSpc>
              <a:spcBef>
                <a:spcPts val="0"/>
              </a:spcBef>
              <a:spcAft>
                <a:spcPts val="340"/>
              </a:spcAft>
              <a:buClrTx/>
              <a:buSzTx/>
              <a:buFontTx/>
              <a:buNone/>
              <a:tabLst/>
              <a:defRPr/>
            </a:pPr>
            <a:r>
              <a:rPr lang="en-US" sz="2800" baseline="0" dirty="0"/>
              <a:t>The world is changing for you as developers, as previous on-premises products move the cloud as services to take advantage of utility computing and global reach. You need a platform that helps get you there. Now you can use the same platform that Azure is using for its tier 1 services and all this is installed on your laptop. You have a whole datacenter in your hands.</a:t>
            </a:r>
            <a:endParaRPr lang="en-US" sz="2800" dirty="0"/>
          </a:p>
          <a:p>
            <a:endParaRPr lang="en-US" sz="2448" kern="1200" dirty="0">
              <a:solidFill>
                <a:schemeClr val="tx1"/>
              </a:solidFill>
              <a:latin typeface="Segoe UI Light" pitchFamily="34" charset="0"/>
              <a:ea typeface="+mn-ea"/>
              <a:cs typeface="+mn-cs"/>
            </a:endParaRPr>
          </a:p>
          <a:p>
            <a:r>
              <a:rPr lang="en-US" sz="2448" kern="1200" dirty="0">
                <a:solidFill>
                  <a:schemeClr val="tx1"/>
                </a:solidFill>
                <a:latin typeface="Segoe UI Light" pitchFamily="34" charset="0"/>
                <a:ea typeface="+mn-ea"/>
                <a:cs typeface="+mn-cs"/>
              </a:rPr>
              <a:t>*****************************************************************************</a:t>
            </a:r>
          </a:p>
          <a:p>
            <a:r>
              <a:rPr lang="en-US" sz="2448" kern="1200" dirty="0">
                <a:solidFill>
                  <a:schemeClr val="tx1"/>
                </a:solidFill>
                <a:latin typeface="Segoe UI Light" pitchFamily="34" charset="0"/>
                <a:ea typeface="+mn-ea"/>
                <a:cs typeface="+mn-cs"/>
              </a:rPr>
              <a:t> Service Fabric is a proven distributed systems platform that:</a:t>
            </a:r>
          </a:p>
          <a:p>
            <a:pPr lvl="1"/>
            <a:r>
              <a:rPr lang="en-US" sz="2176" dirty="0"/>
              <a:t>Makes it easy to build scalable and reliable services</a:t>
            </a:r>
          </a:p>
          <a:p>
            <a:pPr lvl="1"/>
            <a:r>
              <a:rPr lang="en-US" sz="2176" dirty="0"/>
              <a:t>Allows keeping compute and associated state together to achieve high throughput and low latency</a:t>
            </a:r>
          </a:p>
          <a:p>
            <a:pPr lvl="1"/>
            <a:r>
              <a:rPr lang="en-US" sz="2176" dirty="0"/>
              <a:t>Manages full service lifecycle</a:t>
            </a:r>
          </a:p>
          <a:p>
            <a:pPr lvl="1"/>
            <a:r>
              <a:rPr lang="en-US" sz="2176" dirty="0"/>
              <a:t>Can be deployed in-cloud or on-premises</a:t>
            </a:r>
          </a:p>
        </p:txBody>
      </p:sp>
      <p:sp>
        <p:nvSpPr>
          <p:cNvPr id="4" name="Slide Number Placeholder 3"/>
          <p:cNvSpPr>
            <a:spLocks noGrp="1"/>
          </p:cNvSpPr>
          <p:nvPr>
            <p:ph type="sldNum" sz="quarter" idx="10"/>
          </p:nvPr>
        </p:nvSpPr>
        <p:spPr/>
        <p:txBody>
          <a:bodyPr/>
          <a:lstStyle/>
          <a:p>
            <a:fld id="{0A7327B1-EA79-42BA-8B82-860D37DAB89B}" type="slidenum">
              <a:rPr lang="en-US" smtClean="0">
                <a:solidFill>
                  <a:prstClr val="black"/>
                </a:solidFill>
              </a:rPr>
              <a:pPr/>
              <a:t>23</a:t>
            </a:fld>
            <a:endParaRPr lang="en-US">
              <a:solidFill>
                <a:prstClr val="black"/>
              </a:solidFill>
            </a:endParaRPr>
          </a:p>
        </p:txBody>
      </p:sp>
    </p:spTree>
    <p:extLst>
      <p:ext uri="{BB962C8B-B14F-4D97-AF65-F5344CB8AC3E}">
        <p14:creationId xmlns:p14="http://schemas.microsoft.com/office/powerpoint/2010/main" val="374528028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3/22/2018 3:03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4</a:t>
            </a:fld>
            <a:endParaRPr lang="en-US" dirty="0"/>
          </a:p>
        </p:txBody>
      </p:sp>
    </p:spTree>
    <p:extLst>
      <p:ext uri="{BB962C8B-B14F-4D97-AF65-F5344CB8AC3E}">
        <p14:creationId xmlns:p14="http://schemas.microsoft.com/office/powerpoint/2010/main" val="169782504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crease business value</a:t>
            </a:r>
          </a:p>
          <a:p>
            <a:r>
              <a:rPr lang="en-US" dirty="0"/>
              <a:t>Shorter time to market</a:t>
            </a:r>
          </a:p>
          <a:p>
            <a:r>
              <a:rPr lang="en-US" dirty="0"/>
              <a:t>No monolithic services</a:t>
            </a:r>
          </a:p>
          <a:p>
            <a:r>
              <a:rPr lang="en-US" dirty="0"/>
              <a:t>Version services independently</a:t>
            </a:r>
          </a:p>
          <a:p>
            <a:r>
              <a:rPr lang="en-US" dirty="0"/>
              <a:t>DevOps boundaries blurred</a:t>
            </a:r>
          </a:p>
          <a:p>
            <a:endParaRPr lang="en-US" dirty="0"/>
          </a:p>
          <a:p>
            <a:endParaRPr lang="en-US" dirty="0"/>
          </a:p>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3/22/2018 3:03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5</a:t>
            </a:fld>
            <a:endParaRPr lang="en-US" dirty="0"/>
          </a:p>
        </p:txBody>
      </p:sp>
    </p:spTree>
    <p:extLst>
      <p:ext uri="{BB962C8B-B14F-4D97-AF65-F5344CB8AC3E}">
        <p14:creationId xmlns:p14="http://schemas.microsoft.com/office/powerpoint/2010/main" val="209240964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7D10C09F-FCA1-48C8-B40D-42E1045D109E}"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2/2018 3:03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80334336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3/22/2018 3:03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7</a:t>
            </a:fld>
            <a:endParaRPr lang="en-US" dirty="0"/>
          </a:p>
        </p:txBody>
      </p:sp>
    </p:spTree>
    <p:extLst>
      <p:ext uri="{BB962C8B-B14F-4D97-AF65-F5344CB8AC3E}">
        <p14:creationId xmlns:p14="http://schemas.microsoft.com/office/powerpoint/2010/main" val="4020389687"/>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is slide is informational and for learning purposes.  You can reveal if a question comes up on this.</a:t>
            </a:r>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3/22/2018 3:03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8</a:t>
            </a:fld>
            <a:endParaRPr lang="en-US" dirty="0"/>
          </a:p>
        </p:txBody>
      </p:sp>
    </p:spTree>
    <p:extLst>
      <p:ext uri="{BB962C8B-B14F-4D97-AF65-F5344CB8AC3E}">
        <p14:creationId xmlns:p14="http://schemas.microsoft.com/office/powerpoint/2010/main" val="3600543972"/>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r>
              <a:rPr lang="en-US" dirty="0"/>
              <a:t>This slide is informational and for learning purposes.  You can reveal if a question comes up on this.</a:t>
            </a:r>
          </a:p>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3/22/2018 3:03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9</a:t>
            </a:fld>
            <a:endParaRPr lang="en-US" dirty="0"/>
          </a:p>
        </p:txBody>
      </p:sp>
    </p:spTree>
    <p:extLst>
      <p:ext uri="{BB962C8B-B14F-4D97-AF65-F5344CB8AC3E}">
        <p14:creationId xmlns:p14="http://schemas.microsoft.com/office/powerpoint/2010/main" val="16482073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3/22/2018 3:03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a:t>
            </a:fld>
            <a:endParaRPr lang="en-US" dirty="0"/>
          </a:p>
        </p:txBody>
      </p:sp>
    </p:spTree>
    <p:extLst>
      <p:ext uri="{BB962C8B-B14F-4D97-AF65-F5344CB8AC3E}">
        <p14:creationId xmlns:p14="http://schemas.microsoft.com/office/powerpoint/2010/main" val="3509414637"/>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dirty="0"/>
              <a:t>Great reference</a:t>
            </a:r>
          </a:p>
          <a:p>
            <a:r>
              <a:rPr lang="en-US"/>
              <a:t>https://docs.microsoft.com/en-us/azure/security/azure-security-services-technologies#azure-database-security</a:t>
            </a:r>
          </a:p>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7D10C09F-FCA1-48C8-B40D-42E1045D109E}" type="datetime8">
              <a:rPr lang="en-US" smtClean="0"/>
              <a:t>3/22/2018 3:03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0</a:t>
            </a:fld>
            <a:endParaRPr lang="en-US" dirty="0"/>
          </a:p>
        </p:txBody>
      </p:sp>
    </p:spTree>
    <p:extLst>
      <p:ext uri="{BB962C8B-B14F-4D97-AF65-F5344CB8AC3E}">
        <p14:creationId xmlns:p14="http://schemas.microsoft.com/office/powerpoint/2010/main" val="2604588388"/>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7D10C09F-FCA1-48C8-B40D-42E1045D109E}"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2/2018 3:03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985995284"/>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3/22/2018 3:03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2</a:t>
            </a:fld>
            <a:endParaRPr lang="en-US" dirty="0"/>
          </a:p>
        </p:txBody>
      </p:sp>
    </p:spTree>
    <p:extLst>
      <p:ext uri="{BB962C8B-B14F-4D97-AF65-F5344CB8AC3E}">
        <p14:creationId xmlns:p14="http://schemas.microsoft.com/office/powerpoint/2010/main" val="3045232454"/>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7D10C09F-FCA1-48C8-B40D-42E1045D109E}" type="datetime8">
              <a:rPr lang="en-US" smtClean="0"/>
              <a:t>3/22/2018 3:03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3</a:t>
            </a:fld>
            <a:endParaRPr lang="en-US" dirty="0"/>
          </a:p>
        </p:txBody>
      </p:sp>
    </p:spTree>
    <p:extLst>
      <p:ext uri="{BB962C8B-B14F-4D97-AF65-F5344CB8AC3E}">
        <p14:creationId xmlns:p14="http://schemas.microsoft.com/office/powerpoint/2010/main" val="3641630442"/>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3/22/2018 3:03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4</a:t>
            </a:fld>
            <a:endParaRPr lang="en-US" dirty="0"/>
          </a:p>
        </p:txBody>
      </p:sp>
    </p:spTree>
    <p:extLst>
      <p:ext uri="{BB962C8B-B14F-4D97-AF65-F5344CB8AC3E}">
        <p14:creationId xmlns:p14="http://schemas.microsoft.com/office/powerpoint/2010/main" val="2784034142"/>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7D10C09F-FCA1-48C8-B40D-42E1045D109E}"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2/2018 3:03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494865982"/>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3/22/2018 3:03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6</a:t>
            </a:fld>
            <a:endParaRPr lang="en-US" dirty="0"/>
          </a:p>
        </p:txBody>
      </p:sp>
    </p:spTree>
    <p:extLst>
      <p:ext uri="{BB962C8B-B14F-4D97-AF65-F5344CB8AC3E}">
        <p14:creationId xmlns:p14="http://schemas.microsoft.com/office/powerpoint/2010/main" val="578686462"/>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7D10C09F-FCA1-48C8-B40D-42E1045D109E}"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2/2018 3:03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057330929"/>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a:solidFill>
                  <a:prstClr val="black"/>
                </a:solidFill>
              </a:rPr>
              <a:t>Build 2012</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32933"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2933"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59A0D577-7625-48DC-B897-41F7A5B47ECB}" type="datetime1">
              <a:rPr lang="en-US" smtClean="0">
                <a:solidFill>
                  <a:prstClr val="black"/>
                </a:solidFill>
              </a:rPr>
              <a:pPr/>
              <a:t>3/22/2018</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38</a:t>
            </a:fld>
            <a:endParaRPr lang="en-US" dirty="0">
              <a:solidFill>
                <a:prstClr val="black"/>
              </a:solidFill>
            </a:endParaRPr>
          </a:p>
        </p:txBody>
      </p:sp>
    </p:spTree>
    <p:extLst>
      <p:ext uri="{BB962C8B-B14F-4D97-AF65-F5344CB8AC3E}">
        <p14:creationId xmlns:p14="http://schemas.microsoft.com/office/powerpoint/2010/main" val="2882183592"/>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3/22/2018 3:03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9</a:t>
            </a:fld>
            <a:endParaRPr lang="en-US" dirty="0"/>
          </a:p>
        </p:txBody>
      </p:sp>
    </p:spTree>
    <p:extLst>
      <p:ext uri="{BB962C8B-B14F-4D97-AF65-F5344CB8AC3E}">
        <p14:creationId xmlns:p14="http://schemas.microsoft.com/office/powerpoint/2010/main" val="9488893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688" rtl="0" eaLnBrk="1" fontAlgn="auto" latinLnBrk="0" hangingPunct="1">
              <a:lnSpc>
                <a:spcPct val="100000"/>
              </a:lnSpc>
              <a:spcBef>
                <a:spcPts val="0"/>
              </a:spcBef>
              <a:spcAft>
                <a:spcPts val="0"/>
              </a:spcAft>
              <a:buClrTx/>
              <a:buSzTx/>
              <a:buFontTx/>
              <a:buNone/>
              <a:tabLst/>
              <a:defRPr/>
            </a:pPr>
            <a:r>
              <a:rPr lang="en-US" i="1" dirty="0"/>
              <a:t>[Speaker Guidance:  Most of your audience will own a car</a:t>
            </a:r>
            <a:r>
              <a:rPr lang="en-US" i="1" baseline="0" dirty="0"/>
              <a:t>, and likely be happy with that ownership. This is an analogy to help understand the differences, but don’t try to push the analogy too far. ]</a:t>
            </a:r>
          </a:p>
          <a:p>
            <a:endParaRPr lang="en-US" b="1" dirty="0"/>
          </a:p>
          <a:p>
            <a:r>
              <a:rPr lang="en-US" b="1" dirty="0"/>
              <a:t>Objective:</a:t>
            </a:r>
          </a:p>
          <a:p>
            <a:r>
              <a:rPr lang="en-US" dirty="0"/>
              <a:t>Illustrate</a:t>
            </a:r>
            <a:r>
              <a:rPr lang="en-US" baseline="0" dirty="0"/>
              <a:t> the differences between IaaS, PaaS and </a:t>
            </a:r>
            <a:r>
              <a:rPr lang="en-US" baseline="0" dirty="0" err="1"/>
              <a:t>Saas</a:t>
            </a:r>
            <a:r>
              <a:rPr lang="en-US" baseline="0" dirty="0"/>
              <a:t> in a simplistic, easy to understand way.</a:t>
            </a:r>
          </a:p>
          <a:p>
            <a:endParaRPr lang="en-US" dirty="0"/>
          </a:p>
          <a:p>
            <a:pPr marL="0" marR="0" lvl="0" indent="0" algn="l" defTabSz="932688" rtl="0" eaLnBrk="1" fontAlgn="auto" latinLnBrk="0" hangingPunct="1">
              <a:lnSpc>
                <a:spcPct val="100000"/>
              </a:lnSpc>
              <a:spcBef>
                <a:spcPts val="0"/>
              </a:spcBef>
              <a:spcAft>
                <a:spcPts val="0"/>
              </a:spcAft>
              <a:buClrTx/>
              <a:buSzTx/>
              <a:buFontTx/>
              <a:buNone/>
              <a:tabLst/>
              <a:defRPr/>
            </a:pPr>
            <a:r>
              <a:rPr lang="en-US" sz="1400" b="1" kern="1200" dirty="0">
                <a:solidFill>
                  <a:schemeClr val="tx1"/>
                </a:solidFill>
                <a:effectLst/>
                <a:latin typeface="Segoe UI Light" pitchFamily="34" charset="0"/>
                <a:ea typeface="+mn-ea"/>
                <a:cs typeface="+mn-cs"/>
              </a:rPr>
              <a:t>Key talking points:</a:t>
            </a:r>
          </a:p>
          <a:p>
            <a:r>
              <a:rPr lang="en-US" sz="1224" kern="1200" dirty="0">
                <a:solidFill>
                  <a:schemeClr val="tx1"/>
                </a:solidFill>
                <a:effectLst/>
                <a:latin typeface="+mn-lt"/>
                <a:ea typeface="+mn-ea"/>
                <a:cs typeface="+mn-cs"/>
              </a:rPr>
              <a:t>So what differentiates a developer platform from an infrastructure platform?</a:t>
            </a:r>
          </a:p>
          <a:p>
            <a:endParaRPr lang="en-US" sz="1224" kern="1200" dirty="0">
              <a:solidFill>
                <a:schemeClr val="tx1"/>
              </a:solidFill>
              <a:effectLst/>
              <a:latin typeface="+mn-lt"/>
              <a:ea typeface="+mn-ea"/>
              <a:cs typeface="+mn-cs"/>
            </a:endParaRPr>
          </a:p>
          <a:p>
            <a:r>
              <a:rPr lang="en-US" sz="1224" kern="1200" dirty="0">
                <a:solidFill>
                  <a:schemeClr val="tx1"/>
                </a:solidFill>
                <a:effectLst/>
                <a:latin typeface="+mn-lt"/>
                <a:ea typeface="+mn-ea"/>
                <a:cs typeface="+mn-cs"/>
              </a:rPr>
              <a:t>It’s pretty simple, there are tiers of responsibility with benefits and tradeoffs between them. For example, to use a car analogy, if you own a car you have to go through the purchase process, buy insurance, maintain and service it over a long period of time, provide parking or garaging (you get the idea).</a:t>
            </a:r>
          </a:p>
          <a:p>
            <a:endParaRPr lang="en-US" sz="1224" kern="1200" dirty="0">
              <a:solidFill>
                <a:schemeClr val="tx1"/>
              </a:solidFill>
              <a:effectLst/>
              <a:latin typeface="+mn-lt"/>
              <a:ea typeface="+mn-ea"/>
              <a:cs typeface="+mn-cs"/>
            </a:endParaRPr>
          </a:p>
          <a:p>
            <a:r>
              <a:rPr lang="en-US" sz="1224" kern="1200" dirty="0">
                <a:solidFill>
                  <a:schemeClr val="tx1"/>
                </a:solidFill>
                <a:effectLst/>
                <a:latin typeface="+mn-lt"/>
                <a:ea typeface="+mn-ea"/>
                <a:cs typeface="+mn-cs"/>
              </a:rPr>
              <a:t>If you’re renting a car, you get the benefit of a car at your disposal for a fixed time period without any of the overhead of ownership – like maintenance</a:t>
            </a:r>
            <a:r>
              <a:rPr lang="en-US" sz="1224" kern="1200" baseline="0" dirty="0">
                <a:solidFill>
                  <a:schemeClr val="tx1"/>
                </a:solidFill>
                <a:effectLst/>
                <a:latin typeface="+mn-lt"/>
                <a:ea typeface="+mn-ea"/>
                <a:cs typeface="+mn-cs"/>
              </a:rPr>
              <a:t> and insurance.</a:t>
            </a:r>
          </a:p>
          <a:p>
            <a:endParaRPr lang="en-US" sz="1224" kern="1200" baseline="0" dirty="0">
              <a:solidFill>
                <a:schemeClr val="tx1"/>
              </a:solidFill>
              <a:effectLst/>
              <a:latin typeface="+mn-lt"/>
              <a:ea typeface="+mn-ea"/>
              <a:cs typeface="+mn-cs"/>
            </a:endParaRPr>
          </a:p>
          <a:p>
            <a:r>
              <a:rPr lang="en-US" sz="1224" kern="1200" dirty="0">
                <a:solidFill>
                  <a:schemeClr val="tx1"/>
                </a:solidFill>
                <a:effectLst/>
                <a:latin typeface="+mn-lt"/>
                <a:ea typeface="+mn-ea"/>
                <a:cs typeface="+mn-cs"/>
              </a:rPr>
              <a:t>An Uber or a taxi is likely to be the most affordable option, but can have limits on flexibility—you might have to wait five minutes, or maybe stand out in the rain waiting for a ride. </a:t>
            </a:r>
          </a:p>
          <a:p>
            <a:endParaRPr lang="en-US" sz="1224" kern="1200" dirty="0">
              <a:solidFill>
                <a:schemeClr val="tx1"/>
              </a:solidFill>
              <a:effectLst/>
              <a:latin typeface="+mn-lt"/>
              <a:ea typeface="+mn-ea"/>
              <a:cs typeface="+mn-cs"/>
            </a:endParaRPr>
          </a:p>
          <a:p>
            <a:pPr marL="0" marR="0" lvl="0" indent="0" algn="l" defTabSz="932688" rtl="0" eaLnBrk="1" fontAlgn="auto" latinLnBrk="0" hangingPunct="1">
              <a:lnSpc>
                <a:spcPct val="100000"/>
              </a:lnSpc>
              <a:spcBef>
                <a:spcPts val="0"/>
              </a:spcBef>
              <a:spcAft>
                <a:spcPts val="0"/>
              </a:spcAft>
              <a:buClrTx/>
              <a:buSzTx/>
              <a:buFontTx/>
              <a:buNone/>
              <a:tabLst/>
              <a:defRPr/>
            </a:pPr>
            <a:r>
              <a:rPr lang="en-US" sz="1224" kern="1200" dirty="0">
                <a:solidFill>
                  <a:schemeClr val="tx1"/>
                </a:solidFill>
                <a:effectLst/>
                <a:latin typeface="+mn-lt"/>
                <a:ea typeface="+mn-ea"/>
                <a:cs typeface="+mn-cs"/>
              </a:rPr>
              <a:t>Likewise, building apps on IaaS is a perfectly valid approach. It gives you maximum control and flexibility to run whatever you want—but with added responsibilities.</a:t>
            </a:r>
          </a:p>
          <a:p>
            <a:pPr marL="0" marR="0" lvl="0" indent="0" algn="l" defTabSz="932688" rtl="0" eaLnBrk="1" fontAlgn="auto" latinLnBrk="0" hangingPunct="1">
              <a:lnSpc>
                <a:spcPct val="100000"/>
              </a:lnSpc>
              <a:spcBef>
                <a:spcPts val="0"/>
              </a:spcBef>
              <a:spcAft>
                <a:spcPts val="0"/>
              </a:spcAft>
              <a:buClrTx/>
              <a:buSzTx/>
              <a:buFontTx/>
              <a:buNone/>
              <a:tabLst/>
              <a:defRPr/>
            </a:pPr>
            <a:endParaRPr lang="en-US" sz="1224" kern="1200" dirty="0">
              <a:solidFill>
                <a:schemeClr val="tx1"/>
              </a:solidFill>
              <a:effectLst/>
              <a:latin typeface="+mn-lt"/>
              <a:ea typeface="+mn-ea"/>
              <a:cs typeface="+mn-cs"/>
            </a:endParaRPr>
          </a:p>
          <a:p>
            <a:pPr marL="0" marR="0" lvl="0" indent="0" algn="l" defTabSz="932688" rtl="0" eaLnBrk="1" fontAlgn="auto" latinLnBrk="0" hangingPunct="1">
              <a:lnSpc>
                <a:spcPct val="100000"/>
              </a:lnSpc>
              <a:spcBef>
                <a:spcPts val="0"/>
              </a:spcBef>
              <a:spcAft>
                <a:spcPts val="0"/>
              </a:spcAft>
              <a:buClrTx/>
              <a:buSzTx/>
              <a:buFontTx/>
              <a:buNone/>
              <a:tabLst/>
              <a:defRPr/>
            </a:pPr>
            <a:r>
              <a:rPr lang="en-US" sz="1224" b="1" kern="1200" dirty="0">
                <a:solidFill>
                  <a:schemeClr val="tx1"/>
                </a:solidFill>
                <a:effectLst/>
                <a:latin typeface="+mn-lt"/>
                <a:ea typeface="+mn-ea"/>
                <a:cs typeface="+mn-cs"/>
              </a:rPr>
              <a:t>Conclusion:</a:t>
            </a:r>
          </a:p>
          <a:p>
            <a:pPr marL="0" marR="0" lvl="0" indent="0" algn="l" defTabSz="932688" rtl="0" eaLnBrk="1" fontAlgn="auto" latinLnBrk="0" hangingPunct="1">
              <a:lnSpc>
                <a:spcPct val="100000"/>
              </a:lnSpc>
              <a:spcBef>
                <a:spcPts val="0"/>
              </a:spcBef>
              <a:spcAft>
                <a:spcPts val="0"/>
              </a:spcAft>
              <a:buClrTx/>
              <a:buSzTx/>
              <a:buFontTx/>
              <a:buNone/>
              <a:tabLst/>
              <a:defRPr/>
            </a:pPr>
            <a:r>
              <a:rPr lang="en-US" sz="1224" kern="1200" dirty="0">
                <a:solidFill>
                  <a:schemeClr val="tx1"/>
                </a:solidFill>
                <a:effectLst/>
                <a:latin typeface="+mn-lt"/>
                <a:ea typeface="+mn-ea"/>
                <a:cs typeface="+mn-cs"/>
              </a:rPr>
              <a:t>If your primary business function isn’t running compute infrastructure, you can get more from your scarce developer time by using an application platform that removes complexity and maintenance responsibility. There might be some trade-off considerations around flexibility, but overall, you can get more done faster and with lower total cost of ownership building on platform as a service (PaaS). </a:t>
            </a:r>
          </a:p>
          <a:p>
            <a:pPr marL="0" marR="0" lvl="0" indent="0" algn="l" defTabSz="932688" rtl="0" eaLnBrk="1" fontAlgn="auto" latinLnBrk="0" hangingPunct="1">
              <a:lnSpc>
                <a:spcPct val="100000"/>
              </a:lnSpc>
              <a:spcBef>
                <a:spcPts val="0"/>
              </a:spcBef>
              <a:spcAft>
                <a:spcPts val="0"/>
              </a:spcAft>
              <a:buClrTx/>
              <a:buSzTx/>
              <a:buFontTx/>
              <a:buNone/>
              <a:tabLst/>
              <a:defRPr/>
            </a:pPr>
            <a:endParaRPr lang="en-US" sz="1224" kern="1200" dirty="0">
              <a:solidFill>
                <a:schemeClr val="tx1"/>
              </a:solidFill>
              <a:effectLst/>
              <a:latin typeface="+mn-lt"/>
              <a:ea typeface="+mn-ea"/>
              <a:cs typeface="+mn-cs"/>
            </a:endParaRPr>
          </a:p>
          <a:p>
            <a:endParaRPr lang="en-US" sz="1224" kern="1200" dirty="0">
              <a:solidFill>
                <a:schemeClr val="tx1"/>
              </a:solidFill>
              <a:effectLst/>
              <a:latin typeface="+mn-lt"/>
              <a:ea typeface="+mn-ea"/>
              <a:cs typeface="+mn-cs"/>
            </a:endParaRP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B9D59A9-FD33-4E4E-A24D-7E7507A87A41}"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1185918059"/>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7D10C09F-FCA1-48C8-B40D-42E1045D109E}"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2/2018 3:03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386009166"/>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indent="-342900">
              <a:buSzPct val="75000"/>
            </a:pPr>
            <a:r>
              <a:rPr lang="en-US" dirty="0"/>
              <a:t>Redis has many different use cases. The simplest way to describe it is something between a traditional database and doing computations in memory. Redis exposes data structures that are accessed in memory via a set of commands</a:t>
            </a:r>
          </a:p>
          <a:p>
            <a:pPr marL="342900" indent="-342900">
              <a:buSzPct val="75000"/>
            </a:pPr>
            <a:r>
              <a:rPr lang="en-US" dirty="0"/>
              <a:t>More than a Cache</a:t>
            </a:r>
          </a:p>
          <a:p>
            <a:endParaRPr lang="en-US" dirty="0"/>
          </a:p>
          <a:p>
            <a:r>
              <a:rPr lang="en-US" b="1" dirty="0"/>
              <a:t>FEATURES</a:t>
            </a:r>
            <a:endParaRPr lang="en-US" b="0" dirty="0"/>
          </a:p>
          <a:p>
            <a:r>
              <a:rPr lang="en-US" dirty="0"/>
              <a:t>Databases</a:t>
            </a:r>
          </a:p>
          <a:p>
            <a:r>
              <a:rPr lang="en-US" dirty="0"/>
              <a:t>Highly customizable replication support</a:t>
            </a:r>
          </a:p>
          <a:p>
            <a:r>
              <a:rPr lang="en-US" dirty="0"/>
              <a:t>Persistence support – Snapshot for backup and restore</a:t>
            </a:r>
          </a:p>
          <a:p>
            <a:r>
              <a:rPr lang="en-US" dirty="0"/>
              <a:t>Point in time, log every write, or both</a:t>
            </a:r>
          </a:p>
          <a:p>
            <a:r>
              <a:rPr lang="en-US" dirty="0"/>
              <a:t>Clustering</a:t>
            </a:r>
          </a:p>
          <a:p>
            <a:endParaRPr lang="en-US" b="1"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3/22/2018 3:03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41</a:t>
            </a:fld>
            <a:endParaRPr lang="en-US" dirty="0"/>
          </a:p>
        </p:txBody>
      </p:sp>
    </p:spTree>
    <p:extLst>
      <p:ext uri="{BB962C8B-B14F-4D97-AF65-F5344CB8AC3E}">
        <p14:creationId xmlns:p14="http://schemas.microsoft.com/office/powerpoint/2010/main" val="4004634687"/>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7D10C09F-FCA1-48C8-B40D-42E1045D109E}" type="datetime8">
              <a:rPr lang="en-US" smtClean="0"/>
              <a:t>3/22/2018 3:03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42</a:t>
            </a:fld>
            <a:endParaRPr lang="en-US" dirty="0"/>
          </a:p>
        </p:txBody>
      </p:sp>
    </p:spTree>
    <p:extLst>
      <p:ext uri="{BB962C8B-B14F-4D97-AF65-F5344CB8AC3E}">
        <p14:creationId xmlns:p14="http://schemas.microsoft.com/office/powerpoint/2010/main" val="3370653093"/>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3/22/2018 3:03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43</a:t>
            </a:fld>
            <a:endParaRPr lang="en-US" dirty="0"/>
          </a:p>
        </p:txBody>
      </p:sp>
    </p:spTree>
    <p:extLst>
      <p:ext uri="{BB962C8B-B14F-4D97-AF65-F5344CB8AC3E}">
        <p14:creationId xmlns:p14="http://schemas.microsoft.com/office/powerpoint/2010/main" val="1222833943"/>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b="1" dirty="0"/>
              <a:t>NOTE:</a:t>
            </a:r>
            <a:r>
              <a:rPr lang="en-US" b="0" dirty="0"/>
              <a:t> to prepare or learn this, watch https://channel9.msdn.com/Events/Ignite/Microsoft-Ignite-Orlando-2017/BRK3086 </a:t>
            </a:r>
          </a:p>
          <a:p>
            <a:endParaRPr lang="en-US" b="0" dirty="0"/>
          </a:p>
          <a:p>
            <a:r>
              <a:rPr lang="en-US" b="0" dirty="0"/>
              <a:t>Also read https://aka.ms/Azure/Cosmos </a:t>
            </a:r>
          </a:p>
          <a:p>
            <a:endParaRPr lang="en-US" b="0" dirty="0"/>
          </a:p>
          <a:p>
            <a:r>
              <a:rPr lang="en-US" sz="900" b="0" i="0" u="none" strike="noStrike" kern="1200" dirty="0">
                <a:solidFill>
                  <a:schemeClr val="tx1"/>
                </a:solidFill>
                <a:effectLst/>
                <a:latin typeface="Segoe UI Light" pitchFamily="34" charset="0"/>
                <a:ea typeface="+mn-ea"/>
                <a:cs typeface="+mn-cs"/>
              </a:rPr>
              <a:t>Any </a:t>
            </a:r>
            <a:r>
              <a:rPr lang="en-US" sz="900" b="0" i="0" u="none" strike="noStrike" kern="1200" dirty="0">
                <a:solidFill>
                  <a:schemeClr val="tx1"/>
                </a:solidFill>
                <a:effectLst/>
                <a:latin typeface="Segoe UI Light" pitchFamily="34" charset="0"/>
                <a:ea typeface="+mn-ea"/>
                <a:cs typeface="+mn-cs"/>
                <a:hlinkClick r:id="rId3"/>
              </a:rPr>
              <a:t>web, mobile, gaming, and IoT application</a:t>
            </a:r>
            <a:r>
              <a:rPr lang="en-US" sz="900" b="0" i="0" u="none" strike="noStrike" kern="1200" dirty="0">
                <a:solidFill>
                  <a:schemeClr val="tx1"/>
                </a:solidFill>
                <a:effectLst/>
                <a:latin typeface="Segoe UI Light" pitchFamily="34" charset="0"/>
                <a:ea typeface="+mn-ea"/>
                <a:cs typeface="+mn-cs"/>
              </a:rPr>
              <a:t> that needs to handle massive amounts of data, reads, and writes at a </a:t>
            </a:r>
            <a:r>
              <a:rPr lang="en-US" sz="900" b="0" i="0" u="none" strike="noStrike" kern="1200" dirty="0">
                <a:solidFill>
                  <a:schemeClr val="tx1"/>
                </a:solidFill>
                <a:effectLst/>
                <a:latin typeface="Segoe UI Light" pitchFamily="34" charset="0"/>
                <a:ea typeface="+mn-ea"/>
                <a:cs typeface="+mn-cs"/>
                <a:hlinkClick r:id="rId4"/>
              </a:rPr>
              <a:t>global</a:t>
            </a:r>
            <a:r>
              <a:rPr lang="en-US" sz="900" b="0" i="0" u="none" strike="noStrike" kern="1200" dirty="0">
                <a:solidFill>
                  <a:schemeClr val="tx1"/>
                </a:solidFill>
                <a:effectLst/>
                <a:latin typeface="Segoe UI Light" pitchFamily="34" charset="0"/>
                <a:ea typeface="+mn-ea"/>
                <a:cs typeface="+mn-cs"/>
              </a:rPr>
              <a:t> scale with near-real response times for a variety of data will benefit from Azure Cosmos DB's </a:t>
            </a:r>
            <a:r>
              <a:rPr lang="en-US" sz="900" b="0" i="0" u="none" strike="noStrike" kern="1200" dirty="0">
                <a:solidFill>
                  <a:schemeClr val="tx1"/>
                </a:solidFill>
                <a:effectLst/>
                <a:latin typeface="Segoe UI Light" pitchFamily="34" charset="0"/>
                <a:ea typeface="+mn-ea"/>
                <a:cs typeface="+mn-cs"/>
                <a:hlinkClick r:id="rId5"/>
              </a:rPr>
              <a:t>guaranteed</a:t>
            </a:r>
            <a:r>
              <a:rPr lang="en-US" sz="900" b="0" i="0" u="none" strike="noStrike" kern="1200" dirty="0">
                <a:solidFill>
                  <a:schemeClr val="tx1"/>
                </a:solidFill>
                <a:effectLst/>
                <a:latin typeface="Segoe UI Light" pitchFamily="34" charset="0"/>
                <a:ea typeface="+mn-ea"/>
                <a:cs typeface="+mn-cs"/>
              </a:rPr>
              <a:t> high availability, high throughput, low latency, and tunable consistency. Learn about how Azure Cosmos DB can be applied to </a:t>
            </a:r>
            <a:r>
              <a:rPr lang="en-US" sz="900" b="0" i="0" u="none" strike="noStrike" kern="1200" dirty="0">
                <a:solidFill>
                  <a:schemeClr val="tx1"/>
                </a:solidFill>
                <a:effectLst/>
                <a:latin typeface="Segoe UI Light" pitchFamily="34" charset="0"/>
                <a:ea typeface="+mn-ea"/>
                <a:cs typeface="+mn-cs"/>
                <a:hlinkClick r:id="rId6"/>
              </a:rPr>
              <a:t>IoT and telematics</a:t>
            </a:r>
            <a:r>
              <a:rPr lang="en-US" sz="900" b="0" i="0" u="none" strike="noStrike" kern="1200" dirty="0">
                <a:solidFill>
                  <a:schemeClr val="tx1"/>
                </a:solidFill>
                <a:effectLst/>
                <a:latin typeface="Segoe UI Light" pitchFamily="34" charset="0"/>
                <a:ea typeface="+mn-ea"/>
                <a:cs typeface="+mn-cs"/>
              </a:rPr>
              <a:t>, </a:t>
            </a:r>
            <a:r>
              <a:rPr lang="en-US" sz="900" b="0" i="0" u="none" strike="noStrike" kern="1200" dirty="0">
                <a:solidFill>
                  <a:schemeClr val="tx1"/>
                </a:solidFill>
                <a:effectLst/>
                <a:latin typeface="Segoe UI Light" pitchFamily="34" charset="0"/>
                <a:ea typeface="+mn-ea"/>
                <a:cs typeface="+mn-cs"/>
                <a:hlinkClick r:id="rId7"/>
              </a:rPr>
              <a:t>Retail and marketing</a:t>
            </a:r>
            <a:r>
              <a:rPr lang="en-US" sz="900" b="0" i="0" u="none" strike="noStrike" kern="1200" dirty="0">
                <a:solidFill>
                  <a:schemeClr val="tx1"/>
                </a:solidFill>
                <a:effectLst/>
                <a:latin typeface="Segoe UI Light" pitchFamily="34" charset="0"/>
                <a:ea typeface="+mn-ea"/>
                <a:cs typeface="+mn-cs"/>
              </a:rPr>
              <a:t>, </a:t>
            </a:r>
            <a:r>
              <a:rPr lang="en-US" sz="900" b="0" i="0" u="none" strike="noStrike" kern="1200" dirty="0">
                <a:solidFill>
                  <a:schemeClr val="tx1"/>
                </a:solidFill>
                <a:effectLst/>
                <a:latin typeface="Segoe UI Light" pitchFamily="34" charset="0"/>
                <a:ea typeface="+mn-ea"/>
                <a:cs typeface="+mn-cs"/>
                <a:hlinkClick r:id="rId8"/>
              </a:rPr>
              <a:t>Gaming</a:t>
            </a:r>
            <a:r>
              <a:rPr lang="en-US" sz="900" b="0" i="0" u="none" strike="noStrike" kern="1200" dirty="0">
                <a:solidFill>
                  <a:schemeClr val="tx1"/>
                </a:solidFill>
                <a:effectLst/>
                <a:latin typeface="Segoe UI Light" pitchFamily="34" charset="0"/>
                <a:ea typeface="+mn-ea"/>
                <a:cs typeface="+mn-cs"/>
              </a:rPr>
              <a:t> and </a:t>
            </a:r>
            <a:r>
              <a:rPr lang="en-US" sz="900" b="0" i="0" u="none" strike="noStrike" kern="1200" dirty="0">
                <a:solidFill>
                  <a:schemeClr val="tx1"/>
                </a:solidFill>
                <a:effectLst/>
                <a:latin typeface="Segoe UI Light" pitchFamily="34" charset="0"/>
                <a:ea typeface="+mn-ea"/>
                <a:cs typeface="+mn-cs"/>
                <a:hlinkClick r:id="rId9"/>
              </a:rPr>
              <a:t>Web and mobile applications</a:t>
            </a:r>
            <a:r>
              <a:rPr lang="en-US" sz="900" b="0" i="0" u="none" strike="noStrike" kern="1200" dirty="0">
                <a:solidFill>
                  <a:schemeClr val="tx1"/>
                </a:solidFill>
                <a:effectLst/>
                <a:latin typeface="Segoe UI Light" pitchFamily="34" charset="0"/>
                <a:ea typeface="+mn-ea"/>
                <a:cs typeface="+mn-cs"/>
              </a:rPr>
              <a:t>.</a:t>
            </a:r>
            <a:endParaRPr lang="en-US" b="0" dirty="0"/>
          </a:p>
          <a:p>
            <a:endParaRPr lang="en-US" b="1"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7D10C09F-FCA1-48C8-B40D-42E1045D109E}"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2/2018 3:03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186169712"/>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b="0" i="0" u="none" strike="noStrike" kern="1200" dirty="0">
                <a:solidFill>
                  <a:schemeClr val="tx1"/>
                </a:solidFill>
                <a:effectLst/>
                <a:latin typeface="Segoe UI Light" pitchFamily="34" charset="0"/>
                <a:ea typeface="+mn-ea"/>
                <a:cs typeface="+mn-cs"/>
              </a:rPr>
              <a:t>Azure Cosmos DB is Microsoft's globally distributed, multi-model database. With the click of a button, Azure Cosmos DB enables you to elastically and independently scale throughput and storage across any number of Azure's geographic regions. It offers throughput, latency, availability, and consistency guarantees with comprehensive </a:t>
            </a:r>
            <a:r>
              <a:rPr lang="en-US" sz="900" b="0" i="0" u="none" strike="noStrike" kern="1200" dirty="0">
                <a:solidFill>
                  <a:schemeClr val="tx1"/>
                </a:solidFill>
                <a:effectLst/>
                <a:latin typeface="Segoe UI Light" pitchFamily="34" charset="0"/>
                <a:ea typeface="+mn-ea"/>
                <a:cs typeface="+mn-cs"/>
                <a:hlinkClick r:id="rId3"/>
              </a:rPr>
              <a:t>service level agreements</a:t>
            </a:r>
            <a:r>
              <a:rPr lang="en-US" sz="900" b="0" i="0" u="none" strike="noStrike" kern="1200" dirty="0">
                <a:solidFill>
                  <a:schemeClr val="tx1"/>
                </a:solidFill>
                <a:effectLst/>
                <a:latin typeface="Segoe UI Light" pitchFamily="34" charset="0"/>
                <a:ea typeface="+mn-ea"/>
                <a:cs typeface="+mn-cs"/>
              </a:rPr>
              <a:t> (SLAs), something no other database service can offer. You can </a:t>
            </a:r>
            <a:r>
              <a:rPr lang="en-US" sz="900" b="0" i="0" u="none" strike="noStrike" kern="1200" dirty="0">
                <a:solidFill>
                  <a:schemeClr val="tx1"/>
                </a:solidFill>
                <a:effectLst/>
                <a:latin typeface="Segoe UI Light" pitchFamily="34" charset="0"/>
                <a:ea typeface="+mn-ea"/>
                <a:cs typeface="+mn-cs"/>
                <a:hlinkClick r:id="rId4"/>
              </a:rPr>
              <a:t>Try Azure Cosmos DB for free</a:t>
            </a:r>
            <a:r>
              <a:rPr lang="en-US" sz="900" b="0" i="0" u="none" strike="noStrike" kern="1200" dirty="0">
                <a:solidFill>
                  <a:schemeClr val="tx1"/>
                </a:solidFill>
                <a:effectLst/>
                <a:latin typeface="Segoe UI Light" pitchFamily="34" charset="0"/>
                <a:ea typeface="+mn-ea"/>
                <a:cs typeface="+mn-cs"/>
              </a:rPr>
              <a:t> without an Azure subscription, free of charge and commitments.</a:t>
            </a:r>
            <a:endParaRPr lang="en-US" dirty="0"/>
          </a:p>
        </p:txBody>
      </p:sp>
      <p:sp>
        <p:nvSpPr>
          <p:cNvPr id="4" name="Slide Number Placeholder 3"/>
          <p:cNvSpPr>
            <a:spLocks noGrp="1"/>
          </p:cNvSpPr>
          <p:nvPr>
            <p:ph type="sldNum" sz="quarter" idx="10"/>
          </p:nvPr>
        </p:nvSpPr>
        <p:spPr/>
        <p:txBody>
          <a:bodyPr/>
          <a:lstStyle/>
          <a:p>
            <a:fld id="{5996BA33-6360-40A1-9606-58E0047CF44A}" type="slidenum">
              <a:rPr lang="en-US" smtClean="0"/>
              <a:t>45</a:t>
            </a:fld>
            <a:endParaRPr lang="en-US"/>
          </a:p>
        </p:txBody>
      </p:sp>
    </p:spTree>
    <p:extLst>
      <p:ext uri="{BB962C8B-B14F-4D97-AF65-F5344CB8AC3E}">
        <p14:creationId xmlns:p14="http://schemas.microsoft.com/office/powerpoint/2010/main" val="3511973299"/>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5996BA33-6360-40A1-9606-58E0047CF44A}" type="slidenum">
              <a:rPr lang="en-US" smtClean="0"/>
              <a:t>46</a:t>
            </a:fld>
            <a:endParaRPr lang="en-US"/>
          </a:p>
        </p:txBody>
      </p:sp>
    </p:spTree>
    <p:extLst>
      <p:ext uri="{BB962C8B-B14F-4D97-AF65-F5344CB8AC3E}">
        <p14:creationId xmlns:p14="http://schemas.microsoft.com/office/powerpoint/2010/main" val="3181947088"/>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5996BA33-6360-40A1-9606-58E0047CF44A}" type="slidenum">
              <a:rPr lang="en-US" smtClean="0"/>
              <a:t>47</a:t>
            </a:fld>
            <a:endParaRPr lang="en-US"/>
          </a:p>
        </p:txBody>
      </p:sp>
    </p:spTree>
    <p:extLst>
      <p:ext uri="{BB962C8B-B14F-4D97-AF65-F5344CB8AC3E}">
        <p14:creationId xmlns:p14="http://schemas.microsoft.com/office/powerpoint/2010/main" val="1675333419"/>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5996BA33-6360-40A1-9606-58E0047CF44A}" type="slidenum">
              <a:rPr lang="en-US" smtClean="0"/>
              <a:t>48</a:t>
            </a:fld>
            <a:endParaRPr lang="en-US"/>
          </a:p>
        </p:txBody>
      </p:sp>
    </p:spTree>
    <p:extLst>
      <p:ext uri="{BB962C8B-B14F-4D97-AF65-F5344CB8AC3E}">
        <p14:creationId xmlns:p14="http://schemas.microsoft.com/office/powerpoint/2010/main" val="3119821514"/>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5996BA33-6360-40A1-9606-58E0047CF44A}" type="slidenum">
              <a:rPr lang="en-US" smtClean="0"/>
              <a:t>49</a:t>
            </a:fld>
            <a:endParaRPr lang="en-US"/>
          </a:p>
        </p:txBody>
      </p:sp>
    </p:spTree>
    <p:extLst>
      <p:ext uri="{BB962C8B-B14F-4D97-AF65-F5344CB8AC3E}">
        <p14:creationId xmlns:p14="http://schemas.microsoft.com/office/powerpoint/2010/main" val="109930384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a:t>Objective:</a:t>
            </a:r>
          </a:p>
          <a:p>
            <a:r>
              <a:rPr lang="en-US" sz="1200"/>
              <a:t>Illustrate</a:t>
            </a:r>
            <a:r>
              <a:rPr lang="en-US" sz="1200" baseline="0"/>
              <a:t> the differences between IaaS, PaaS and SaaS in a more technical way</a:t>
            </a:r>
          </a:p>
          <a:p>
            <a:endParaRPr lang="en-US" sz="1200" baseline="0"/>
          </a:p>
          <a:p>
            <a:r>
              <a:rPr lang="en-US" sz="1200" b="1" baseline="0"/>
              <a:t>Key talking points:</a:t>
            </a:r>
          </a:p>
          <a:p>
            <a:pPr marL="0" marR="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a:solidFill>
                  <a:schemeClr val="tx1"/>
                </a:solidFill>
                <a:latin typeface="+mn-lt"/>
                <a:ea typeface="+mn-ea"/>
                <a:cs typeface="+mn-cs"/>
              </a:rPr>
              <a:t>The balance of control and responsibility for managing solutions depends on the category of the service. </a:t>
            </a:r>
          </a:p>
          <a:p>
            <a:pPr marL="0" marR="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a:solidFill>
                  <a:schemeClr val="tx1"/>
                </a:solidFill>
                <a:latin typeface="+mn-lt"/>
                <a:ea typeface="+mn-ea"/>
                <a:cs typeface="+mn-cs"/>
              </a:rPr>
              <a:t>The chart summarizes the balance of responsibility for both Microsoft and the customer. </a:t>
            </a:r>
            <a:endParaRPr lang="en-US"/>
          </a:p>
          <a:p>
            <a:endParaRPr lang="en-US"/>
          </a:p>
          <a:p>
            <a:pPr marL="0" marR="0" lvl="0" indent="0" algn="l" defTabSz="932688" rtl="0" eaLnBrk="1" fontAlgn="auto" latinLnBrk="0" hangingPunct="1">
              <a:lnSpc>
                <a:spcPct val="100000"/>
              </a:lnSpc>
              <a:spcBef>
                <a:spcPts val="0"/>
              </a:spcBef>
              <a:spcAft>
                <a:spcPts val="0"/>
              </a:spcAft>
              <a:buClrTx/>
              <a:buSzTx/>
              <a:buFontTx/>
              <a:buNone/>
              <a:tabLst/>
              <a:defRPr/>
            </a:pPr>
            <a:r>
              <a:rPr lang="en-US" sz="1224" b="1" kern="1200">
                <a:solidFill>
                  <a:schemeClr val="tx1"/>
                </a:solidFill>
                <a:effectLst/>
                <a:latin typeface="+mn-lt"/>
                <a:ea typeface="+mn-ea"/>
                <a:cs typeface="+mn-cs"/>
              </a:rPr>
              <a:t>Conclusion:</a:t>
            </a:r>
          </a:p>
          <a:p>
            <a:pPr marL="0" marR="0" lvl="0" indent="0" algn="l" defTabSz="932688" rtl="0" eaLnBrk="1" fontAlgn="auto" latinLnBrk="0" hangingPunct="1">
              <a:lnSpc>
                <a:spcPct val="100000"/>
              </a:lnSpc>
              <a:spcBef>
                <a:spcPts val="0"/>
              </a:spcBef>
              <a:spcAft>
                <a:spcPts val="0"/>
              </a:spcAft>
              <a:buClrTx/>
              <a:buSzTx/>
              <a:buFontTx/>
              <a:buNone/>
              <a:tabLst/>
              <a:defRPr/>
            </a:pPr>
            <a:r>
              <a:rPr lang="en-US" sz="1224" kern="1200">
                <a:solidFill>
                  <a:schemeClr val="tx1"/>
                </a:solidFill>
                <a:effectLst/>
                <a:latin typeface="+mn-lt"/>
                <a:ea typeface="+mn-ea"/>
                <a:cs typeface="+mn-cs"/>
              </a:rPr>
              <a:t>If your primary business function isn’t running compute infrastructure, you can get more from your scarce developer time by using an application platform that removes complexity and maintenance responsibility. There might be some trade-off considerations around flexibility, but overall, you can get more done faster and with lower total cost of ownership building on platform as a service (PaaS). </a:t>
            </a:r>
          </a:p>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FDAFBEB-CD6F-47F6-A4B0-C6110FC4185E}"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73897256"/>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kern="1200">
                <a:solidFill>
                  <a:schemeClr val="tx1"/>
                </a:solidFill>
                <a:effectLst/>
                <a:latin typeface="+mn-lt"/>
                <a:ea typeface="+mn-ea"/>
                <a:cs typeface="+mn-cs"/>
              </a:rPr>
              <a:t>Only service with financially-backed SLAs for millisecond latency at the 99th percentile, 99.99% HA and guaranteed throughput and consistency</a:t>
            </a:r>
          </a:p>
          <a:p>
            <a:endParaRPr lang="en-US" sz="1200" b="0" kern="1200">
              <a:solidFill>
                <a:schemeClr val="tx1"/>
              </a:solidFill>
              <a:effectLst/>
              <a:latin typeface="+mn-lt"/>
              <a:ea typeface="+mn-ea"/>
              <a:cs typeface="+mn-cs"/>
            </a:endParaRPr>
          </a:p>
          <a:p>
            <a:r>
              <a:rPr lang="en-US" sz="1200" b="0" kern="1200">
                <a:solidFill>
                  <a:schemeClr val="tx1"/>
                </a:solidFill>
                <a:effectLst/>
                <a:latin typeface="+mn-lt"/>
                <a:ea typeface="+mn-ea"/>
                <a:cs typeface="+mn-cs"/>
              </a:rPr>
              <a:t>Text was: </a:t>
            </a:r>
            <a:r>
              <a:rPr lang="en-US" sz="1200" b="1">
                <a:solidFill>
                  <a:schemeClr val="accent3"/>
                </a:solidFill>
                <a:latin typeface="Segoe UI Semibold" charset="0"/>
                <a:ea typeface="Segoe UI Semibold" charset="0"/>
                <a:cs typeface="Segoe UI Semibold" charset="0"/>
              </a:rPr>
              <a:t>Access leading SLAs for latency at the 99th percentile, 99.99% HA, guaranteed throughput and consistency </a:t>
            </a:r>
            <a:endParaRPr lang="en-US" b="0"/>
          </a:p>
        </p:txBody>
      </p:sp>
      <p:sp>
        <p:nvSpPr>
          <p:cNvPr id="4" name="Slide Number Placeholder 3"/>
          <p:cNvSpPr>
            <a:spLocks noGrp="1"/>
          </p:cNvSpPr>
          <p:nvPr>
            <p:ph type="sldNum" sz="quarter" idx="10"/>
          </p:nvPr>
        </p:nvSpPr>
        <p:spPr/>
        <p:txBody>
          <a:bodyPr/>
          <a:lstStyle/>
          <a:p>
            <a:fld id="{5996BA33-6360-40A1-9606-58E0047CF44A}" type="slidenum">
              <a:rPr lang="en-US" smtClean="0"/>
              <a:t>50</a:t>
            </a:fld>
            <a:endParaRPr lang="en-US"/>
          </a:p>
        </p:txBody>
      </p:sp>
    </p:spTree>
    <p:extLst>
      <p:ext uri="{BB962C8B-B14F-4D97-AF65-F5344CB8AC3E}">
        <p14:creationId xmlns:p14="http://schemas.microsoft.com/office/powerpoint/2010/main" val="3482666465"/>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dirty="0"/>
              <a:t>http://aka.ms/Azure/Search</a:t>
            </a:r>
          </a:p>
          <a:p>
            <a:endParaRPr lang="en-US" dirty="0"/>
          </a:p>
          <a:p>
            <a:r>
              <a:rPr lang="en-US" sz="900" b="0" i="0" u="none" strike="noStrike" kern="1200" dirty="0">
                <a:solidFill>
                  <a:schemeClr val="tx1"/>
                </a:solidFill>
                <a:effectLst/>
                <a:latin typeface="Segoe UI Light" pitchFamily="34" charset="0"/>
                <a:ea typeface="+mn-ea"/>
                <a:cs typeface="+mn-cs"/>
              </a:rPr>
              <a:t>Azure Search is a search-as-a-service cloud solution that gives developers APIs and tools for adding a rich search experience over your content in web, mobile, and enterprise applications. </a:t>
            </a:r>
          </a:p>
          <a:p>
            <a:r>
              <a:rPr lang="en-US" sz="900" b="0" i="0" u="none" strike="noStrike" kern="1200" dirty="0">
                <a:solidFill>
                  <a:schemeClr val="tx1"/>
                </a:solidFill>
                <a:effectLst/>
                <a:latin typeface="Segoe UI Light" pitchFamily="34" charset="0"/>
                <a:ea typeface="+mn-ea"/>
                <a:cs typeface="+mn-cs"/>
              </a:rPr>
              <a:t>Functionality is exposed through a simple </a:t>
            </a:r>
            <a:r>
              <a:rPr lang="en-US" sz="900" b="0" i="0" u="none" strike="noStrike" kern="1200" dirty="0">
                <a:solidFill>
                  <a:schemeClr val="tx1"/>
                </a:solidFill>
                <a:effectLst/>
                <a:latin typeface="Segoe UI Light" pitchFamily="34" charset="0"/>
                <a:ea typeface="+mn-ea"/>
                <a:cs typeface="+mn-cs"/>
                <a:hlinkClick r:id="rId3"/>
              </a:rPr>
              <a:t>REST API</a:t>
            </a:r>
            <a:r>
              <a:rPr lang="en-US" sz="900" b="0" i="0" u="none" strike="noStrike" kern="1200" dirty="0">
                <a:solidFill>
                  <a:schemeClr val="tx1"/>
                </a:solidFill>
                <a:effectLst/>
                <a:latin typeface="Segoe UI Light" pitchFamily="34" charset="0"/>
                <a:ea typeface="+mn-ea"/>
                <a:cs typeface="+mn-cs"/>
              </a:rPr>
              <a:t> or </a:t>
            </a:r>
            <a:r>
              <a:rPr lang="en-US" sz="900" b="0" i="0" u="none" strike="noStrike" kern="1200" dirty="0">
                <a:solidFill>
                  <a:schemeClr val="tx1"/>
                </a:solidFill>
                <a:effectLst/>
                <a:latin typeface="Segoe UI Light" pitchFamily="34" charset="0"/>
                <a:ea typeface="+mn-ea"/>
                <a:cs typeface="+mn-cs"/>
                <a:hlinkClick r:id="rId4"/>
              </a:rPr>
              <a:t>.NET SDK</a:t>
            </a:r>
            <a:r>
              <a:rPr lang="en-US" sz="900" b="0" i="0" u="none" strike="noStrike" kern="1200" dirty="0">
                <a:solidFill>
                  <a:schemeClr val="tx1"/>
                </a:solidFill>
                <a:effectLst/>
                <a:latin typeface="Segoe UI Light" pitchFamily="34" charset="0"/>
                <a:ea typeface="+mn-ea"/>
                <a:cs typeface="+mn-cs"/>
              </a:rPr>
              <a:t> that masks the inherent complexity of information retrieval. In addition to APIs, the Azure portal provides administration and content management support, with tools for prototyping and querying your indexes. Because the service runs in the cloud, infrastructure and availability are managed by Microsoft. </a:t>
            </a:r>
          </a:p>
          <a:p>
            <a:endParaRPr lang="en-US" dirty="0"/>
          </a:p>
          <a:p>
            <a:r>
              <a:rPr lang="en-US" sz="900" b="0" i="0" u="none" strike="noStrike" kern="1200" dirty="0">
                <a:solidFill>
                  <a:schemeClr val="tx1"/>
                </a:solidFill>
                <a:effectLst/>
                <a:latin typeface="Segoe UI Light" pitchFamily="34" charset="0"/>
                <a:ea typeface="+mn-ea"/>
                <a:cs typeface="+mn-cs"/>
              </a:rPr>
              <a:t>Among cloud providers, Azure Search is strongest for full text search workloads over content stores and databases on Azure, for apps that rely primarily on search for both information retrieval and content navigation. Key strengths include: </a:t>
            </a:r>
          </a:p>
          <a:p>
            <a:r>
              <a:rPr lang="en-US" sz="900" b="0" i="0" u="none" strike="noStrike" kern="1200" dirty="0">
                <a:solidFill>
                  <a:schemeClr val="tx1"/>
                </a:solidFill>
                <a:effectLst/>
                <a:latin typeface="Segoe UI Light" pitchFamily="34" charset="0"/>
                <a:ea typeface="+mn-ea"/>
                <a:cs typeface="+mn-cs"/>
              </a:rPr>
              <a:t>Azure data integration (crawlers) at the indexing layer</a:t>
            </a:r>
          </a:p>
          <a:p>
            <a:r>
              <a:rPr lang="en-US" sz="900" b="0" i="0" u="none" strike="noStrike" kern="1200" dirty="0">
                <a:solidFill>
                  <a:schemeClr val="tx1"/>
                </a:solidFill>
                <a:effectLst/>
                <a:latin typeface="Segoe UI Light" pitchFamily="34" charset="0"/>
                <a:ea typeface="+mn-ea"/>
                <a:cs typeface="+mn-cs"/>
              </a:rPr>
              <a:t>Azure portal for central management</a:t>
            </a:r>
          </a:p>
          <a:p>
            <a:r>
              <a:rPr lang="en-US" sz="900" b="0" i="0" u="none" strike="noStrike" kern="1200" dirty="0">
                <a:solidFill>
                  <a:schemeClr val="tx1"/>
                </a:solidFill>
                <a:effectLst/>
                <a:latin typeface="Segoe UI Light" pitchFamily="34" charset="0"/>
                <a:ea typeface="+mn-ea"/>
                <a:cs typeface="+mn-cs"/>
              </a:rPr>
              <a:t>Azure scale, reliability, and world-class availability</a:t>
            </a:r>
          </a:p>
          <a:p>
            <a:r>
              <a:rPr lang="en-US" sz="900" b="0" i="0" u="none" strike="noStrike" kern="1200" dirty="0">
                <a:solidFill>
                  <a:schemeClr val="tx1"/>
                </a:solidFill>
                <a:effectLst/>
                <a:latin typeface="Segoe UI Light" pitchFamily="34" charset="0"/>
                <a:ea typeface="+mn-ea"/>
                <a:cs typeface="+mn-cs"/>
              </a:rPr>
              <a:t>Linguistic and custom analysis, with analyzers for solid full text search in 56 languages</a:t>
            </a:r>
          </a:p>
          <a:p>
            <a:r>
              <a:rPr lang="en-US" sz="900" b="0" i="0" u="none" strike="noStrike" kern="1200" dirty="0">
                <a:solidFill>
                  <a:schemeClr val="tx1"/>
                </a:solidFill>
                <a:effectLst/>
                <a:latin typeface="Segoe UI Light" pitchFamily="34" charset="0"/>
                <a:ea typeface="+mn-ea"/>
                <a:cs typeface="+mn-cs"/>
                <a:hlinkClick r:id="rId5"/>
              </a:rPr>
              <a:t>Core features common to search-centric apps</a:t>
            </a:r>
            <a:r>
              <a:rPr lang="en-US" sz="900" b="0" i="0" u="none" strike="noStrike" kern="1200" dirty="0">
                <a:solidFill>
                  <a:schemeClr val="tx1"/>
                </a:solidFill>
                <a:effectLst/>
                <a:latin typeface="Segoe UI Light" pitchFamily="34" charset="0"/>
                <a:ea typeface="+mn-ea"/>
                <a:cs typeface="+mn-cs"/>
              </a:rPr>
              <a:t>: scoring, faceting, suggestions, synonyms, geo-search, and more.</a:t>
            </a:r>
          </a:p>
          <a:p>
            <a:endParaRPr lang="en-US" dirty="0"/>
          </a:p>
          <a:p>
            <a:endParaRPr lang="en-US" dirty="0"/>
          </a:p>
          <a:p>
            <a:r>
              <a:rPr lang="en-US" sz="900" b="0" i="0" u="none" strike="noStrike" kern="1200" dirty="0">
                <a:solidFill>
                  <a:schemeClr val="tx1"/>
                </a:solidFill>
                <a:effectLst/>
                <a:latin typeface="Segoe UI Light" pitchFamily="34" charset="0"/>
                <a:ea typeface="+mn-ea"/>
                <a:cs typeface="+mn-cs"/>
              </a:rPr>
              <a:t>Among our customers, those able to leverage the widest range of features in Azure Search include online catalogs, line-of-business programs, and document discovery applications.</a:t>
            </a:r>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7D10C09F-FCA1-48C8-B40D-42E1045D109E}"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2/2018 3:03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1</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266772246"/>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o, what is Azure Search?</a:t>
            </a:r>
          </a:p>
          <a:p>
            <a:pPr>
              <a:spcAft>
                <a:spcPts val="600"/>
              </a:spcAft>
            </a:pPr>
            <a:r>
              <a:rPr lang="en-US" sz="1200" dirty="0">
                <a:solidFill>
                  <a:srgbClr val="3F3F3F"/>
                </a:solidFill>
                <a:ea typeface="Calibri" panose="020F0502020204030204" pitchFamily="34" charset="0"/>
                <a:cs typeface="Calibri" panose="020F0502020204030204" pitchFamily="34" charset="0"/>
              </a:rPr>
              <a:t>Azure Search is a </a:t>
            </a:r>
            <a:r>
              <a:rPr lang="en-US" sz="1200" dirty="0">
                <a:solidFill>
                  <a:srgbClr val="0070C0"/>
                </a:solidFill>
                <a:ea typeface="Calibri" panose="020F0502020204030204" pitchFamily="34" charset="0"/>
                <a:cs typeface="Calibri" panose="020F0502020204030204" pitchFamily="34" charset="0"/>
              </a:rPr>
              <a:t>fully</a:t>
            </a:r>
            <a:r>
              <a:rPr lang="en-US" sz="1200" baseline="0" dirty="0">
                <a:solidFill>
                  <a:srgbClr val="0070C0"/>
                </a:solidFill>
                <a:ea typeface="Calibri" panose="020F0502020204030204" pitchFamily="34" charset="0"/>
                <a:cs typeface="Calibri" panose="020F0502020204030204" pitchFamily="34" charset="0"/>
              </a:rPr>
              <a:t> </a:t>
            </a:r>
            <a:r>
              <a:rPr lang="en-US" sz="1200" dirty="0">
                <a:solidFill>
                  <a:srgbClr val="0070C0"/>
                </a:solidFill>
                <a:ea typeface="Calibri" panose="020F0502020204030204" pitchFamily="34" charset="0"/>
                <a:cs typeface="Calibri" panose="020F0502020204030204" pitchFamily="34" charset="0"/>
              </a:rPr>
              <a:t>managed search solution </a:t>
            </a:r>
            <a:r>
              <a:rPr lang="en-US" sz="1200" dirty="0">
                <a:solidFill>
                  <a:srgbClr val="3F3F3F"/>
                </a:solidFill>
                <a:ea typeface="Calibri" panose="020F0502020204030204" pitchFamily="34" charset="0"/>
                <a:cs typeface="Calibri" panose="020F0502020204030204" pitchFamily="34" charset="0"/>
              </a:rPr>
              <a:t>that allows developers to enable search in web and mobile applications</a:t>
            </a:r>
            <a:r>
              <a:rPr lang="en-US" sz="1200" baseline="0" dirty="0">
                <a:solidFill>
                  <a:srgbClr val="3F3F3F"/>
                </a:solidFill>
                <a:ea typeface="Calibri" panose="020F0502020204030204" pitchFamily="34" charset="0"/>
                <a:cs typeface="Calibri" panose="020F0502020204030204" pitchFamily="34" charset="0"/>
              </a:rPr>
              <a:t> by </a:t>
            </a:r>
            <a:r>
              <a:rPr lang="en-US" sz="1200" dirty="0">
                <a:solidFill>
                  <a:srgbClr val="3F3F3F"/>
                </a:solidFill>
                <a:ea typeface="Calibri" panose="020F0502020204030204" pitchFamily="34" charset="0"/>
                <a:cs typeface="Calibri" panose="020F0502020204030204" pitchFamily="34" charset="0"/>
              </a:rPr>
              <a:t>embedding a sophisticated search experience into these applications </a:t>
            </a:r>
            <a:r>
              <a:rPr lang="en-US" sz="1200" dirty="0">
                <a:solidFill>
                  <a:srgbClr val="0070C0"/>
                </a:solidFill>
                <a:ea typeface="Calibri" panose="020F0502020204030204" pitchFamily="34" charset="0"/>
                <a:cs typeface="Calibri" panose="020F0502020204030204" pitchFamily="34" charset="0"/>
              </a:rPr>
              <a:t>without having to worry</a:t>
            </a:r>
            <a:r>
              <a:rPr lang="en-US" sz="1200" dirty="0">
                <a:solidFill>
                  <a:srgbClr val="3F3F3F"/>
                </a:solidFill>
                <a:ea typeface="Calibri" panose="020F0502020204030204" pitchFamily="34" charset="0"/>
                <a:cs typeface="Calibri" panose="020F0502020204030204" pitchFamily="34" charset="0"/>
              </a:rPr>
              <a:t> about the complexities of full-text search and without having to deploy, maintain, or manage any infrastructure.</a:t>
            </a:r>
            <a:endParaRPr lang="en-US" sz="1200" dirty="0">
              <a:solidFill>
                <a:srgbClr val="0071BC"/>
              </a:solidFill>
            </a:endParaRPr>
          </a:p>
          <a:p>
            <a:endParaRPr lang="en-US" baseline="0" dirty="0"/>
          </a:p>
          <a:p>
            <a:r>
              <a:rPr lang="en-US" baseline="0" dirty="0"/>
              <a:t>There are three main points to Azure Search:</a:t>
            </a:r>
          </a:p>
          <a:p>
            <a:pPr marL="226451" indent="-226451">
              <a:buAutoNum type="arabicPeriod"/>
            </a:pPr>
            <a:r>
              <a:rPr lang="en-US" baseline="0" dirty="0"/>
              <a:t>First, Azure Search enables developers to surface their application’s data. We provide all the features that you would expect from sophisticated search solutions and provide reliable, guaranteed performance on top of that. The tunable ranking models built into Azure Search allows developers to tie search results to their business objectives by promoting results that they want to show up. For example, if you have an e-commerce site, you want high-margin items to come up higher in the search results than low-margin items.</a:t>
            </a:r>
          </a:p>
          <a:p>
            <a:pPr marL="226451" indent="-226451">
              <a:buAutoNum type="arabicPeriod"/>
            </a:pPr>
            <a:endParaRPr lang="en-US" baseline="0" dirty="0"/>
          </a:p>
          <a:p>
            <a:pPr marL="226451" indent="-226451">
              <a:buAutoNum type="arabicPeriod"/>
            </a:pPr>
            <a:r>
              <a:rPr lang="en-US" baseline="0" dirty="0"/>
              <a:t>Second, Azure Search reduces complexity. It’s a fully managed service, so we’re removing the need to worry about corrupt indexes, managing and upgrading hardware, and scaling out. You can easily scale out Azure Search to handle additional storage or throughput when that’s called for by business conditions, such as during a peak shopping season or if your app is featured in the news and traffic increases dramatically.</a:t>
            </a:r>
          </a:p>
          <a:p>
            <a:pPr marL="226451" indent="-226451">
              <a:buAutoNum type="arabicPeriod"/>
            </a:pPr>
            <a:endParaRPr lang="en-US" baseline="0" dirty="0"/>
          </a:p>
          <a:p>
            <a:pPr marL="226451" indent="-226451">
              <a:buAutoNum type="arabicPeriod"/>
            </a:pPr>
            <a:r>
              <a:rPr lang="en-US" baseline="0" dirty="0"/>
              <a:t>Third, Azure Search allows developers to move quickly with confidence. As the name implies, Azure Search runs on Azure. It’s available in the new portal, which is all about being able to get up and running quickly and having lots of complementary services nearby. Also, you control Azure Search by using an API that makes it easy and familiar to manage.</a:t>
            </a:r>
          </a:p>
          <a:p>
            <a:pPr marL="226451" indent="-226451">
              <a:buAutoNum type="arabicPeriod"/>
            </a:pPr>
            <a:endParaRPr lang="en-US" baseline="0" dirty="0"/>
          </a:p>
          <a:p>
            <a:pPr marL="0" marR="0" indent="0" algn="l" defTabSz="914400" rtl="0" eaLnBrk="1" fontAlgn="auto" latinLnBrk="0" hangingPunct="1">
              <a:lnSpc>
                <a:spcPct val="100000"/>
              </a:lnSpc>
              <a:spcBef>
                <a:spcPts val="0"/>
              </a:spcBef>
              <a:spcAft>
                <a:spcPts val="0"/>
              </a:spcAft>
              <a:buClrTx/>
              <a:buSzTx/>
              <a:buFontTx/>
              <a:buNone/>
              <a:tabLst/>
              <a:defRPr/>
            </a:pPr>
            <a:r>
              <a:rPr lang="en-US" baseline="0" dirty="0"/>
              <a:t>These benefits all support the claim that Azure Search is p</a:t>
            </a:r>
            <a:r>
              <a:rPr lang="en-US" sz="1200" dirty="0">
                <a:solidFill>
                  <a:srgbClr val="3F3F3F"/>
                </a:solidFill>
              </a:rPr>
              <a:t>erfect for </a:t>
            </a:r>
            <a:r>
              <a:rPr lang="en-US" sz="1200" dirty="0">
                <a:solidFill>
                  <a:srgbClr val="0070C0"/>
                </a:solidFill>
                <a:ea typeface="Calibri" panose="020F0502020204030204" pitchFamily="34" charset="0"/>
                <a:cs typeface="Calibri" panose="020F0502020204030204" pitchFamily="34" charset="0"/>
              </a:rPr>
              <a:t>enterprise cloud developers, cloud-software vendors, and cloud architects </a:t>
            </a:r>
            <a:r>
              <a:rPr lang="en-US" sz="1200" dirty="0">
                <a:solidFill>
                  <a:srgbClr val="3F3F3F"/>
                </a:solidFill>
              </a:rPr>
              <a:t>who need </a:t>
            </a:r>
            <a:r>
              <a:rPr lang="en-US" dirty="0">
                <a:solidFill>
                  <a:srgbClr val="000000"/>
                </a:solidFill>
              </a:rPr>
              <a:t>a fully-managed search solution.</a:t>
            </a:r>
          </a:p>
        </p:txBody>
      </p:sp>
      <p:sp>
        <p:nvSpPr>
          <p:cNvPr id="4" name="Slide Number Placeholder 3"/>
          <p:cNvSpPr>
            <a:spLocks noGrp="1"/>
          </p:cNvSpPr>
          <p:nvPr>
            <p:ph type="sldNum" sz="quarter" idx="10"/>
          </p:nvPr>
        </p:nvSpPr>
        <p:spPr/>
        <p:txBody>
          <a:bodyPr/>
          <a:lstStyle/>
          <a:p>
            <a:fld id="{7F106A31-8E5F-4D33-A542-702225EC1F13}" type="slidenum">
              <a:rPr lang="en-US" smtClean="0">
                <a:solidFill>
                  <a:prstClr val="black"/>
                </a:solidFill>
              </a:rPr>
              <a:pPr/>
              <a:t>52</a:t>
            </a:fld>
            <a:endParaRPr lang="en-US" dirty="0">
              <a:solidFill>
                <a:prstClr val="black"/>
              </a:solidFill>
            </a:endParaRPr>
          </a:p>
        </p:txBody>
      </p:sp>
    </p:spTree>
    <p:extLst>
      <p:ext uri="{BB962C8B-B14F-4D97-AF65-F5344CB8AC3E}">
        <p14:creationId xmlns:p14="http://schemas.microsoft.com/office/powerpoint/2010/main" val="3750560048"/>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solidFill>
                <a:srgbClr val="000000"/>
              </a:solidFill>
            </a:endParaRPr>
          </a:p>
        </p:txBody>
      </p:sp>
      <p:sp>
        <p:nvSpPr>
          <p:cNvPr id="4" name="Slide Number Placeholder 3"/>
          <p:cNvSpPr>
            <a:spLocks noGrp="1"/>
          </p:cNvSpPr>
          <p:nvPr>
            <p:ph type="sldNum" sz="quarter" idx="10"/>
          </p:nvPr>
        </p:nvSpPr>
        <p:spPr/>
        <p:txBody>
          <a:bodyPr/>
          <a:lstStyle/>
          <a:p>
            <a:fld id="{7F106A31-8E5F-4D33-A542-702225EC1F13}" type="slidenum">
              <a:rPr lang="en-US" smtClean="0">
                <a:solidFill>
                  <a:prstClr val="black"/>
                </a:solidFill>
              </a:rPr>
              <a:pPr/>
              <a:t>53</a:t>
            </a:fld>
            <a:endParaRPr lang="en-US" dirty="0">
              <a:solidFill>
                <a:prstClr val="black"/>
              </a:solidFill>
            </a:endParaRPr>
          </a:p>
        </p:txBody>
      </p:sp>
    </p:spTree>
    <p:extLst>
      <p:ext uri="{BB962C8B-B14F-4D97-AF65-F5344CB8AC3E}">
        <p14:creationId xmlns:p14="http://schemas.microsoft.com/office/powerpoint/2010/main" val="210185022"/>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dirty="0"/>
              <a:t>http://aka.ms/Azure/HDInsight</a:t>
            </a:r>
          </a:p>
          <a:p>
            <a:endParaRPr lang="en-US" dirty="0"/>
          </a:p>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7D10C09F-FCA1-48C8-B40D-42E1045D109E}"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2/2018 3:03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4</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217711871"/>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kern="1200" dirty="0">
                <a:solidFill>
                  <a:schemeClr val="tx1"/>
                </a:solidFill>
                <a:effectLst/>
                <a:latin typeface="+mn-lt"/>
                <a:ea typeface="+mn-ea"/>
                <a:cs typeface="+mn-cs"/>
              </a:rPr>
              <a:t>Reliable Open Source analytics with an Industry leading SLA</a:t>
            </a:r>
          </a:p>
          <a:p>
            <a:r>
              <a:rPr lang="en-US" sz="1200" kern="1200" dirty="0">
                <a:solidFill>
                  <a:schemeClr val="tx1"/>
                </a:solidFill>
                <a:effectLst/>
                <a:latin typeface="+mn-lt"/>
                <a:ea typeface="+mn-ea"/>
                <a:cs typeface="+mn-cs"/>
              </a:rPr>
              <a:t>HDInsight allows you to easily spin up </a:t>
            </a:r>
            <a:r>
              <a:rPr lang="en-US" sz="1200" b="1" kern="1200" dirty="0">
                <a:solidFill>
                  <a:schemeClr val="tx1"/>
                </a:solidFill>
                <a:effectLst/>
                <a:latin typeface="+mn-lt"/>
                <a:ea typeface="+mn-ea"/>
                <a:cs typeface="+mn-cs"/>
              </a:rPr>
              <a:t>enterprise-grade </a:t>
            </a:r>
            <a:r>
              <a:rPr lang="en-US" sz="1200" kern="1200" dirty="0">
                <a:solidFill>
                  <a:schemeClr val="tx1"/>
                </a:solidFill>
                <a:effectLst/>
                <a:latin typeface="+mn-lt"/>
                <a:ea typeface="+mn-ea"/>
                <a:cs typeface="+mn-cs"/>
              </a:rPr>
              <a:t>open source cluster types guaranteed with the industry’s best </a:t>
            </a:r>
            <a:r>
              <a:rPr lang="en-US" sz="1200" b="1" kern="1200" dirty="0">
                <a:solidFill>
                  <a:schemeClr val="tx1"/>
                </a:solidFill>
                <a:effectLst/>
                <a:latin typeface="+mn-lt"/>
                <a:ea typeface="+mn-ea"/>
                <a:cs typeface="+mn-cs"/>
              </a:rPr>
              <a:t>99.9%</a:t>
            </a:r>
            <a:r>
              <a:rPr lang="en-US" sz="1200" kern="1200" dirty="0">
                <a:solidFill>
                  <a:schemeClr val="tx1"/>
                </a:solidFill>
                <a:effectLst/>
                <a:latin typeface="+mn-lt"/>
                <a:ea typeface="+mn-ea"/>
                <a:cs typeface="+mn-cs"/>
              </a:rPr>
              <a:t> </a:t>
            </a:r>
            <a:r>
              <a:rPr lang="en-US" sz="1200" b="1" kern="1200" dirty="0">
                <a:solidFill>
                  <a:schemeClr val="tx1"/>
                </a:solidFill>
                <a:effectLst/>
                <a:latin typeface="+mn-lt"/>
                <a:ea typeface="+mn-ea"/>
                <a:cs typeface="+mn-cs"/>
              </a:rPr>
              <a:t>SLA and 24/7 support</a:t>
            </a:r>
            <a:r>
              <a:rPr lang="en-US" sz="1200" kern="1200" dirty="0">
                <a:solidFill>
                  <a:schemeClr val="tx1"/>
                </a:solidFill>
                <a:effectLst/>
                <a:latin typeface="+mn-lt"/>
                <a:ea typeface="+mn-ea"/>
                <a:cs typeface="+mn-cs"/>
              </a:rPr>
              <a:t>. We guarantee this SLA for the entire big data solution, not just the VM instances. HDInsight is architected for </a:t>
            </a:r>
            <a:r>
              <a:rPr lang="en-US" sz="1200" b="1" kern="1200" dirty="0">
                <a:solidFill>
                  <a:schemeClr val="tx1"/>
                </a:solidFill>
                <a:effectLst/>
                <a:latin typeface="+mn-lt"/>
                <a:ea typeface="+mn-ea"/>
                <a:cs typeface="+mn-cs"/>
              </a:rPr>
              <a:t>full redundancy</a:t>
            </a:r>
            <a:r>
              <a:rPr lang="en-US" sz="1200" kern="1200" dirty="0">
                <a:solidFill>
                  <a:schemeClr val="tx1"/>
                </a:solidFill>
                <a:effectLst/>
                <a:latin typeface="+mn-lt"/>
                <a:ea typeface="+mn-ea"/>
                <a:cs typeface="+mn-cs"/>
              </a:rPr>
              <a:t> and </a:t>
            </a:r>
            <a:r>
              <a:rPr lang="en-US" sz="1200" b="1" kern="1200" dirty="0">
                <a:solidFill>
                  <a:schemeClr val="tx1"/>
                </a:solidFill>
                <a:effectLst/>
                <a:latin typeface="+mn-lt"/>
                <a:ea typeface="+mn-ea"/>
                <a:cs typeface="+mn-cs"/>
              </a:rPr>
              <a:t>high availability</a:t>
            </a:r>
            <a:r>
              <a:rPr lang="en-US" sz="1200" kern="1200" dirty="0">
                <a:solidFill>
                  <a:schemeClr val="tx1"/>
                </a:solidFill>
                <a:effectLst/>
                <a:latin typeface="+mn-lt"/>
                <a:ea typeface="+mn-ea"/>
                <a:cs typeface="+mn-cs"/>
              </a:rPr>
              <a:t> including </a:t>
            </a:r>
            <a:r>
              <a:rPr lang="en-US" sz="1200" b="1" kern="1200" dirty="0">
                <a:solidFill>
                  <a:schemeClr val="tx1"/>
                </a:solidFill>
                <a:effectLst/>
                <a:latin typeface="+mn-lt"/>
                <a:ea typeface="+mn-ea"/>
                <a:cs typeface="+mn-cs"/>
              </a:rPr>
              <a:t>head node replication</a:t>
            </a:r>
            <a:r>
              <a:rPr lang="en-US" sz="1200" kern="1200" dirty="0">
                <a:solidFill>
                  <a:schemeClr val="tx1"/>
                </a:solidFill>
                <a:effectLst/>
                <a:latin typeface="+mn-lt"/>
                <a:ea typeface="+mn-ea"/>
                <a:cs typeface="+mn-cs"/>
              </a:rPr>
              <a:t>, </a:t>
            </a:r>
            <a:r>
              <a:rPr lang="en-US" sz="1200" b="1" kern="1200" dirty="0">
                <a:solidFill>
                  <a:schemeClr val="tx1"/>
                </a:solidFill>
                <a:effectLst/>
                <a:latin typeface="+mn-lt"/>
                <a:ea typeface="+mn-ea"/>
                <a:cs typeface="+mn-cs"/>
              </a:rPr>
              <a:t>data geo-replication</a:t>
            </a:r>
            <a:r>
              <a:rPr lang="en-US" sz="1200" kern="1200" dirty="0">
                <a:solidFill>
                  <a:schemeClr val="tx1"/>
                </a:solidFill>
                <a:effectLst/>
                <a:latin typeface="+mn-lt"/>
                <a:ea typeface="+mn-ea"/>
                <a:cs typeface="+mn-cs"/>
              </a:rPr>
              <a:t>, and </a:t>
            </a:r>
            <a:r>
              <a:rPr lang="en-US" sz="1200" b="1" kern="1200" dirty="0">
                <a:solidFill>
                  <a:schemeClr val="tx1"/>
                </a:solidFill>
                <a:effectLst/>
                <a:latin typeface="+mn-lt"/>
                <a:ea typeface="+mn-ea"/>
                <a:cs typeface="+mn-cs"/>
              </a:rPr>
              <a:t>built-in standby </a:t>
            </a:r>
            <a:r>
              <a:rPr lang="en-US" sz="1200" b="1" kern="1200" dirty="0" err="1">
                <a:solidFill>
                  <a:schemeClr val="tx1"/>
                </a:solidFill>
                <a:effectLst/>
                <a:latin typeface="+mn-lt"/>
                <a:ea typeface="+mn-ea"/>
                <a:cs typeface="+mn-cs"/>
              </a:rPr>
              <a:t>NameNode</a:t>
            </a:r>
            <a:r>
              <a:rPr lang="en-US" sz="1200" kern="1200" dirty="0">
                <a:solidFill>
                  <a:schemeClr val="tx1"/>
                </a:solidFill>
                <a:effectLst/>
                <a:latin typeface="+mn-lt"/>
                <a:ea typeface="+mn-ea"/>
                <a:cs typeface="+mn-cs"/>
              </a:rPr>
              <a:t> making HDInsight resilient to critical failures not addressed in standard Hadoop implementations. Azure also offers cluster monitoring and </a:t>
            </a:r>
            <a:r>
              <a:rPr lang="en-US" sz="1200" b="1" kern="1200" dirty="0">
                <a:solidFill>
                  <a:schemeClr val="tx1"/>
                </a:solidFill>
                <a:effectLst/>
                <a:latin typeface="+mn-lt"/>
                <a:ea typeface="+mn-ea"/>
                <a:cs typeface="+mn-cs"/>
              </a:rPr>
              <a:t>24x7</a:t>
            </a:r>
            <a:r>
              <a:rPr lang="en-US" sz="1200" kern="1200" dirty="0">
                <a:solidFill>
                  <a:schemeClr val="tx1"/>
                </a:solidFill>
                <a:effectLst/>
                <a:latin typeface="+mn-lt"/>
                <a:ea typeface="+mn-ea"/>
                <a:cs typeface="+mn-cs"/>
              </a:rPr>
              <a:t> enterprise support backed by Microsoft and Hortonworks with </a:t>
            </a:r>
            <a:r>
              <a:rPr lang="en-US" sz="1200" b="1" kern="1200" dirty="0">
                <a:solidFill>
                  <a:schemeClr val="tx1"/>
                </a:solidFill>
                <a:effectLst/>
                <a:latin typeface="+mn-lt"/>
                <a:ea typeface="+mn-ea"/>
                <a:cs typeface="+mn-cs"/>
              </a:rPr>
              <a:t>37 combined committers</a:t>
            </a:r>
            <a:r>
              <a:rPr lang="en-US" sz="1200" kern="1200" dirty="0">
                <a:solidFill>
                  <a:schemeClr val="tx1"/>
                </a:solidFill>
                <a:effectLst/>
                <a:latin typeface="+mn-lt"/>
                <a:ea typeface="+mn-ea"/>
                <a:cs typeface="+mn-cs"/>
              </a:rPr>
              <a:t> for Hadoop core, more than </a:t>
            </a:r>
            <a:r>
              <a:rPr lang="en-US" sz="1200" b="1" kern="1200" dirty="0">
                <a:solidFill>
                  <a:schemeClr val="tx1"/>
                </a:solidFill>
                <a:effectLst/>
                <a:latin typeface="+mn-lt"/>
                <a:ea typeface="+mn-ea"/>
                <a:cs typeface="+mn-cs"/>
              </a:rPr>
              <a:t>all other managed cloud providers combined</a:t>
            </a:r>
            <a:r>
              <a:rPr lang="en-US" sz="1200" kern="1200" dirty="0">
                <a:solidFill>
                  <a:schemeClr val="tx1"/>
                </a:solidFill>
                <a:effectLst/>
                <a:latin typeface="+mn-lt"/>
                <a:ea typeface="+mn-ea"/>
                <a:cs typeface="+mn-cs"/>
              </a:rPr>
              <a:t> to support your deployment and the ability to </a:t>
            </a:r>
            <a:r>
              <a:rPr lang="en-US" sz="1200" b="1" kern="1200" dirty="0">
                <a:solidFill>
                  <a:schemeClr val="tx1"/>
                </a:solidFill>
                <a:effectLst/>
                <a:latin typeface="+mn-lt"/>
                <a:ea typeface="+mn-ea"/>
                <a:cs typeface="+mn-cs"/>
              </a:rPr>
              <a:t>fix</a:t>
            </a:r>
            <a:r>
              <a:rPr lang="en-US" sz="1200" kern="1200" dirty="0">
                <a:solidFill>
                  <a:schemeClr val="tx1"/>
                </a:solidFill>
                <a:effectLst/>
                <a:latin typeface="+mn-lt"/>
                <a:ea typeface="+mn-ea"/>
                <a:cs typeface="+mn-cs"/>
              </a:rPr>
              <a:t> and </a:t>
            </a:r>
            <a:r>
              <a:rPr lang="en-US" sz="1200" b="1" kern="1200" dirty="0">
                <a:solidFill>
                  <a:schemeClr val="tx1"/>
                </a:solidFill>
                <a:effectLst/>
                <a:latin typeface="+mn-lt"/>
                <a:ea typeface="+mn-ea"/>
                <a:cs typeface="+mn-cs"/>
              </a:rPr>
              <a:t>commit code</a:t>
            </a:r>
            <a:r>
              <a:rPr lang="en-US" sz="1200" kern="1200" dirty="0">
                <a:solidFill>
                  <a:schemeClr val="tx1"/>
                </a:solidFill>
                <a:effectLst/>
                <a:latin typeface="+mn-lt"/>
                <a:ea typeface="+mn-ea"/>
                <a:cs typeface="+mn-cs"/>
              </a:rPr>
              <a:t> back to Hadoop.</a:t>
            </a:r>
          </a:p>
          <a:p>
            <a:endParaRPr lang="en-US" sz="1200" kern="1200" dirty="0">
              <a:solidFill>
                <a:schemeClr val="tx1"/>
              </a:solidFill>
              <a:effectLst/>
              <a:latin typeface="+mn-lt"/>
              <a:ea typeface="+mn-ea"/>
              <a:cs typeface="+mn-cs"/>
            </a:endParaRPr>
          </a:p>
          <a:p>
            <a:r>
              <a:rPr lang="en-US" sz="1200" b="1" kern="1200" dirty="0">
                <a:solidFill>
                  <a:schemeClr val="tx1"/>
                </a:solidFill>
                <a:effectLst/>
                <a:latin typeface="+mn-lt"/>
                <a:ea typeface="+mn-ea"/>
                <a:cs typeface="+mn-cs"/>
              </a:rPr>
              <a:t>Enterprise Grade Security &amp; Monitoring</a:t>
            </a:r>
          </a:p>
          <a:p>
            <a:r>
              <a:rPr lang="en-US" sz="1200" kern="1200" dirty="0">
                <a:solidFill>
                  <a:schemeClr val="tx1"/>
                </a:solidFill>
                <a:effectLst/>
                <a:latin typeface="+mn-lt"/>
                <a:ea typeface="+mn-ea"/>
                <a:cs typeface="+mn-cs"/>
              </a:rPr>
              <a:t>HDInsight protects your data assets and easily extends your </a:t>
            </a:r>
            <a:r>
              <a:rPr lang="en-US" sz="1200" kern="1200" dirty="0" err="1">
                <a:solidFill>
                  <a:schemeClr val="tx1"/>
                </a:solidFill>
                <a:effectLst/>
                <a:latin typeface="+mn-lt"/>
                <a:ea typeface="+mn-ea"/>
                <a:cs typeface="+mn-cs"/>
              </a:rPr>
              <a:t>on-premise</a:t>
            </a:r>
            <a:r>
              <a:rPr lang="en-US" sz="1200" kern="1200" dirty="0">
                <a:solidFill>
                  <a:schemeClr val="tx1"/>
                </a:solidFill>
                <a:effectLst/>
                <a:latin typeface="+mn-lt"/>
                <a:ea typeface="+mn-ea"/>
                <a:cs typeface="+mn-cs"/>
              </a:rPr>
              <a:t> security and governance controls to the cloud. We feature </a:t>
            </a:r>
            <a:r>
              <a:rPr lang="en-US" sz="1200" b="1" kern="1200" dirty="0">
                <a:solidFill>
                  <a:schemeClr val="tx1"/>
                </a:solidFill>
                <a:effectLst/>
                <a:latin typeface="+mn-lt"/>
                <a:ea typeface="+mn-ea"/>
                <a:cs typeface="+mn-cs"/>
              </a:rPr>
              <a:t>single sign-on (SSO), multi-factor authentication</a:t>
            </a:r>
            <a:r>
              <a:rPr lang="en-US" sz="1200" kern="1200" dirty="0">
                <a:solidFill>
                  <a:schemeClr val="tx1"/>
                </a:solidFill>
                <a:effectLst/>
                <a:latin typeface="+mn-lt"/>
                <a:ea typeface="+mn-ea"/>
                <a:cs typeface="+mn-cs"/>
              </a:rPr>
              <a:t> and seamless management of millions of identities through </a:t>
            </a:r>
            <a:r>
              <a:rPr lang="en-US" sz="1200" b="1" kern="1200" dirty="0">
                <a:solidFill>
                  <a:schemeClr val="tx1"/>
                </a:solidFill>
                <a:effectLst/>
                <a:latin typeface="+mn-lt"/>
                <a:ea typeface="+mn-ea"/>
                <a:cs typeface="+mn-cs"/>
              </a:rPr>
              <a:t>Azure Active Directory</a:t>
            </a:r>
            <a:r>
              <a:rPr lang="en-US" sz="1200" kern="1200" dirty="0">
                <a:solidFill>
                  <a:schemeClr val="tx1"/>
                </a:solidFill>
                <a:effectLst/>
                <a:latin typeface="+mn-lt"/>
                <a:ea typeface="+mn-ea"/>
                <a:cs typeface="+mn-cs"/>
              </a:rPr>
              <a:t>. You can authorize users and groups with </a:t>
            </a:r>
            <a:r>
              <a:rPr lang="en-US" sz="1200" b="1" kern="1200" dirty="0">
                <a:solidFill>
                  <a:schemeClr val="tx1"/>
                </a:solidFill>
                <a:effectLst/>
                <a:latin typeface="+mn-lt"/>
                <a:ea typeface="+mn-ea"/>
                <a:cs typeface="+mn-cs"/>
              </a:rPr>
              <a:t>fine-grained access control policies </a:t>
            </a:r>
            <a:r>
              <a:rPr lang="en-US" sz="1200" kern="1200" dirty="0">
                <a:solidFill>
                  <a:schemeClr val="tx1"/>
                </a:solidFill>
                <a:effectLst/>
                <a:latin typeface="+mn-lt"/>
                <a:ea typeface="+mn-ea"/>
                <a:cs typeface="+mn-cs"/>
              </a:rPr>
              <a:t>over all your enterprise data </a:t>
            </a:r>
            <a:r>
              <a:rPr lang="en-US" sz="1200" b="1" kern="1200" dirty="0">
                <a:solidFill>
                  <a:schemeClr val="tx1"/>
                </a:solidFill>
                <a:effectLst/>
                <a:latin typeface="+mn-lt"/>
                <a:ea typeface="+mn-ea"/>
                <a:cs typeface="+mn-cs"/>
              </a:rPr>
              <a:t>with Apache Ranger</a:t>
            </a:r>
            <a:r>
              <a:rPr lang="en-US" sz="1200" kern="1200" dirty="0">
                <a:solidFill>
                  <a:schemeClr val="tx1"/>
                </a:solidFill>
                <a:effectLst/>
                <a:latin typeface="+mn-lt"/>
                <a:ea typeface="+mn-ea"/>
                <a:cs typeface="+mn-cs"/>
              </a:rPr>
              <a:t>. HDInsight meets </a:t>
            </a:r>
            <a:r>
              <a:rPr lang="en-US" sz="1200" b="1" kern="1200" dirty="0">
                <a:solidFill>
                  <a:schemeClr val="tx1"/>
                </a:solidFill>
                <a:effectLst/>
                <a:latin typeface="+mn-lt"/>
                <a:ea typeface="+mn-ea"/>
                <a:cs typeface="+mn-cs"/>
              </a:rPr>
              <a:t>HIPAA, PCI, SOC </a:t>
            </a:r>
            <a:r>
              <a:rPr lang="en-US" sz="1200" kern="1200" dirty="0">
                <a:solidFill>
                  <a:schemeClr val="tx1"/>
                </a:solidFill>
                <a:effectLst/>
                <a:latin typeface="+mn-lt"/>
                <a:ea typeface="+mn-ea"/>
                <a:cs typeface="+mn-cs"/>
              </a:rPr>
              <a:t>compliance, ensuring your enterprise data assets are always protected with the highest </a:t>
            </a:r>
            <a:r>
              <a:rPr lang="en-US" sz="1200" b="1" kern="1200" dirty="0">
                <a:solidFill>
                  <a:schemeClr val="tx1"/>
                </a:solidFill>
                <a:effectLst/>
                <a:latin typeface="+mn-lt"/>
                <a:ea typeface="+mn-ea"/>
                <a:cs typeface="+mn-cs"/>
              </a:rPr>
              <a:t>security and regulatory compliance</a:t>
            </a:r>
            <a:r>
              <a:rPr lang="en-US" sz="1200" kern="1200" dirty="0">
                <a:solidFill>
                  <a:schemeClr val="tx1"/>
                </a:solidFill>
                <a:effectLst/>
                <a:latin typeface="+mn-lt"/>
                <a:ea typeface="+mn-ea"/>
                <a:cs typeface="+mn-cs"/>
              </a:rPr>
              <a:t>.</a:t>
            </a:r>
            <a:r>
              <a:rPr lang="en-US" sz="1200" b="1" kern="1200" dirty="0">
                <a:solidFill>
                  <a:schemeClr val="tx1"/>
                </a:solidFill>
                <a:effectLst/>
                <a:latin typeface="+mn-lt"/>
                <a:ea typeface="+mn-ea"/>
                <a:cs typeface="+mn-cs"/>
              </a:rPr>
              <a:t> </a:t>
            </a:r>
            <a:r>
              <a:rPr lang="en-US" sz="1200" kern="1200" dirty="0">
                <a:solidFill>
                  <a:schemeClr val="tx1"/>
                </a:solidFill>
                <a:effectLst/>
                <a:latin typeface="+mn-lt"/>
                <a:ea typeface="+mn-ea"/>
                <a:cs typeface="+mn-cs"/>
              </a:rPr>
              <a:t>To ensure the highest level of business continuity, HDInsight extends capabilities for alerting, monitoring, defining pre-emptive actions, and enhanced workload protection through native integration with </a:t>
            </a:r>
            <a:r>
              <a:rPr lang="en-US" sz="1200" b="1" kern="1200" dirty="0">
                <a:solidFill>
                  <a:schemeClr val="tx1"/>
                </a:solidFill>
                <a:effectLst/>
                <a:latin typeface="+mn-lt"/>
                <a:ea typeface="+mn-ea"/>
                <a:cs typeface="+mn-cs"/>
              </a:rPr>
              <a:t>Azure Operations Management Suite (OMS)</a:t>
            </a:r>
            <a:r>
              <a:rPr lang="en-US" sz="1200" kern="1200" dirty="0">
                <a:solidFill>
                  <a:schemeClr val="tx1"/>
                </a:solidFill>
                <a:effectLst/>
                <a:latin typeface="+mn-lt"/>
                <a:ea typeface="+mn-ea"/>
                <a:cs typeface="+mn-cs"/>
              </a:rPr>
              <a:t>. </a:t>
            </a:r>
          </a:p>
          <a:p>
            <a:r>
              <a:rPr lang="en-US" sz="1200" kern="1200" dirty="0">
                <a:solidFill>
                  <a:schemeClr val="tx1"/>
                </a:solidFill>
                <a:effectLst/>
                <a:latin typeface="+mn-lt"/>
                <a:ea typeface="+mn-ea"/>
                <a:cs typeface="+mn-cs"/>
              </a:rPr>
              <a:t>Most Productive platform for developers and scientists </a:t>
            </a:r>
          </a:p>
          <a:p>
            <a:r>
              <a:rPr lang="en-NZ" sz="1200" kern="1200" dirty="0">
                <a:solidFill>
                  <a:schemeClr val="tx1"/>
                </a:solidFill>
                <a:effectLst/>
                <a:latin typeface="+mn-lt"/>
                <a:ea typeface="+mn-ea"/>
                <a:cs typeface="+mn-cs"/>
              </a:rPr>
              <a:t>HDInsight offers </a:t>
            </a:r>
            <a:r>
              <a:rPr lang="en-NZ" sz="1200" b="1" kern="1200" dirty="0">
                <a:solidFill>
                  <a:schemeClr val="tx1"/>
                </a:solidFill>
                <a:effectLst/>
                <a:latin typeface="+mn-lt"/>
                <a:ea typeface="+mn-ea"/>
                <a:cs typeface="+mn-cs"/>
              </a:rPr>
              <a:t>developers</a:t>
            </a:r>
            <a:r>
              <a:rPr lang="en-NZ" sz="1200" kern="1200" dirty="0">
                <a:solidFill>
                  <a:schemeClr val="tx1"/>
                </a:solidFill>
                <a:effectLst/>
                <a:latin typeface="+mn-lt"/>
                <a:ea typeface="+mn-ea"/>
                <a:cs typeface="+mn-cs"/>
              </a:rPr>
              <a:t> tailored experiences through </a:t>
            </a:r>
            <a:r>
              <a:rPr lang="en-NZ" sz="1200" b="1" kern="1200" dirty="0">
                <a:solidFill>
                  <a:schemeClr val="tx1"/>
                </a:solidFill>
                <a:effectLst/>
                <a:latin typeface="+mn-lt"/>
                <a:ea typeface="+mn-ea"/>
                <a:cs typeface="+mn-cs"/>
              </a:rPr>
              <a:t>rich productivity suites</a:t>
            </a:r>
            <a:r>
              <a:rPr lang="en-NZ" sz="1200" kern="1200" dirty="0">
                <a:solidFill>
                  <a:schemeClr val="tx1"/>
                </a:solidFill>
                <a:effectLst/>
                <a:latin typeface="+mn-lt"/>
                <a:ea typeface="+mn-ea"/>
                <a:cs typeface="+mn-cs"/>
              </a:rPr>
              <a:t> for Hadoop &amp; Spark with </a:t>
            </a:r>
            <a:r>
              <a:rPr lang="en-NZ" sz="1200" b="1" kern="1200" dirty="0">
                <a:solidFill>
                  <a:schemeClr val="tx1"/>
                </a:solidFill>
                <a:effectLst/>
                <a:latin typeface="+mn-lt"/>
                <a:ea typeface="+mn-ea"/>
                <a:cs typeface="+mn-cs"/>
              </a:rPr>
              <a:t>integrated development environments</a:t>
            </a:r>
            <a:r>
              <a:rPr lang="en-NZ" sz="1200" kern="1200" dirty="0">
                <a:solidFill>
                  <a:schemeClr val="tx1"/>
                </a:solidFill>
                <a:effectLst/>
                <a:latin typeface="+mn-lt"/>
                <a:ea typeface="+mn-ea"/>
                <a:cs typeface="+mn-cs"/>
              </a:rPr>
              <a:t> using </a:t>
            </a:r>
            <a:r>
              <a:rPr lang="en-US" sz="1200" b="1" u="sng" kern="1200" dirty="0">
                <a:solidFill>
                  <a:schemeClr val="tx1"/>
                </a:solidFill>
                <a:effectLst/>
                <a:latin typeface="+mn-lt"/>
                <a:ea typeface="+mn-ea"/>
                <a:cs typeface="+mn-cs"/>
                <a:hlinkClick r:id="rId3"/>
              </a:rPr>
              <a:t>Visual Studio</a:t>
            </a:r>
            <a:r>
              <a:rPr lang="en-NZ" sz="1200" b="1" kern="1200" dirty="0">
                <a:solidFill>
                  <a:schemeClr val="tx1"/>
                </a:solidFill>
                <a:effectLst/>
                <a:latin typeface="+mn-lt"/>
                <a:ea typeface="+mn-ea"/>
                <a:cs typeface="+mn-cs"/>
              </a:rPr>
              <a:t>, </a:t>
            </a:r>
            <a:r>
              <a:rPr lang="en-US" sz="1200" b="1" u="sng" kern="1200" dirty="0">
                <a:solidFill>
                  <a:schemeClr val="tx1"/>
                </a:solidFill>
                <a:effectLst/>
                <a:latin typeface="+mn-lt"/>
                <a:ea typeface="+mn-ea"/>
                <a:cs typeface="+mn-cs"/>
                <a:hlinkClick r:id="rId4"/>
              </a:rPr>
              <a:t>Eclipse</a:t>
            </a:r>
            <a:r>
              <a:rPr lang="en-NZ" sz="1200" kern="1200" dirty="0">
                <a:solidFill>
                  <a:schemeClr val="tx1"/>
                </a:solidFill>
                <a:effectLst/>
                <a:latin typeface="+mn-lt"/>
                <a:ea typeface="+mn-ea"/>
                <a:cs typeface="+mn-cs"/>
              </a:rPr>
              <a:t>, and </a:t>
            </a:r>
            <a:r>
              <a:rPr lang="en-US" sz="1200" b="1" u="sng" kern="1200" dirty="0">
                <a:solidFill>
                  <a:schemeClr val="tx1"/>
                </a:solidFill>
                <a:effectLst/>
                <a:latin typeface="+mn-lt"/>
                <a:ea typeface="+mn-ea"/>
                <a:cs typeface="+mn-cs"/>
                <a:hlinkClick r:id="rId5"/>
              </a:rPr>
              <a:t>IntelliJ</a:t>
            </a:r>
            <a:r>
              <a:rPr lang="en-NZ" sz="1200" kern="1200" dirty="0">
                <a:solidFill>
                  <a:schemeClr val="tx1"/>
                </a:solidFill>
                <a:effectLst/>
                <a:latin typeface="+mn-lt"/>
                <a:ea typeface="+mn-ea"/>
                <a:cs typeface="+mn-cs"/>
              </a:rPr>
              <a:t> supporting </a:t>
            </a:r>
            <a:r>
              <a:rPr lang="en-NZ" sz="1200" b="1" kern="1200" dirty="0">
                <a:solidFill>
                  <a:schemeClr val="tx1"/>
                </a:solidFill>
                <a:effectLst/>
                <a:latin typeface="+mn-lt"/>
                <a:ea typeface="+mn-ea"/>
                <a:cs typeface="+mn-cs"/>
              </a:rPr>
              <a:t>Scala, Python, R, Java</a:t>
            </a:r>
            <a:r>
              <a:rPr lang="en-NZ" sz="1200" kern="1200" dirty="0">
                <a:solidFill>
                  <a:schemeClr val="tx1"/>
                </a:solidFill>
                <a:effectLst/>
                <a:latin typeface="+mn-lt"/>
                <a:ea typeface="+mn-ea"/>
                <a:cs typeface="+mn-cs"/>
              </a:rPr>
              <a:t>, and </a:t>
            </a:r>
            <a:r>
              <a:rPr lang="en-NZ" sz="1200" kern="1200" dirty="0" err="1">
                <a:solidFill>
                  <a:schemeClr val="tx1"/>
                </a:solidFill>
                <a:effectLst/>
                <a:latin typeface="+mn-lt"/>
                <a:ea typeface="+mn-ea"/>
                <a:cs typeface="+mn-cs"/>
              </a:rPr>
              <a:t>.</a:t>
            </a:r>
            <a:r>
              <a:rPr lang="en-NZ" sz="1200" b="1" kern="1200" dirty="0" err="1">
                <a:solidFill>
                  <a:schemeClr val="tx1"/>
                </a:solidFill>
                <a:effectLst/>
                <a:latin typeface="+mn-lt"/>
                <a:ea typeface="+mn-ea"/>
                <a:cs typeface="+mn-cs"/>
              </a:rPr>
              <a:t>Net</a:t>
            </a:r>
            <a:r>
              <a:rPr lang="en-NZ" sz="1200" kern="1200" dirty="0">
                <a:solidFill>
                  <a:schemeClr val="tx1"/>
                </a:solidFill>
                <a:effectLst/>
                <a:latin typeface="+mn-lt"/>
                <a:ea typeface="+mn-ea"/>
                <a:cs typeface="+mn-cs"/>
              </a:rPr>
              <a:t>. HDInsight gives data scientists the ability to </a:t>
            </a:r>
            <a:r>
              <a:rPr lang="en-NZ" sz="1200" b="1" kern="1200" dirty="0">
                <a:solidFill>
                  <a:schemeClr val="tx1"/>
                </a:solidFill>
                <a:effectLst/>
                <a:latin typeface="+mn-lt"/>
                <a:ea typeface="+mn-ea"/>
                <a:cs typeface="+mn-cs"/>
              </a:rPr>
              <a:t>create narratives that combine code, statistical equations, and visualizations</a:t>
            </a:r>
            <a:r>
              <a:rPr lang="en-NZ" sz="1200" kern="1200" dirty="0">
                <a:solidFill>
                  <a:schemeClr val="tx1"/>
                </a:solidFill>
                <a:effectLst/>
                <a:latin typeface="+mn-lt"/>
                <a:ea typeface="+mn-ea"/>
                <a:cs typeface="+mn-cs"/>
              </a:rPr>
              <a:t> that tell a story about the data through integration to the two most popular notebooks: </a:t>
            </a:r>
            <a:r>
              <a:rPr lang="en-US" sz="1200" b="1" u="sng" kern="1200" dirty="0" err="1">
                <a:solidFill>
                  <a:schemeClr val="tx1"/>
                </a:solidFill>
                <a:effectLst/>
                <a:latin typeface="+mn-lt"/>
                <a:ea typeface="+mn-ea"/>
                <a:cs typeface="+mn-cs"/>
                <a:hlinkClick r:id="rId6"/>
              </a:rPr>
              <a:t>Jupyter</a:t>
            </a:r>
            <a:r>
              <a:rPr lang="en-NZ" sz="1200" kern="1200" dirty="0">
                <a:solidFill>
                  <a:schemeClr val="tx1"/>
                </a:solidFill>
                <a:effectLst/>
                <a:latin typeface="+mn-lt"/>
                <a:ea typeface="+mn-ea"/>
                <a:cs typeface="+mn-cs"/>
              </a:rPr>
              <a:t> and </a:t>
            </a:r>
            <a:r>
              <a:rPr lang="en-US" sz="1200" b="1" u="sng" kern="1200" dirty="0">
                <a:solidFill>
                  <a:schemeClr val="tx1"/>
                </a:solidFill>
                <a:effectLst/>
                <a:latin typeface="+mn-lt"/>
                <a:ea typeface="+mn-ea"/>
                <a:cs typeface="+mn-cs"/>
                <a:hlinkClick r:id="rId7"/>
              </a:rPr>
              <a:t>Zeppelin</a:t>
            </a:r>
            <a:r>
              <a:rPr lang="en-NZ" sz="1200" kern="1200" dirty="0">
                <a:solidFill>
                  <a:schemeClr val="tx1"/>
                </a:solidFill>
                <a:effectLst/>
                <a:latin typeface="+mn-lt"/>
                <a:ea typeface="+mn-ea"/>
                <a:cs typeface="+mn-cs"/>
              </a:rPr>
              <a:t>. HDInsight is also the only managed cloud Hadoop solution with integration to </a:t>
            </a:r>
            <a:r>
              <a:rPr lang="en-NZ" sz="1200" b="1" kern="1200" dirty="0">
                <a:solidFill>
                  <a:schemeClr val="tx1"/>
                </a:solidFill>
                <a:effectLst/>
                <a:latin typeface="+mn-lt"/>
                <a:ea typeface="+mn-ea"/>
                <a:cs typeface="+mn-cs"/>
              </a:rPr>
              <a:t>Microsoft R Server</a:t>
            </a:r>
            <a:r>
              <a:rPr lang="en-NZ" sz="1200" kern="1200" dirty="0">
                <a:solidFill>
                  <a:schemeClr val="tx1"/>
                </a:solidFill>
                <a:effectLst/>
                <a:latin typeface="+mn-lt"/>
                <a:ea typeface="+mn-ea"/>
                <a:cs typeface="+mn-cs"/>
              </a:rPr>
              <a:t>.  </a:t>
            </a:r>
            <a:r>
              <a:rPr lang="en-NZ" sz="1200" b="1" kern="1200" dirty="0">
                <a:solidFill>
                  <a:schemeClr val="tx1"/>
                </a:solidFill>
                <a:effectLst/>
                <a:latin typeface="+mn-lt"/>
                <a:ea typeface="+mn-ea"/>
                <a:cs typeface="+mn-cs"/>
              </a:rPr>
              <a:t>Multi-threaded math libraries</a:t>
            </a:r>
            <a:r>
              <a:rPr lang="en-NZ" sz="1200" kern="1200" dirty="0">
                <a:solidFill>
                  <a:schemeClr val="tx1"/>
                </a:solidFill>
                <a:effectLst/>
                <a:latin typeface="+mn-lt"/>
                <a:ea typeface="+mn-ea"/>
                <a:cs typeface="+mn-cs"/>
              </a:rPr>
              <a:t> and </a:t>
            </a:r>
            <a:r>
              <a:rPr lang="en-NZ" sz="1200" b="1" kern="1200" dirty="0">
                <a:solidFill>
                  <a:schemeClr val="tx1"/>
                </a:solidFill>
                <a:effectLst/>
                <a:latin typeface="+mn-lt"/>
                <a:ea typeface="+mn-ea"/>
                <a:cs typeface="+mn-cs"/>
              </a:rPr>
              <a:t>transparent parallelization</a:t>
            </a:r>
            <a:r>
              <a:rPr lang="en-NZ" sz="1200" kern="1200" dirty="0">
                <a:solidFill>
                  <a:schemeClr val="tx1"/>
                </a:solidFill>
                <a:effectLst/>
                <a:latin typeface="+mn-lt"/>
                <a:ea typeface="+mn-ea"/>
                <a:cs typeface="+mn-cs"/>
              </a:rPr>
              <a:t> in R Server means handling up to </a:t>
            </a:r>
            <a:r>
              <a:rPr lang="en-NZ" sz="1200" b="1" kern="1200" dirty="0">
                <a:solidFill>
                  <a:schemeClr val="tx1"/>
                </a:solidFill>
                <a:effectLst/>
                <a:latin typeface="+mn-lt"/>
                <a:ea typeface="+mn-ea"/>
                <a:cs typeface="+mn-cs"/>
              </a:rPr>
              <a:t>1000x more data</a:t>
            </a:r>
            <a:r>
              <a:rPr lang="en-NZ" sz="1200" kern="1200" dirty="0">
                <a:solidFill>
                  <a:schemeClr val="tx1"/>
                </a:solidFill>
                <a:effectLst/>
                <a:latin typeface="+mn-lt"/>
                <a:ea typeface="+mn-ea"/>
                <a:cs typeface="+mn-cs"/>
              </a:rPr>
              <a:t> and up to </a:t>
            </a:r>
            <a:r>
              <a:rPr lang="en-NZ" sz="1200" b="1" kern="1200" dirty="0">
                <a:solidFill>
                  <a:schemeClr val="tx1"/>
                </a:solidFill>
                <a:effectLst/>
                <a:latin typeface="+mn-lt"/>
                <a:ea typeface="+mn-ea"/>
                <a:cs typeface="+mn-cs"/>
              </a:rPr>
              <a:t>50x faster speeds</a:t>
            </a:r>
            <a:r>
              <a:rPr lang="en-NZ" sz="1200" kern="1200" dirty="0">
                <a:solidFill>
                  <a:schemeClr val="tx1"/>
                </a:solidFill>
                <a:effectLst/>
                <a:latin typeface="+mn-lt"/>
                <a:ea typeface="+mn-ea"/>
                <a:cs typeface="+mn-cs"/>
              </a:rPr>
              <a:t> than open source R</a:t>
            </a:r>
            <a:r>
              <a:rPr lang="en-US" sz="1200" kern="1200" dirty="0">
                <a:solidFill>
                  <a:schemeClr val="tx1"/>
                </a:solidFill>
                <a:effectLst/>
                <a:latin typeface="+mn-lt"/>
                <a:ea typeface="+mn-ea"/>
                <a:cs typeface="+mn-cs"/>
              </a:rPr>
              <a:t>—</a:t>
            </a:r>
            <a:r>
              <a:rPr lang="en-NZ" sz="1200" kern="1200" dirty="0">
                <a:solidFill>
                  <a:schemeClr val="tx1"/>
                </a:solidFill>
                <a:effectLst/>
                <a:latin typeface="+mn-lt"/>
                <a:ea typeface="+mn-ea"/>
                <a:cs typeface="+mn-cs"/>
              </a:rPr>
              <a:t>helping you train more accurate models for better predictions than previously possible.  </a:t>
            </a:r>
          </a:p>
          <a:p>
            <a:endParaRPr lang="en-US" sz="1200" kern="1200" dirty="0">
              <a:solidFill>
                <a:schemeClr val="tx1"/>
              </a:solidFill>
              <a:effectLst/>
              <a:latin typeface="+mn-lt"/>
              <a:ea typeface="+mn-ea"/>
              <a:cs typeface="+mn-cs"/>
            </a:endParaRPr>
          </a:p>
          <a:p>
            <a:r>
              <a:rPr lang="en-US" sz="1200" b="1" kern="1200" dirty="0">
                <a:solidFill>
                  <a:schemeClr val="tx1"/>
                </a:solidFill>
                <a:effectLst/>
                <a:latin typeface="+mn-lt"/>
                <a:ea typeface="+mn-ea"/>
                <a:cs typeface="+mn-cs"/>
              </a:rPr>
              <a:t>Cost effective cloud scale</a:t>
            </a:r>
          </a:p>
          <a:p>
            <a:r>
              <a:rPr lang="en-US" sz="1200" kern="1200" dirty="0">
                <a:solidFill>
                  <a:schemeClr val="tx1"/>
                </a:solidFill>
                <a:effectLst/>
                <a:latin typeface="+mn-lt"/>
                <a:ea typeface="+mn-ea"/>
                <a:cs typeface="+mn-cs"/>
              </a:rPr>
              <a:t>HDInsight has </a:t>
            </a:r>
            <a:r>
              <a:rPr lang="en-NZ" sz="1200" b="1" kern="1200" dirty="0">
                <a:solidFill>
                  <a:schemeClr val="tx1"/>
                </a:solidFill>
                <a:effectLst/>
                <a:latin typeface="+mn-lt"/>
                <a:ea typeface="+mn-ea"/>
                <a:cs typeface="+mn-cs"/>
              </a:rPr>
              <a:t>decoupled compute and storage</a:t>
            </a:r>
            <a:r>
              <a:rPr lang="en-NZ" sz="1200" kern="1200" dirty="0">
                <a:solidFill>
                  <a:schemeClr val="tx1"/>
                </a:solidFill>
                <a:effectLst/>
                <a:latin typeface="+mn-lt"/>
                <a:ea typeface="+mn-ea"/>
                <a:cs typeface="+mn-cs"/>
              </a:rPr>
              <a:t>, enabling you to </a:t>
            </a:r>
            <a:r>
              <a:rPr lang="en-NZ" sz="1200" b="1" kern="1200" dirty="0">
                <a:solidFill>
                  <a:schemeClr val="tx1"/>
                </a:solidFill>
                <a:effectLst/>
                <a:latin typeface="+mn-lt"/>
                <a:ea typeface="+mn-ea"/>
                <a:cs typeface="+mn-cs"/>
              </a:rPr>
              <a:t>cost-effectively scale workloads up or down</a:t>
            </a:r>
            <a:r>
              <a:rPr lang="en-NZ" sz="1200" kern="1200" dirty="0">
                <a:solidFill>
                  <a:schemeClr val="tx1"/>
                </a:solidFill>
                <a:effectLst/>
                <a:latin typeface="+mn-lt"/>
                <a:ea typeface="+mn-ea"/>
                <a:cs typeface="+mn-cs"/>
              </a:rPr>
              <a:t>, independent of storage. Local storage can still be used for caching and fast I/O. Spark and interactive Hive users can choose SSD memory for interactive performance; while Kafka users can retain all streaming data in premium managed disks. You </a:t>
            </a:r>
            <a:r>
              <a:rPr lang="en-NZ" sz="1200" b="1" kern="1200" dirty="0">
                <a:solidFill>
                  <a:schemeClr val="tx1"/>
                </a:solidFill>
                <a:effectLst/>
                <a:latin typeface="+mn-lt"/>
                <a:ea typeface="+mn-ea"/>
                <a:cs typeface="+mn-cs"/>
              </a:rPr>
              <a:t>only pay for </a:t>
            </a:r>
            <a:r>
              <a:rPr lang="en-NZ" sz="1200" kern="1200" dirty="0">
                <a:solidFill>
                  <a:schemeClr val="tx1"/>
                </a:solidFill>
                <a:effectLst/>
                <a:latin typeface="+mn-lt"/>
                <a:ea typeface="+mn-ea"/>
                <a:cs typeface="+mn-cs"/>
              </a:rPr>
              <a:t>the compute and storage </a:t>
            </a:r>
            <a:r>
              <a:rPr lang="en-NZ" sz="1200" b="1" kern="1200" dirty="0">
                <a:solidFill>
                  <a:schemeClr val="tx1"/>
                </a:solidFill>
                <a:effectLst/>
                <a:latin typeface="+mn-lt"/>
                <a:ea typeface="+mn-ea"/>
                <a:cs typeface="+mn-cs"/>
              </a:rPr>
              <a:t>you use</a:t>
            </a:r>
            <a:r>
              <a:rPr lang="en-NZ" sz="1200" kern="1200" dirty="0">
                <a:solidFill>
                  <a:schemeClr val="tx1"/>
                </a:solidFill>
                <a:effectLst/>
                <a:latin typeface="+mn-lt"/>
                <a:ea typeface="+mn-ea"/>
                <a:cs typeface="+mn-cs"/>
              </a:rPr>
              <a:t> and are given the ability to choose any Azure VM types that enables the best utilization of resources.  A recent </a:t>
            </a:r>
            <a:r>
              <a:rPr lang="en-NZ" sz="1200" u="sng" kern="1200" dirty="0">
                <a:solidFill>
                  <a:schemeClr val="tx1"/>
                </a:solidFill>
                <a:effectLst/>
                <a:latin typeface="+mn-lt"/>
                <a:ea typeface="+mn-ea"/>
                <a:cs typeface="+mn-cs"/>
              </a:rPr>
              <a:t>study</a:t>
            </a:r>
            <a:r>
              <a:rPr lang="en-NZ" sz="1200" kern="1200" dirty="0">
                <a:solidFill>
                  <a:schemeClr val="tx1"/>
                </a:solidFill>
                <a:effectLst/>
                <a:latin typeface="+mn-lt"/>
                <a:ea typeface="+mn-ea"/>
                <a:cs typeface="+mn-cs"/>
              </a:rPr>
              <a:t> showed HDInsight delivering </a:t>
            </a:r>
            <a:r>
              <a:rPr lang="en-NZ" sz="1200" b="1" kern="1200" dirty="0">
                <a:solidFill>
                  <a:schemeClr val="tx1"/>
                </a:solidFill>
                <a:effectLst/>
                <a:latin typeface="+mn-lt"/>
                <a:ea typeface="+mn-ea"/>
                <a:cs typeface="+mn-cs"/>
              </a:rPr>
              <a:t>63% lower TCO</a:t>
            </a:r>
            <a:r>
              <a:rPr lang="en-NZ" sz="1200" kern="1200" dirty="0">
                <a:solidFill>
                  <a:schemeClr val="tx1"/>
                </a:solidFill>
                <a:effectLst/>
                <a:latin typeface="+mn-lt"/>
                <a:ea typeface="+mn-ea"/>
                <a:cs typeface="+mn-cs"/>
              </a:rPr>
              <a:t> than deploying Hadoop on premises over 5 years.*</a:t>
            </a:r>
          </a:p>
          <a:p>
            <a:br>
              <a:rPr lang="en-NZ" sz="1200" kern="1200" dirty="0">
                <a:solidFill>
                  <a:schemeClr val="tx1"/>
                </a:solidFill>
                <a:effectLst/>
                <a:latin typeface="+mn-lt"/>
                <a:ea typeface="+mn-ea"/>
                <a:cs typeface="+mn-cs"/>
              </a:rPr>
            </a:br>
            <a:r>
              <a:rPr lang="en-US" sz="1200" b="1" kern="1200" dirty="0">
                <a:solidFill>
                  <a:schemeClr val="tx1"/>
                </a:solidFill>
                <a:effectLst/>
                <a:latin typeface="+mn-lt"/>
                <a:ea typeface="+mn-ea"/>
                <a:cs typeface="+mn-cs"/>
              </a:rPr>
              <a:t>Integration with leading Productivity Applications</a:t>
            </a:r>
          </a:p>
          <a:p>
            <a:r>
              <a:rPr lang="en-US" sz="1200" kern="1200" dirty="0">
                <a:solidFill>
                  <a:schemeClr val="tx1"/>
                </a:solidFill>
                <a:effectLst/>
                <a:latin typeface="+mn-lt"/>
                <a:ea typeface="+mn-ea"/>
                <a:cs typeface="+mn-cs"/>
              </a:rPr>
              <a:t>In the broader ecosystem for Hadoop, there is a thriving market of independent software vendors (ISVs) who provide value added solutions. Through a unique design where </a:t>
            </a:r>
            <a:r>
              <a:rPr lang="en-US" sz="1200" b="1" kern="1200" dirty="0">
                <a:solidFill>
                  <a:schemeClr val="tx1"/>
                </a:solidFill>
                <a:effectLst/>
                <a:latin typeface="+mn-lt"/>
                <a:ea typeface="+mn-ea"/>
                <a:cs typeface="+mn-cs"/>
              </a:rPr>
              <a:t>every cluster is extended</a:t>
            </a:r>
            <a:r>
              <a:rPr lang="en-US" sz="1200" kern="1200" dirty="0">
                <a:solidFill>
                  <a:schemeClr val="tx1"/>
                </a:solidFill>
                <a:effectLst/>
                <a:latin typeface="+mn-lt"/>
                <a:ea typeface="+mn-ea"/>
                <a:cs typeface="+mn-cs"/>
              </a:rPr>
              <a:t> with edge nodes and script action, HDInsight lets customers spin up Hadoop and Spark clusters pre-integrated and pre-tuned </a:t>
            </a:r>
            <a:r>
              <a:rPr lang="en-US" sz="1200" b="1" kern="1200" dirty="0">
                <a:solidFill>
                  <a:schemeClr val="tx1"/>
                </a:solidFill>
                <a:effectLst/>
                <a:latin typeface="+mn-lt"/>
                <a:ea typeface="+mn-ea"/>
                <a:cs typeface="+mn-cs"/>
              </a:rPr>
              <a:t>with any ISV application out-of-the-box</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Datameer</a:t>
            </a:r>
            <a:r>
              <a:rPr lang="en-US" sz="1200" kern="1200" dirty="0">
                <a:solidFill>
                  <a:schemeClr val="tx1"/>
                </a:solidFill>
                <a:effectLst/>
                <a:latin typeface="+mn-lt"/>
                <a:ea typeface="+mn-ea"/>
                <a:cs typeface="+mn-cs"/>
              </a:rPr>
              <a:t>, Cask, </a:t>
            </a:r>
            <a:r>
              <a:rPr lang="en-US" sz="1200" kern="1200" dirty="0" err="1">
                <a:solidFill>
                  <a:schemeClr val="tx1"/>
                </a:solidFill>
                <a:effectLst/>
                <a:latin typeface="+mn-lt"/>
                <a:ea typeface="+mn-ea"/>
                <a:cs typeface="+mn-cs"/>
              </a:rPr>
              <a:t>AtScale</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StreamSets</a:t>
            </a:r>
            <a:r>
              <a:rPr lang="en-US" sz="1200" kern="1200" dirty="0">
                <a:solidFill>
                  <a:schemeClr val="tx1"/>
                </a:solidFill>
                <a:effectLst/>
                <a:latin typeface="+mn-lt"/>
                <a:ea typeface="+mn-ea"/>
                <a:cs typeface="+mn-cs"/>
              </a:rPr>
              <a:t> are few such applications, which are very popular on the HDInsight platform today. </a:t>
            </a:r>
          </a:p>
          <a:p>
            <a:endParaRPr lang="en-US" sz="1200" kern="1200" dirty="0">
              <a:solidFill>
                <a:schemeClr val="tx1"/>
              </a:solidFill>
              <a:effectLst/>
              <a:latin typeface="+mn-lt"/>
              <a:ea typeface="+mn-ea"/>
              <a:cs typeface="+mn-cs"/>
            </a:endParaRPr>
          </a:p>
          <a:p>
            <a:r>
              <a:rPr lang="en-US" sz="1200" b="1" kern="1200" dirty="0">
                <a:solidFill>
                  <a:schemeClr val="tx1"/>
                </a:solidFill>
                <a:effectLst/>
                <a:latin typeface="+mn-lt"/>
                <a:ea typeface="+mn-ea"/>
                <a:cs typeface="+mn-cs"/>
              </a:rPr>
              <a:t>Easy for administrators to manage</a:t>
            </a:r>
          </a:p>
          <a:p>
            <a:r>
              <a:rPr lang="en-NZ" sz="1200" kern="1200" dirty="0">
                <a:solidFill>
                  <a:schemeClr val="tx1"/>
                </a:solidFill>
                <a:effectLst/>
                <a:latin typeface="+mn-lt"/>
                <a:ea typeface="+mn-ea"/>
                <a:cs typeface="+mn-cs"/>
              </a:rPr>
              <a:t>With HDInsight, administrators can deploy Hadoop in the cloud </a:t>
            </a:r>
            <a:r>
              <a:rPr lang="en-NZ" sz="1200" b="1" kern="1200" dirty="0">
                <a:solidFill>
                  <a:schemeClr val="tx1"/>
                </a:solidFill>
                <a:effectLst/>
                <a:latin typeface="+mn-lt"/>
                <a:ea typeface="+mn-ea"/>
                <a:cs typeface="+mn-cs"/>
              </a:rPr>
              <a:t>without buying new hardware</a:t>
            </a:r>
            <a:r>
              <a:rPr lang="en-NZ" sz="1200" kern="1200" dirty="0">
                <a:solidFill>
                  <a:schemeClr val="tx1"/>
                </a:solidFill>
                <a:effectLst/>
                <a:latin typeface="+mn-lt"/>
                <a:ea typeface="+mn-ea"/>
                <a:cs typeface="+mn-cs"/>
              </a:rPr>
              <a:t> or incurring other up-front costs. There</a:t>
            </a:r>
            <a:r>
              <a:rPr lang="en-US" sz="1200" kern="1200" dirty="0">
                <a:solidFill>
                  <a:schemeClr val="tx1"/>
                </a:solidFill>
                <a:effectLst/>
                <a:latin typeface="+mn-lt"/>
                <a:ea typeface="+mn-ea"/>
                <a:cs typeface="+mn-cs"/>
              </a:rPr>
              <a:t>’</a:t>
            </a:r>
            <a:r>
              <a:rPr lang="en-NZ" sz="1200" kern="1200" dirty="0">
                <a:solidFill>
                  <a:schemeClr val="tx1"/>
                </a:solidFill>
                <a:effectLst/>
                <a:latin typeface="+mn-lt"/>
                <a:ea typeface="+mn-ea"/>
                <a:cs typeface="+mn-cs"/>
              </a:rPr>
              <a:t>s also </a:t>
            </a:r>
            <a:r>
              <a:rPr lang="en-NZ" sz="1200" b="1" kern="1200" dirty="0">
                <a:solidFill>
                  <a:schemeClr val="tx1"/>
                </a:solidFill>
                <a:effectLst/>
                <a:latin typeface="+mn-lt"/>
                <a:ea typeface="+mn-ea"/>
                <a:cs typeface="+mn-cs"/>
              </a:rPr>
              <a:t>no time-consuming installation or set up</a:t>
            </a:r>
            <a:r>
              <a:rPr lang="en-NZ" sz="1200" kern="1200" dirty="0">
                <a:solidFill>
                  <a:schemeClr val="tx1"/>
                </a:solidFill>
                <a:effectLst/>
                <a:latin typeface="+mn-lt"/>
                <a:ea typeface="+mn-ea"/>
                <a:cs typeface="+mn-cs"/>
              </a:rPr>
              <a:t>. There is also no need to patch the operating system or upgrade the Hadoop versions. Azure does it for you. Launch your first cluster in minutes. </a:t>
            </a:r>
            <a:endParaRPr lang="en-US" sz="1200" kern="1200" dirty="0">
              <a:solidFill>
                <a:schemeClr val="tx1"/>
              </a:solidFill>
              <a:effectLst/>
              <a:latin typeface="+mn-lt"/>
              <a:ea typeface="+mn-ea"/>
              <a:cs typeface="+mn-cs"/>
            </a:endParaRPr>
          </a:p>
          <a:p>
            <a:endParaRPr lang="en-US" dirty="0"/>
          </a:p>
        </p:txBody>
      </p:sp>
      <p:sp>
        <p:nvSpPr>
          <p:cNvPr id="4" name="Slide Number Placeholder 3"/>
          <p:cNvSpPr>
            <a:spLocks noGrp="1"/>
          </p:cNvSpPr>
          <p:nvPr>
            <p:ph type="sldNum" sz="quarter" idx="10"/>
          </p:nvPr>
        </p:nvSpPr>
        <p:spPr/>
        <p:txBody>
          <a:bodyPr/>
          <a:lstStyle/>
          <a:p>
            <a:pPr marL="0" marR="0" lvl="0" indent="0" algn="r" defTabSz="931863" rtl="0" eaLnBrk="1" fontAlgn="base" latinLnBrk="0" hangingPunct="1">
              <a:lnSpc>
                <a:spcPct val="100000"/>
              </a:lnSpc>
              <a:spcBef>
                <a:spcPct val="0"/>
              </a:spcBef>
              <a:spcAft>
                <a:spcPct val="0"/>
              </a:spcAft>
              <a:buClrTx/>
              <a:buSzTx/>
              <a:buFontTx/>
              <a:buNone/>
              <a:tabLst/>
              <a:defRPr/>
            </a:pPr>
            <a:fld id="{96CD5F8F-46C9-46A5-9E1B-00B0A72B40BF}" type="slidenum">
              <a:rPr kumimoji="0" lang="en-US" sz="1200" b="0" i="0" u="none" strike="noStrike" kern="1200" cap="none" spc="0" normalizeH="0" baseline="0" noProof="0" smtClean="0">
                <a:ln>
                  <a:noFill/>
                </a:ln>
                <a:solidFill>
                  <a:prstClr val="black"/>
                </a:solidFill>
                <a:effectLst/>
                <a:uLnTx/>
                <a:uFillTx/>
                <a:latin typeface="Calibri" panose="020F0502020204030204" pitchFamily="34" charset="0"/>
                <a:ea typeface="MS PGothic" panose="020B0600070205080204" pitchFamily="34" charset="-128"/>
                <a:cs typeface="+mn-cs"/>
              </a:rPr>
              <a:pPr marL="0" marR="0" lvl="0" indent="0" algn="r" defTabSz="931863" rtl="0" eaLnBrk="1" fontAlgn="base" latinLnBrk="0" hangingPunct="1">
                <a:lnSpc>
                  <a:spcPct val="100000"/>
                </a:lnSpc>
                <a:spcBef>
                  <a:spcPct val="0"/>
                </a:spcBef>
                <a:spcAft>
                  <a:spcPct val="0"/>
                </a:spcAft>
                <a:buClrTx/>
                <a:buSzTx/>
                <a:buFontTx/>
                <a:buNone/>
                <a:tabLst/>
                <a:defRPr/>
              </a:pPr>
              <a:t>55</a:t>
            </a:fld>
            <a:endParaRPr kumimoji="0" lang="en-US" sz="12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Tree>
    <p:extLst>
      <p:ext uri="{BB962C8B-B14F-4D97-AF65-F5344CB8AC3E}">
        <p14:creationId xmlns:p14="http://schemas.microsoft.com/office/powerpoint/2010/main" val="2926344649"/>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1863" rtl="0" eaLnBrk="1" fontAlgn="base" latinLnBrk="0" hangingPunct="1">
              <a:lnSpc>
                <a:spcPct val="100000"/>
              </a:lnSpc>
              <a:spcBef>
                <a:spcPct val="0"/>
              </a:spcBef>
              <a:spcAft>
                <a:spcPct val="0"/>
              </a:spcAft>
              <a:buClrTx/>
              <a:buSzTx/>
              <a:buFontTx/>
              <a:buNone/>
              <a:tabLst/>
              <a:defRPr/>
            </a:pPr>
            <a:fld id="{7088D5E3-B0C4-244E-905F-C9848084E0A1}" type="slidenum">
              <a:rPr kumimoji="0" lang="en-US" sz="1200" b="0" i="0" u="none" strike="noStrike" kern="1200" cap="none" spc="0" normalizeH="0" baseline="0" noProof="0" smtClean="0">
                <a:ln>
                  <a:noFill/>
                </a:ln>
                <a:solidFill>
                  <a:prstClr val="black"/>
                </a:solidFill>
                <a:effectLst/>
                <a:uLnTx/>
                <a:uFillTx/>
                <a:latin typeface="Calibri" panose="020F0502020204030204" pitchFamily="34" charset="0"/>
                <a:ea typeface="MS PGothic" panose="020B0600070205080204" pitchFamily="34" charset="-128"/>
                <a:cs typeface="+mn-cs"/>
              </a:rPr>
              <a:pPr marL="0" marR="0" lvl="0" indent="0" algn="r" defTabSz="931863" rtl="0" eaLnBrk="1" fontAlgn="base" latinLnBrk="0" hangingPunct="1">
                <a:lnSpc>
                  <a:spcPct val="100000"/>
                </a:lnSpc>
                <a:spcBef>
                  <a:spcPct val="0"/>
                </a:spcBef>
                <a:spcAft>
                  <a:spcPct val="0"/>
                </a:spcAft>
                <a:buClrTx/>
                <a:buSzTx/>
                <a:buFontTx/>
                <a:buNone/>
                <a:tabLst/>
                <a:defRPr/>
              </a:pPr>
              <a:t>56</a:t>
            </a:fld>
            <a:endParaRPr kumimoji="0" lang="en-US" sz="12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Tree>
    <p:extLst>
      <p:ext uri="{BB962C8B-B14F-4D97-AF65-F5344CB8AC3E}">
        <p14:creationId xmlns:p14="http://schemas.microsoft.com/office/powerpoint/2010/main" val="3341691377"/>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3/22/2018 3:03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57</a:t>
            </a:fld>
            <a:endParaRPr lang="en-US" dirty="0"/>
          </a:p>
        </p:txBody>
      </p:sp>
    </p:spTree>
    <p:extLst>
      <p:ext uri="{BB962C8B-B14F-4D97-AF65-F5344CB8AC3E}">
        <p14:creationId xmlns:p14="http://schemas.microsoft.com/office/powerpoint/2010/main" val="1254421311"/>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7D10C09F-FCA1-48C8-B40D-42E1045D109E}"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2/2018 3:03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369396626"/>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achine Learning, Analytics, &amp; Data Science Conference</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2/2018 3:03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9</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34089782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87653DB-B31F-428D-9506-C3E312885146}" type="slidenum">
              <a:rPr kumimoji="0" lang="en-US" sz="1800" b="0" i="0" u="none" strike="noStrike" kern="0" cap="none" spc="0" normalizeH="0" baseline="0" noProof="0" smtClean="0">
                <a:ln>
                  <a:noFill/>
                </a:ln>
                <a:solidFill>
                  <a:prstClr val="black"/>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800" b="0" i="0" u="none" strike="noStrike" kern="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997532918"/>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achine Learning, Analytics, &amp; Data Science Conference</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2/2018 3:03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0</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45662976"/>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4484ABEE-72D2-4711-B507-13A06E438805}"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711136718"/>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3/22/2018 3:03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62</a:t>
            </a:fld>
            <a:endParaRPr lang="en-US" dirty="0"/>
          </a:p>
        </p:txBody>
      </p:sp>
    </p:spTree>
    <p:extLst>
      <p:ext uri="{BB962C8B-B14F-4D97-AF65-F5344CB8AC3E}">
        <p14:creationId xmlns:p14="http://schemas.microsoft.com/office/powerpoint/2010/main" val="4218179461"/>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7D10C09F-FCA1-48C8-B40D-42E1045D109E}"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2/2018 3:03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3</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476554776"/>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3/22/2018 3:03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64</a:t>
            </a:fld>
            <a:endParaRPr lang="en-US" dirty="0"/>
          </a:p>
        </p:txBody>
      </p:sp>
    </p:spTree>
    <p:extLst>
      <p:ext uri="{BB962C8B-B14F-4D97-AF65-F5344CB8AC3E}">
        <p14:creationId xmlns:p14="http://schemas.microsoft.com/office/powerpoint/2010/main" val="1114061244"/>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7D10C09F-FCA1-48C8-B40D-42E1045D109E}"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2/2018 3:03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5</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783625359"/>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3/22/2018 3:03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66</a:t>
            </a:fld>
            <a:endParaRPr lang="en-US" dirty="0"/>
          </a:p>
        </p:txBody>
      </p:sp>
    </p:spTree>
    <p:extLst>
      <p:ext uri="{BB962C8B-B14F-4D97-AF65-F5344CB8AC3E}">
        <p14:creationId xmlns:p14="http://schemas.microsoft.com/office/powerpoint/2010/main" val="1139283989"/>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7D10C09F-FCA1-48C8-B40D-42E1045D109E}"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2/2018 3:03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317280451"/>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3/22/2018 3:03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68</a:t>
            </a:fld>
            <a:endParaRPr lang="en-US" dirty="0"/>
          </a:p>
        </p:txBody>
      </p:sp>
    </p:spTree>
    <p:extLst>
      <p:ext uri="{BB962C8B-B14F-4D97-AF65-F5344CB8AC3E}">
        <p14:creationId xmlns:p14="http://schemas.microsoft.com/office/powerpoint/2010/main" val="1974413485"/>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7D10C09F-FCA1-48C8-B40D-42E1045D109E}"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2/2018 3:03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9</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60781509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Footer Placeholder 3"/>
          <p:cNvSpPr>
            <a:spLocks noGrp="1"/>
          </p:cNvSpPr>
          <p:nvPr>
            <p:ph type="ftr" sz="quarter" idx="10"/>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2/2018</a:t>
            </a:fld>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4483524"/>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3/22/2018 3:03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70</a:t>
            </a:fld>
            <a:endParaRPr lang="en-US" dirty="0"/>
          </a:p>
        </p:txBody>
      </p:sp>
    </p:spTree>
    <p:extLst>
      <p:ext uri="{BB962C8B-B14F-4D97-AF65-F5344CB8AC3E}">
        <p14:creationId xmlns:p14="http://schemas.microsoft.com/office/powerpoint/2010/main" val="3218150504"/>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7D10C09F-FCA1-48C8-B40D-42E1045D109E}"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2/2018 3:03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1</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663806958"/>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3/22/2018 3:03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72</a:t>
            </a:fld>
            <a:endParaRPr lang="en-US" dirty="0"/>
          </a:p>
        </p:txBody>
      </p:sp>
    </p:spTree>
    <p:extLst>
      <p:ext uri="{BB962C8B-B14F-4D97-AF65-F5344CB8AC3E}">
        <p14:creationId xmlns:p14="http://schemas.microsoft.com/office/powerpoint/2010/main" val="2591926222"/>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7D10C09F-FCA1-48C8-B40D-42E1045D109E}"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2/2018 3:03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3</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424245306"/>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dirty="0"/>
              <a:t>Azure Event Hub is an event processing service that provides event and telemetry ingress to the cloud at massive scale, with low latency and high reliability. This service, used with other downstream services, is particularly useful in application instrumentation, user experience or workflow processing, and Internet of Things (IoT) scenarios. Event Hub provides a message stream handling capability and, though an Event Hub is an entity similar to queues and topics, it has characteristics that are very different from traditional enterprise messaging. </a:t>
            </a:r>
          </a:p>
          <a:p>
            <a:r>
              <a:rPr lang="en-US" sz="900" dirty="0"/>
              <a:t>Enterprise messaging scenarios commonly require a number of sophisticated capabilities such as sequencing, dead-lettering, transaction support, and strong delivery assurances, while the dominant concern for event intake is high throughput and processing flexibility for event streams. Therefore, Azure Event Hub capabilities differ from Service Bus topics in that they are strongly biased towards high throughput and event processing scenarios.</a:t>
            </a:r>
          </a:p>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3/22/2018 3:03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74</a:t>
            </a:fld>
            <a:endParaRPr lang="en-US" dirty="0"/>
          </a:p>
        </p:txBody>
      </p:sp>
    </p:spTree>
    <p:extLst>
      <p:ext uri="{BB962C8B-B14F-4D97-AF65-F5344CB8AC3E}">
        <p14:creationId xmlns:p14="http://schemas.microsoft.com/office/powerpoint/2010/main" val="3472227574"/>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7D10C09F-FCA1-48C8-B40D-42E1045D109E}"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2/2018 3:03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5</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501569284"/>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3/22/2018 3:03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76</a:t>
            </a:fld>
            <a:endParaRPr lang="en-US" dirty="0"/>
          </a:p>
        </p:txBody>
      </p:sp>
    </p:spTree>
    <p:extLst>
      <p:ext uri="{BB962C8B-B14F-4D97-AF65-F5344CB8AC3E}">
        <p14:creationId xmlns:p14="http://schemas.microsoft.com/office/powerpoint/2010/main" val="3181873288"/>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7D10C09F-FCA1-48C8-B40D-42E1045D109E}"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2/2018 3:03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892296573"/>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3/22/2018 3:03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78</a:t>
            </a:fld>
            <a:endParaRPr lang="en-US" dirty="0"/>
          </a:p>
        </p:txBody>
      </p:sp>
    </p:spTree>
    <p:extLst>
      <p:ext uri="{BB962C8B-B14F-4D97-AF65-F5344CB8AC3E}">
        <p14:creationId xmlns:p14="http://schemas.microsoft.com/office/powerpoint/2010/main" val="3712667768"/>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3/22/2018 3:03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79</a:t>
            </a:fld>
            <a:endParaRPr lang="en-US" dirty="0"/>
          </a:p>
        </p:txBody>
      </p:sp>
    </p:spTree>
    <p:extLst>
      <p:ext uri="{BB962C8B-B14F-4D97-AF65-F5344CB8AC3E}">
        <p14:creationId xmlns:p14="http://schemas.microsoft.com/office/powerpoint/2010/main" val="29204425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0" indent="0">
              <a:buFont typeface="Arial" panose="020B0604020202020204" pitchFamily="34" charset="0"/>
              <a:buNone/>
            </a:pPr>
            <a:endParaRPr lang="en-US"/>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t>Microsoft Worldwide Partner Conference 2016</a:t>
            </a: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2/2018 3:03 PM</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3077579200"/>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7D10C09F-FCA1-48C8-B40D-42E1045D109E}"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2/2018 3:03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0</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678478879"/>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3/22/2018 3:03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81</a:t>
            </a:fld>
            <a:endParaRPr lang="en-US" dirty="0"/>
          </a:p>
        </p:txBody>
      </p:sp>
    </p:spTree>
    <p:extLst>
      <p:ext uri="{BB962C8B-B14F-4D97-AF65-F5344CB8AC3E}">
        <p14:creationId xmlns:p14="http://schemas.microsoft.com/office/powerpoint/2010/main" val="2038067221"/>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7D10C09F-FCA1-48C8-B40D-42E1045D109E}"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2/2018 3:03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2</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69568576"/>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endParaRPr lang="en-US" dirty="0"/>
          </a:p>
          <a:p>
            <a:pPr marL="0" indent="0">
              <a:buNone/>
            </a:pPr>
            <a:r>
              <a:rPr lang="en-US" sz="3200" dirty="0"/>
              <a:t>The Azure Relay service facilitates hybrid applications by enabling you to securely expose services that reside within a corporate enterprise network to the public cloud, without having to open a firewall connection, or require intrusive changes to a corporate network infrastructure. Relay supports a variety of different transport protocols and web services standards.</a:t>
            </a:r>
          </a:p>
          <a:p>
            <a:pPr marL="0" indent="0">
              <a:lnSpc>
                <a:spcPct val="100000"/>
              </a:lnSpc>
              <a:buNone/>
            </a:pPr>
            <a:r>
              <a:rPr lang="en-US" sz="3200" dirty="0"/>
              <a:t>Azure Relay has two features:</a:t>
            </a:r>
          </a:p>
          <a:p>
            <a:pPr marL="342900" lvl="1" indent="-342900"/>
            <a:r>
              <a:rPr lang="en-US" dirty="0"/>
              <a:t>Hybrid Connections – Uses the open standard web sockets enabling multi-platform scenarios</a:t>
            </a:r>
          </a:p>
          <a:p>
            <a:pPr marL="342900" lvl="1" indent="-342900"/>
            <a:r>
              <a:rPr lang="en-US" dirty="0"/>
              <a:t>WCF Relays – Uses Windows Communication Foundation (WCF) to enable remote procedure calls. WCF Relay is the legacy Relay offering that many customers may already use with their WCF programming models</a:t>
            </a:r>
          </a:p>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3/22/2018 3:03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83</a:t>
            </a:fld>
            <a:endParaRPr lang="en-US" dirty="0"/>
          </a:p>
        </p:txBody>
      </p:sp>
    </p:spTree>
    <p:extLst>
      <p:ext uri="{BB962C8B-B14F-4D97-AF65-F5344CB8AC3E}">
        <p14:creationId xmlns:p14="http://schemas.microsoft.com/office/powerpoint/2010/main" val="2008889420"/>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7D10C09F-FCA1-48C8-B40D-42E1045D109E}"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2/2018 3:03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4</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704594254"/>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3/22/2018 3:03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85</a:t>
            </a:fld>
            <a:endParaRPr lang="en-US" dirty="0"/>
          </a:p>
        </p:txBody>
      </p:sp>
    </p:spTree>
    <p:extLst>
      <p:ext uri="{BB962C8B-B14F-4D97-AF65-F5344CB8AC3E}">
        <p14:creationId xmlns:p14="http://schemas.microsoft.com/office/powerpoint/2010/main" val="2987917456"/>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7D10C09F-FCA1-48C8-B40D-42E1045D109E}" type="datetime8">
              <a:rPr lang="en-US" smtClean="0"/>
              <a:t>3/22/2018 3:03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86</a:t>
            </a:fld>
            <a:endParaRPr lang="en-US" dirty="0"/>
          </a:p>
        </p:txBody>
      </p:sp>
    </p:spTree>
    <p:extLst>
      <p:ext uri="{BB962C8B-B14F-4D97-AF65-F5344CB8AC3E}">
        <p14:creationId xmlns:p14="http://schemas.microsoft.com/office/powerpoint/2010/main" val="733858619"/>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SPEAKER NOTES</a:t>
            </a:r>
            <a:endParaRPr lang="en-US" b="0" dirty="0"/>
          </a:p>
          <a:p>
            <a:r>
              <a:rPr lang="en-US" b="0" dirty="0"/>
              <a:t>The goal is to summarize what areas of interest that have been sparked by reviewing these topics</a:t>
            </a:r>
          </a:p>
          <a:p>
            <a:r>
              <a:rPr lang="en-US" b="0" dirty="0"/>
              <a:t>Are there any follow up questions or resources needed?</a:t>
            </a:r>
          </a:p>
          <a:p>
            <a:endParaRPr lang="en-US" b="1"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2/2018 3:03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79582431"/>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endParaRPr lang="en-US" dirty="0"/>
          </a:p>
        </p:txBody>
      </p:sp>
      <p:sp>
        <p:nvSpPr>
          <p:cNvPr id="4" name="Header Placeholder 3"/>
          <p:cNvSpPr>
            <a:spLocks noGrp="1"/>
          </p:cNvSpPr>
          <p:nvPr>
            <p:ph type="hdr" sz="quarter" idx="10"/>
          </p:nvPr>
        </p:nvSpPr>
        <p:spPr>
          <a:xfrm>
            <a:off x="0" y="0"/>
            <a:ext cx="2971800" cy="457200"/>
          </a:xfrm>
          <a:prstGeom prst="rect">
            <a:avLst/>
          </a:prstGeom>
        </p:spPr>
        <p:txBody>
          <a:bodyPr/>
          <a:lstStyle/>
          <a:p>
            <a:endParaRPr lang="en-US" dirty="0">
              <a:solidFill>
                <a:prstClr val="black"/>
              </a:solidFill>
            </a:endParaRPr>
          </a:p>
        </p:txBody>
      </p:sp>
      <p:sp>
        <p:nvSpPr>
          <p:cNvPr id="5" name="Date Placeholder 4"/>
          <p:cNvSpPr>
            <a:spLocks noGrp="1"/>
          </p:cNvSpPr>
          <p:nvPr>
            <p:ph type="dt" idx="11"/>
          </p:nvPr>
        </p:nvSpPr>
        <p:spPr/>
        <p:txBody>
          <a:bodyPr/>
          <a:lstStyle/>
          <a:p>
            <a:fld id="{8A17D118-1690-458F-B4D2-F9DA5D6F5033}" type="datetime8">
              <a:rPr lang="en-US" smtClean="0">
                <a:solidFill>
                  <a:prstClr val="black"/>
                </a:solidFill>
              </a:rPr>
              <a:t>3/22/2018 3:03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EC87E0CF-87F6-4B58-B8B8-DCAB2DAAF3CA}" type="slidenum">
              <a:rPr lang="en-US" smtClean="0">
                <a:solidFill>
                  <a:prstClr val="black"/>
                </a:solidFill>
              </a:rPr>
              <a:pPr/>
              <a:t>88</a:t>
            </a:fld>
            <a:endParaRPr lang="en-US" dirty="0">
              <a:solidFill>
                <a:prstClr val="black"/>
              </a:solidFill>
            </a:endParaRPr>
          </a:p>
        </p:txBody>
      </p:sp>
      <p:sp>
        <p:nvSpPr>
          <p:cNvPr id="6" name="Footer Placeholder 5"/>
          <p:cNvSpPr>
            <a:spLocks noGrp="1"/>
          </p:cNvSpPr>
          <p:nvPr>
            <p:ph type="ftr" sz="quarter" idx="1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2861498552"/>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3/22/2018 3:03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89</a:t>
            </a:fld>
            <a:endParaRPr lang="en-US" dirty="0"/>
          </a:p>
        </p:txBody>
      </p:sp>
    </p:spTree>
    <p:extLst>
      <p:ext uri="{BB962C8B-B14F-4D97-AF65-F5344CB8AC3E}">
        <p14:creationId xmlns:p14="http://schemas.microsoft.com/office/powerpoint/2010/main" val="74666636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61E9A0-1C78-4ECC-AEE4-C0786F0EB254}"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2/201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3" name="Notes Placeholder 2">
            <a:extLst>
              <a:ext uri="{FF2B5EF4-FFF2-40B4-BE49-F238E27FC236}">
                <a16:creationId xmlns:a16="http://schemas.microsoft.com/office/drawing/2014/main" id="{AED2BC89-E311-4049-BAAE-AD4AF4FB3CF3}"/>
              </a:ext>
            </a:extLst>
          </p:cNvPr>
          <p:cNvSpPr>
            <a:spLocks noGrp="1"/>
          </p:cNvSpPr>
          <p:nvPr>
            <p:ph type="body" idx="1"/>
          </p:nvPr>
        </p:nvSpPr>
        <p:spPr/>
        <p:txBody>
          <a:bodyPr/>
          <a:lstStyle/>
          <a:p>
            <a:r>
              <a:rPr lang="en-US" b="0" dirty="0"/>
              <a:t>Why is a slide on Azure Stack included here? It is part of the story around a Hybrid Cloud Strategy.  While Azure Stack is NOT part of an HCF engagement, it is part of the possible Hybrid Cloud Strategy and Azure Stack includes core PaaS services, starting with Web Apps, API Apps and Functions. </a:t>
            </a:r>
          </a:p>
          <a:p>
            <a:endParaRPr lang="en-US" b="0" dirty="0"/>
          </a:p>
          <a:p>
            <a:r>
              <a:rPr lang="en-US" b="0" dirty="0"/>
              <a:t>Related to Azure, this picture shows the DevOps mindset that needs to be embraced also in the Azure Commercial cloud. IT Ops need to think in terms of Infrastructure as Code for more agility in their deployments. Developers then can access these IaaS templates and or PaaS templates to enable rapid deployment of their applications.</a:t>
            </a:r>
          </a:p>
        </p:txBody>
      </p:sp>
    </p:spTree>
    <p:extLst>
      <p:ext uri="{BB962C8B-B14F-4D97-AF65-F5344CB8AC3E}">
        <p14:creationId xmlns:p14="http://schemas.microsoft.com/office/powerpoint/2010/main" val="1007832754"/>
      </p:ext>
    </p:extLst>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7CB92359-D5AB-4019-9AA1-04D6C7B59C3A}" type="datetime8">
              <a:rPr kumimoji="0" lang="en-US" sz="1800" b="0" i="0" u="none" strike="noStrike" kern="0" cap="none" spc="0" normalizeH="0" baseline="0" noProof="0" smtClean="0">
                <a:ln>
                  <a:noFill/>
                </a:ln>
                <a:solidFill>
                  <a:sysClr val="windowText" lastClr="000000"/>
                </a:solidFill>
                <a:effectLst/>
                <a:uLnTx/>
                <a:uFillTx/>
              </a:rPr>
              <a:t>3/22/2018 3:03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10" name="Footer Placeholder 9"/>
          <p:cNvSpPr>
            <a:spLocks noGrp="1"/>
          </p:cNvSpPr>
          <p:nvPr>
            <p:ph type="ftr" sz="quarter" idx="14"/>
          </p:nvPr>
        </p:nvSpPr>
        <p:spPr/>
        <p:txBody>
          <a:bodyPr/>
          <a:lstStyle/>
          <a:p>
            <a:pPr marL="0" marR="0" lvl="0" indent="0" defTabSz="931467"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2524049962"/>
      </p:ext>
    </p:extLst>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FF62426C-678B-4FFC-BEA7-13EB26F61710}" type="datetime8">
              <a:rPr kumimoji="0" lang="en-US" sz="1800" b="0" i="0" u="none" strike="noStrike" kern="0" cap="none" spc="0" normalizeH="0" baseline="0" noProof="0" smtClean="0">
                <a:ln>
                  <a:noFill/>
                </a:ln>
                <a:solidFill>
                  <a:sysClr val="windowText" lastClr="000000"/>
                </a:solidFill>
                <a:effectLst/>
                <a:uLnTx/>
                <a:uFillTx/>
              </a:rPr>
              <a:t>3/22/2018 3:03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10" name="Footer Placeholder 9"/>
          <p:cNvSpPr>
            <a:spLocks noGrp="1"/>
          </p:cNvSpPr>
          <p:nvPr>
            <p:ph type="ftr" sz="quarter" idx="14"/>
          </p:nvPr>
        </p:nvSpPr>
        <p:spPr/>
        <p:txBody>
          <a:bodyPr/>
          <a:lstStyle/>
          <a:p>
            <a:pPr marL="0" marR="0" lvl="0" indent="0" defTabSz="931467"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3090431728"/>
      </p:ext>
    </p:extLst>
  </p:cSld>
  <p:clrMapOvr>
    <a:masterClrMapping/>
  </p:clrMapOvr>
</p:notes>
</file>

<file path=ppt/notesSlides/notesSlide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29962700"/>
      </p:ext>
    </p:extLst>
  </p:cSld>
  <p:clrMapOvr>
    <a:masterClrMapping/>
  </p:clrMapOvr>
</p:notes>
</file>

<file path=ppt/notesSlides/notesSlide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dirty="0"/>
              <a:t>Both Azure’s IaaS and PaaS capabilities and services can support a wide range of customer applications and services. </a:t>
            </a:r>
          </a:p>
          <a:p>
            <a:endParaRPr lang="en-US" sz="900" dirty="0"/>
          </a:p>
          <a:p>
            <a:r>
              <a:rPr lang="en-US" sz="900" dirty="0"/>
              <a:t>Cloud Infrastructures can be comprised of on-premises customer or partner hosted and publicly hosted cloud computing, thus allowing organizations to consume natively and across their models in a hybrid capacity.</a:t>
            </a:r>
          </a:p>
        </p:txBody>
      </p:sp>
      <p:sp>
        <p:nvSpPr>
          <p:cNvPr id="4" name="Header Placeholder 3"/>
          <p:cNvSpPr>
            <a:spLocks noGrp="1"/>
          </p:cNvSpPr>
          <p:nvPr>
            <p:ph type="hdr" sz="quarter" idx="10"/>
          </p:nvPr>
        </p:nvSpPr>
        <p:spPr/>
        <p:txBody>
          <a:bodyPr/>
          <a:lstStyle/>
          <a:p>
            <a:r>
              <a:rPr lang="en-US">
                <a:solidFill>
                  <a:prstClr val="black"/>
                </a:solidFill>
              </a:rPr>
              <a:t>Build 2012</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32933"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2933"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59A0D577-7625-48DC-B897-41F7A5B47ECB}" type="datetime1">
              <a:rPr lang="en-US" smtClean="0">
                <a:solidFill>
                  <a:prstClr val="black"/>
                </a:solidFill>
              </a:rPr>
              <a:pPr/>
              <a:t>3/22/2018</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93</a:t>
            </a:fld>
            <a:endParaRPr lang="en-US" dirty="0">
              <a:solidFill>
                <a:prstClr val="black"/>
              </a:solidFill>
            </a:endParaRPr>
          </a:p>
        </p:txBody>
      </p:sp>
    </p:spTree>
    <p:extLst>
      <p:ext uri="{BB962C8B-B14F-4D97-AF65-F5344CB8AC3E}">
        <p14:creationId xmlns:p14="http://schemas.microsoft.com/office/powerpoint/2010/main" val="4273625340"/>
      </p:ext>
    </p:extLst>
  </p:cSld>
  <p:clrMapOvr>
    <a:masterClrMapping/>
  </p:clrMapOvr>
</p:notes>
</file>

<file path=ppt/notesSlides/notesSlide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3/22/2018 3:03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94</a:t>
            </a:fld>
            <a:endParaRPr lang="en-US" dirty="0"/>
          </a:p>
        </p:txBody>
      </p:sp>
    </p:spTree>
    <p:extLst>
      <p:ext uri="{BB962C8B-B14F-4D97-AF65-F5344CB8AC3E}">
        <p14:creationId xmlns:p14="http://schemas.microsoft.com/office/powerpoint/2010/main" val="3775865666"/>
      </p:ext>
    </p:extLst>
  </p:cSld>
  <p:clrMapOvr>
    <a:masterClrMapping/>
  </p:clrMapOvr>
</p:notes>
</file>

<file path=ppt/notesSlides/notesSlide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3/22/2018 3:03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95</a:t>
            </a:fld>
            <a:endParaRPr lang="en-US" dirty="0"/>
          </a:p>
        </p:txBody>
      </p:sp>
    </p:spTree>
    <p:extLst>
      <p:ext uri="{BB962C8B-B14F-4D97-AF65-F5344CB8AC3E}">
        <p14:creationId xmlns:p14="http://schemas.microsoft.com/office/powerpoint/2010/main" val="2144954289"/>
      </p:ext>
    </p:extLst>
  </p:cSld>
  <p:clrMapOvr>
    <a:masterClrMapping/>
  </p:clrMapOvr>
</p:notes>
</file>

<file path=ppt/notesSlides/notesSlide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3/22/2018 3:03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96</a:t>
            </a:fld>
            <a:endParaRPr lang="en-US" dirty="0"/>
          </a:p>
        </p:txBody>
      </p:sp>
    </p:spTree>
    <p:extLst>
      <p:ext uri="{BB962C8B-B14F-4D97-AF65-F5344CB8AC3E}">
        <p14:creationId xmlns:p14="http://schemas.microsoft.com/office/powerpoint/2010/main" val="2248445505"/>
      </p:ext>
    </p:extLst>
  </p:cSld>
  <p:clrMapOvr>
    <a:masterClrMapping/>
  </p:clrMapOvr>
</p:notes>
</file>

<file path=ppt/notesSlides/notesSlide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a:solidFill>
                  <a:prstClr val="black"/>
                </a:solidFill>
              </a:rPr>
              <a:t>Build 2012</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32933"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2933"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59A0D577-7625-48DC-B897-41F7A5B47ECB}" type="datetime1">
              <a:rPr lang="en-US" smtClean="0">
                <a:solidFill>
                  <a:prstClr val="black"/>
                </a:solidFill>
              </a:rPr>
              <a:pPr/>
              <a:t>3/22/2018</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97</a:t>
            </a:fld>
            <a:endParaRPr lang="en-US" dirty="0">
              <a:solidFill>
                <a:prstClr val="black"/>
              </a:solidFill>
            </a:endParaRPr>
          </a:p>
        </p:txBody>
      </p:sp>
    </p:spTree>
    <p:extLst>
      <p:ext uri="{BB962C8B-B14F-4D97-AF65-F5344CB8AC3E}">
        <p14:creationId xmlns:p14="http://schemas.microsoft.com/office/powerpoint/2010/main" val="982399389"/>
      </p:ext>
    </p:extLst>
  </p:cSld>
  <p:clrMapOvr>
    <a:masterClrMapping/>
  </p:clrMapOvr>
</p:notes>
</file>

<file path=ppt/notesSlides/notesSlide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a:solidFill>
                  <a:prstClr val="black"/>
                </a:solidFill>
              </a:rPr>
              <a:t>Build 2012</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32933"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2933"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59A0D577-7625-48DC-B897-41F7A5B47ECB}" type="datetime1">
              <a:rPr lang="en-US" smtClean="0">
                <a:solidFill>
                  <a:prstClr val="black"/>
                </a:solidFill>
              </a:rPr>
              <a:pPr/>
              <a:t>3/22/2018</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98</a:t>
            </a:fld>
            <a:endParaRPr lang="en-US" dirty="0">
              <a:solidFill>
                <a:prstClr val="black"/>
              </a:solidFill>
            </a:endParaRPr>
          </a:p>
        </p:txBody>
      </p:sp>
    </p:spTree>
    <p:extLst>
      <p:ext uri="{BB962C8B-B14F-4D97-AF65-F5344CB8AC3E}">
        <p14:creationId xmlns:p14="http://schemas.microsoft.com/office/powerpoint/2010/main" val="749249295"/>
      </p:ext>
    </p:extLst>
  </p:cSld>
  <p:clrMapOvr>
    <a:masterClrMapping/>
  </p:clrMapOvr>
</p:notes>
</file>

<file path=ppt/notesSlides/notesSlide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a:solidFill>
                  <a:prstClr val="black"/>
                </a:solidFill>
              </a:rPr>
              <a:t>Build 2012</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32933"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2933"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59A0D577-7625-48DC-B897-41F7A5B47ECB}" type="datetime1">
              <a:rPr lang="en-US" smtClean="0">
                <a:solidFill>
                  <a:prstClr val="black"/>
                </a:solidFill>
              </a:rPr>
              <a:pPr/>
              <a:t>3/22/2018</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99</a:t>
            </a:fld>
            <a:endParaRPr lang="en-US" dirty="0">
              <a:solidFill>
                <a:prstClr val="black"/>
              </a:solidFill>
            </a:endParaRPr>
          </a:p>
        </p:txBody>
      </p:sp>
    </p:spTree>
    <p:extLst>
      <p:ext uri="{BB962C8B-B14F-4D97-AF65-F5344CB8AC3E}">
        <p14:creationId xmlns:p14="http://schemas.microsoft.com/office/powerpoint/2010/main" val="284920979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32.jpg"/><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33.jpg"/><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34.jpg"/><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35.jpg"/><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36.jpg"/><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37.jpg"/><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38.jpg"/><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39.jpg"/><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40.jpg"/><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3" Type="http://schemas.openxmlformats.org/officeDocument/2006/relationships/image" Target="../media/image42.emf"/><Relationship Id="rId2" Type="http://schemas.openxmlformats.org/officeDocument/2006/relationships/image" Target="../media/image41.emf"/><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image" Target="../media/image44.png"/><Relationship Id="rId1" Type="http://schemas.openxmlformats.org/officeDocument/2006/relationships/slideMaster" Target="../slideMasters/slideMaster6.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1.xml.rels><?xml version="1.0" encoding="UTF-8" standalone="yes"?>
<Relationships xmlns="http://schemas.openxmlformats.org/package/2006/relationships"><Relationship Id="rId3" Type="http://schemas.openxmlformats.org/officeDocument/2006/relationships/image" Target="../media/image46.jpg"/><Relationship Id="rId2" Type="http://schemas.openxmlformats.org/officeDocument/2006/relationships/image" Target="../media/image45.png"/><Relationship Id="rId1" Type="http://schemas.openxmlformats.org/officeDocument/2006/relationships/slideMaster" Target="../slideMasters/slideMaster6.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6.xml.rels><?xml version="1.0" encoding="UTF-8" standalone="yes"?>
<Relationships xmlns="http://schemas.openxmlformats.org/package/2006/relationships"><Relationship Id="rId2" Type="http://schemas.openxmlformats.org/officeDocument/2006/relationships/image" Target="../media/image23.jpg"/><Relationship Id="rId1" Type="http://schemas.openxmlformats.org/officeDocument/2006/relationships/slideMaster" Target="../slideMasters/slideMaster6.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6.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2.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19.jpg"/><Relationship Id="rId1" Type="http://schemas.openxmlformats.org/officeDocument/2006/relationships/slideMaster" Target="../slideMasters/slideMaster7.xml"/></Relationships>
</file>

<file path=ppt/slideLayouts/_rels/slideLayout133.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20.png"/><Relationship Id="rId1" Type="http://schemas.openxmlformats.org/officeDocument/2006/relationships/slideMaster" Target="../slideMasters/slideMaster7.xml"/><Relationship Id="rId4" Type="http://schemas.openxmlformats.org/officeDocument/2006/relationships/image" Target="../media/image12.emf"/></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3.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7.xml"/></Relationships>
</file>

<file path=ppt/slideLayouts/_rels/slideLayout144.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7.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7.xml.rels><?xml version="1.0" encoding="UTF-8" standalone="yes"?>
<Relationships xmlns="http://schemas.openxmlformats.org/package/2006/relationships"><Relationship Id="rId2" Type="http://schemas.openxmlformats.org/officeDocument/2006/relationships/image" Target="../media/image23.jpg"/><Relationship Id="rId1" Type="http://schemas.openxmlformats.org/officeDocument/2006/relationships/slideMaster" Target="../slideMasters/slideMaster7.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1.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7.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3.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24.jpg"/><Relationship Id="rId1" Type="http://schemas.openxmlformats.org/officeDocument/2006/relationships/slideMaster" Target="../slideMasters/slideMaster7.xml"/></Relationships>
</file>

<file path=ppt/slideLayouts/_rels/slideLayout154.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25.jpg"/><Relationship Id="rId1" Type="http://schemas.openxmlformats.org/officeDocument/2006/relationships/slideMaster" Target="../slideMasters/slideMaster7.xml"/></Relationships>
</file>

<file path=ppt/slideLayouts/_rels/slideLayout155.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26.jpg"/><Relationship Id="rId1" Type="http://schemas.openxmlformats.org/officeDocument/2006/relationships/slideMaster" Target="../slideMasters/slideMaster7.xml"/></Relationships>
</file>

<file path=ppt/slideLayouts/_rels/slideLayout156.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27.jpg"/><Relationship Id="rId1" Type="http://schemas.openxmlformats.org/officeDocument/2006/relationships/slideMaster" Target="../slideMasters/slideMaster7.xml"/></Relationships>
</file>

<file path=ppt/slideLayouts/_rels/slideLayout157.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28.jpg"/><Relationship Id="rId1" Type="http://schemas.openxmlformats.org/officeDocument/2006/relationships/slideMaster" Target="../slideMasters/slideMaster7.xml"/></Relationships>
</file>

<file path=ppt/slideLayouts/_rels/slideLayout158.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29.jpg"/><Relationship Id="rId1" Type="http://schemas.openxmlformats.org/officeDocument/2006/relationships/slideMaster" Target="../slideMasters/slideMaster7.xml"/></Relationships>
</file>

<file path=ppt/slideLayouts/_rels/slideLayout159.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30.jpg"/><Relationship Id="rId1" Type="http://schemas.openxmlformats.org/officeDocument/2006/relationships/slideMaster" Target="../slideMasters/slideMaster7.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31.jpg"/><Relationship Id="rId1" Type="http://schemas.openxmlformats.org/officeDocument/2006/relationships/slideMaster" Target="../slideMasters/slideMaster7.xml"/></Relationships>
</file>

<file path=ppt/slideLayouts/_rels/slideLayout161.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32.jpg"/><Relationship Id="rId1" Type="http://schemas.openxmlformats.org/officeDocument/2006/relationships/slideMaster" Target="../slideMasters/slideMaster7.xml"/></Relationships>
</file>

<file path=ppt/slideLayouts/_rels/slideLayout162.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33.jpg"/><Relationship Id="rId1" Type="http://schemas.openxmlformats.org/officeDocument/2006/relationships/slideMaster" Target="../slideMasters/slideMaster7.xml"/></Relationships>
</file>

<file path=ppt/slideLayouts/_rels/slideLayout163.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34.jpg"/><Relationship Id="rId1" Type="http://schemas.openxmlformats.org/officeDocument/2006/relationships/slideMaster" Target="../slideMasters/slideMaster7.xml"/></Relationships>
</file>

<file path=ppt/slideLayouts/_rels/slideLayout164.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35.jpg"/><Relationship Id="rId1" Type="http://schemas.openxmlformats.org/officeDocument/2006/relationships/slideMaster" Target="../slideMasters/slideMaster7.xml"/></Relationships>
</file>

<file path=ppt/slideLayouts/_rels/slideLayout165.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36.jpg"/><Relationship Id="rId1" Type="http://schemas.openxmlformats.org/officeDocument/2006/relationships/slideMaster" Target="../slideMasters/slideMaster7.xml"/></Relationships>
</file>

<file path=ppt/slideLayouts/_rels/slideLayout166.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37.jpg"/><Relationship Id="rId1" Type="http://schemas.openxmlformats.org/officeDocument/2006/relationships/slideMaster" Target="../slideMasters/slideMaster7.xml"/></Relationships>
</file>

<file path=ppt/slideLayouts/_rels/slideLayout167.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38.jpg"/><Relationship Id="rId1" Type="http://schemas.openxmlformats.org/officeDocument/2006/relationships/slideMaster" Target="../slideMasters/slideMaster7.xml"/></Relationships>
</file>

<file path=ppt/slideLayouts/_rels/slideLayout168.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39.jpg"/><Relationship Id="rId1" Type="http://schemas.openxmlformats.org/officeDocument/2006/relationships/slideMaster" Target="../slideMasters/slideMaster7.xml"/></Relationships>
</file>

<file path=ppt/slideLayouts/_rels/slideLayout169.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40.jpg"/><Relationship Id="rId1" Type="http://schemas.openxmlformats.org/officeDocument/2006/relationships/slideMaster" Target="../slideMasters/slideMaster7.xml"/></Relationships>
</file>

<file path=ppt/slideLayouts/_rels/slideLayout17.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1.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image" Target="../media/image48.jpeg"/><Relationship Id="rId1" Type="http://schemas.openxmlformats.org/officeDocument/2006/relationships/slideMaster" Target="../slideMasters/slideMaster8.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8.xml.rels><?xml version="1.0" encoding="UTF-8" standalone="yes"?>
<Relationships xmlns="http://schemas.openxmlformats.org/package/2006/relationships"><Relationship Id="rId2" Type="http://schemas.openxmlformats.org/officeDocument/2006/relationships/image" Target="../media/image50.jpg"/><Relationship Id="rId1" Type="http://schemas.openxmlformats.org/officeDocument/2006/relationships/slideMaster" Target="../slideMasters/slideMaster8.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8.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6.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Master" Target="../slideMasters/slideMaster8.xml"/></Relationships>
</file>

<file path=ppt/slideLayouts/_rels/slideLayout197.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Master" Target="../slideMasters/slideMaster8.xml"/></Relationships>
</file>

<file path=ppt/slideLayouts/_rels/slideLayout198.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image" Target="../media/image51.png"/><Relationship Id="rId1" Type="http://schemas.openxmlformats.org/officeDocument/2006/relationships/slideMaster" Target="../slideMasters/slideMaster8.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2.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2.xml.rels><?xml version="1.0" encoding="UTF-8" standalone="yes"?>
<Relationships xmlns="http://schemas.openxmlformats.org/package/2006/relationships"><Relationship Id="rId3" Type="http://schemas.openxmlformats.org/officeDocument/2006/relationships/image" Target="../media/image55.jpeg"/><Relationship Id="rId2" Type="http://schemas.openxmlformats.org/officeDocument/2006/relationships/image" Target="../media/image54.png"/><Relationship Id="rId1" Type="http://schemas.openxmlformats.org/officeDocument/2006/relationships/slideMaster" Target="../slideMasters/slideMaster9.xml"/><Relationship Id="rId5" Type="http://schemas.openxmlformats.org/officeDocument/2006/relationships/image" Target="../media/image57.png"/><Relationship Id="rId4" Type="http://schemas.openxmlformats.org/officeDocument/2006/relationships/image" Target="../media/image56.png"/></Relationships>
</file>

<file path=ppt/slideLayouts/_rels/slideLayout203.xml.rels><?xml version="1.0" encoding="UTF-8" standalone="yes"?>
<Relationships xmlns="http://schemas.openxmlformats.org/package/2006/relationships"><Relationship Id="rId2" Type="http://schemas.openxmlformats.org/officeDocument/2006/relationships/image" Target="../media/image58.jpeg"/><Relationship Id="rId1" Type="http://schemas.openxmlformats.org/officeDocument/2006/relationships/slideMaster" Target="../slideMasters/slideMaster9.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6.xml.rels><?xml version="1.0" encoding="UTF-8" standalone="yes"?>
<Relationships xmlns="http://schemas.openxmlformats.org/package/2006/relationships"><Relationship Id="rId2" Type="http://schemas.openxmlformats.org/officeDocument/2006/relationships/image" Target="../media/image59.jpeg"/><Relationship Id="rId1" Type="http://schemas.openxmlformats.org/officeDocument/2006/relationships/slideMaster" Target="../slideMasters/slideMaster9.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8.xml.rels><?xml version="1.0" encoding="UTF-8" standalone="yes"?>
<Relationships xmlns="http://schemas.openxmlformats.org/package/2006/relationships"><Relationship Id="rId2" Type="http://schemas.openxmlformats.org/officeDocument/2006/relationships/image" Target="../media/image60.jpeg"/><Relationship Id="rId1" Type="http://schemas.openxmlformats.org/officeDocument/2006/relationships/slideMaster" Target="../slideMasters/slideMaster9.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8.jpg"/><Relationship Id="rId1" Type="http://schemas.openxmlformats.org/officeDocument/2006/relationships/slideMaster" Target="../slideMasters/slideMaster2.xml"/><Relationship Id="rId4" Type="http://schemas.openxmlformats.org/officeDocument/2006/relationships/image" Target="../media/image10.png"/></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12.emf"/><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12.emf"/><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15.jpg"/><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17.emf"/><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17.emf"/><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17.emf"/><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18.jpg"/><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17.emf"/><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19.jpg"/><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20.png"/><Relationship Id="rId1" Type="http://schemas.openxmlformats.org/officeDocument/2006/relationships/slideMaster" Target="../slideMasters/slideMaster5.xml"/><Relationship Id="rId4" Type="http://schemas.openxmlformats.org/officeDocument/2006/relationships/image" Target="../media/image12.emf"/></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5.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5.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23.jpg"/><Relationship Id="rId1" Type="http://schemas.openxmlformats.org/officeDocument/2006/relationships/slideMaster" Target="../slideMasters/slideMaster5.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24.jpg"/><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25.jpg"/><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26.jpg"/><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27.jpg"/><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28.jpg"/><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29.jpg"/><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30.jpg"/><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31.jpg"/><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hoto_Option">
    <p:bg>
      <p:bgRef idx="1001">
        <a:schemeClr val="bg2"/>
      </p:bgRef>
    </p:bg>
    <p:spTree>
      <p:nvGrpSpPr>
        <p:cNvPr id="1" name=""/>
        <p:cNvGrpSpPr/>
        <p:nvPr/>
      </p:nvGrpSpPr>
      <p:grpSpPr>
        <a:xfrm>
          <a:off x="0" y="0"/>
          <a:ext cx="0" cy="0"/>
          <a:chOff x="0" y="0"/>
          <a:chExt cx="0" cy="0"/>
        </a:xfrm>
      </p:grpSpPr>
      <p:pic>
        <p:nvPicPr>
          <p:cNvPr id="21" name="Picture 20"/>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2392" y="-992"/>
            <a:ext cx="12436475" cy="6995517"/>
          </a:xfrm>
          <a:prstGeom prst="rect">
            <a:avLst/>
          </a:prstGeom>
        </p:spPr>
      </p:pic>
      <p:sp>
        <p:nvSpPr>
          <p:cNvPr id="22" name="Rectangle 21"/>
          <p:cNvSpPr/>
          <p:nvPr userDrawn="1"/>
        </p:nvSpPr>
        <p:spPr bwMode="auto">
          <a:xfrm>
            <a:off x="272986" y="2125663"/>
            <a:ext cx="6402452" cy="3654405"/>
          </a:xfrm>
          <a:prstGeom prst="rect">
            <a:avLst/>
          </a:prstGeom>
          <a:solidFill>
            <a:srgbClr val="0078D7">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366168" y="2125677"/>
            <a:ext cx="7314889" cy="1828800"/>
          </a:xfrm>
          <a:noFill/>
        </p:spPr>
        <p:txBody>
          <a:bodyPr lIns="146304" tIns="91440" rIns="146304" bIns="91440" anchor="t" anchorCtr="0"/>
          <a:lstStyle>
            <a:lvl1pPr>
              <a:defRPr sz="6400" spc="-100" baseline="0">
                <a:gradFill>
                  <a:gsLst>
                    <a:gs pos="16162">
                      <a:schemeClr val="tx1"/>
                    </a:gs>
                    <a:gs pos="43000">
                      <a:schemeClr val="tx1"/>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366168" y="3954457"/>
            <a:ext cx="7314889" cy="1737360"/>
          </a:xfrm>
        </p:spPr>
        <p:txBody>
          <a:bodyPr tIns="109728" bIns="109728">
            <a:noAutofit/>
          </a:bodyPr>
          <a:lstStyle>
            <a:lvl1pPr marL="0" indent="0">
              <a:spcBef>
                <a:spcPts val="0"/>
              </a:spcBef>
              <a:buNone/>
              <a:defRPr sz="3733">
                <a:gradFill>
                  <a:gsLst>
                    <a:gs pos="16162">
                      <a:schemeClr val="tx1"/>
                    </a:gs>
                    <a:gs pos="43000">
                      <a:schemeClr val="tx1"/>
                    </a:gs>
                  </a:gsLst>
                  <a:lin ang="5400000" scaled="0"/>
                </a:gradFill>
              </a:defRPr>
            </a:lvl1pPr>
          </a:lstStyle>
          <a:p>
            <a:pPr lvl="0"/>
            <a:r>
              <a:rPr lang="en-US" dirty="0"/>
              <a:t>Speaker Name</a:t>
            </a:r>
          </a:p>
        </p:txBody>
      </p:sp>
      <p:pic>
        <p:nvPicPr>
          <p:cNvPr id="8" name="Picture 7"/>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invGray">
          <a:xfrm>
            <a:off x="609578" y="6240429"/>
            <a:ext cx="1284074" cy="274320"/>
          </a:xfrm>
          <a:prstGeom prst="rect">
            <a:avLst/>
          </a:prstGeom>
        </p:spPr>
      </p:pic>
    </p:spTree>
    <p:extLst>
      <p:ext uri="{BB962C8B-B14F-4D97-AF65-F5344CB8AC3E}">
        <p14:creationId xmlns:p14="http://schemas.microsoft.com/office/powerpoint/2010/main" val="59467565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66168" y="2989432"/>
            <a:ext cx="11702553" cy="1514261"/>
          </a:xfrm>
          <a:noFill/>
        </p:spPr>
        <p:txBody>
          <a:bodyPr wrap="square" tIns="91440" bIns="91440" anchor="t" anchorCtr="0">
            <a:spAutoFit/>
          </a:bodyPr>
          <a:lstStyle>
            <a:lvl1pPr algn="ctr">
              <a:defRPr sz="96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07535725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Walkin-Milan">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3"/>
          <a:stretch>
            <a:fillRect/>
          </a:stretch>
        </p:blipFill>
        <p:spPr>
          <a:xfrm>
            <a:off x="466383" y="6209084"/>
            <a:ext cx="1447909" cy="310896"/>
          </a:xfrm>
          <a:prstGeom prst="rect">
            <a:avLst/>
          </a:prstGeom>
        </p:spPr>
      </p:pic>
    </p:spTree>
    <p:extLst>
      <p:ext uri="{BB962C8B-B14F-4D97-AF65-F5344CB8AC3E}">
        <p14:creationId xmlns:p14="http://schemas.microsoft.com/office/powerpoint/2010/main" val="102060831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Walkin-Pragu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3"/>
          <a:stretch>
            <a:fillRect/>
          </a:stretch>
        </p:blipFill>
        <p:spPr>
          <a:xfrm>
            <a:off x="466383" y="6209084"/>
            <a:ext cx="1447909" cy="310896"/>
          </a:xfrm>
          <a:prstGeom prst="rect">
            <a:avLst/>
          </a:prstGeom>
        </p:spPr>
      </p:pic>
    </p:spTree>
    <p:extLst>
      <p:ext uri="{BB962C8B-B14F-4D97-AF65-F5344CB8AC3E}">
        <p14:creationId xmlns:p14="http://schemas.microsoft.com/office/powerpoint/2010/main" val="15557707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Walkin-São Paulo">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3"/>
          <a:stretch>
            <a:fillRect/>
          </a:stretch>
        </p:blipFill>
        <p:spPr>
          <a:xfrm>
            <a:off x="466383" y="6209084"/>
            <a:ext cx="1447909" cy="310896"/>
          </a:xfrm>
          <a:prstGeom prst="rect">
            <a:avLst/>
          </a:prstGeom>
        </p:spPr>
      </p:pic>
    </p:spTree>
    <p:extLst>
      <p:ext uri="{BB962C8B-B14F-4D97-AF65-F5344CB8AC3E}">
        <p14:creationId xmlns:p14="http://schemas.microsoft.com/office/powerpoint/2010/main" val="294840369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Walkin-Seoul">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3"/>
          <a:stretch>
            <a:fillRect/>
          </a:stretch>
        </p:blipFill>
        <p:spPr>
          <a:xfrm>
            <a:off x="466383" y="6209084"/>
            <a:ext cx="1447909" cy="310896"/>
          </a:xfrm>
          <a:prstGeom prst="rect">
            <a:avLst/>
          </a:prstGeom>
        </p:spPr>
      </p:pic>
    </p:spTree>
    <p:extLst>
      <p:ext uri="{BB962C8B-B14F-4D97-AF65-F5344CB8AC3E}">
        <p14:creationId xmlns:p14="http://schemas.microsoft.com/office/powerpoint/2010/main" val="152556641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Walkin-Singapor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3"/>
          <a:stretch>
            <a:fillRect/>
          </a:stretch>
        </p:blipFill>
        <p:spPr>
          <a:xfrm>
            <a:off x="466383" y="6209084"/>
            <a:ext cx="1447909" cy="310896"/>
          </a:xfrm>
          <a:prstGeom prst="rect">
            <a:avLst/>
          </a:prstGeom>
        </p:spPr>
      </p:pic>
    </p:spTree>
    <p:extLst>
      <p:ext uri="{BB962C8B-B14F-4D97-AF65-F5344CB8AC3E}">
        <p14:creationId xmlns:p14="http://schemas.microsoft.com/office/powerpoint/2010/main" val="412036199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Walkin-Taipei">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3"/>
          <a:stretch>
            <a:fillRect/>
          </a:stretch>
        </p:blipFill>
        <p:spPr>
          <a:xfrm>
            <a:off x="466383" y="6209084"/>
            <a:ext cx="1447909" cy="310896"/>
          </a:xfrm>
          <a:prstGeom prst="rect">
            <a:avLst/>
          </a:prstGeom>
        </p:spPr>
      </p:pic>
    </p:spTree>
    <p:extLst>
      <p:ext uri="{BB962C8B-B14F-4D97-AF65-F5344CB8AC3E}">
        <p14:creationId xmlns:p14="http://schemas.microsoft.com/office/powerpoint/2010/main" val="159294199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Walkin-Tel Aviv">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3"/>
          <a:stretch>
            <a:fillRect/>
          </a:stretch>
        </p:blipFill>
        <p:spPr>
          <a:xfrm>
            <a:off x="466383" y="6209084"/>
            <a:ext cx="1447909" cy="310896"/>
          </a:xfrm>
          <a:prstGeom prst="rect">
            <a:avLst/>
          </a:prstGeom>
        </p:spPr>
      </p:pic>
    </p:spTree>
    <p:extLst>
      <p:ext uri="{BB962C8B-B14F-4D97-AF65-F5344CB8AC3E}">
        <p14:creationId xmlns:p14="http://schemas.microsoft.com/office/powerpoint/2010/main" val="329126982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Walkin-Toronto">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3"/>
          <a:stretch>
            <a:fillRect/>
          </a:stretch>
        </p:blipFill>
        <p:spPr>
          <a:xfrm>
            <a:off x="466383" y="6209084"/>
            <a:ext cx="1447909" cy="310896"/>
          </a:xfrm>
          <a:prstGeom prst="rect">
            <a:avLst/>
          </a:prstGeom>
        </p:spPr>
      </p:pic>
    </p:spTree>
    <p:extLst>
      <p:ext uri="{BB962C8B-B14F-4D97-AF65-F5344CB8AC3E}">
        <p14:creationId xmlns:p14="http://schemas.microsoft.com/office/powerpoint/2010/main" val="396841151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Walkin-Washington DC">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3"/>
          <a:stretch>
            <a:fillRect/>
          </a:stretch>
        </p:blipFill>
        <p:spPr>
          <a:xfrm>
            <a:off x="466383" y="6209084"/>
            <a:ext cx="1447909" cy="310896"/>
          </a:xfrm>
          <a:prstGeom prst="rect">
            <a:avLst/>
          </a:prstGeom>
        </p:spPr>
      </p:pic>
    </p:spTree>
    <p:extLst>
      <p:ext uri="{BB962C8B-B14F-4D97-AF65-F5344CB8AC3E}">
        <p14:creationId xmlns:p14="http://schemas.microsoft.com/office/powerpoint/2010/main" val="170844231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userDrawn="1">
  <p:cSld name="Text and illustration A">
    <p:spTree>
      <p:nvGrpSpPr>
        <p:cNvPr id="1" name=""/>
        <p:cNvGrpSpPr/>
        <p:nvPr/>
      </p:nvGrpSpPr>
      <p:grpSpPr>
        <a:xfrm>
          <a:off x="0" y="0"/>
          <a:ext cx="0" cy="0"/>
          <a:chOff x="0" y="0"/>
          <a:chExt cx="0" cy="0"/>
        </a:xfrm>
      </p:grpSpPr>
      <p:pic>
        <p:nvPicPr>
          <p:cNvPr id="4" name="Picture 3"/>
          <p:cNvPicPr>
            <a:picLocks/>
          </p:cNvPicPr>
          <p:nvPr userDrawn="1"/>
        </p:nvPicPr>
        <p:blipFill>
          <a:blip r:embed="rId2"/>
          <a:stretch>
            <a:fillRect/>
          </a:stretch>
        </p:blipFill>
        <p:spPr>
          <a:xfrm>
            <a:off x="0" y="1"/>
            <a:ext cx="12434253" cy="6995160"/>
          </a:xfrm>
          <a:prstGeom prst="rect">
            <a:avLst/>
          </a:prstGeom>
        </p:spPr>
      </p:pic>
      <p:sp>
        <p:nvSpPr>
          <p:cNvPr id="2" name="Title 1"/>
          <p:cNvSpPr>
            <a:spLocks noGrp="1"/>
          </p:cNvSpPr>
          <p:nvPr>
            <p:ph type="title"/>
          </p:nvPr>
        </p:nvSpPr>
        <p:spPr>
          <a:xfrm>
            <a:off x="365714" y="731520"/>
            <a:ext cx="7771408" cy="615553"/>
          </a:xfrm>
        </p:spPr>
        <p:txBody>
          <a:bodyPr>
            <a:spAutoFit/>
          </a:bodyPr>
          <a:lstStyle>
            <a:lvl1pPr>
              <a:lnSpc>
                <a:spcPct val="100000"/>
              </a:lnSpc>
              <a:defRPr sz="2800" spc="-30" baseline="0">
                <a:solidFill>
                  <a:schemeClr val="tx1">
                    <a:lumMod val="50000"/>
                  </a:schemeClr>
                </a:solidFill>
                <a:latin typeface="+mj-lt"/>
              </a:defRPr>
            </a:lvl1pPr>
          </a:lstStyle>
          <a:p>
            <a:r>
              <a:rPr lang="en-US" dirty="0"/>
              <a:t>Click to edit Master title style</a:t>
            </a:r>
          </a:p>
        </p:txBody>
      </p:sp>
      <p:pic>
        <p:nvPicPr>
          <p:cNvPr id="3" name="Picture 2"/>
          <p:cNvPicPr>
            <a:picLocks noChangeAspect="1"/>
          </p:cNvPicPr>
          <p:nvPr userDrawn="1"/>
        </p:nvPicPr>
        <p:blipFill>
          <a:blip r:embed="rId3"/>
          <a:stretch>
            <a:fillRect/>
          </a:stretch>
        </p:blipFill>
        <p:spPr>
          <a:xfrm>
            <a:off x="4492496" y="3497580"/>
            <a:ext cx="7345069" cy="3505200"/>
          </a:xfrm>
          <a:prstGeom prst="rect">
            <a:avLst/>
          </a:prstGeom>
        </p:spPr>
      </p:pic>
    </p:spTree>
    <p:extLst>
      <p:ext uri="{BB962C8B-B14F-4D97-AF65-F5344CB8AC3E}">
        <p14:creationId xmlns:p14="http://schemas.microsoft.com/office/powerpoint/2010/main" val="1964356527"/>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189526804"/>
      </p:ext>
    </p:extLst>
  </p:cSld>
  <p:clrMapOvr>
    <a:masterClrMapping/>
  </p:clrMapOvr>
  <p:transition>
    <p:fade/>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type="blank">
  <p:cSld name="2_Blank">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77"/>
            <a:ext cx="12434888" cy="6988574"/>
          </a:xfrm>
          <a:prstGeom prst="rect">
            <a:avLst/>
          </a:prstGeom>
        </p:spPr>
      </p:pic>
      <p:sp>
        <p:nvSpPr>
          <p:cNvPr id="3" name="Rectangle 2"/>
          <p:cNvSpPr/>
          <p:nvPr userDrawn="1"/>
        </p:nvSpPr>
        <p:spPr>
          <a:xfrm>
            <a:off x="0" y="0"/>
            <a:ext cx="12434888" cy="6994525"/>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418"/>
            <a:endParaRPr lang="en-US" sz="1836" dirty="0">
              <a:solidFill>
                <a:srgbClr val="FFFFFF"/>
              </a:solidFill>
              <a:latin typeface="Segoe UI Light" charset="0"/>
            </a:endParaRPr>
          </a:p>
        </p:txBody>
      </p:sp>
    </p:spTree>
    <p:extLst>
      <p:ext uri="{BB962C8B-B14F-4D97-AF65-F5344CB8AC3E}">
        <p14:creationId xmlns:p14="http://schemas.microsoft.com/office/powerpoint/2010/main" val="2615379024"/>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Title Slide">
    <p:bg bwMode="gray">
      <p:bgPr>
        <a:solidFill>
          <a:schemeClr val="accent1"/>
        </a:solidFill>
        <a:effectLst/>
      </p:bgPr>
    </p:bg>
    <p:spTree>
      <p:nvGrpSpPr>
        <p:cNvPr id="1" name=""/>
        <p:cNvGrpSpPr/>
        <p:nvPr/>
      </p:nvGrpSpPr>
      <p:grpSpPr>
        <a:xfrm>
          <a:off x="0" y="0"/>
          <a:ext cx="0" cy="0"/>
          <a:chOff x="0" y="0"/>
          <a:chExt cx="0" cy="0"/>
        </a:xfrm>
      </p:grpSpPr>
      <p:sp>
        <p:nvSpPr>
          <p:cNvPr id="10" name="Rectangle 9"/>
          <p:cNvSpPr/>
          <p:nvPr userDrawn="1"/>
        </p:nvSpPr>
        <p:spPr bwMode="gray">
          <a:xfrm>
            <a:off x="0" y="5758901"/>
            <a:ext cx="12434253" cy="1235624"/>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19"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pic>
        <p:nvPicPr>
          <p:cNvPr id="11" name="Picture 10"/>
          <p:cNvPicPr>
            <a:picLocks noChangeAspect="1"/>
          </p:cNvPicPr>
          <p:nvPr userDrawn="1"/>
        </p:nvPicPr>
        <p:blipFill>
          <a:blip r:embed="rId2"/>
          <a:stretch>
            <a:fillRect/>
          </a:stretch>
        </p:blipFill>
        <p:spPr>
          <a:xfrm>
            <a:off x="462221" y="6209084"/>
            <a:ext cx="1456232" cy="310896"/>
          </a:xfrm>
          <a:prstGeom prst="rect">
            <a:avLst/>
          </a:prstGeom>
        </p:spPr>
      </p:pic>
      <p:pic>
        <p:nvPicPr>
          <p:cNvPr id="16" name="Picture 15" hidden="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459172" y="6240963"/>
            <a:ext cx="1278347" cy="274137"/>
          </a:xfrm>
          <a:prstGeom prst="rect">
            <a:avLst/>
          </a:prstGeom>
        </p:spPr>
      </p:pic>
      <p:sp>
        <p:nvSpPr>
          <p:cNvPr id="8" name="Title 1"/>
          <p:cNvSpPr>
            <a:spLocks noGrp="1"/>
          </p:cNvSpPr>
          <p:nvPr>
            <p:ph type="title" hasCustomPrompt="1"/>
          </p:nvPr>
        </p:nvSpPr>
        <p:spPr bwMode="white">
          <a:xfrm>
            <a:off x="274667" y="1679645"/>
            <a:ext cx="9142769" cy="1828786"/>
          </a:xfrm>
          <a:noFill/>
        </p:spPr>
        <p:txBody>
          <a:bodyPr lIns="146304" tIns="91440" rIns="146304" bIns="91440" anchor="t" anchorCtr="0"/>
          <a:lstStyle>
            <a:lvl1pPr>
              <a:defRPr sz="5399" spc="-100" baseline="0">
                <a:gradFill>
                  <a:gsLst>
                    <a:gs pos="100000">
                      <a:schemeClr val="tx2"/>
                    </a:gs>
                    <a:gs pos="0">
                      <a:schemeClr val="tx2"/>
                    </a:gs>
                  </a:gsLst>
                  <a:lin ang="5400000" scaled="0"/>
                </a:gradFill>
              </a:defRPr>
            </a:lvl1pPr>
          </a:lstStyle>
          <a:p>
            <a:r>
              <a:rPr lang="en-US"/>
              <a:t>Presentation title</a:t>
            </a:r>
          </a:p>
        </p:txBody>
      </p:sp>
      <p:sp>
        <p:nvSpPr>
          <p:cNvPr id="9" name="Text Placeholder 4"/>
          <p:cNvSpPr>
            <a:spLocks noGrp="1"/>
          </p:cNvSpPr>
          <p:nvPr>
            <p:ph type="body" sz="quarter" idx="12" hasCustomPrompt="1"/>
          </p:nvPr>
        </p:nvSpPr>
        <p:spPr bwMode="white">
          <a:xfrm>
            <a:off x="274666" y="3509753"/>
            <a:ext cx="7314204" cy="1828007"/>
          </a:xfrm>
          <a:noFill/>
        </p:spPr>
        <p:txBody>
          <a:bodyPr lIns="146304" tIns="109728" rIns="146304" bIns="109728">
            <a:noAutofit/>
          </a:bodyPr>
          <a:lstStyle>
            <a:lvl1pPr marL="0" indent="0">
              <a:spcBef>
                <a:spcPts val="0"/>
              </a:spcBef>
              <a:buNone/>
              <a:defRPr sz="3199" spc="0" baseline="0">
                <a:gradFill>
                  <a:gsLst>
                    <a:gs pos="91000">
                      <a:schemeClr val="tx1"/>
                    </a:gs>
                    <a:gs pos="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254305409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03" y="1212851"/>
            <a:ext cx="11885684"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2961424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03" y="1212851"/>
            <a:ext cx="11885684"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1718400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03" y="1212850"/>
            <a:ext cx="11885684" cy="2092881"/>
          </a:xfrm>
        </p:spPr>
        <p:txBody>
          <a:bodyPr>
            <a:spAutoFit/>
          </a:bodyPr>
          <a:lstStyle>
            <a:lvl1pPr>
              <a:defRPr sz="3999">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95682981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03" y="1212850"/>
            <a:ext cx="11885684" cy="2092881"/>
          </a:xfrm>
        </p:spPr>
        <p:txBody>
          <a:bodyPr>
            <a:spAutoFit/>
          </a:bodyPr>
          <a:lstStyle>
            <a:lvl1pPr>
              <a:defRPr sz="399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11863522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05" y="1212849"/>
            <a:ext cx="5485699" cy="1914370"/>
          </a:xfrm>
        </p:spPr>
        <p:txBody>
          <a:bodyPr wrap="square">
            <a:spAutoFit/>
          </a:bodyPr>
          <a:lstStyle>
            <a:lvl1pPr marL="0" indent="0">
              <a:spcBef>
                <a:spcPts val="1224"/>
              </a:spcBef>
              <a:buClr>
                <a:schemeClr val="tx1"/>
              </a:buClr>
              <a:buFont typeface="Wingdings" pitchFamily="2" charset="2"/>
              <a:buNone/>
              <a:defRPr sz="3199">
                <a:gradFill>
                  <a:gsLst>
                    <a:gs pos="1250">
                      <a:schemeClr val="tx2"/>
                    </a:gs>
                    <a:gs pos="99000">
                      <a:schemeClr val="tx2"/>
                    </a:gs>
                  </a:gsLst>
                  <a:lin ang="5400000" scaled="0"/>
                </a:gra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4587" y="1212849"/>
            <a:ext cx="5485699" cy="1914370"/>
          </a:xfrm>
        </p:spPr>
        <p:txBody>
          <a:bodyPr wrap="square">
            <a:spAutoFit/>
          </a:bodyPr>
          <a:lstStyle>
            <a:lvl1pPr marL="0" indent="0">
              <a:spcBef>
                <a:spcPts val="1224"/>
              </a:spcBef>
              <a:buClr>
                <a:schemeClr val="tx1"/>
              </a:buClr>
              <a:buFont typeface="Wingdings" pitchFamily="2" charset="2"/>
              <a:buNone/>
              <a:defRPr sz="3199">
                <a:gradFill>
                  <a:gsLst>
                    <a:gs pos="1250">
                      <a:schemeClr val="tx2"/>
                    </a:gs>
                    <a:gs pos="99000">
                      <a:schemeClr val="tx2"/>
                    </a:gs>
                  </a:gsLst>
                  <a:lin ang="5400000" scaled="0"/>
                </a:gra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2272089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05" y="1212849"/>
            <a:ext cx="5485699" cy="1914370"/>
          </a:xfrm>
        </p:spPr>
        <p:txBody>
          <a:bodyPr wrap="square">
            <a:spAutoFit/>
          </a:bodyPr>
          <a:lstStyle>
            <a:lvl1pPr marL="0" indent="0">
              <a:spcBef>
                <a:spcPts val="1224"/>
              </a:spcBef>
              <a:buClr>
                <a:schemeClr val="tx1"/>
              </a:buClr>
              <a:buFont typeface="Wingdings" pitchFamily="2" charset="2"/>
              <a:buNone/>
              <a:defRPr sz="31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4587" y="1212849"/>
            <a:ext cx="5485699" cy="1914370"/>
          </a:xfrm>
        </p:spPr>
        <p:txBody>
          <a:bodyPr wrap="square">
            <a:spAutoFit/>
          </a:bodyPr>
          <a:lstStyle>
            <a:lvl1pPr marL="0" indent="0">
              <a:spcBef>
                <a:spcPts val="1224"/>
              </a:spcBef>
              <a:buClr>
                <a:schemeClr val="tx1"/>
              </a:buClr>
              <a:buFont typeface="Wingdings" pitchFamily="2" charset="2"/>
              <a:buNone/>
              <a:defRPr sz="31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0734239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05" y="1212850"/>
            <a:ext cx="5485699" cy="1985506"/>
          </a:xfrm>
        </p:spPr>
        <p:txBody>
          <a:bodyPr wrap="square">
            <a:spAutoFit/>
          </a:bodyPr>
          <a:lstStyle>
            <a:lvl1pPr marL="287282" indent="-287282">
              <a:spcBef>
                <a:spcPts val="1224"/>
              </a:spcBef>
              <a:buClr>
                <a:schemeClr val="tx2"/>
              </a:buClr>
              <a:buFont typeface="Arial" pitchFamily="34" charset="0"/>
              <a:buChar char="•"/>
              <a:defRPr sz="3199">
                <a:gradFill>
                  <a:gsLst>
                    <a:gs pos="1250">
                      <a:schemeClr val="tx2"/>
                    </a:gs>
                    <a:gs pos="99000">
                      <a:schemeClr val="tx2"/>
                    </a:gs>
                  </a:gsLst>
                  <a:lin ang="5400000" scaled="0"/>
                </a:gra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4587" y="1212850"/>
            <a:ext cx="5485699" cy="1985506"/>
          </a:xfrm>
        </p:spPr>
        <p:txBody>
          <a:bodyPr wrap="square">
            <a:spAutoFit/>
          </a:bodyPr>
          <a:lstStyle>
            <a:lvl1pPr marL="287282" indent="-287282">
              <a:spcBef>
                <a:spcPts val="1224"/>
              </a:spcBef>
              <a:buClr>
                <a:schemeClr val="tx2"/>
              </a:buClr>
              <a:buFont typeface="Arial" pitchFamily="34" charset="0"/>
              <a:buChar char="•"/>
              <a:defRPr sz="3199">
                <a:gradFill>
                  <a:gsLst>
                    <a:gs pos="1250">
                      <a:schemeClr val="tx2"/>
                    </a:gs>
                    <a:gs pos="99000">
                      <a:schemeClr val="tx2"/>
                    </a:gs>
                  </a:gsLst>
                  <a:lin ang="5400000" scaled="0"/>
                </a:gra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5832304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05" y="1212850"/>
            <a:ext cx="5485699" cy="1985506"/>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4587" y="1212850"/>
            <a:ext cx="5485699" cy="1985506"/>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4160407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4" name="Text Box 3"/>
          <p:cNvSpPr txBox="1">
            <a:spLocks noChangeArrowheads="1"/>
          </p:cNvSpPr>
          <p:nvPr userDrawn="1"/>
        </p:nvSpPr>
        <p:spPr bwMode="blackWhite">
          <a:xfrm>
            <a:off x="384919" y="6321407"/>
            <a:ext cx="11702553" cy="501660"/>
          </a:xfrm>
          <a:prstGeom prst="rect">
            <a:avLst/>
          </a:prstGeom>
          <a:noFill/>
          <a:ln w="12700">
            <a:noFill/>
            <a:miter lim="800000"/>
            <a:headEnd type="none" w="sm" len="sm"/>
            <a:tailEnd type="none" w="sm" len="sm"/>
          </a:ln>
          <a:effectLst/>
        </p:spPr>
        <p:txBody>
          <a:bodyPr vert="horz" wrap="square" lIns="243830" tIns="195064" rIns="243830" bIns="195064" numCol="1" anchor="t" anchorCtr="0" compatLnSpc="1">
            <a:prstTxWarp prst="textNoShape">
              <a:avLst/>
            </a:prstTxWarp>
            <a:spAutoFit/>
          </a:bodyPr>
          <a:lstStyle/>
          <a:p>
            <a:pPr defTabSz="932142" eaLnBrk="0" hangingPunct="0"/>
            <a:r>
              <a:rPr lang="en-US" sz="700" dirty="0">
                <a:solidFill>
                  <a:schemeClr val="bg1"/>
                </a:solidFill>
                <a:cs typeface="Segoe UI" pitchFamily="34" charset="0"/>
              </a:rPr>
              <a:t>© 2017 Microsoft Corporation. All rights reserved. </a:t>
            </a:r>
          </a:p>
        </p:txBody>
      </p:sp>
      <p:pic>
        <p:nvPicPr>
          <p:cNvPr id="6" name="Picture 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612283" y="3145040"/>
            <a:ext cx="3471561" cy="704444"/>
          </a:xfrm>
          <a:prstGeom prst="rect">
            <a:avLst/>
          </a:prstGeom>
        </p:spPr>
      </p:pic>
    </p:spTree>
    <p:extLst>
      <p:ext uri="{BB962C8B-B14F-4D97-AF65-F5344CB8AC3E}">
        <p14:creationId xmlns:p14="http://schemas.microsoft.com/office/powerpoint/2010/main" val="3928358739"/>
      </p:ext>
    </p:extLst>
  </p:cSld>
  <p:clrMapOvr>
    <a:masterClrMapping/>
  </p:clrMapOvr>
  <p:transition>
    <p:fade/>
  </p:transition>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79910761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Customer Evidence Slide">
    <p:bg bwMode="gray">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gradFill>
                  <a:gsLst>
                    <a:gs pos="18584">
                      <a:schemeClr val="tx2"/>
                    </a:gs>
                    <a:gs pos="57000">
                      <a:schemeClr val="tx2"/>
                    </a:gs>
                  </a:gsLst>
                  <a:lin ang="5400000" scaled="0"/>
                </a:gradFill>
              </a:defRPr>
            </a:lvl1pPr>
          </a:lstStyle>
          <a:p>
            <a:r>
              <a:rPr lang="en-US"/>
              <a:t>Customer evidence slide</a:t>
            </a:r>
          </a:p>
        </p:txBody>
      </p:sp>
      <p:sp>
        <p:nvSpPr>
          <p:cNvPr id="4" name="Picture Placeholder 3"/>
          <p:cNvSpPr>
            <a:spLocks noGrp="1"/>
          </p:cNvSpPr>
          <p:nvPr>
            <p:ph type="pic" sz="quarter" idx="10"/>
          </p:nvPr>
        </p:nvSpPr>
        <p:spPr bwMode="gray">
          <a:xfrm>
            <a:off x="274603" y="1434070"/>
            <a:ext cx="5485700" cy="1827214"/>
          </a:xfrm>
          <a:blipFill>
            <a:blip r:embed="rId2"/>
            <a:stretch>
              <a:fillRect/>
            </a:stretch>
          </a:blipFill>
        </p:spPr>
        <p:txBody>
          <a:bodyPr lIns="182880" tIns="146304" rIns="182880" bIns="146304">
            <a:noAutofit/>
          </a:bodyPr>
          <a:lstStyle>
            <a:lvl1pPr marL="0" indent="0">
              <a:buNone/>
              <a:defRPr lang="en-US" sz="2400" kern="1200" spc="0" baseline="0" dirty="0">
                <a:noFill/>
                <a:latin typeface="+mn-lt"/>
                <a:ea typeface="+mn-ea"/>
                <a:cs typeface="+mn-cs"/>
              </a:defRPr>
            </a:lvl1pPr>
            <a:lvl2pPr>
              <a:defRPr lang="en-US" sz="2400" kern="1200" spc="0" baseline="0" dirty="0">
                <a:gradFill>
                  <a:gsLst>
                    <a:gs pos="1250">
                      <a:schemeClr val="tx1"/>
                    </a:gs>
                    <a:gs pos="100000">
                      <a:schemeClr val="tx1"/>
                    </a:gs>
                  </a:gsLst>
                  <a:lin ang="5400000" scaled="0"/>
                </a:gradFill>
                <a:latin typeface="+mn-lt"/>
                <a:ea typeface="+mn-ea"/>
                <a:cs typeface="+mn-cs"/>
              </a:defRPr>
            </a:lvl2pPr>
          </a:lstStyle>
          <a:p>
            <a:pPr marL="0" marR="0" lvl="0" indent="0" algn="l" defTabSz="932563" rtl="0" eaLnBrk="1" fontAlgn="auto" latinLnBrk="0" hangingPunct="1">
              <a:lnSpc>
                <a:spcPct val="90000"/>
              </a:lnSpc>
              <a:spcBef>
                <a:spcPct val="20000"/>
              </a:spcBef>
              <a:spcAft>
                <a:spcPts val="0"/>
              </a:spcAft>
              <a:buClrTx/>
              <a:buSzPct val="90000"/>
              <a:buFont typeface="Arial" pitchFamily="34" charset="0"/>
              <a:buNone/>
              <a:tabLst/>
            </a:pPr>
            <a:r>
              <a:rPr lang="en-US"/>
              <a:t>Click icon to add picture</a:t>
            </a:r>
          </a:p>
        </p:txBody>
      </p:sp>
      <p:sp>
        <p:nvSpPr>
          <p:cNvPr id="5" name="Rectangle 4"/>
          <p:cNvSpPr/>
          <p:nvPr userDrawn="1"/>
        </p:nvSpPr>
        <p:spPr bwMode="auto">
          <a:xfrm>
            <a:off x="6217444" y="4868863"/>
            <a:ext cx="5945207" cy="1828800"/>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54" tIns="146283" rIns="182854" bIns="146283" numCol="1" rtlCol="0" anchor="ctr" anchorCtr="0" compatLnSpc="1">
            <a:prstTxWarp prst="textNoShape">
              <a:avLst/>
            </a:prstTxWarp>
          </a:bodyPr>
          <a:lstStyle/>
          <a:p>
            <a:pPr algn="ctr" defTabSz="932293" fontAlgn="base">
              <a:spcBef>
                <a:spcPct val="0"/>
              </a:spcBef>
              <a:spcAft>
                <a:spcPct val="0"/>
              </a:spcAft>
            </a:pPr>
            <a:endParaRPr lang="en-US" sz="2000">
              <a:gradFill>
                <a:gsLst>
                  <a:gs pos="5439">
                    <a:srgbClr val="F8F8F8"/>
                  </a:gs>
                  <a:gs pos="10000">
                    <a:srgbClr val="F8F8F8"/>
                  </a:gs>
                </a:gsLst>
                <a:lin ang="5400000" scaled="0"/>
              </a:gradFill>
            </a:endParaRPr>
          </a:p>
        </p:txBody>
      </p:sp>
      <p:sp>
        <p:nvSpPr>
          <p:cNvPr id="6" name="Picture Placeholder 3"/>
          <p:cNvSpPr>
            <a:spLocks noGrp="1"/>
          </p:cNvSpPr>
          <p:nvPr>
            <p:ph type="pic" sz="quarter" idx="11" hasCustomPrompt="1"/>
          </p:nvPr>
        </p:nvSpPr>
        <p:spPr bwMode="gray">
          <a:xfrm>
            <a:off x="6217444" y="1434069"/>
            <a:ext cx="5942842" cy="3433208"/>
          </a:xfrm>
          <a:blipFill>
            <a:blip r:embed="rId3"/>
            <a:stretch>
              <a:fillRect/>
            </a:stretch>
          </a:blipFill>
        </p:spPr>
        <p:txBody>
          <a:bodyPr lIns="182880" tIns="146304" rIns="182880" bIns="146304">
            <a:noAutofit/>
          </a:bodyPr>
          <a:lstStyle>
            <a:lvl1pPr marL="0" indent="0">
              <a:buNone/>
              <a:defRPr lang="en-US" sz="2400" kern="1200" spc="0" baseline="0" dirty="0">
                <a:gradFill>
                  <a:gsLst>
                    <a:gs pos="1250">
                      <a:schemeClr val="tx1"/>
                    </a:gs>
                    <a:gs pos="100000">
                      <a:schemeClr val="tx1"/>
                    </a:gs>
                  </a:gsLst>
                  <a:lin ang="5400000" scaled="0"/>
                </a:gradFill>
                <a:latin typeface="+mn-lt"/>
                <a:ea typeface="+mn-ea"/>
                <a:cs typeface="+mn-cs"/>
              </a:defRPr>
            </a:lvl1pPr>
            <a:lvl2pPr algn="ctr">
              <a:defRPr lang="en-US" sz="2400" kern="1200" spc="0" baseline="0" dirty="0">
                <a:gradFill>
                  <a:gsLst>
                    <a:gs pos="1250">
                      <a:schemeClr val="tx1"/>
                    </a:gs>
                    <a:gs pos="100000">
                      <a:schemeClr val="tx1"/>
                    </a:gs>
                  </a:gsLst>
                  <a:lin ang="5400000" scaled="0"/>
                </a:gradFill>
                <a:latin typeface="+mn-lt"/>
                <a:ea typeface="+mn-ea"/>
                <a:cs typeface="+mn-cs"/>
              </a:defRPr>
            </a:lvl2pPr>
          </a:lstStyle>
          <a:p>
            <a:pPr marL="0" marR="0" lvl="0" indent="0" algn="l" defTabSz="932563" rtl="0" eaLnBrk="1" fontAlgn="auto" latinLnBrk="0" hangingPunct="1">
              <a:lnSpc>
                <a:spcPct val="90000"/>
              </a:lnSpc>
              <a:spcBef>
                <a:spcPct val="20000"/>
              </a:spcBef>
              <a:spcAft>
                <a:spcPts val="0"/>
              </a:spcAft>
              <a:buClrTx/>
              <a:buSzPct val="90000"/>
              <a:buFont typeface="Arial" pitchFamily="34" charset="0"/>
              <a:buNone/>
              <a:tabLst/>
            </a:pPr>
            <a:r>
              <a:rPr lang="en-US"/>
              <a:t>Your image here</a:t>
            </a:r>
          </a:p>
        </p:txBody>
      </p:sp>
      <p:cxnSp>
        <p:nvCxnSpPr>
          <p:cNvPr id="7" name="Straight Connector 6"/>
          <p:cNvCxnSpPr/>
          <p:nvPr userDrawn="1"/>
        </p:nvCxnSpPr>
        <p:spPr>
          <a:xfrm>
            <a:off x="5988873" y="1836883"/>
            <a:ext cx="0" cy="4754828"/>
          </a:xfrm>
          <a:prstGeom prst="line">
            <a:avLst/>
          </a:prstGeom>
          <a:ln w="3175">
            <a:solidFill>
              <a:schemeClr val="tx1">
                <a:alpha val="2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 name="Text Placeholder 10"/>
          <p:cNvSpPr>
            <a:spLocks noGrp="1"/>
          </p:cNvSpPr>
          <p:nvPr>
            <p:ph type="body" sz="quarter" idx="12"/>
          </p:nvPr>
        </p:nvSpPr>
        <p:spPr>
          <a:xfrm>
            <a:off x="274603" y="3260725"/>
            <a:ext cx="5485700" cy="3436938"/>
          </a:xfrm>
        </p:spPr>
        <p:txBody>
          <a:bodyPr lIns="182880" tIns="146304" rIns="182880" bIns="146304">
            <a:noAutofit/>
          </a:bodyPr>
          <a:lstStyle>
            <a:lvl1pPr marL="0" indent="0">
              <a:buNone/>
              <a:defRPr sz="2400">
                <a:latin typeface="+mn-lt"/>
              </a:defRPr>
            </a:lvl1pPr>
          </a:lstStyle>
          <a:p>
            <a:pPr lvl="0"/>
            <a:r>
              <a:rPr lang="en-US"/>
              <a:t>Edit Master text styles</a:t>
            </a:r>
          </a:p>
        </p:txBody>
      </p:sp>
      <p:sp>
        <p:nvSpPr>
          <p:cNvPr id="15" name="Text Placeholder 14"/>
          <p:cNvSpPr>
            <a:spLocks noGrp="1"/>
          </p:cNvSpPr>
          <p:nvPr>
            <p:ph type="body" sz="quarter" idx="13"/>
          </p:nvPr>
        </p:nvSpPr>
        <p:spPr>
          <a:xfrm>
            <a:off x="6217446" y="4868863"/>
            <a:ext cx="5942841" cy="1827214"/>
          </a:xfrm>
        </p:spPr>
        <p:txBody>
          <a:bodyPr lIns="182880" tIns="146304" rIns="182880" bIns="146304" anchor="ctr">
            <a:noAutofit/>
          </a:bodyPr>
          <a:lstStyle>
            <a:lvl1pPr marL="0" indent="0" algn="ctr">
              <a:buNone/>
              <a:defRPr sz="3199">
                <a:gradFill>
                  <a:gsLst>
                    <a:gs pos="27434">
                      <a:srgbClr val="FFFFFF"/>
                    </a:gs>
                    <a:gs pos="54000">
                      <a:srgbClr val="FFFFFF"/>
                    </a:gs>
                  </a:gsLst>
                  <a:lin ang="5400000" scaled="0"/>
                </a:gradFill>
                <a:latin typeface="+mj-lt"/>
              </a:defRPr>
            </a:lvl1pPr>
          </a:lstStyle>
          <a:p>
            <a:pPr lvl="0"/>
            <a:r>
              <a:rPr lang="en-US"/>
              <a:t>Edit Master text styles</a:t>
            </a:r>
          </a:p>
        </p:txBody>
      </p:sp>
    </p:spTree>
    <p:extLst>
      <p:ext uri="{BB962C8B-B14F-4D97-AF65-F5344CB8AC3E}">
        <p14:creationId xmlns:p14="http://schemas.microsoft.com/office/powerpoint/2010/main" val="63563986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4" y="1209974"/>
            <a:ext cx="8227249" cy="1181862"/>
          </a:xfrm>
          <a:noFill/>
        </p:spPr>
        <p:txBody>
          <a:bodyPr wrap="square" tIns="91440" bIns="91440" anchor="t" anchorCtr="0">
            <a:spAutoFit/>
          </a:bodyPr>
          <a:lstStyle>
            <a:lvl1pPr>
              <a:defRPr sz="7198" spc="-100" baseline="0">
                <a:gradFill>
                  <a:gsLst>
                    <a:gs pos="8850">
                      <a:schemeClr val="tx1"/>
                    </a:gs>
                    <a:gs pos="23894">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74604" y="3954463"/>
            <a:ext cx="8228548" cy="738664"/>
          </a:xfrm>
          <a:noFill/>
        </p:spPr>
        <p:txBody>
          <a:bodyPr wrap="square" lIns="182880" tIns="146304" rIns="182880" bIns="146304">
            <a:spAutoFit/>
          </a:bodyPr>
          <a:lstStyle>
            <a:lvl1pPr marL="0" indent="0">
              <a:spcBef>
                <a:spcPts val="0"/>
              </a:spcBef>
              <a:buNone/>
              <a:defRPr sz="3199" spc="0" baseline="0">
                <a:gradFill>
                  <a:gsLst>
                    <a:gs pos="8850">
                      <a:schemeClr val="tx1"/>
                    </a:gs>
                    <a:gs pos="23894">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381929388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4" y="1209974"/>
            <a:ext cx="8228548" cy="1181862"/>
          </a:xfrm>
          <a:noFill/>
        </p:spPr>
        <p:txBody>
          <a:bodyPr wrap="square" tIns="91440" bIns="91440" anchor="t" anchorCtr="0">
            <a:spAutoFit/>
          </a:bodyPr>
          <a:lstStyle>
            <a:lvl1pPr>
              <a:defRPr sz="7198" spc="-100" baseline="0">
                <a:gradFill>
                  <a:gsLst>
                    <a:gs pos="10619">
                      <a:schemeClr val="tx1"/>
                    </a:gs>
                    <a:gs pos="26549">
                      <a:schemeClr val="tx1"/>
                    </a:gs>
                  </a:gsLst>
                  <a:lin ang="5400000" scaled="0"/>
                </a:gradFill>
              </a:defRPr>
            </a:lvl1pPr>
          </a:lstStyle>
          <a:p>
            <a:r>
              <a:rPr lang="en-US"/>
              <a:t>Video title</a:t>
            </a:r>
          </a:p>
        </p:txBody>
      </p:sp>
    </p:spTree>
    <p:extLst>
      <p:ext uri="{BB962C8B-B14F-4D97-AF65-F5344CB8AC3E}">
        <p14:creationId xmlns:p14="http://schemas.microsoft.com/office/powerpoint/2010/main" val="108925970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3" y="2125663"/>
            <a:ext cx="11885684"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95311206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3" y="2125663"/>
            <a:ext cx="11885684"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69623737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50-50 Right Photo Layou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5" y="1241426"/>
            <a:ext cx="5485699" cy="2012859"/>
          </a:xfrm>
        </p:spPr>
        <p:txBody>
          <a:bodyPr>
            <a:spAutoFit/>
          </a:bodyPr>
          <a:lstStyle>
            <a:lvl1pPr>
              <a:defRPr sz="6599" baseline="0">
                <a:gradFill>
                  <a:gsLst>
                    <a:gs pos="1250">
                      <a:schemeClr val="tx1"/>
                    </a:gs>
                    <a:gs pos="100000">
                      <a:schemeClr val="tx1"/>
                    </a:gs>
                  </a:gsLst>
                  <a:lin ang="5400000" scaled="0"/>
                </a:gradFill>
              </a:defRPr>
            </a:lvl1pPr>
          </a:lstStyle>
          <a:p>
            <a:r>
              <a:rPr lang="en-US"/>
              <a:t>50/50 photo layout</a:t>
            </a:r>
          </a:p>
        </p:txBody>
      </p:sp>
      <p:sp>
        <p:nvSpPr>
          <p:cNvPr id="5" name="Picture Placeholder 4"/>
          <p:cNvSpPr>
            <a:spLocks noGrp="1"/>
          </p:cNvSpPr>
          <p:nvPr>
            <p:ph type="pic" sz="quarter" idx="10"/>
          </p:nvPr>
        </p:nvSpPr>
        <p:spPr bwMode="ltGray">
          <a:xfrm>
            <a:off x="6219031" y="0"/>
            <a:ext cx="6215857" cy="6992587"/>
          </a:xfrm>
          <a:blipFill>
            <a:blip r:embed="rId2"/>
            <a:stretch>
              <a:fillRect/>
            </a:stretch>
          </a:blipFill>
        </p:spPr>
        <p:txBody>
          <a:bodyPr tIns="548640" anchor="ctr" anchorCtr="0">
            <a:noAutofit/>
          </a:bodyPr>
          <a:lstStyle>
            <a:lvl1pPr marL="0" indent="0" algn="ctr">
              <a:buNone/>
              <a:defRPr sz="1599"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236715324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Blank Accent Color 1">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7702231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1959773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212849"/>
            <a:ext cx="12434888"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2" tIns="46632" rIns="46632" bIns="46632"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180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03" y="1221158"/>
            <a:ext cx="11885682" cy="1995931"/>
          </a:xfrm>
        </p:spPr>
        <p:txBody>
          <a:bodyPr/>
          <a:lstStyle>
            <a:lvl1pPr marL="0" indent="0">
              <a:buNone/>
              <a:defRPr sz="3299">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48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4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40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795"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46562622"/>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366168" y="1212850"/>
            <a:ext cx="11702553" cy="3196837"/>
          </a:xfrm>
          <a:prstGeom prst="rect">
            <a:avLst/>
          </a:prstGeom>
        </p:spPr>
        <p:txBody>
          <a:bodyPr/>
          <a:lstStyle>
            <a:lvl1pPr marL="290467" indent="-290467">
              <a:buClr>
                <a:schemeClr val="tx1"/>
              </a:buClr>
              <a:buSzPct val="90000"/>
              <a:buFont typeface="Arial" pitchFamily="34" charset="0"/>
              <a:buChar char="•"/>
              <a:defRPr sz="48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410" indent="-280944">
              <a:buClr>
                <a:schemeClr val="tx1"/>
              </a:buClr>
              <a:buSzPct val="90000"/>
              <a:buFont typeface="Arial" pitchFamily="34" charset="0"/>
              <a:buChar char="•"/>
              <a:defRPr sz="426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77" indent="-290467">
              <a:buClr>
                <a:schemeClr val="tx1"/>
              </a:buClr>
              <a:buSzPct val="90000"/>
              <a:buFont typeface="Arial" pitchFamily="34" charset="0"/>
              <a:buChar char="•"/>
              <a:defRPr sz="3733">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41" indent="-228564">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004" indent="-228564">
              <a:buClr>
                <a:schemeClr val="tx1"/>
              </a:buClr>
              <a:buSzPct val="90000"/>
              <a:buFont typeface="Arial" pitchFamily="34" charset="0"/>
              <a:buChar char="•"/>
              <a:defRPr sz="2667">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4889"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4267"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96022211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Closing logo slide_color">
    <p:bg>
      <p:bgRef idx="1001">
        <a:schemeClr val="bg1"/>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03" y="6294477"/>
            <a:ext cx="11885682" cy="403187"/>
          </a:xfrm>
          <a:prstGeom prst="rect">
            <a:avLst/>
          </a:prstGeom>
          <a:noFill/>
          <a:ln w="12700">
            <a:noFill/>
            <a:miter lim="800000"/>
            <a:headEnd type="none" w="sm" len="sm"/>
            <a:tailEnd type="none" w="sm" len="sm"/>
          </a:ln>
          <a:effectLst/>
        </p:spPr>
        <p:txBody>
          <a:bodyPr vert="horz" wrap="square" lIns="182854" tIns="146283" rIns="182854" bIns="146283" numCol="1" anchor="t" anchorCtr="0" compatLnSpc="1">
            <a:prstTxWarp prst="textNoShape">
              <a:avLst/>
            </a:prstTxWarp>
            <a:spAutoFit/>
          </a:bodyPr>
          <a:lstStyle/>
          <a:p>
            <a:pPr defTabSz="932111" eaLnBrk="0" hangingPunct="0"/>
            <a:r>
              <a:rPr lang="en-US" sz="700">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userDrawn="1"/>
        </p:nvPicPr>
        <p:blipFill rotWithShape="1">
          <a:blip r:embed="rId2" cstate="screen">
            <a:extLst>
              <a:ext uri="{28A0092B-C50C-407E-A947-70E740481C1C}">
                <a14:useLocalDpi xmlns:a14="http://schemas.microsoft.com/office/drawing/2010/main"/>
              </a:ext>
            </a:extLst>
          </a:blip>
          <a:srcRect b="1380"/>
          <a:stretch/>
        </p:blipFill>
        <p:spPr bwMode="invGray">
          <a:xfrm>
            <a:off x="457142" y="479425"/>
            <a:ext cx="1449754" cy="306604"/>
          </a:xfrm>
          <a:prstGeom prst="rect">
            <a:avLst/>
          </a:prstGeom>
        </p:spPr>
      </p:pic>
    </p:spTree>
    <p:extLst>
      <p:ext uri="{BB962C8B-B14F-4D97-AF65-F5344CB8AC3E}">
        <p14:creationId xmlns:p14="http://schemas.microsoft.com/office/powerpoint/2010/main" val="365038190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03" y="1212851"/>
            <a:ext cx="11885684" cy="2443746"/>
          </a:xfrm>
          <a:prstGeom prst="rect">
            <a:avLst/>
          </a:prstGeom>
        </p:spPr>
        <p:txBody>
          <a:bodyPr/>
          <a:lstStyle>
            <a:lvl1pPr marL="290457" indent="-290457">
              <a:buClr>
                <a:schemeClr val="tx1"/>
              </a:buClr>
              <a:buSzPct val="90000"/>
              <a:buFont typeface="Arial" pitchFamily="34" charset="0"/>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90" indent="-280935">
              <a:buClr>
                <a:schemeClr val="tx1"/>
              </a:buClr>
              <a:buSzPct val="90000"/>
              <a:buFont typeface="Arial" pitchFamily="34" charset="0"/>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47" indent="-290457">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04" indent="-22855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960" indent="-22855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363076"/>
            <a:ext cx="12434889"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260044652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p:cSld name="Walkin-Generic">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8" name="Picture 7"/>
          <p:cNvPicPr>
            <a:picLocks noChangeAspect="1"/>
          </p:cNvPicPr>
          <p:nvPr/>
        </p:nvPicPr>
        <p:blipFill>
          <a:blip r:embed="rId3"/>
          <a:stretch>
            <a:fillRect/>
          </a:stretch>
        </p:blipFill>
        <p:spPr>
          <a:xfrm>
            <a:off x="466383" y="6209084"/>
            <a:ext cx="1447909" cy="310896"/>
          </a:xfrm>
          <a:prstGeom prst="rect">
            <a:avLst/>
          </a:prstGeom>
        </p:spPr>
      </p:pic>
    </p:spTree>
    <p:extLst>
      <p:ext uri="{BB962C8B-B14F-4D97-AF65-F5344CB8AC3E}">
        <p14:creationId xmlns:p14="http://schemas.microsoft.com/office/powerpoint/2010/main" val="234018129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p:cSld name="Title Slid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11" name="Picture 10"/>
          <p:cNvPicPr>
            <a:picLocks noChangeAspect="1"/>
          </p:cNvPicPr>
          <p:nvPr/>
        </p:nvPicPr>
        <p:blipFill>
          <a:blip r:embed="rId3"/>
          <a:stretch>
            <a:fillRect/>
          </a:stretch>
        </p:blipFill>
        <p:spPr>
          <a:xfrm>
            <a:off x="466383" y="6209084"/>
            <a:ext cx="1447909" cy="310896"/>
          </a:xfrm>
          <a:prstGeom prst="rect">
            <a:avLst/>
          </a:prstGeom>
        </p:spPr>
      </p:pic>
      <p:pic>
        <p:nvPicPr>
          <p:cNvPr id="16" name="Picture 15" hidden="1"/>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bwMode="black">
          <a:xfrm>
            <a:off x="459172" y="6240963"/>
            <a:ext cx="1278347" cy="274137"/>
          </a:xfrm>
          <a:prstGeom prst="rect">
            <a:avLst/>
          </a:prstGeom>
        </p:spPr>
      </p:pic>
      <p:sp>
        <p:nvSpPr>
          <p:cNvPr id="8" name="Title 1"/>
          <p:cNvSpPr>
            <a:spLocks noGrp="1"/>
          </p:cNvSpPr>
          <p:nvPr>
            <p:ph type="title" hasCustomPrompt="1"/>
          </p:nvPr>
        </p:nvSpPr>
        <p:spPr bwMode="white">
          <a:xfrm>
            <a:off x="274667" y="1679645"/>
            <a:ext cx="9142769" cy="1828786"/>
          </a:xfrm>
          <a:noFill/>
        </p:spPr>
        <p:txBody>
          <a:bodyPr lIns="146304" tIns="91440" rIns="146304" bIns="91440" anchor="t" anchorCtr="0"/>
          <a:lstStyle>
            <a:lvl1pPr>
              <a:defRPr sz="5399" spc="-100" baseline="0">
                <a:gradFill>
                  <a:gsLst>
                    <a:gs pos="100000">
                      <a:schemeClr val="tx2"/>
                    </a:gs>
                    <a:gs pos="0">
                      <a:schemeClr val="tx2"/>
                    </a:gs>
                  </a:gsLst>
                  <a:lin ang="5400000" scaled="0"/>
                </a:gradFill>
              </a:defRPr>
            </a:lvl1pPr>
          </a:lstStyle>
          <a:p>
            <a:r>
              <a:rPr lang="en-US" dirty="0"/>
              <a:t>Presentation title</a:t>
            </a:r>
          </a:p>
        </p:txBody>
      </p:sp>
      <p:sp>
        <p:nvSpPr>
          <p:cNvPr id="9" name="Text Placeholder 4"/>
          <p:cNvSpPr>
            <a:spLocks noGrp="1"/>
          </p:cNvSpPr>
          <p:nvPr>
            <p:ph type="body" sz="quarter" idx="12" hasCustomPrompt="1"/>
          </p:nvPr>
        </p:nvSpPr>
        <p:spPr bwMode="white">
          <a:xfrm>
            <a:off x="274666" y="3509753"/>
            <a:ext cx="7314204" cy="1828007"/>
          </a:xfrm>
          <a:noFill/>
        </p:spPr>
        <p:txBody>
          <a:bodyPr lIns="146304" tIns="109728" rIns="146304" bIns="109728">
            <a:noAutofit/>
          </a:bodyPr>
          <a:lstStyle>
            <a:lvl1pPr marL="0" indent="0">
              <a:spcBef>
                <a:spcPts val="0"/>
              </a:spcBef>
              <a:buNone/>
              <a:defRPr sz="3199" spc="0" baseline="0">
                <a:gradFill>
                  <a:gsLst>
                    <a:gs pos="91000">
                      <a:schemeClr val="tx1"/>
                    </a:gs>
                    <a:gs pos="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06573604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03" y="1212851"/>
            <a:ext cx="11885684"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5086218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03" y="1212851"/>
            <a:ext cx="11885684"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3318835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03" y="1212850"/>
            <a:ext cx="11885684" cy="2092881"/>
          </a:xfrm>
        </p:spPr>
        <p:txBody>
          <a:bodyPr>
            <a:spAutoFit/>
          </a:bodyPr>
          <a:lstStyle>
            <a:lvl1pPr>
              <a:defRPr sz="3999">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29352164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03" y="1212850"/>
            <a:ext cx="11885684" cy="2092881"/>
          </a:xfrm>
        </p:spPr>
        <p:txBody>
          <a:bodyPr>
            <a:spAutoFit/>
          </a:bodyPr>
          <a:lstStyle>
            <a:lvl1pPr>
              <a:defRPr sz="399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5961797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05" y="1212849"/>
            <a:ext cx="5485699" cy="1914370"/>
          </a:xfrm>
        </p:spPr>
        <p:txBody>
          <a:bodyPr wrap="square">
            <a:spAutoFit/>
          </a:bodyPr>
          <a:lstStyle>
            <a:lvl1pPr marL="0" indent="0">
              <a:spcBef>
                <a:spcPts val="1224"/>
              </a:spcBef>
              <a:buClr>
                <a:schemeClr val="tx1"/>
              </a:buClr>
              <a:buFont typeface="Wingdings" pitchFamily="2" charset="2"/>
              <a:buNone/>
              <a:defRPr sz="3199">
                <a:gradFill>
                  <a:gsLst>
                    <a:gs pos="1250">
                      <a:schemeClr val="tx2"/>
                    </a:gs>
                    <a:gs pos="99000">
                      <a:schemeClr val="tx2"/>
                    </a:gs>
                  </a:gsLst>
                  <a:lin ang="5400000" scaled="0"/>
                </a:gra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4587" y="1212849"/>
            <a:ext cx="5485699" cy="1914370"/>
          </a:xfrm>
        </p:spPr>
        <p:txBody>
          <a:bodyPr wrap="square">
            <a:spAutoFit/>
          </a:bodyPr>
          <a:lstStyle>
            <a:lvl1pPr marL="0" indent="0">
              <a:spcBef>
                <a:spcPts val="1224"/>
              </a:spcBef>
              <a:buClr>
                <a:schemeClr val="tx1"/>
              </a:buClr>
              <a:buFont typeface="Wingdings" pitchFamily="2" charset="2"/>
              <a:buNone/>
              <a:defRPr sz="3199">
                <a:gradFill>
                  <a:gsLst>
                    <a:gs pos="1250">
                      <a:schemeClr val="tx2"/>
                    </a:gs>
                    <a:gs pos="99000">
                      <a:schemeClr val="tx2"/>
                    </a:gs>
                  </a:gsLst>
                  <a:lin ang="5400000" scaled="0"/>
                </a:gra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480206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05" y="1212849"/>
            <a:ext cx="5485699" cy="1914370"/>
          </a:xfrm>
        </p:spPr>
        <p:txBody>
          <a:bodyPr wrap="square">
            <a:spAutoFit/>
          </a:bodyPr>
          <a:lstStyle>
            <a:lvl1pPr marL="0" indent="0">
              <a:spcBef>
                <a:spcPts val="1224"/>
              </a:spcBef>
              <a:buClr>
                <a:schemeClr val="tx1"/>
              </a:buClr>
              <a:buFont typeface="Wingdings" pitchFamily="2" charset="2"/>
              <a:buNone/>
              <a:defRPr sz="31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4587" y="1212849"/>
            <a:ext cx="5485699" cy="1914370"/>
          </a:xfrm>
        </p:spPr>
        <p:txBody>
          <a:bodyPr wrap="square">
            <a:spAutoFit/>
          </a:bodyPr>
          <a:lstStyle>
            <a:lvl1pPr marL="0" indent="0">
              <a:spcBef>
                <a:spcPts val="1224"/>
              </a:spcBef>
              <a:buClr>
                <a:schemeClr val="tx1"/>
              </a:buClr>
              <a:buFont typeface="Wingdings" pitchFamily="2" charset="2"/>
              <a:buNone/>
              <a:defRPr sz="31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3403822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03" y="1212851"/>
            <a:ext cx="11885684" cy="2452018"/>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23036544"/>
      </p:ext>
    </p:extLst>
  </p:cSld>
  <p:clrMapOvr>
    <a:masterClrMapping/>
  </p:clrMapOvr>
  <p:transition>
    <p:fade/>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05" y="1212850"/>
            <a:ext cx="5485699" cy="1985506"/>
          </a:xfrm>
        </p:spPr>
        <p:txBody>
          <a:bodyPr wrap="square">
            <a:spAutoFit/>
          </a:bodyPr>
          <a:lstStyle>
            <a:lvl1pPr marL="287282" indent="-287282">
              <a:spcBef>
                <a:spcPts val="1224"/>
              </a:spcBef>
              <a:buClr>
                <a:schemeClr val="tx2"/>
              </a:buClr>
              <a:buFont typeface="Arial" pitchFamily="34" charset="0"/>
              <a:buChar char="•"/>
              <a:defRPr sz="3199">
                <a:gradFill>
                  <a:gsLst>
                    <a:gs pos="1250">
                      <a:schemeClr val="tx2"/>
                    </a:gs>
                    <a:gs pos="99000">
                      <a:schemeClr val="tx2"/>
                    </a:gs>
                  </a:gsLst>
                  <a:lin ang="5400000" scaled="0"/>
                </a:gra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4587" y="1212850"/>
            <a:ext cx="5485699" cy="1985506"/>
          </a:xfrm>
        </p:spPr>
        <p:txBody>
          <a:bodyPr wrap="square">
            <a:spAutoFit/>
          </a:bodyPr>
          <a:lstStyle>
            <a:lvl1pPr marL="287282" indent="-287282">
              <a:spcBef>
                <a:spcPts val="1224"/>
              </a:spcBef>
              <a:buClr>
                <a:schemeClr val="tx2"/>
              </a:buClr>
              <a:buFont typeface="Arial" pitchFamily="34" charset="0"/>
              <a:buChar char="•"/>
              <a:defRPr sz="3199">
                <a:gradFill>
                  <a:gsLst>
                    <a:gs pos="1250">
                      <a:schemeClr val="tx2"/>
                    </a:gs>
                    <a:gs pos="99000">
                      <a:schemeClr val="tx2"/>
                    </a:gs>
                  </a:gsLst>
                  <a:lin ang="5400000" scaled="0"/>
                </a:gra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3722366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05" y="1212850"/>
            <a:ext cx="5485699" cy="1985506"/>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4587" y="1212850"/>
            <a:ext cx="5485699" cy="1985506"/>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17986153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97918215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p:cSld name="Demo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4" y="1209974"/>
            <a:ext cx="8227249" cy="1181862"/>
          </a:xfrm>
          <a:noFill/>
        </p:spPr>
        <p:txBody>
          <a:bodyPr wrap="square" tIns="91440" bIns="91440" anchor="t" anchorCtr="0">
            <a:spAutoFit/>
          </a:bodyPr>
          <a:lstStyle>
            <a:lvl1pPr>
              <a:defRPr sz="7198" spc="-100" baseline="0">
                <a:gradFill>
                  <a:gsLst>
                    <a:gs pos="8850">
                      <a:schemeClr val="tx1"/>
                    </a:gs>
                    <a:gs pos="23894">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04" y="3954463"/>
            <a:ext cx="8228548" cy="738664"/>
          </a:xfrm>
          <a:noFill/>
        </p:spPr>
        <p:txBody>
          <a:bodyPr wrap="square" lIns="182880" tIns="146304" rIns="182880" bIns="146304">
            <a:spAutoFit/>
          </a:bodyPr>
          <a:lstStyle>
            <a:lvl1pPr marL="0" indent="0">
              <a:spcBef>
                <a:spcPts val="0"/>
              </a:spcBef>
              <a:buNone/>
              <a:defRPr sz="3199" spc="0" baseline="0">
                <a:gradFill>
                  <a:gsLst>
                    <a:gs pos="8850">
                      <a:schemeClr val="tx1"/>
                    </a:gs>
                    <a:gs pos="23894">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02884323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p:cSld name="Video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4" y="1209974"/>
            <a:ext cx="8228548" cy="1181862"/>
          </a:xfrm>
          <a:noFill/>
        </p:spPr>
        <p:txBody>
          <a:bodyPr wrap="square" tIns="91440" bIns="91440" anchor="t" anchorCtr="0">
            <a:spAutoFit/>
          </a:bodyPr>
          <a:lstStyle>
            <a:lvl1pPr>
              <a:defRPr sz="7198" spc="-100" baseline="0">
                <a:gradFill>
                  <a:gsLst>
                    <a:gs pos="10619">
                      <a:schemeClr val="tx1"/>
                    </a:gs>
                    <a:gs pos="26549">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36948070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3" y="2125663"/>
            <a:ext cx="11885684"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02531817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3" y="2125663"/>
            <a:ext cx="11885684" cy="1181862"/>
          </a:xfrm>
          <a:noFill/>
        </p:spPr>
        <p:txBody>
          <a:bodyPr tIns="91440" bIns="91440" anchor="t" anchorCtr="0">
            <a:spAutoFit/>
          </a:bodyPr>
          <a:lstStyle>
            <a:lvl1pPr>
              <a:defRPr sz="7198" spc="-100" baseline="0">
                <a:gradFill>
                  <a:gsLst>
                    <a:gs pos="89381">
                      <a:schemeClr val="tx1"/>
                    </a:gs>
                    <a:gs pos="6700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327808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p:cSld name="50-50 Right Photo Layou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5" y="1241426"/>
            <a:ext cx="5485699" cy="2012859"/>
          </a:xfrm>
        </p:spPr>
        <p:txBody>
          <a:bodyPr>
            <a:spAutoFit/>
          </a:bodyPr>
          <a:lstStyle>
            <a:lvl1pPr>
              <a:defRPr sz="6599"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031" y="0"/>
            <a:ext cx="6215857" cy="6992587"/>
          </a:xfrm>
          <a:blipFill>
            <a:blip r:embed="rId2"/>
            <a:stretch>
              <a:fillRect/>
            </a:stretch>
          </a:blipFill>
        </p:spPr>
        <p:txBody>
          <a:bodyPr tIns="548640" anchor="ctr" anchorCtr="0">
            <a:noAutofit/>
          </a:bodyPr>
          <a:lstStyle>
            <a:lvl1pPr marL="0" indent="0" algn="ctr">
              <a:buNone/>
              <a:defRPr sz="1599"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138918818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7317625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0170058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type="titleOnly">
  <p:cSld name="Title and Stag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Rectangle 2"/>
          <p:cNvSpPr/>
          <p:nvPr userDrawn="1"/>
        </p:nvSpPr>
        <p:spPr>
          <a:xfrm>
            <a:off x="0" y="2024342"/>
            <a:ext cx="12434888" cy="4970183"/>
          </a:xfrm>
          <a:prstGeom prst="rect">
            <a:avLst/>
          </a:prstGeom>
          <a:solidFill>
            <a:srgbClr val="59B4D9">
              <a:alpha val="2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spTree>
    <p:extLst>
      <p:ext uri="{BB962C8B-B14F-4D97-AF65-F5344CB8AC3E}">
        <p14:creationId xmlns:p14="http://schemas.microsoft.com/office/powerpoint/2010/main" val="696959355"/>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212849"/>
            <a:ext cx="12434888"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2" tIns="46632" rIns="46632" bIns="46632"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18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03" y="1221158"/>
            <a:ext cx="11885682" cy="1995931"/>
          </a:xfrm>
        </p:spPr>
        <p:txBody>
          <a:bodyPr/>
          <a:lstStyle>
            <a:lvl1pPr marL="0" indent="0">
              <a:buNone/>
              <a:defRPr sz="3299">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48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4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40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795"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7851393"/>
      </p:ext>
    </p:extLst>
  </p:cSld>
  <p:clrMapOvr>
    <a:masterClrMapping/>
  </p:clrMapOvr>
  <p:transition>
    <p:fade/>
  </p:transition>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p:cSld name="Closing logo slide_color">
    <p:bg>
      <p:bgRef idx="1001">
        <a:schemeClr val="bg1"/>
      </p:bgRef>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74603" y="6294477"/>
            <a:ext cx="11885682" cy="403187"/>
          </a:xfrm>
          <a:prstGeom prst="rect">
            <a:avLst/>
          </a:prstGeom>
          <a:noFill/>
          <a:ln w="12700">
            <a:noFill/>
            <a:miter lim="800000"/>
            <a:headEnd type="none" w="sm" len="sm"/>
            <a:tailEnd type="none" w="sm" len="sm"/>
          </a:ln>
          <a:effectLst/>
        </p:spPr>
        <p:txBody>
          <a:bodyPr vert="horz" wrap="square" lIns="182854" tIns="146283" rIns="182854" bIns="146283" numCol="1" anchor="t" anchorCtr="0" compatLnSpc="1">
            <a:prstTxWarp prst="textNoShape">
              <a:avLst/>
            </a:prstTxWarp>
            <a:spAutoFit/>
          </a:bodyPr>
          <a:lstStyle/>
          <a:p>
            <a:pPr defTabSz="932111" eaLnBrk="0" hangingPunct="0"/>
            <a:r>
              <a:rPr lang="en-US" sz="700" dirty="0">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p:nvPicPr>
        <p:blipFill rotWithShape="1">
          <a:blip r:embed="rId2" cstate="screen">
            <a:extLst>
              <a:ext uri="{28A0092B-C50C-407E-A947-70E740481C1C}">
                <a14:useLocalDpi xmlns:a14="http://schemas.microsoft.com/office/drawing/2010/main"/>
              </a:ext>
            </a:extLst>
          </a:blip>
          <a:srcRect b="1380"/>
          <a:stretch/>
        </p:blipFill>
        <p:spPr bwMode="invGray">
          <a:xfrm>
            <a:off x="457142" y="479425"/>
            <a:ext cx="1449754" cy="306604"/>
          </a:xfrm>
          <a:prstGeom prst="rect">
            <a:avLst/>
          </a:prstGeom>
        </p:spPr>
      </p:pic>
    </p:spTree>
    <p:extLst>
      <p:ext uri="{BB962C8B-B14F-4D97-AF65-F5344CB8AC3E}">
        <p14:creationId xmlns:p14="http://schemas.microsoft.com/office/powerpoint/2010/main" val="20906349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03" y="1212851"/>
            <a:ext cx="11885684" cy="2443746"/>
          </a:xfrm>
          <a:prstGeom prst="rect">
            <a:avLst/>
          </a:prstGeom>
        </p:spPr>
        <p:txBody>
          <a:bodyPr/>
          <a:lstStyle>
            <a:lvl1pPr marL="290457" indent="-290457">
              <a:buClr>
                <a:schemeClr val="tx1"/>
              </a:buClr>
              <a:buSzPct val="90000"/>
              <a:buFont typeface="Arial" pitchFamily="34" charset="0"/>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90" indent="-280935">
              <a:buClr>
                <a:schemeClr val="tx1"/>
              </a:buClr>
              <a:buSzPct val="90000"/>
              <a:buFont typeface="Arial" pitchFamily="34" charset="0"/>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47" indent="-290457">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04" indent="-22855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960" indent="-22855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363076"/>
            <a:ext cx="12434889"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42634039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p:cSld name="Walkin-Amsterdam">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8" name="Picture 7"/>
          <p:cNvPicPr>
            <a:picLocks noChangeAspect="1"/>
          </p:cNvPicPr>
          <p:nvPr/>
        </p:nvPicPr>
        <p:blipFill>
          <a:blip r:embed="rId3"/>
          <a:stretch>
            <a:fillRect/>
          </a:stretch>
        </p:blipFill>
        <p:spPr>
          <a:xfrm>
            <a:off x="466383" y="6209084"/>
            <a:ext cx="1447909" cy="310896"/>
          </a:xfrm>
          <a:prstGeom prst="rect">
            <a:avLst/>
          </a:prstGeom>
        </p:spPr>
      </p:pic>
    </p:spTree>
    <p:extLst>
      <p:ext uri="{BB962C8B-B14F-4D97-AF65-F5344CB8AC3E}">
        <p14:creationId xmlns:p14="http://schemas.microsoft.com/office/powerpoint/2010/main" val="207498165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p:cSld name="Walkin-Bangalor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8" name="Picture 7"/>
          <p:cNvPicPr>
            <a:picLocks noChangeAspect="1"/>
          </p:cNvPicPr>
          <p:nvPr/>
        </p:nvPicPr>
        <p:blipFill>
          <a:blip r:embed="rId3"/>
          <a:stretch>
            <a:fillRect/>
          </a:stretch>
        </p:blipFill>
        <p:spPr>
          <a:xfrm>
            <a:off x="466383" y="6209084"/>
            <a:ext cx="1447909" cy="310896"/>
          </a:xfrm>
          <a:prstGeom prst="rect">
            <a:avLst/>
          </a:prstGeom>
        </p:spPr>
      </p:pic>
    </p:spTree>
    <p:extLst>
      <p:ext uri="{BB962C8B-B14F-4D97-AF65-F5344CB8AC3E}">
        <p14:creationId xmlns:p14="http://schemas.microsoft.com/office/powerpoint/2010/main" val="258246158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p:cSld name="Walkin-Birmingham">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8" name="Picture 7"/>
          <p:cNvPicPr>
            <a:picLocks noChangeAspect="1"/>
          </p:cNvPicPr>
          <p:nvPr/>
        </p:nvPicPr>
        <p:blipFill>
          <a:blip r:embed="rId3"/>
          <a:stretch>
            <a:fillRect/>
          </a:stretch>
        </p:blipFill>
        <p:spPr>
          <a:xfrm>
            <a:off x="466383" y="6209084"/>
            <a:ext cx="1447909" cy="310896"/>
          </a:xfrm>
          <a:prstGeom prst="rect">
            <a:avLst/>
          </a:prstGeom>
        </p:spPr>
      </p:pic>
    </p:spTree>
    <p:extLst>
      <p:ext uri="{BB962C8B-B14F-4D97-AF65-F5344CB8AC3E}">
        <p14:creationId xmlns:p14="http://schemas.microsoft.com/office/powerpoint/2010/main" val="14348592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p:cSld name="Walkin-Chicago">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8" name="Picture 7"/>
          <p:cNvPicPr>
            <a:picLocks noChangeAspect="1"/>
          </p:cNvPicPr>
          <p:nvPr/>
        </p:nvPicPr>
        <p:blipFill>
          <a:blip r:embed="rId3"/>
          <a:stretch>
            <a:fillRect/>
          </a:stretch>
        </p:blipFill>
        <p:spPr>
          <a:xfrm>
            <a:off x="466383" y="6209084"/>
            <a:ext cx="1447909" cy="310896"/>
          </a:xfrm>
          <a:prstGeom prst="rect">
            <a:avLst/>
          </a:prstGeom>
        </p:spPr>
      </p:pic>
    </p:spTree>
    <p:extLst>
      <p:ext uri="{BB962C8B-B14F-4D97-AF65-F5344CB8AC3E}">
        <p14:creationId xmlns:p14="http://schemas.microsoft.com/office/powerpoint/2010/main" val="287072542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p:cSld name="Walkin-Copenhagen">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8" name="Picture 7"/>
          <p:cNvPicPr>
            <a:picLocks noChangeAspect="1"/>
          </p:cNvPicPr>
          <p:nvPr/>
        </p:nvPicPr>
        <p:blipFill>
          <a:blip r:embed="rId3"/>
          <a:stretch>
            <a:fillRect/>
          </a:stretch>
        </p:blipFill>
        <p:spPr>
          <a:xfrm>
            <a:off x="466383" y="6209084"/>
            <a:ext cx="1447909" cy="310896"/>
          </a:xfrm>
          <a:prstGeom prst="rect">
            <a:avLst/>
          </a:prstGeom>
        </p:spPr>
      </p:pic>
    </p:spTree>
    <p:extLst>
      <p:ext uri="{BB962C8B-B14F-4D97-AF65-F5344CB8AC3E}">
        <p14:creationId xmlns:p14="http://schemas.microsoft.com/office/powerpoint/2010/main" val="99687919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p:cSld name="Walkin-Frankfurt">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8" name="Picture 7"/>
          <p:cNvPicPr>
            <a:picLocks noChangeAspect="1"/>
          </p:cNvPicPr>
          <p:nvPr/>
        </p:nvPicPr>
        <p:blipFill>
          <a:blip r:embed="rId3"/>
          <a:stretch>
            <a:fillRect/>
          </a:stretch>
        </p:blipFill>
        <p:spPr>
          <a:xfrm>
            <a:off x="466383" y="6209084"/>
            <a:ext cx="1447909" cy="310896"/>
          </a:xfrm>
          <a:prstGeom prst="rect">
            <a:avLst/>
          </a:prstGeom>
        </p:spPr>
      </p:pic>
    </p:spTree>
    <p:extLst>
      <p:ext uri="{BB962C8B-B14F-4D97-AF65-F5344CB8AC3E}">
        <p14:creationId xmlns:p14="http://schemas.microsoft.com/office/powerpoint/2010/main" val="219511820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p:cSld name="Walkin-Johannesburg">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8" name="Picture 7"/>
          <p:cNvPicPr>
            <a:picLocks noChangeAspect="1"/>
          </p:cNvPicPr>
          <p:nvPr/>
        </p:nvPicPr>
        <p:blipFill>
          <a:blip r:embed="rId3"/>
          <a:stretch>
            <a:fillRect/>
          </a:stretch>
        </p:blipFill>
        <p:spPr>
          <a:xfrm>
            <a:off x="466383" y="6209084"/>
            <a:ext cx="1447909" cy="310896"/>
          </a:xfrm>
          <a:prstGeom prst="rect">
            <a:avLst/>
          </a:prstGeom>
        </p:spPr>
      </p:pic>
    </p:spTree>
    <p:extLst>
      <p:ext uri="{BB962C8B-B14F-4D97-AF65-F5344CB8AC3E}">
        <p14:creationId xmlns:p14="http://schemas.microsoft.com/office/powerpoint/2010/main" val="339155192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cSld name="Title Only stage">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CD0DDC16-BBB9-486F-A6F2-9C2AED9A5532}"/>
              </a:ext>
            </a:extLst>
          </p:cNvPr>
          <p:cNvSpPr/>
          <p:nvPr userDrawn="1"/>
        </p:nvSpPr>
        <p:spPr>
          <a:xfrm>
            <a:off x="-2" y="-7937"/>
            <a:ext cx="6217444" cy="7002463"/>
          </a:xfrm>
          <a:prstGeom prst="rect">
            <a:avLst/>
          </a:prstGeom>
          <a:solidFill>
            <a:schemeClr val="tx2">
              <a:alpha val="7000"/>
            </a:schemeClr>
          </a:solidFill>
          <a:ln w="12700" cap="flat" cmpd="sng" algn="ctr">
            <a:noFill/>
            <a:prstDash val="solid"/>
            <a:miter lim="800000"/>
          </a:ln>
          <a:effectLst/>
        </p:spPr>
        <p:txBody>
          <a:bodyPr rtlCol="0" anchor="ctr"/>
          <a:lstStyle/>
          <a:p>
            <a:pPr marL="0" marR="0" lvl="0" indent="0" algn="ctr" defTabSz="932443"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prstClr val="white"/>
              </a:solidFill>
              <a:effectLst/>
              <a:uLnTx/>
              <a:uFillTx/>
              <a:latin typeface="Segoe UI"/>
              <a:ea typeface="+mn-ea"/>
              <a:cs typeface="+mn-cs"/>
            </a:endParaRPr>
          </a:p>
        </p:txBody>
      </p:sp>
      <p:sp>
        <p:nvSpPr>
          <p:cNvPr id="2" name="Title 1"/>
          <p:cNvSpPr>
            <a:spLocks noGrp="1"/>
          </p:cNvSpPr>
          <p:nvPr>
            <p:ph type="title"/>
          </p:nvPr>
        </p:nvSpPr>
        <p:spPr>
          <a:xfrm>
            <a:off x="274604" y="295279"/>
            <a:ext cx="5714269" cy="917575"/>
          </a:xfrm>
        </p:spPr>
        <p:txBody>
          <a:bodyPr/>
          <a:lstStyle>
            <a:lvl1pPr>
              <a:defRPr>
                <a:solidFill>
                  <a:schemeClr val="tx2"/>
                </a:solidFill>
              </a:defRPr>
            </a:lvl1pPr>
          </a:lstStyle>
          <a:p>
            <a:r>
              <a:rPr lang="en-US"/>
              <a:t>Click to edit Master title style</a:t>
            </a:r>
          </a:p>
        </p:txBody>
      </p:sp>
    </p:spTree>
    <p:extLst>
      <p:ext uri="{BB962C8B-B14F-4D97-AF65-F5344CB8AC3E}">
        <p14:creationId xmlns:p14="http://schemas.microsoft.com/office/powerpoint/2010/main" val="1438728539"/>
      </p:ext>
    </p:extLst>
  </p:cSld>
  <p:clrMapOvr>
    <a:masterClrMapping/>
  </p:clrMapOvr>
  <p:transition>
    <p:fade/>
  </p:transition>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p:cSld name="Walkin-Mexico City">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8" name="Picture 7"/>
          <p:cNvPicPr>
            <a:picLocks noChangeAspect="1"/>
          </p:cNvPicPr>
          <p:nvPr/>
        </p:nvPicPr>
        <p:blipFill>
          <a:blip r:embed="rId3"/>
          <a:stretch>
            <a:fillRect/>
          </a:stretch>
        </p:blipFill>
        <p:spPr>
          <a:xfrm>
            <a:off x="466383" y="6209084"/>
            <a:ext cx="1447909" cy="310896"/>
          </a:xfrm>
          <a:prstGeom prst="rect">
            <a:avLst/>
          </a:prstGeom>
        </p:spPr>
      </p:pic>
    </p:spTree>
    <p:extLst>
      <p:ext uri="{BB962C8B-B14F-4D97-AF65-F5344CB8AC3E}">
        <p14:creationId xmlns:p14="http://schemas.microsoft.com/office/powerpoint/2010/main" val="303805717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p:cSld name="Walkin-Milan">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8" name="Picture 7"/>
          <p:cNvPicPr>
            <a:picLocks noChangeAspect="1"/>
          </p:cNvPicPr>
          <p:nvPr/>
        </p:nvPicPr>
        <p:blipFill>
          <a:blip r:embed="rId3"/>
          <a:stretch>
            <a:fillRect/>
          </a:stretch>
        </p:blipFill>
        <p:spPr>
          <a:xfrm>
            <a:off x="466383" y="6209084"/>
            <a:ext cx="1447909" cy="310896"/>
          </a:xfrm>
          <a:prstGeom prst="rect">
            <a:avLst/>
          </a:prstGeom>
        </p:spPr>
      </p:pic>
    </p:spTree>
    <p:extLst>
      <p:ext uri="{BB962C8B-B14F-4D97-AF65-F5344CB8AC3E}">
        <p14:creationId xmlns:p14="http://schemas.microsoft.com/office/powerpoint/2010/main" val="114617327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p:cSld name="Walkin-Pragu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8" name="Picture 7"/>
          <p:cNvPicPr>
            <a:picLocks noChangeAspect="1"/>
          </p:cNvPicPr>
          <p:nvPr/>
        </p:nvPicPr>
        <p:blipFill>
          <a:blip r:embed="rId3"/>
          <a:stretch>
            <a:fillRect/>
          </a:stretch>
        </p:blipFill>
        <p:spPr>
          <a:xfrm>
            <a:off x="466383" y="6209084"/>
            <a:ext cx="1447909" cy="310896"/>
          </a:xfrm>
          <a:prstGeom prst="rect">
            <a:avLst/>
          </a:prstGeom>
        </p:spPr>
      </p:pic>
    </p:spTree>
    <p:extLst>
      <p:ext uri="{BB962C8B-B14F-4D97-AF65-F5344CB8AC3E}">
        <p14:creationId xmlns:p14="http://schemas.microsoft.com/office/powerpoint/2010/main" val="143503517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p:cSld name="Walkin-São Paulo">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8" name="Picture 7"/>
          <p:cNvPicPr>
            <a:picLocks noChangeAspect="1"/>
          </p:cNvPicPr>
          <p:nvPr/>
        </p:nvPicPr>
        <p:blipFill>
          <a:blip r:embed="rId3"/>
          <a:stretch>
            <a:fillRect/>
          </a:stretch>
        </p:blipFill>
        <p:spPr>
          <a:xfrm>
            <a:off x="466383" y="6209084"/>
            <a:ext cx="1447909" cy="310896"/>
          </a:xfrm>
          <a:prstGeom prst="rect">
            <a:avLst/>
          </a:prstGeom>
        </p:spPr>
      </p:pic>
    </p:spTree>
    <p:extLst>
      <p:ext uri="{BB962C8B-B14F-4D97-AF65-F5344CB8AC3E}">
        <p14:creationId xmlns:p14="http://schemas.microsoft.com/office/powerpoint/2010/main" val="3878164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p:cSld name="Walkin-Seoul">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8" name="Picture 7"/>
          <p:cNvPicPr>
            <a:picLocks noChangeAspect="1"/>
          </p:cNvPicPr>
          <p:nvPr/>
        </p:nvPicPr>
        <p:blipFill>
          <a:blip r:embed="rId3"/>
          <a:stretch>
            <a:fillRect/>
          </a:stretch>
        </p:blipFill>
        <p:spPr>
          <a:xfrm>
            <a:off x="466383" y="6209084"/>
            <a:ext cx="1447909" cy="310896"/>
          </a:xfrm>
          <a:prstGeom prst="rect">
            <a:avLst/>
          </a:prstGeom>
        </p:spPr>
      </p:pic>
    </p:spTree>
    <p:extLst>
      <p:ext uri="{BB962C8B-B14F-4D97-AF65-F5344CB8AC3E}">
        <p14:creationId xmlns:p14="http://schemas.microsoft.com/office/powerpoint/2010/main" val="403315719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p:cSld name="Walkin-Singapor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8" name="Picture 7"/>
          <p:cNvPicPr>
            <a:picLocks noChangeAspect="1"/>
          </p:cNvPicPr>
          <p:nvPr/>
        </p:nvPicPr>
        <p:blipFill>
          <a:blip r:embed="rId3"/>
          <a:stretch>
            <a:fillRect/>
          </a:stretch>
        </p:blipFill>
        <p:spPr>
          <a:xfrm>
            <a:off x="466383" y="6209084"/>
            <a:ext cx="1447909" cy="310896"/>
          </a:xfrm>
          <a:prstGeom prst="rect">
            <a:avLst/>
          </a:prstGeom>
        </p:spPr>
      </p:pic>
    </p:spTree>
    <p:extLst>
      <p:ext uri="{BB962C8B-B14F-4D97-AF65-F5344CB8AC3E}">
        <p14:creationId xmlns:p14="http://schemas.microsoft.com/office/powerpoint/2010/main" val="121491882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p:cSld name="Walkin-Taipei">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8" name="Picture 7"/>
          <p:cNvPicPr>
            <a:picLocks noChangeAspect="1"/>
          </p:cNvPicPr>
          <p:nvPr/>
        </p:nvPicPr>
        <p:blipFill>
          <a:blip r:embed="rId3"/>
          <a:stretch>
            <a:fillRect/>
          </a:stretch>
        </p:blipFill>
        <p:spPr>
          <a:xfrm>
            <a:off x="466383" y="6209084"/>
            <a:ext cx="1447909" cy="310896"/>
          </a:xfrm>
          <a:prstGeom prst="rect">
            <a:avLst/>
          </a:prstGeom>
        </p:spPr>
      </p:pic>
    </p:spTree>
    <p:extLst>
      <p:ext uri="{BB962C8B-B14F-4D97-AF65-F5344CB8AC3E}">
        <p14:creationId xmlns:p14="http://schemas.microsoft.com/office/powerpoint/2010/main" val="188820385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p:cSld name="Walkin-Tel Aviv">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8" name="Picture 7"/>
          <p:cNvPicPr>
            <a:picLocks noChangeAspect="1"/>
          </p:cNvPicPr>
          <p:nvPr/>
        </p:nvPicPr>
        <p:blipFill>
          <a:blip r:embed="rId3"/>
          <a:stretch>
            <a:fillRect/>
          </a:stretch>
        </p:blipFill>
        <p:spPr>
          <a:xfrm>
            <a:off x="466383" y="6209084"/>
            <a:ext cx="1447909" cy="310896"/>
          </a:xfrm>
          <a:prstGeom prst="rect">
            <a:avLst/>
          </a:prstGeom>
        </p:spPr>
      </p:pic>
    </p:spTree>
    <p:extLst>
      <p:ext uri="{BB962C8B-B14F-4D97-AF65-F5344CB8AC3E}">
        <p14:creationId xmlns:p14="http://schemas.microsoft.com/office/powerpoint/2010/main" val="201484340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p:cSld name="Walkin-Toronto">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8" name="Picture 7"/>
          <p:cNvPicPr>
            <a:picLocks noChangeAspect="1"/>
          </p:cNvPicPr>
          <p:nvPr/>
        </p:nvPicPr>
        <p:blipFill>
          <a:blip r:embed="rId3"/>
          <a:stretch>
            <a:fillRect/>
          </a:stretch>
        </p:blipFill>
        <p:spPr>
          <a:xfrm>
            <a:off x="466383" y="6209084"/>
            <a:ext cx="1447909" cy="310896"/>
          </a:xfrm>
          <a:prstGeom prst="rect">
            <a:avLst/>
          </a:prstGeom>
        </p:spPr>
      </p:pic>
    </p:spTree>
    <p:extLst>
      <p:ext uri="{BB962C8B-B14F-4D97-AF65-F5344CB8AC3E}">
        <p14:creationId xmlns:p14="http://schemas.microsoft.com/office/powerpoint/2010/main" val="329056589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p:cSld name="Walkin-Washington DC">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8" name="Picture 7"/>
          <p:cNvPicPr>
            <a:picLocks noChangeAspect="1"/>
          </p:cNvPicPr>
          <p:nvPr/>
        </p:nvPicPr>
        <p:blipFill>
          <a:blip r:embed="rId3"/>
          <a:stretch>
            <a:fillRect/>
          </a:stretch>
        </p:blipFill>
        <p:spPr>
          <a:xfrm>
            <a:off x="466383" y="6209084"/>
            <a:ext cx="1447909" cy="310896"/>
          </a:xfrm>
          <a:prstGeom prst="rect">
            <a:avLst/>
          </a:prstGeom>
        </p:spPr>
      </p:pic>
    </p:spTree>
    <p:extLst>
      <p:ext uri="{BB962C8B-B14F-4D97-AF65-F5344CB8AC3E}">
        <p14:creationId xmlns:p14="http://schemas.microsoft.com/office/powerpoint/2010/main" val="46182112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05" y="3954458"/>
            <a:ext cx="6398397" cy="1830388"/>
          </a:xfrm>
          <a:noFill/>
        </p:spPr>
        <p:txBody>
          <a:bodyPr lIns="146304" tIns="109728" rIns="146304" bIns="109728">
            <a:noAutofit/>
          </a:bodyPr>
          <a:lstStyle>
            <a:lvl1pPr marL="0" indent="0">
              <a:spcBef>
                <a:spcPts val="0"/>
              </a:spcBef>
              <a:buNone/>
              <a:defRPr sz="3672" spc="0" baseline="0">
                <a:solidFill>
                  <a:schemeClr val="tx1"/>
                </a:solidFill>
                <a:latin typeface="+mj-lt"/>
              </a:defRPr>
            </a:lvl1pPr>
          </a:lstStyle>
          <a:p>
            <a:pPr lvl="0"/>
            <a:r>
              <a:rPr lang="en-US"/>
              <a:t>Speaker Name</a:t>
            </a:r>
          </a:p>
        </p:txBody>
      </p:sp>
      <p:sp>
        <p:nvSpPr>
          <p:cNvPr id="9" name="Title 1"/>
          <p:cNvSpPr>
            <a:spLocks noGrp="1"/>
          </p:cNvSpPr>
          <p:nvPr>
            <p:ph type="title" hasCustomPrompt="1"/>
          </p:nvPr>
        </p:nvSpPr>
        <p:spPr>
          <a:xfrm>
            <a:off x="274668" y="2117165"/>
            <a:ext cx="10057052" cy="1837298"/>
          </a:xfrm>
          <a:noFill/>
        </p:spPr>
        <p:txBody>
          <a:bodyPr lIns="146304" tIns="91440" rIns="146304" bIns="91440" anchor="t" anchorCtr="0"/>
          <a:lstStyle>
            <a:lvl1pPr>
              <a:defRPr sz="6119" spc="-100" baseline="0">
                <a:solidFill>
                  <a:schemeClr val="tx1"/>
                </a:solidFill>
              </a:defRPr>
            </a:lvl1pPr>
          </a:lstStyle>
          <a:p>
            <a:r>
              <a:rPr lang="en-US"/>
              <a:t>Presentation title</a:t>
            </a:r>
          </a:p>
        </p:txBody>
      </p:sp>
      <p:pic>
        <p:nvPicPr>
          <p:cNvPr id="6" name="Picture 5"/>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val="0"/>
              </a:ext>
            </a:extLst>
          </a:blip>
          <a:stretch>
            <a:fillRect/>
          </a:stretch>
        </p:blipFill>
        <p:spPr bwMode="black">
          <a:xfrm>
            <a:off x="458273" y="6182441"/>
            <a:ext cx="1552733" cy="332660"/>
          </a:xfrm>
          <a:prstGeom prst="rect">
            <a:avLst/>
          </a:prstGeom>
        </p:spPr>
      </p:pic>
      <p:sp>
        <p:nvSpPr>
          <p:cNvPr id="8" name="Rectangle 6"/>
          <p:cNvSpPr>
            <a:spLocks noChangeArrowheads="1"/>
          </p:cNvSpPr>
          <p:nvPr userDrawn="1"/>
        </p:nvSpPr>
        <p:spPr bwMode="auto">
          <a:xfrm>
            <a:off x="3176" y="4395789"/>
            <a:ext cx="12431713" cy="2601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sz="1800" kern="0">
              <a:solidFill>
                <a:sysClr val="windowText" lastClr="000000"/>
              </a:solidFill>
            </a:endParaRPr>
          </a:p>
        </p:txBody>
      </p:sp>
    </p:spTree>
    <p:extLst>
      <p:ext uri="{BB962C8B-B14F-4D97-AF65-F5344CB8AC3E}">
        <p14:creationId xmlns:p14="http://schemas.microsoft.com/office/powerpoint/2010/main" val="2669975530"/>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75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950"/>
                                        <p:tgtEl>
                                          <p:spTgt spid="9"/>
                                        </p:tgtEl>
                                      </p:cBhvr>
                                    </p:animEffect>
                                  </p:childTnLst>
                                </p:cTn>
                              </p:par>
                              <p:par>
                                <p:cTn id="8" presetID="63" presetClass="path" presetSubtype="0" decel="100000" fill="hold" grpId="1" nodeType="withEffect">
                                  <p:stCondLst>
                                    <p:cond delay="750"/>
                                  </p:stCondLst>
                                  <p:childTnLst>
                                    <p:animMotion origin="layout" path="M -0.01455 -1.34362E-6 L -3.90605E-7 -1.34362E-6 " pathEditMode="relative" rAng="0" ptsTypes="AA">
                                      <p:cBhvr>
                                        <p:cTn id="9" dur="950" fill="hold"/>
                                        <p:tgtEl>
                                          <p:spTgt spid="9"/>
                                        </p:tgtEl>
                                        <p:attrNameLst>
                                          <p:attrName>ppt_x</p:attrName>
                                          <p:attrName>ppt_y</p:attrName>
                                        </p:attrNameLst>
                                      </p:cBhvr>
                                      <p:rCtr x="728" y="0"/>
                                    </p:animMotion>
                                  </p:childTnLst>
                                </p:cTn>
                              </p:par>
                              <p:par>
                                <p:cTn id="10" presetID="6" presetClass="emph" presetSubtype="0" accel="100000" autoRev="1" fill="hold" grpId="2" nodeType="withEffect">
                                  <p:stCondLst>
                                    <p:cond delay="50"/>
                                  </p:stCondLst>
                                  <p:childTnLst>
                                    <p:animScale>
                                      <p:cBhvr>
                                        <p:cTn id="11" dur="500" fill="hold"/>
                                        <p:tgtEl>
                                          <p:spTgt spid="9"/>
                                        </p:tgtEl>
                                      </p:cBhvr>
                                      <p:by x="95000" y="95000"/>
                                    </p:animScale>
                                  </p:childTnLst>
                                </p:cTn>
                              </p:par>
                              <p:par>
                                <p:cTn id="12" presetID="10" presetClass="entr" presetSubtype="0" fill="hold" grpId="0" nodeType="withEffect">
                                  <p:stCondLst>
                                    <p:cond delay="800"/>
                                  </p:stCondLst>
                                  <p:childTnLst>
                                    <p:set>
                                      <p:cBhvr>
                                        <p:cTn id="13" dur="1" fill="hold">
                                          <p:stCondLst>
                                            <p:cond delay="0"/>
                                          </p:stCondLst>
                                        </p:cTn>
                                        <p:tgtEl>
                                          <p:spTgt spid="5"/>
                                        </p:tgtEl>
                                        <p:attrNameLst>
                                          <p:attrName>style.visibility</p:attrName>
                                        </p:attrNameLst>
                                      </p:cBhvr>
                                      <p:to>
                                        <p:strVal val="visible"/>
                                      </p:to>
                                    </p:set>
                                    <p:animEffect transition="in" filter="fade">
                                      <p:cBhvr>
                                        <p:cTn id="14" dur="950"/>
                                        <p:tgtEl>
                                          <p:spTgt spid="5"/>
                                        </p:tgtEl>
                                      </p:cBhvr>
                                    </p:animEffect>
                                  </p:childTnLst>
                                </p:cTn>
                              </p:par>
                              <p:par>
                                <p:cTn id="15" presetID="63" presetClass="path" presetSubtype="0" decel="100000" fill="hold" grpId="1" nodeType="withEffect">
                                  <p:stCondLst>
                                    <p:cond delay="800"/>
                                  </p:stCondLst>
                                  <p:childTnLst>
                                    <p:animMotion origin="layout" path="M -0.01455 -1.34362E-6 L -3.90605E-7 -1.34362E-6 " pathEditMode="relative" rAng="0" ptsTypes="AA">
                                      <p:cBhvr>
                                        <p:cTn id="16" dur="950" fill="hold"/>
                                        <p:tgtEl>
                                          <p:spTgt spid="5"/>
                                        </p:tgtEl>
                                        <p:attrNameLst>
                                          <p:attrName>ppt_x</p:attrName>
                                          <p:attrName>ppt_y</p:attrName>
                                        </p:attrNameLst>
                                      </p:cBhvr>
                                      <p:rCtr x="728" y="0"/>
                                    </p:animMotion>
                                  </p:childTnLst>
                                </p:cTn>
                              </p:par>
                              <p:par>
                                <p:cTn id="17" presetID="6" presetClass="emph" presetSubtype="0" accel="100000" autoRev="1" fill="hold" grpId="2" nodeType="withEffect">
                                  <p:stCondLst>
                                    <p:cond delay="100"/>
                                  </p:stCondLst>
                                  <p:childTnLst>
                                    <p:animScale>
                                      <p:cBhvr>
                                        <p:cTn id="18" dur="500" fill="hold"/>
                                        <p:tgtEl>
                                          <p:spTgt spid="5"/>
                                        </p:tgtEl>
                                      </p:cBhvr>
                                      <p:by x="95000" y="95000"/>
                                    </p:animScale>
                                  </p:childTnLst>
                                </p:cTn>
                              </p:par>
                              <p:par>
                                <p:cTn id="19" presetID="10" presetClass="entr" presetSubtype="0" fill="hold" nodeType="withEffect">
                                  <p:stCondLst>
                                    <p:cond delay="900"/>
                                  </p:stCondLst>
                                  <p:childTnLst>
                                    <p:set>
                                      <p:cBhvr>
                                        <p:cTn id="20" dur="1" fill="hold">
                                          <p:stCondLst>
                                            <p:cond delay="0"/>
                                          </p:stCondLst>
                                        </p:cTn>
                                        <p:tgtEl>
                                          <p:spTgt spid="6"/>
                                        </p:tgtEl>
                                        <p:attrNameLst>
                                          <p:attrName>style.visibility</p:attrName>
                                        </p:attrNameLst>
                                      </p:cBhvr>
                                      <p:to>
                                        <p:strVal val="visible"/>
                                      </p:to>
                                    </p:set>
                                    <p:animEffect transition="in" filter="fade">
                                      <p:cBhvr>
                                        <p:cTn id="21" dur="950"/>
                                        <p:tgtEl>
                                          <p:spTgt spid="6"/>
                                        </p:tgtEl>
                                      </p:cBhvr>
                                    </p:animEffect>
                                  </p:childTnLst>
                                </p:cTn>
                              </p:par>
                              <p:par>
                                <p:cTn id="22" presetID="63" presetClass="path" presetSubtype="0" decel="100000" fill="hold" nodeType="withEffect">
                                  <p:stCondLst>
                                    <p:cond delay="900"/>
                                  </p:stCondLst>
                                  <p:childTnLst>
                                    <p:animMotion origin="layout" path="M -0.01455 -1.34362E-6 L -3.90605E-7 -1.34362E-6 " pathEditMode="relative" rAng="0" ptsTypes="AA">
                                      <p:cBhvr>
                                        <p:cTn id="23" dur="950" fill="hold"/>
                                        <p:tgtEl>
                                          <p:spTgt spid="6"/>
                                        </p:tgtEl>
                                        <p:attrNameLst>
                                          <p:attrName>ppt_x</p:attrName>
                                          <p:attrName>ppt_y</p:attrName>
                                        </p:attrNameLst>
                                      </p:cBhvr>
                                      <p:rCtr x="728" y="0"/>
                                    </p:animMotion>
                                  </p:childTnLst>
                                </p:cTn>
                              </p:par>
                              <p:par>
                                <p:cTn id="24" presetID="6" presetClass="emph" presetSubtype="0" accel="100000" autoRev="1" fill="hold" nodeType="withEffect">
                                  <p:stCondLst>
                                    <p:cond delay="200"/>
                                  </p:stCondLst>
                                  <p:childTnLst>
                                    <p:animScale>
                                      <p:cBhvr>
                                        <p:cTn id="25" dur="500" fill="hold"/>
                                        <p:tgtEl>
                                          <p:spTgt spid="6"/>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1.34362E-6 L -3.90605E-7 -1.34362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Lst>
  </p:timing>
  <p:extLst mod="1">
    <p:ext uri="{DCECCB84-F9BA-43D5-87BE-67443E8EF086}">
      <p15:sldGuideLst xmlns:p15="http://schemas.microsoft.com/office/powerpoint/2012/main">
        <p15:guide id="4" orient="horz" pos="4406">
          <p15:clr>
            <a:srgbClr val="C35EA4"/>
          </p15:clr>
        </p15:guide>
      </p15:sldGuideLst>
    </p:ext>
  </p:extLst>
</p:sldLayout>
</file>

<file path=ppt/slideLayouts/slideLayout170.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064871695"/>
      </p:ext>
    </p:extLst>
  </p:cSld>
  <p:clrMapOvr>
    <a:masterClrMapping/>
  </p:clrMapOvr>
  <p:transition>
    <p:fade/>
  </p:transition>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Title Slide Photo_Option">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stretch>
            <a:fillRect/>
          </a:stretch>
        </p:blipFill>
        <p:spPr>
          <a:xfrm>
            <a:off x="0" y="1"/>
            <a:ext cx="12434888" cy="6994525"/>
          </a:xfrm>
          <a:prstGeom prst="rect">
            <a:avLst/>
          </a:prstGeom>
        </p:spPr>
      </p:pic>
      <p:sp>
        <p:nvSpPr>
          <p:cNvPr id="2" name="Rectangle 1"/>
          <p:cNvSpPr/>
          <p:nvPr userDrawn="1"/>
        </p:nvSpPr>
        <p:spPr bwMode="auto">
          <a:xfrm>
            <a:off x="271363" y="2125664"/>
            <a:ext cx="6403223" cy="3561363"/>
          </a:xfrm>
          <a:prstGeom prst="rect">
            <a:avLst/>
          </a:prstGeom>
          <a:solidFill>
            <a:srgbClr val="002050">
              <a:alpha val="8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1" tIns="146264" rIns="182831" bIns="146264" numCol="1" spcCol="0" rtlCol="0" fromWordArt="0" anchor="t" anchorCtr="0" forceAA="0" compatLnSpc="1">
            <a:prstTxWarp prst="textNoShape">
              <a:avLst/>
            </a:prstTxWarp>
            <a:noAutofit/>
          </a:bodyPr>
          <a:lstStyle/>
          <a:p>
            <a:pPr algn="ctr" defTabSz="932200"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74668" y="2125664"/>
            <a:ext cx="6399919" cy="1828800"/>
          </a:xfrm>
          <a:noFill/>
        </p:spPr>
        <p:txBody>
          <a:bodyPr lIns="146304" tIns="91440" rIns="146304" bIns="91440" anchor="t" anchorCtr="0"/>
          <a:lstStyle>
            <a:lvl1pPr>
              <a:defRPr sz="5398" spc="-100" baseline="0">
                <a:gradFill>
                  <a:gsLst>
                    <a:gs pos="64646">
                      <a:srgbClr val="FFFFFF"/>
                    </a:gs>
                    <a:gs pos="4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73015" y="3954445"/>
            <a:ext cx="6401571" cy="1732583"/>
          </a:xfrm>
        </p:spPr>
        <p:txBody>
          <a:bodyPr tIns="109728" bIns="109728">
            <a:noAutofit/>
          </a:bodyPr>
          <a:lstStyle>
            <a:lvl1pPr marL="0" indent="0">
              <a:spcBef>
                <a:spcPts val="0"/>
              </a:spcBef>
              <a:buNone/>
              <a:defRPr sz="3199">
                <a:gradFill>
                  <a:gsLst>
                    <a:gs pos="64646">
                      <a:srgbClr val="FFFFFF"/>
                    </a:gs>
                    <a:gs pos="45000">
                      <a:srgbClr val="FFFFFF"/>
                    </a:gs>
                  </a:gsLst>
                  <a:lin ang="5400000" scaled="0"/>
                </a:gradFill>
              </a:defRPr>
            </a:lvl1pPr>
          </a:lstStyle>
          <a:p>
            <a:pPr lvl="0"/>
            <a:r>
              <a:rPr lang="en-US" dirty="0"/>
              <a:t>Speaker Name</a:t>
            </a:r>
          </a:p>
        </p:txBody>
      </p:sp>
      <p:sp>
        <p:nvSpPr>
          <p:cNvPr id="8" name="Rectangle 7"/>
          <p:cNvSpPr/>
          <p:nvPr userDrawn="1"/>
        </p:nvSpPr>
        <p:spPr bwMode="auto">
          <a:xfrm>
            <a:off x="457142" y="479427"/>
            <a:ext cx="2101710" cy="401541"/>
          </a:xfrm>
          <a:prstGeom prst="rect">
            <a:avLst/>
          </a:prstGeom>
          <a:noFill/>
          <a:ln w="6350" cap="sq">
            <a:solidFill>
              <a:srgbClr val="525252"/>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200" rtl="0" eaLnBrk="1" fontAlgn="base" latinLnBrk="0" hangingPunct="1">
              <a:lnSpc>
                <a:spcPct val="90000"/>
              </a:lnSpc>
              <a:spcBef>
                <a:spcPct val="0"/>
              </a:spcBef>
              <a:spcAft>
                <a:spcPct val="0"/>
              </a:spcAft>
              <a:buClrTx/>
              <a:buSzTx/>
              <a:buFontTx/>
              <a:buNone/>
              <a:tabLst/>
              <a:defRPr/>
            </a:pPr>
            <a:r>
              <a:rPr kumimoji="0" lang="en-US" sz="2800" b="0" i="0" u="none" strike="noStrike" kern="1200" cap="none" spc="0" normalizeH="0" baseline="0" noProof="0" dirty="0">
                <a:ln>
                  <a:noFill/>
                </a:ln>
                <a:gradFill>
                  <a:gsLst>
                    <a:gs pos="93939">
                      <a:srgbClr val="525252"/>
                    </a:gs>
                    <a:gs pos="80808">
                      <a:srgbClr val="525252"/>
                    </a:gs>
                  </a:gsLst>
                  <a:lin ang="5400000" scaled="1"/>
                </a:gradFill>
                <a:effectLst/>
                <a:uLnTx/>
                <a:uFillTx/>
                <a:latin typeface="+mn-lt"/>
                <a:ea typeface="Segoe UI" pitchFamily="34" charset="0"/>
                <a:cs typeface="Segoe UI" pitchFamily="34" charset="0"/>
              </a:rPr>
              <a:t>Product logo</a:t>
            </a:r>
          </a:p>
        </p:txBody>
      </p:sp>
      <p:sp>
        <p:nvSpPr>
          <p:cNvPr id="10" name="Rectangle 9"/>
          <p:cNvSpPr/>
          <p:nvPr userDrawn="1"/>
        </p:nvSpPr>
        <p:spPr bwMode="auto">
          <a:xfrm>
            <a:off x="457142" y="880968"/>
            <a:ext cx="2101710" cy="277098"/>
          </a:xfrm>
          <a:prstGeom prst="rect">
            <a:avLst/>
          </a:prstGeom>
          <a:noFill/>
          <a:ln w="6350" cap="sq">
            <a:noFill/>
            <a:prstDash val="sysDot"/>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200" rtl="0" eaLnBrk="1" fontAlgn="base" latinLnBrk="0" hangingPunct="1">
              <a:lnSpc>
                <a:spcPct val="90000"/>
              </a:lnSpc>
              <a:spcBef>
                <a:spcPct val="0"/>
              </a:spcBef>
              <a:spcAft>
                <a:spcPct val="0"/>
              </a:spcAft>
              <a:buClrTx/>
              <a:buSzTx/>
              <a:buFontTx/>
              <a:buNone/>
              <a:tabLst/>
              <a:defRPr/>
            </a:pPr>
            <a:r>
              <a:rPr kumimoji="0" lang="en-US" sz="1399" b="0" i="0" u="none" strike="noStrike" kern="1200" cap="none" spc="0" normalizeH="0" baseline="0" noProof="0" dirty="0">
                <a:ln>
                  <a:noFill/>
                </a:ln>
                <a:gradFill>
                  <a:gsLst>
                    <a:gs pos="93939">
                      <a:srgbClr val="525252"/>
                    </a:gs>
                    <a:gs pos="80808">
                      <a:srgbClr val="525252"/>
                    </a:gs>
                  </a:gsLst>
                  <a:lin ang="5400000" scaled="1"/>
                </a:gradFill>
                <a:effectLst/>
                <a:uLnTx/>
                <a:uFillTx/>
                <a:latin typeface="+mn-lt"/>
                <a:ea typeface="Segoe UI" pitchFamily="34" charset="0"/>
                <a:cs typeface="Segoe UI" pitchFamily="34" charset="0"/>
              </a:rPr>
              <a:t>Update on slide master</a:t>
            </a:r>
          </a:p>
        </p:txBody>
      </p:sp>
      <p:pic>
        <p:nvPicPr>
          <p:cNvPr id="6" name="Picture 5"/>
          <p:cNvPicPr>
            <a:picLocks noChangeAspect="1"/>
          </p:cNvPicPr>
          <p:nvPr userDrawn="1"/>
        </p:nvPicPr>
        <p:blipFill>
          <a:blip r:embed="rId3"/>
          <a:stretch>
            <a:fillRect/>
          </a:stretch>
        </p:blipFill>
        <p:spPr>
          <a:xfrm>
            <a:off x="455614" y="6149340"/>
            <a:ext cx="1706601" cy="376026"/>
          </a:xfrm>
          <a:prstGeom prst="rect">
            <a:avLst/>
          </a:prstGeom>
        </p:spPr>
      </p:pic>
    </p:spTree>
    <p:extLst>
      <p:ext uri="{BB962C8B-B14F-4D97-AF65-F5344CB8AC3E}">
        <p14:creationId xmlns:p14="http://schemas.microsoft.com/office/powerpoint/2010/main" val="13856272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667" y="2125678"/>
            <a:ext cx="9142769" cy="1828786"/>
          </a:xfrm>
          <a:noFill/>
        </p:spPr>
        <p:txBody>
          <a:bodyPr lIns="146304" tIns="91440" rIns="146304" bIns="91440" anchor="t" anchorCtr="0"/>
          <a:lstStyle>
            <a:lvl1pPr>
              <a:defRPr sz="5398" spc="-100"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667" y="3955787"/>
            <a:ext cx="7314204" cy="1828007"/>
          </a:xfrm>
          <a:noFill/>
        </p:spPr>
        <p:txBody>
          <a:bodyPr lIns="146304" tIns="109728" rIns="146304" bIns="109728">
            <a:noAutofit/>
          </a:bodyPr>
          <a:lstStyle>
            <a:lvl1pPr marL="0" indent="0">
              <a:spcBef>
                <a:spcPts val="0"/>
              </a:spcBef>
              <a:buNone/>
              <a:defRPr sz="3199" spc="0" baseline="0">
                <a:gradFill>
                  <a:gsLst>
                    <a:gs pos="91000">
                      <a:schemeClr val="tx1"/>
                    </a:gs>
                    <a:gs pos="0">
                      <a:schemeClr val="tx1"/>
                    </a:gs>
                  </a:gsLst>
                  <a:lin ang="5400000" scaled="0"/>
                </a:gradFill>
                <a:latin typeface="+mj-lt"/>
              </a:defRPr>
            </a:lvl1pPr>
          </a:lstStyle>
          <a:p>
            <a:pPr lvl="0"/>
            <a:r>
              <a:rPr lang="en-US" dirty="0"/>
              <a:t>Speaker Name</a:t>
            </a:r>
          </a:p>
        </p:txBody>
      </p:sp>
      <p:sp>
        <p:nvSpPr>
          <p:cNvPr id="8" name="Rectangle 7"/>
          <p:cNvSpPr/>
          <p:nvPr userDrawn="1"/>
        </p:nvSpPr>
        <p:spPr bwMode="auto">
          <a:xfrm>
            <a:off x="457142" y="479427"/>
            <a:ext cx="2101710" cy="401541"/>
          </a:xfrm>
          <a:prstGeom prst="rect">
            <a:avLst/>
          </a:prstGeom>
          <a:noFill/>
          <a:ln w="6350" cap="sq">
            <a:solidFill>
              <a:schemeClr val="tx1"/>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200" rtl="0" eaLnBrk="1" fontAlgn="base" latinLnBrk="0" hangingPunct="1">
              <a:lnSpc>
                <a:spcPct val="90000"/>
              </a:lnSpc>
              <a:spcBef>
                <a:spcPct val="0"/>
              </a:spcBef>
              <a:spcAft>
                <a:spcPct val="0"/>
              </a:spcAft>
              <a:buClrTx/>
              <a:buSzTx/>
              <a:buFontTx/>
              <a:buNone/>
              <a:tabLst/>
              <a:defRPr/>
            </a:pPr>
            <a:r>
              <a:rPr kumimoji="0" lang="en-US" sz="2800" b="0" i="0" u="none" strike="noStrike" kern="1200" cap="none" spc="0" normalizeH="0" baseline="0" noProof="0" dirty="0">
                <a:ln>
                  <a:noFill/>
                </a:ln>
                <a:gradFill>
                  <a:gsLst>
                    <a:gs pos="51515">
                      <a:schemeClr val="tx1"/>
                    </a:gs>
                    <a:gs pos="43000">
                      <a:schemeClr val="tx1"/>
                    </a:gs>
                  </a:gsLst>
                  <a:lin ang="5400000" scaled="1"/>
                </a:gradFill>
                <a:effectLst/>
                <a:uLnTx/>
                <a:uFillTx/>
                <a:latin typeface="+mn-lt"/>
                <a:ea typeface="Segoe UI" pitchFamily="34" charset="0"/>
                <a:cs typeface="Segoe UI" pitchFamily="34" charset="0"/>
              </a:rPr>
              <a:t>Product logo</a:t>
            </a:r>
          </a:p>
        </p:txBody>
      </p:sp>
      <p:sp>
        <p:nvSpPr>
          <p:cNvPr id="10" name="Rectangle 9"/>
          <p:cNvSpPr/>
          <p:nvPr userDrawn="1"/>
        </p:nvSpPr>
        <p:spPr bwMode="auto">
          <a:xfrm>
            <a:off x="457142" y="880968"/>
            <a:ext cx="2101710" cy="277098"/>
          </a:xfrm>
          <a:prstGeom prst="rect">
            <a:avLst/>
          </a:prstGeom>
          <a:noFill/>
          <a:ln w="6350" cap="sq">
            <a:noFill/>
            <a:prstDash val="sysDot"/>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200" rtl="0" eaLnBrk="1" fontAlgn="base" latinLnBrk="0" hangingPunct="1">
              <a:lnSpc>
                <a:spcPct val="90000"/>
              </a:lnSpc>
              <a:spcBef>
                <a:spcPct val="0"/>
              </a:spcBef>
              <a:spcAft>
                <a:spcPct val="0"/>
              </a:spcAft>
              <a:buClrTx/>
              <a:buSzTx/>
              <a:buFontTx/>
              <a:buNone/>
              <a:tabLst/>
              <a:defRPr/>
            </a:pPr>
            <a:r>
              <a:rPr kumimoji="0" lang="en-US" sz="1399" b="0" i="0" u="none" strike="noStrike" kern="1200" cap="none" spc="0" normalizeH="0" baseline="0" noProof="0" dirty="0">
                <a:ln>
                  <a:noFill/>
                </a:ln>
                <a:gradFill>
                  <a:gsLst>
                    <a:gs pos="51515">
                      <a:schemeClr val="tx1"/>
                    </a:gs>
                    <a:gs pos="43000">
                      <a:schemeClr val="tx1"/>
                    </a:gs>
                  </a:gsLst>
                  <a:lin ang="5400000" scaled="1"/>
                </a:gradFill>
                <a:effectLst/>
                <a:uLnTx/>
                <a:uFillTx/>
                <a:latin typeface="+mn-lt"/>
                <a:ea typeface="Segoe UI" pitchFamily="34" charset="0"/>
                <a:cs typeface="Segoe UI" pitchFamily="34" charset="0"/>
              </a:rPr>
              <a:t>Update on slide master</a:t>
            </a:r>
          </a:p>
        </p:txBody>
      </p:sp>
    </p:spTree>
    <p:extLst>
      <p:ext uri="{BB962C8B-B14F-4D97-AF65-F5344CB8AC3E}">
        <p14:creationId xmlns:p14="http://schemas.microsoft.com/office/powerpoint/2010/main" val="175648836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04" y="1212851"/>
            <a:ext cx="11885683" cy="1895006"/>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34" indent="0">
              <a:buNone/>
              <a:defRPr/>
            </a:lvl3pPr>
            <a:lvl4pPr marL="457066" indent="0">
              <a:buNone/>
              <a:defRPr/>
            </a:lvl4pPr>
            <a:lvl5pPr marL="6856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15748285"/>
      </p:ext>
    </p:extLst>
  </p:cSld>
  <p:clrMapOvr>
    <a:masterClrMapping/>
  </p:clrMapOvr>
  <p:transition>
    <p:fade/>
  </p:transition>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1_Title &amp; Non-bulleted text White Background">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488">
                <a:solidFill>
                  <a:schemeClr val="bg1"/>
                </a:solidFill>
              </a:defRPr>
            </a:lvl1pPr>
          </a:lstStyle>
          <a:p>
            <a:r>
              <a:rPr lang="en-US" dirty="0"/>
              <a:t>Click to edit Master title style</a:t>
            </a:r>
          </a:p>
        </p:txBody>
      </p:sp>
      <p:sp>
        <p:nvSpPr>
          <p:cNvPr id="6" name="Text Placeholder 5"/>
          <p:cNvSpPr>
            <a:spLocks noGrp="1"/>
          </p:cNvSpPr>
          <p:nvPr>
            <p:ph type="body" sz="quarter" idx="10"/>
          </p:nvPr>
        </p:nvSpPr>
        <p:spPr>
          <a:xfrm>
            <a:off x="274604" y="1212852"/>
            <a:ext cx="11885683" cy="1927761"/>
          </a:xfrm>
        </p:spPr>
        <p:txBody>
          <a:bodyPr/>
          <a:lstStyle>
            <a:lvl1pPr marL="0" indent="0">
              <a:buNone/>
              <a:defRPr sz="3672">
                <a:solidFill>
                  <a:schemeClr val="bg1"/>
                </a:solidFill>
              </a:defRPr>
            </a:lvl1pPr>
            <a:lvl2pPr marL="0" indent="0">
              <a:buFontTx/>
              <a:buNone/>
              <a:defRPr sz="1836">
                <a:solidFill>
                  <a:schemeClr val="bg1"/>
                </a:solidFill>
              </a:defRPr>
            </a:lvl2pPr>
            <a:lvl3pPr marL="228534" indent="0">
              <a:buNone/>
              <a:defRPr sz="1836">
                <a:solidFill>
                  <a:schemeClr val="bg1"/>
                </a:solidFill>
              </a:defRPr>
            </a:lvl3pPr>
            <a:lvl4pPr marL="457066" indent="0">
              <a:buNone/>
              <a:defRPr sz="1632">
                <a:solidFill>
                  <a:schemeClr val="bg1"/>
                </a:solidFill>
              </a:defRPr>
            </a:lvl4pPr>
            <a:lvl5pPr marL="685600" indent="0">
              <a:buNone/>
              <a:defRPr sz="1632">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743076434"/>
      </p:ext>
    </p:extLst>
  </p:cSld>
  <p:clrMapOvr>
    <a:masterClrMapping/>
  </p:clrMapOvr>
  <p:transition>
    <p:fade/>
  </p:transition>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3_Title Only white background">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1746380324"/>
      </p:ext>
    </p:extLst>
  </p:cSld>
  <p:clrMapOvr>
    <a:masterClrMapping/>
  </p:clrMapOvr>
  <p:transition>
    <p:fade/>
  </p:transition>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04" y="1212851"/>
            <a:ext cx="11885683" cy="1891608"/>
          </a:xfrm>
        </p:spPr>
        <p:txBody>
          <a:bodyPr>
            <a:spAutoFit/>
          </a:bodyPr>
          <a:lstStyle>
            <a:lvl1pPr>
              <a:defRPr sz="359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69508952"/>
      </p:ext>
    </p:extLst>
  </p:cSld>
  <p:clrMapOvr>
    <a:masterClrMapping/>
  </p:clrMapOvr>
  <p:transition>
    <p:fade/>
  </p:transition>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05" y="1212849"/>
            <a:ext cx="5485699" cy="1914370"/>
          </a:xfrm>
        </p:spPr>
        <p:txBody>
          <a:bodyPr wrap="square">
            <a:spAutoFit/>
          </a:bodyPr>
          <a:lstStyle>
            <a:lvl1pPr marL="0" indent="0">
              <a:spcBef>
                <a:spcPts val="1224"/>
              </a:spcBef>
              <a:buClr>
                <a:schemeClr val="tx1"/>
              </a:buClr>
              <a:buFont typeface="Wingdings" pitchFamily="2" charset="2"/>
              <a:buNone/>
              <a:defRPr sz="3199"/>
            </a:lvl1pPr>
            <a:lvl2pPr marL="0" indent="0">
              <a:buNone/>
              <a:defRPr sz="2000"/>
            </a:lvl2pPr>
            <a:lvl3pPr marL="231707" indent="0">
              <a:buNone/>
              <a:tabLst/>
              <a:defRPr sz="2000"/>
            </a:lvl3pPr>
            <a:lvl4pPr marL="460241" indent="0">
              <a:buNone/>
              <a:defRPr/>
            </a:lvl4pPr>
            <a:lvl5pPr marL="6856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4588" y="1212849"/>
            <a:ext cx="5485699" cy="1914370"/>
          </a:xfrm>
        </p:spPr>
        <p:txBody>
          <a:bodyPr wrap="square">
            <a:spAutoFit/>
          </a:bodyPr>
          <a:lstStyle>
            <a:lvl1pPr marL="0" indent="0">
              <a:spcBef>
                <a:spcPts val="1224"/>
              </a:spcBef>
              <a:buClr>
                <a:schemeClr val="tx1"/>
              </a:buClr>
              <a:buFont typeface="Wingdings" pitchFamily="2" charset="2"/>
              <a:buNone/>
              <a:defRPr sz="3199"/>
            </a:lvl1pPr>
            <a:lvl2pPr marL="0" indent="0">
              <a:buNone/>
              <a:defRPr sz="2000"/>
            </a:lvl2pPr>
            <a:lvl3pPr marL="231707" indent="0">
              <a:buNone/>
              <a:tabLst/>
              <a:defRPr sz="2000"/>
            </a:lvl3pPr>
            <a:lvl4pPr marL="460241" indent="0">
              <a:buNone/>
              <a:defRPr/>
            </a:lvl4pPr>
            <a:lvl5pPr marL="6856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839362467"/>
      </p:ext>
    </p:extLst>
  </p:cSld>
  <p:clrMapOvr>
    <a:masterClrMapping/>
  </p:clrMapOvr>
  <p:transition>
    <p:fade/>
  </p:transition>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05" y="1212850"/>
            <a:ext cx="5485699" cy="2425279"/>
          </a:xfrm>
        </p:spPr>
        <p:txBody>
          <a:bodyPr wrap="square">
            <a:spAutoFit/>
          </a:bodyPr>
          <a:lstStyle>
            <a:lvl1pPr marL="287253" indent="-287253">
              <a:spcBef>
                <a:spcPts val="1224"/>
              </a:spcBef>
              <a:buClr>
                <a:schemeClr val="tx1"/>
              </a:buClr>
              <a:buFont typeface="Arial" pitchFamily="34" charset="0"/>
              <a:buChar char="•"/>
              <a:defRPr sz="3199"/>
            </a:lvl1pPr>
            <a:lvl2pPr marL="531011" indent="-233127">
              <a:defRPr sz="2400"/>
            </a:lvl2pPr>
            <a:lvl3pPr marL="699380" indent="-168370">
              <a:tabLst/>
              <a:defRPr sz="2000"/>
            </a:lvl3pPr>
            <a:lvl4pPr marL="880701" indent="-181321">
              <a:defRPr/>
            </a:lvl4pPr>
            <a:lvl5pPr marL="1049070" indent="-16837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4588" y="1212850"/>
            <a:ext cx="5485699" cy="2425279"/>
          </a:xfrm>
        </p:spPr>
        <p:txBody>
          <a:bodyPr wrap="square">
            <a:spAutoFit/>
          </a:bodyPr>
          <a:lstStyle>
            <a:lvl1pPr marL="287253" indent="-287253">
              <a:spcBef>
                <a:spcPts val="1224"/>
              </a:spcBef>
              <a:buClr>
                <a:schemeClr val="tx1"/>
              </a:buClr>
              <a:buFont typeface="Arial" pitchFamily="34" charset="0"/>
              <a:buChar char="•"/>
              <a:defRPr sz="3199"/>
            </a:lvl1pPr>
            <a:lvl2pPr marL="531011" indent="-233127">
              <a:defRPr sz="2400"/>
            </a:lvl2pPr>
            <a:lvl3pPr marL="699380" indent="-168370">
              <a:tabLst/>
              <a:defRPr sz="2000"/>
            </a:lvl3pPr>
            <a:lvl4pPr marL="880701" indent="-181321">
              <a:defRPr/>
            </a:lvl4pPr>
            <a:lvl5pPr marL="1049070" indent="-16837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59629981"/>
      </p:ext>
    </p:extLst>
  </p:cSld>
  <p:clrMapOvr>
    <a:masterClrMapping/>
  </p:clrMapOvr>
  <p:transition>
    <p:fade/>
  </p:transition>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944855763"/>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03" y="1212851"/>
            <a:ext cx="11885684" cy="2259059"/>
          </a:xfrm>
        </p:spPr>
        <p:txBody>
          <a:bodyPr>
            <a:spAutoFit/>
          </a:bodyPr>
          <a:lstStyle>
            <a:lvl1pPr>
              <a:buClrTx/>
              <a:defRPr sz="3672">
                <a:solidFill>
                  <a:schemeClr val="tx1"/>
                </a:solidFill>
              </a:defRPr>
            </a:lvl1pPr>
            <a:lvl2pPr>
              <a:buClrTx/>
              <a:defRPr sz="2448">
                <a:solidFill>
                  <a:schemeClr val="tx1"/>
                </a:solidFill>
              </a:defRPr>
            </a:lvl2pPr>
            <a:lvl3pPr>
              <a:buClrTx/>
              <a:defRPr sz="2448">
                <a:solidFill>
                  <a:schemeClr val="tx1"/>
                </a:solidFill>
              </a:defRPr>
            </a:lvl3pPr>
            <a:lvl4pPr>
              <a:buClrTx/>
              <a:defRPr sz="2040">
                <a:solidFill>
                  <a:schemeClr val="tx1"/>
                </a:solidFill>
              </a:defRPr>
            </a:lvl4pPr>
            <a:lvl5pPr>
              <a:buClrTx/>
              <a:defRPr sz="2040">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lvl1pPr>
              <a:defRPr sz="4488"/>
            </a:lvl1pPr>
          </a:lstStyle>
          <a:p>
            <a:r>
              <a:rPr lang="en-US"/>
              <a:t>Click to edit Master title style</a:t>
            </a:r>
          </a:p>
        </p:txBody>
      </p:sp>
    </p:spTree>
    <p:extLst>
      <p:ext uri="{BB962C8B-B14F-4D97-AF65-F5344CB8AC3E}">
        <p14:creationId xmlns:p14="http://schemas.microsoft.com/office/powerpoint/2010/main" val="2979125128"/>
      </p:ext>
    </p:extLst>
  </p:cSld>
  <p:clrMapOvr>
    <a:masterClrMapping/>
  </p:clrMapOvr>
  <p:transition>
    <p:fade/>
  </p:transition>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5" name="Content Placeholder 4"/>
          <p:cNvSpPr>
            <a:spLocks noGrp="1"/>
          </p:cNvSpPr>
          <p:nvPr>
            <p:ph sz="quarter" idx="10"/>
          </p:nvPr>
        </p:nvSpPr>
        <p:spPr>
          <a:xfrm>
            <a:off x="274605" y="983957"/>
            <a:ext cx="11888047" cy="696866"/>
          </a:xfrm>
        </p:spPr>
        <p:txBody>
          <a:bodyPr/>
          <a:lstStyle>
            <a:lvl1pPr marL="0" indent="0" algn="l" defTabSz="932470" rtl="0" eaLnBrk="1" latinLnBrk="0" hangingPunct="1">
              <a:lnSpc>
                <a:spcPct val="90000"/>
              </a:lnSpc>
              <a:spcBef>
                <a:spcPct val="0"/>
              </a:spcBef>
              <a:buNone/>
              <a:defRPr kumimoji="0" lang="en-US" sz="3672" b="0" i="1" u="none" strike="noStrike" kern="1200" cap="none" spc="-102" normalizeH="0" baseline="0" dirty="0" smtClean="0">
                <a:ln w="3175">
                  <a:noFill/>
                </a:ln>
                <a:solidFill>
                  <a:srgbClr val="0078D7"/>
                </a:solidFill>
                <a:effectLst/>
                <a:uLnTx/>
                <a:uFillTx/>
                <a:latin typeface="+mj-lt"/>
                <a:ea typeface="+mn-ea"/>
                <a:cs typeface="Segoe UI" pitchFamily="34" charset="0"/>
              </a:defRPr>
            </a:lvl1pPr>
          </a:lstStyle>
          <a:p>
            <a:pPr lvl="0"/>
            <a:r>
              <a:rPr lang="en-US" dirty="0"/>
              <a:t>Click to edit Master text styles</a:t>
            </a:r>
          </a:p>
        </p:txBody>
      </p:sp>
    </p:spTree>
    <p:extLst>
      <p:ext uri="{BB962C8B-B14F-4D97-AF65-F5344CB8AC3E}">
        <p14:creationId xmlns:p14="http://schemas.microsoft.com/office/powerpoint/2010/main" val="1359105890"/>
      </p:ext>
    </p:extLst>
  </p:cSld>
  <p:clrMapOvr>
    <a:masterClrMapping/>
  </p:clrMapOvr>
  <p:transition>
    <p:fade/>
  </p:transition>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endParaRPr lang="en-US" dirty="0"/>
          </a:p>
        </p:txBody>
      </p:sp>
      <p:sp>
        <p:nvSpPr>
          <p:cNvPr id="5" name="Content Placeholder 4"/>
          <p:cNvSpPr>
            <a:spLocks noGrp="1"/>
          </p:cNvSpPr>
          <p:nvPr>
            <p:ph sz="quarter" idx="10"/>
          </p:nvPr>
        </p:nvSpPr>
        <p:spPr>
          <a:xfrm>
            <a:off x="274605" y="1657504"/>
            <a:ext cx="11888047" cy="696866"/>
          </a:xfrm>
        </p:spPr>
        <p:txBody>
          <a:bodyPr/>
          <a:lstStyle>
            <a:lvl1pPr marL="0" indent="0" algn="l" defTabSz="932470" rtl="0" eaLnBrk="1" latinLnBrk="0" hangingPunct="1">
              <a:lnSpc>
                <a:spcPct val="90000"/>
              </a:lnSpc>
              <a:spcBef>
                <a:spcPct val="0"/>
              </a:spcBef>
              <a:buNone/>
              <a:defRPr kumimoji="0" lang="en-US" sz="3672" b="0" i="1" u="none" strike="noStrike" kern="1200" cap="none" spc="-102" normalizeH="0" baseline="0" dirty="0" smtClean="0">
                <a:ln w="3175">
                  <a:noFill/>
                </a:ln>
                <a:solidFill>
                  <a:srgbClr val="0078D7"/>
                </a:solidFill>
                <a:effectLst/>
                <a:uLnTx/>
                <a:uFillTx/>
                <a:latin typeface="+mj-lt"/>
                <a:ea typeface="+mn-ea"/>
                <a:cs typeface="Segoe UI" pitchFamily="34" charset="0"/>
              </a:defRPr>
            </a:lvl1pPr>
          </a:lstStyle>
          <a:p>
            <a:pPr lvl="0"/>
            <a:r>
              <a:rPr lang="en-US" dirty="0"/>
              <a:t>Click to edit Master text styles</a:t>
            </a:r>
          </a:p>
        </p:txBody>
      </p:sp>
    </p:spTree>
    <p:extLst>
      <p:ext uri="{BB962C8B-B14F-4D97-AF65-F5344CB8AC3E}">
        <p14:creationId xmlns:p14="http://schemas.microsoft.com/office/powerpoint/2010/main" val="1041723754"/>
      </p:ext>
    </p:extLst>
  </p:cSld>
  <p:clrMapOvr>
    <a:masterClrMapping/>
  </p:clrMapOvr>
  <p:transition>
    <p:fade/>
  </p:transition>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4" y="1209974"/>
            <a:ext cx="10055529" cy="1181862"/>
          </a:xfrm>
          <a:noFill/>
        </p:spPr>
        <p:txBody>
          <a:bodyPr tIns="91440" bIns="91440" anchor="t" anchorCtr="0">
            <a:spAutoFit/>
          </a:bodyPr>
          <a:lstStyle>
            <a:lvl1pPr>
              <a:defRPr sz="7197"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05" y="3954463"/>
            <a:ext cx="10057117" cy="794064"/>
          </a:xfrm>
          <a:noFill/>
        </p:spPr>
        <p:txBody>
          <a:bodyPr lIns="182880" tIns="146304" rIns="182880" bIns="146304">
            <a:spAutoFit/>
          </a:bodyPr>
          <a:lstStyle>
            <a:lvl1pPr marL="0" indent="0">
              <a:spcBef>
                <a:spcPts val="0"/>
              </a:spcBef>
              <a:buNone/>
              <a:defRPr sz="3599"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70904614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4" y="1209974"/>
            <a:ext cx="10055529" cy="1181862"/>
          </a:xfrm>
          <a:noFill/>
        </p:spPr>
        <p:txBody>
          <a:bodyPr tIns="91440" bIns="91440" anchor="t" anchorCtr="0">
            <a:spAutoFit/>
          </a:bodyPr>
          <a:lstStyle>
            <a:lvl1pPr>
              <a:defRPr lang="en-US" sz="7197"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416123172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4" y="2125663"/>
            <a:ext cx="11885683" cy="1181862"/>
          </a:xfrm>
          <a:noFill/>
        </p:spPr>
        <p:txBody>
          <a:bodyPr tIns="91440" bIns="91440" anchor="t" anchorCtr="0">
            <a:spAutoFit/>
          </a:bodyPr>
          <a:lstStyle>
            <a:lvl1pPr>
              <a:defRPr sz="7197"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794307638"/>
      </p:ext>
    </p:extLst>
  </p:cSld>
  <p:clrMapOvr>
    <a:masterClrMapping/>
  </p:clrMapOvr>
  <p:transition>
    <p:fade/>
  </p:transition>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4" y="2125663"/>
            <a:ext cx="11885683" cy="1181862"/>
          </a:xfrm>
          <a:noFill/>
        </p:spPr>
        <p:txBody>
          <a:bodyPr tIns="91440" bIns="91440" anchor="t" anchorCtr="0">
            <a:spAutoFit/>
          </a:bodyPr>
          <a:lstStyle>
            <a:lvl1pPr>
              <a:defRPr sz="7197"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510863312"/>
      </p:ext>
    </p:extLst>
  </p:cSld>
  <p:clrMapOvr>
    <a:masterClrMapping/>
  </p:clrMapOvr>
  <p:transition>
    <p:fade/>
  </p:transition>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4" y="2125663"/>
            <a:ext cx="11885683" cy="1181862"/>
          </a:xfrm>
          <a:noFill/>
        </p:spPr>
        <p:txBody>
          <a:bodyPr tIns="91440" bIns="91440" anchor="t" anchorCtr="0">
            <a:spAutoFit/>
          </a:bodyPr>
          <a:lstStyle>
            <a:lvl1pPr>
              <a:defRPr sz="7197"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665670246"/>
      </p:ext>
    </p:extLst>
  </p:cSld>
  <p:clrMapOvr>
    <a:masterClrMapping/>
  </p:clrMapOvr>
  <p:transition>
    <p:fade/>
  </p:transition>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4" y="2125663"/>
            <a:ext cx="11885683" cy="1181862"/>
          </a:xfrm>
          <a:noFill/>
        </p:spPr>
        <p:txBody>
          <a:bodyPr tIns="91440" bIns="91440" anchor="t" anchorCtr="0">
            <a:spAutoFit/>
          </a:bodyPr>
          <a:lstStyle>
            <a:lvl1pPr>
              <a:defRPr sz="7197"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539809948"/>
      </p:ext>
    </p:extLst>
  </p:cSld>
  <p:clrMapOvr>
    <a:masterClrMapping/>
  </p:clrMapOvr>
  <p:transition>
    <p:fade/>
  </p:transition>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5" y="1241427"/>
            <a:ext cx="5485699" cy="2012859"/>
          </a:xfrm>
        </p:spPr>
        <p:txBody>
          <a:bodyPr>
            <a:spAutoFit/>
          </a:bodyPr>
          <a:lstStyle>
            <a:lvl1pPr>
              <a:defRPr sz="6598"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031" y="1"/>
            <a:ext cx="6215857" cy="6992587"/>
          </a:xfrm>
          <a:blipFill>
            <a:blip r:embed="rId2"/>
            <a:stretch>
              <a:fillRect/>
            </a:stretch>
          </a:blipFill>
        </p:spPr>
        <p:txBody>
          <a:bodyPr tIns="548640" anchor="ctr" anchorCtr="0">
            <a:noAutofit/>
          </a:bodyPr>
          <a:lstStyle>
            <a:lvl1pPr marL="0" indent="0" algn="ctr">
              <a:buNone/>
              <a:defRPr sz="1599"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1694656343"/>
      </p:ext>
    </p:extLst>
  </p:cSld>
  <p:clrMapOvr>
    <a:masterClrMapping/>
  </p:clrMapOvr>
  <p:transition>
    <p:fade/>
  </p:transition>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626441492"/>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lvl1pPr>
              <a:defRPr sz="4488"/>
            </a:lvl1pPr>
          </a:lstStyle>
          <a:p>
            <a:r>
              <a:rPr lang="en-US"/>
              <a:t>Click to edit Master title style</a:t>
            </a:r>
          </a:p>
        </p:txBody>
      </p:sp>
    </p:spTree>
    <p:extLst>
      <p:ext uri="{BB962C8B-B14F-4D97-AF65-F5344CB8AC3E}">
        <p14:creationId xmlns:p14="http://schemas.microsoft.com/office/powerpoint/2010/main" val="1517226286"/>
      </p:ext>
    </p:extLst>
  </p:cSld>
  <p:clrMapOvr>
    <a:masterClrMapping/>
  </p:clrMapOvr>
  <p:transition>
    <p:fade/>
  </p:transition>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79000269"/>
      </p:ext>
    </p:extLst>
  </p:cSld>
  <p:clrMapOvr>
    <a:masterClrMapping/>
  </p:clrMapOvr>
  <p:transition>
    <p:fade/>
  </p:transition>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251012"/>
      </p:ext>
    </p:extLst>
  </p:cSld>
  <p:clrMapOvr>
    <a:masterClrMapping/>
  </p:clrMapOvr>
  <p:transition>
    <p:fade/>
  </p:transition>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79734263"/>
      </p:ext>
    </p:extLst>
  </p:cSld>
  <p:clrMapOvr>
    <a:masterClrMapping/>
  </p:clrMapOvr>
  <p:transition>
    <p:fade/>
  </p:transition>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4888"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26" tIns="46626" rIns="46626" bIns="46626" numCol="1" spcCol="0" rtlCol="0" fromWordArt="0" anchor="ctr" anchorCtr="0" forceAA="0" compatLnSpc="1">
            <a:prstTxWarp prst="textNoShape">
              <a:avLst/>
            </a:prstTxWarp>
            <a:noAutofit/>
          </a:bodyPr>
          <a:lstStyle/>
          <a:p>
            <a:pPr algn="ctr" defTabSz="932200" fontAlgn="base">
              <a:spcBef>
                <a:spcPct val="0"/>
              </a:spcBef>
              <a:spcAft>
                <a:spcPct val="0"/>
              </a:spcAft>
            </a:pPr>
            <a:endParaRPr lang="en-US" sz="18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03" y="1221158"/>
            <a:ext cx="11885682" cy="1850058"/>
          </a:xfrm>
        </p:spPr>
        <p:txBody>
          <a:bodyPr/>
          <a:lstStyle>
            <a:lvl1pPr marL="0" indent="0">
              <a:buNone/>
              <a:defRPr sz="3299">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45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43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325"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6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5612274"/>
      </p:ext>
    </p:extLst>
  </p:cSld>
  <p:clrMapOvr>
    <a:masterClrMapping/>
  </p:clrMapOvr>
  <p:transition>
    <p:fade/>
  </p:transition>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04" y="6292890"/>
            <a:ext cx="11854890" cy="403187"/>
          </a:xfrm>
          <a:prstGeom prst="rect">
            <a:avLst/>
          </a:prstGeom>
          <a:noFill/>
          <a:ln w="12700">
            <a:noFill/>
            <a:miter lim="800000"/>
            <a:headEnd type="none" w="sm" len="sm"/>
            <a:tailEnd type="none" w="sm" len="sm"/>
          </a:ln>
          <a:effectLst/>
        </p:spPr>
        <p:txBody>
          <a:bodyPr vert="horz" wrap="square" lIns="182831" tIns="146264" rIns="182831" bIns="146264" numCol="1" anchor="t" anchorCtr="0" compatLnSpc="1">
            <a:prstTxWarp prst="textNoShape">
              <a:avLst/>
            </a:prstTxWarp>
            <a:spAutoFit/>
          </a:bodyPr>
          <a:lstStyle/>
          <a:p>
            <a:pPr defTabSz="932018" eaLnBrk="0" hangingPunct="0"/>
            <a:r>
              <a:rPr lang="en-US" sz="700" dirty="0">
                <a:gradFill>
                  <a:gsLst>
                    <a:gs pos="0">
                      <a:schemeClr val="tx1"/>
                    </a:gs>
                    <a:gs pos="100000">
                      <a:schemeClr val="tx1"/>
                    </a:gs>
                  </a:gsLst>
                  <a:lin ang="5400000" scaled="0"/>
                </a:gradFill>
                <a:cs typeface="Segoe UI" pitchFamily="34" charset="0"/>
              </a:rPr>
              <a:t>© 2015 Microsoft Corporation. All rights reserved. </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9172" y="3145042"/>
            <a:ext cx="3288086" cy="704445"/>
          </a:xfrm>
          <a:prstGeom prst="rect">
            <a:avLst/>
          </a:prstGeom>
        </p:spPr>
      </p:pic>
    </p:spTree>
    <p:extLst>
      <p:ext uri="{BB962C8B-B14F-4D97-AF65-F5344CB8AC3E}">
        <p14:creationId xmlns:p14="http://schemas.microsoft.com/office/powerpoint/2010/main" val="150845893"/>
      </p:ext>
    </p:extLst>
  </p:cSld>
  <p:clrMapOvr>
    <a:masterClrMapping/>
  </p:clrMapOvr>
  <p:transition>
    <p:fade/>
  </p:transition>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04" y="1212851"/>
            <a:ext cx="11885683" cy="2443746"/>
          </a:xfrm>
          <a:prstGeom prst="rect">
            <a:avLst/>
          </a:prstGeom>
        </p:spPr>
        <p:txBody>
          <a:bodyPr/>
          <a:lstStyle>
            <a:lvl1pPr marL="290428" indent="-290428">
              <a:buClr>
                <a:schemeClr val="tx1"/>
              </a:buClr>
              <a:buSzPct val="90000"/>
              <a:buFont typeface="Arial" pitchFamily="34" charset="0"/>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33" indent="-280907">
              <a:buClr>
                <a:schemeClr val="tx1"/>
              </a:buClr>
              <a:buSzPct val="90000"/>
              <a:buFont typeface="Arial" pitchFamily="34" charset="0"/>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761" indent="-290428">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295" indent="-228534">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828" indent="-228534">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363076"/>
            <a:ext cx="12434889"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845314926"/>
      </p:ext>
    </p:extLst>
  </p:cSld>
  <p:clrMapOvr>
    <a:masterClrMapping/>
  </p:clrMapOvr>
  <p:transition>
    <p:fade/>
  </p:transition>
</p:sldLayout>
</file>

<file path=ppt/slideLayouts/slideLayout196.xml><?xml version="1.0" encoding="utf-8"?>
<p:sldLayout xmlns:a="http://schemas.openxmlformats.org/drawingml/2006/main" xmlns:r="http://schemas.openxmlformats.org/officeDocument/2006/relationships" xmlns:p="http://schemas.openxmlformats.org/presentationml/2006/main" userDrawn="1">
  <p:cSld name="11_Title Only white background">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dirty="0"/>
              <a:t>Click to edit Master title style</a:t>
            </a:r>
          </a:p>
        </p:txBody>
      </p:sp>
      <p:sp>
        <p:nvSpPr>
          <p:cNvPr id="43" name="Rectangle 42"/>
          <p:cNvSpPr/>
          <p:nvPr userDrawn="1"/>
        </p:nvSpPr>
        <p:spPr bwMode="auto">
          <a:xfrm>
            <a:off x="0" y="5482956"/>
            <a:ext cx="12434888" cy="976418"/>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8" tIns="46624" rIns="93248" bIns="46624" numCol="1" spcCol="0" rtlCol="0" fromWordArt="0" anchor="ctr" anchorCtr="0" forceAA="0" compatLnSpc="1">
            <a:prstTxWarp prst="textNoShape">
              <a:avLst/>
            </a:prstTxWarp>
            <a:noAutofit/>
          </a:bodyPr>
          <a:lstStyle/>
          <a:p>
            <a:pPr algn="ctr" defTabSz="950933" fontAlgn="base">
              <a:spcBef>
                <a:spcPct val="0"/>
              </a:spcBef>
              <a:spcAft>
                <a:spcPct val="0"/>
              </a:spcAft>
            </a:pPr>
            <a:endParaRPr lang="en-US" sz="2448">
              <a:solidFill>
                <a:schemeClr val="tx1"/>
              </a:solidFill>
              <a:ea typeface="Segoe UI" pitchFamily="34" charset="0"/>
              <a:cs typeface="Segoe UI" pitchFamily="34" charset="0"/>
            </a:endParaRPr>
          </a:p>
        </p:txBody>
      </p:sp>
      <p:sp>
        <p:nvSpPr>
          <p:cNvPr id="49" name="Rectangle 48"/>
          <p:cNvSpPr/>
          <p:nvPr userDrawn="1"/>
        </p:nvSpPr>
        <p:spPr bwMode="auto">
          <a:xfrm>
            <a:off x="-221934" y="6994525"/>
            <a:ext cx="12782769" cy="799374"/>
          </a:xfrm>
          <a:prstGeom prst="rect">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8" tIns="46624" rIns="93248" bIns="46624" numCol="1" spcCol="0" rtlCol="0" fromWordArt="0" anchor="ctr" anchorCtr="0" forceAA="0" compatLnSpc="1">
            <a:prstTxWarp prst="textNoShape">
              <a:avLst/>
            </a:prstTxWarp>
            <a:noAutofit/>
          </a:bodyPr>
          <a:lstStyle/>
          <a:p>
            <a:pPr algn="ctr" defTabSz="950933" fontAlgn="base">
              <a:spcBef>
                <a:spcPct val="0"/>
              </a:spcBef>
              <a:spcAft>
                <a:spcPct val="0"/>
              </a:spcAft>
            </a:pPr>
            <a:endParaRPr lang="en-US" sz="2448">
              <a:solidFill>
                <a:schemeClr val="tx1"/>
              </a:solidFill>
              <a:ea typeface="Segoe UI" pitchFamily="34" charset="0"/>
              <a:cs typeface="Segoe UI" pitchFamily="34" charset="0"/>
            </a:endParaRPr>
          </a:p>
        </p:txBody>
      </p:sp>
      <p:sp>
        <p:nvSpPr>
          <p:cNvPr id="52" name="Rectangle 51"/>
          <p:cNvSpPr/>
          <p:nvPr userDrawn="1"/>
        </p:nvSpPr>
        <p:spPr bwMode="auto">
          <a:xfrm>
            <a:off x="-399693" y="6195152"/>
            <a:ext cx="399693" cy="799374"/>
          </a:xfrm>
          <a:prstGeom prst="rect">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8" tIns="46624" rIns="93248" bIns="46624" numCol="1" spcCol="0" rtlCol="0" fromWordArt="0" anchor="ctr" anchorCtr="0" forceAA="0" compatLnSpc="1">
            <a:prstTxWarp prst="textNoShape">
              <a:avLst/>
            </a:prstTxWarp>
            <a:noAutofit/>
          </a:bodyPr>
          <a:lstStyle/>
          <a:p>
            <a:pPr algn="ctr" defTabSz="950933" fontAlgn="base">
              <a:spcBef>
                <a:spcPct val="0"/>
              </a:spcBef>
              <a:spcAft>
                <a:spcPct val="0"/>
              </a:spcAft>
            </a:pPr>
            <a:endParaRPr lang="en-US" sz="2448">
              <a:solidFill>
                <a:schemeClr val="tx1"/>
              </a:solidFill>
              <a:ea typeface="Segoe UI" pitchFamily="34" charset="0"/>
              <a:cs typeface="Segoe UI" pitchFamily="34" charset="0"/>
            </a:endParaRPr>
          </a:p>
        </p:txBody>
      </p:sp>
      <p:pic>
        <p:nvPicPr>
          <p:cNvPr id="41" name="Picture 40"/>
          <p:cNvPicPr>
            <a:picLocks noChangeAspect="1"/>
          </p:cNvPicPr>
          <p:nvPr userDrawn="1"/>
        </p:nvPicPr>
        <p:blipFill>
          <a:blip r:embed="rId2">
            <a:biLevel thresh="25000"/>
          </a:blip>
          <a:stretch>
            <a:fillRect/>
          </a:stretch>
        </p:blipFill>
        <p:spPr>
          <a:xfrm>
            <a:off x="174928" y="6620265"/>
            <a:ext cx="955268" cy="210480"/>
          </a:xfrm>
          <a:prstGeom prst="rect">
            <a:avLst/>
          </a:prstGeom>
        </p:spPr>
      </p:pic>
    </p:spTree>
    <p:extLst>
      <p:ext uri="{BB962C8B-B14F-4D97-AF65-F5344CB8AC3E}">
        <p14:creationId xmlns:p14="http://schemas.microsoft.com/office/powerpoint/2010/main" val="3280583424"/>
      </p:ext>
    </p:extLst>
  </p:cSld>
  <p:clrMapOvr>
    <a:masterClrMapping/>
  </p:clrMapOvr>
  <p:transition>
    <p:fade/>
  </p:transition>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Title-Content split">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49234" y="522018"/>
            <a:ext cx="5667310" cy="2244707"/>
          </a:xfrm>
        </p:spPr>
        <p:txBody>
          <a:bodyPr>
            <a:noAutofit/>
          </a:bodyPr>
          <a:lstStyle>
            <a:lvl1pPr>
              <a:defRPr>
                <a:solidFill>
                  <a:schemeClr val="bg1"/>
                </a:solidFill>
              </a:defRPr>
            </a:lvl1pPr>
          </a:lstStyle>
          <a:p>
            <a:r>
              <a:rPr lang="en-US" dirty="0"/>
              <a:t>Click to edit Master title style</a:t>
            </a:r>
          </a:p>
        </p:txBody>
      </p:sp>
      <p:sp>
        <p:nvSpPr>
          <p:cNvPr id="36" name="Rectangle 35"/>
          <p:cNvSpPr/>
          <p:nvPr userDrawn="1"/>
        </p:nvSpPr>
        <p:spPr bwMode="auto">
          <a:xfrm>
            <a:off x="0" y="6451106"/>
            <a:ext cx="12434888" cy="543421"/>
          </a:xfrm>
          <a:prstGeom prst="rect">
            <a:avLst/>
          </a:prstGeom>
          <a:solidFill>
            <a:srgbClr val="409AE1"/>
          </a:solidFill>
          <a:ln w="28575">
            <a:noFill/>
          </a:ln>
        </p:spPr>
        <p:txBody>
          <a:bodyPr vert="horz" wrap="square" lIns="93235" tIns="46617" rIns="93235" bIns="46617" numCol="1" anchor="t" anchorCtr="0" compatLnSpc="1">
            <a:prstTxWarp prst="textNoShape">
              <a:avLst/>
            </a:prstTxWarp>
          </a:bodyPr>
          <a:lstStyle/>
          <a:p>
            <a:pPr marR="0" lvl="0" indent="0" defTabSz="951026" fontAlgn="auto">
              <a:lnSpc>
                <a:spcPct val="100000"/>
              </a:lnSpc>
              <a:spcBef>
                <a:spcPts val="0"/>
              </a:spcBef>
              <a:spcAft>
                <a:spcPts val="0"/>
              </a:spcAft>
              <a:buClrTx/>
              <a:buSzTx/>
              <a:buFontTx/>
              <a:buNone/>
              <a:tabLst/>
            </a:pPr>
            <a:endParaRPr kumimoji="0" lang="en-US" sz="1071" b="0" i="0" u="none" strike="noStrike" kern="0" cap="none" spc="0" normalizeH="0" baseline="0">
              <a:ln>
                <a:noFill/>
              </a:ln>
              <a:solidFill>
                <a:srgbClr val="333333"/>
              </a:solidFill>
              <a:effectLst/>
              <a:uLnTx/>
              <a:uFillTx/>
            </a:endParaRPr>
          </a:p>
        </p:txBody>
      </p:sp>
      <p:sp>
        <p:nvSpPr>
          <p:cNvPr id="6" name="Freeform 539"/>
          <p:cNvSpPr>
            <a:spLocks noChangeAspect="1"/>
          </p:cNvSpPr>
          <p:nvPr userDrawn="1"/>
        </p:nvSpPr>
        <p:spPr bwMode="auto">
          <a:xfrm>
            <a:off x="9489145" y="6077722"/>
            <a:ext cx="2007263" cy="1103550"/>
          </a:xfrm>
          <a:custGeom>
            <a:avLst/>
            <a:gdLst>
              <a:gd name="T0" fmla="*/ 312 w 400"/>
              <a:gd name="T1" fmla="*/ 220 h 220"/>
              <a:gd name="T2" fmla="*/ 45 w 400"/>
              <a:gd name="T3" fmla="*/ 220 h 220"/>
              <a:gd name="T4" fmla="*/ 0 w 400"/>
              <a:gd name="T5" fmla="*/ 175 h 220"/>
              <a:gd name="T6" fmla="*/ 34 w 400"/>
              <a:gd name="T7" fmla="*/ 131 h 220"/>
              <a:gd name="T8" fmla="*/ 87 w 400"/>
              <a:gd name="T9" fmla="*/ 91 h 220"/>
              <a:gd name="T10" fmla="*/ 183 w 400"/>
              <a:gd name="T11" fmla="*/ 0 h 220"/>
              <a:gd name="T12" fmla="*/ 270 w 400"/>
              <a:gd name="T13" fmla="*/ 55 h 220"/>
              <a:gd name="T14" fmla="*/ 312 w 400"/>
              <a:gd name="T15" fmla="*/ 44 h 220"/>
              <a:gd name="T16" fmla="*/ 400 w 400"/>
              <a:gd name="T17" fmla="*/ 132 h 220"/>
              <a:gd name="T18" fmla="*/ 312 w 400"/>
              <a:gd name="T19" fmla="*/ 22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220">
                <a:moveTo>
                  <a:pt x="312" y="220"/>
                </a:moveTo>
                <a:cubicBezTo>
                  <a:pt x="45" y="220"/>
                  <a:pt x="45" y="220"/>
                  <a:pt x="45" y="220"/>
                </a:cubicBezTo>
                <a:cubicBezTo>
                  <a:pt x="20" y="220"/>
                  <a:pt x="0" y="200"/>
                  <a:pt x="0" y="175"/>
                </a:cubicBezTo>
                <a:cubicBezTo>
                  <a:pt x="0" y="154"/>
                  <a:pt x="15" y="136"/>
                  <a:pt x="34" y="131"/>
                </a:cubicBezTo>
                <a:cubicBezTo>
                  <a:pt x="43" y="110"/>
                  <a:pt x="63" y="94"/>
                  <a:pt x="87" y="91"/>
                </a:cubicBezTo>
                <a:cubicBezTo>
                  <a:pt x="89" y="40"/>
                  <a:pt x="131" y="0"/>
                  <a:pt x="183" y="0"/>
                </a:cubicBezTo>
                <a:cubicBezTo>
                  <a:pt x="220" y="0"/>
                  <a:pt x="254" y="22"/>
                  <a:pt x="270" y="55"/>
                </a:cubicBezTo>
                <a:cubicBezTo>
                  <a:pt x="282" y="48"/>
                  <a:pt x="297" y="44"/>
                  <a:pt x="312" y="44"/>
                </a:cubicBezTo>
                <a:cubicBezTo>
                  <a:pt x="360" y="44"/>
                  <a:pt x="400" y="84"/>
                  <a:pt x="400" y="132"/>
                </a:cubicBezTo>
                <a:cubicBezTo>
                  <a:pt x="400" y="181"/>
                  <a:pt x="360" y="220"/>
                  <a:pt x="312" y="220"/>
                </a:cubicBezTo>
                <a:close/>
              </a:path>
            </a:pathLst>
          </a:custGeom>
          <a:solidFill>
            <a:srgbClr val="409AE1"/>
          </a:solidFill>
          <a:ln w="28575">
            <a:noFill/>
          </a:ln>
          <a:extLst/>
        </p:spPr>
        <p:txBody>
          <a:bodyPr vert="horz" wrap="square" lIns="93235" tIns="46617" rIns="93235" bIns="46617" numCol="1" anchor="t" anchorCtr="0" compatLnSpc="1">
            <a:prstTxWarp prst="textNoShape">
              <a:avLst/>
            </a:prstTxWarp>
          </a:bodyPr>
          <a:lstStyle/>
          <a:p>
            <a:pPr marL="0" marR="0" lvl="0" indent="0" defTabSz="951026" eaLnBrk="1" fontAlgn="auto" latinLnBrk="0" hangingPunct="1">
              <a:lnSpc>
                <a:spcPct val="100000"/>
              </a:lnSpc>
              <a:spcBef>
                <a:spcPts val="0"/>
              </a:spcBef>
              <a:spcAft>
                <a:spcPts val="0"/>
              </a:spcAft>
              <a:buClrTx/>
              <a:buSzTx/>
              <a:buFontTx/>
              <a:buNone/>
              <a:tabLst/>
              <a:defRPr/>
            </a:pPr>
            <a:endParaRPr kumimoji="0" lang="en-US" sz="1071" b="0" i="0" u="none" strike="noStrike" kern="0" cap="none" spc="0" normalizeH="0" baseline="0" noProof="0" dirty="0">
              <a:ln>
                <a:noFill/>
              </a:ln>
              <a:solidFill>
                <a:srgbClr val="333333"/>
              </a:solidFill>
              <a:effectLst/>
              <a:uLnTx/>
              <a:uFillTx/>
            </a:endParaRPr>
          </a:p>
        </p:txBody>
      </p:sp>
      <p:grpSp>
        <p:nvGrpSpPr>
          <p:cNvPr id="9" name="Group 8"/>
          <p:cNvGrpSpPr/>
          <p:nvPr userDrawn="1"/>
        </p:nvGrpSpPr>
        <p:grpSpPr>
          <a:xfrm>
            <a:off x="9524618" y="6339910"/>
            <a:ext cx="1860976" cy="789126"/>
            <a:chOff x="4494770" y="2621197"/>
            <a:chExt cx="3127126" cy="1326043"/>
          </a:xfrm>
        </p:grpSpPr>
        <p:sp>
          <p:nvSpPr>
            <p:cNvPr id="10" name="Freeform 12"/>
            <p:cNvSpPr>
              <a:spLocks/>
            </p:cNvSpPr>
            <p:nvPr/>
          </p:nvSpPr>
          <p:spPr bwMode="auto">
            <a:xfrm>
              <a:off x="4494770" y="3400845"/>
              <a:ext cx="457856" cy="62986"/>
            </a:xfrm>
            <a:custGeom>
              <a:avLst/>
              <a:gdLst>
                <a:gd name="T0" fmla="*/ 704 w 756"/>
                <a:gd name="T1" fmla="*/ 104 h 104"/>
                <a:gd name="T2" fmla="*/ 52 w 756"/>
                <a:gd name="T3" fmla="*/ 104 h 104"/>
                <a:gd name="T4" fmla="*/ 52 w 756"/>
                <a:gd name="T5" fmla="*/ 104 h 104"/>
                <a:gd name="T6" fmla="*/ 42 w 756"/>
                <a:gd name="T7" fmla="*/ 104 h 104"/>
                <a:gd name="T8" fmla="*/ 32 w 756"/>
                <a:gd name="T9" fmla="*/ 100 h 104"/>
                <a:gd name="T10" fmla="*/ 22 w 756"/>
                <a:gd name="T11" fmla="*/ 96 h 104"/>
                <a:gd name="T12" fmla="*/ 14 w 756"/>
                <a:gd name="T13" fmla="*/ 90 h 104"/>
                <a:gd name="T14" fmla="*/ 8 w 756"/>
                <a:gd name="T15" fmla="*/ 82 h 104"/>
                <a:gd name="T16" fmla="*/ 4 w 756"/>
                <a:gd name="T17" fmla="*/ 72 h 104"/>
                <a:gd name="T18" fmla="*/ 0 w 756"/>
                <a:gd name="T19" fmla="*/ 62 h 104"/>
                <a:gd name="T20" fmla="*/ 0 w 756"/>
                <a:gd name="T21" fmla="*/ 52 h 104"/>
                <a:gd name="T22" fmla="*/ 0 w 756"/>
                <a:gd name="T23" fmla="*/ 52 h 104"/>
                <a:gd name="T24" fmla="*/ 0 w 756"/>
                <a:gd name="T25" fmla="*/ 42 h 104"/>
                <a:gd name="T26" fmla="*/ 4 w 756"/>
                <a:gd name="T27" fmla="*/ 32 h 104"/>
                <a:gd name="T28" fmla="*/ 8 w 756"/>
                <a:gd name="T29" fmla="*/ 22 h 104"/>
                <a:gd name="T30" fmla="*/ 14 w 756"/>
                <a:gd name="T31" fmla="*/ 16 h 104"/>
                <a:gd name="T32" fmla="*/ 22 w 756"/>
                <a:gd name="T33" fmla="*/ 8 h 104"/>
                <a:gd name="T34" fmla="*/ 32 w 756"/>
                <a:gd name="T35" fmla="*/ 4 h 104"/>
                <a:gd name="T36" fmla="*/ 42 w 756"/>
                <a:gd name="T37" fmla="*/ 0 h 104"/>
                <a:gd name="T38" fmla="*/ 52 w 756"/>
                <a:gd name="T39" fmla="*/ 0 h 104"/>
                <a:gd name="T40" fmla="*/ 704 w 756"/>
                <a:gd name="T41" fmla="*/ 0 h 104"/>
                <a:gd name="T42" fmla="*/ 704 w 756"/>
                <a:gd name="T43" fmla="*/ 0 h 104"/>
                <a:gd name="T44" fmla="*/ 714 w 756"/>
                <a:gd name="T45" fmla="*/ 0 h 104"/>
                <a:gd name="T46" fmla="*/ 724 w 756"/>
                <a:gd name="T47" fmla="*/ 4 h 104"/>
                <a:gd name="T48" fmla="*/ 732 w 756"/>
                <a:gd name="T49" fmla="*/ 8 h 104"/>
                <a:gd name="T50" fmla="*/ 740 w 756"/>
                <a:gd name="T51" fmla="*/ 16 h 104"/>
                <a:gd name="T52" fmla="*/ 748 w 756"/>
                <a:gd name="T53" fmla="*/ 22 h 104"/>
                <a:gd name="T54" fmla="*/ 752 w 756"/>
                <a:gd name="T55" fmla="*/ 32 h 104"/>
                <a:gd name="T56" fmla="*/ 756 w 756"/>
                <a:gd name="T57" fmla="*/ 42 h 104"/>
                <a:gd name="T58" fmla="*/ 756 w 756"/>
                <a:gd name="T59" fmla="*/ 52 h 104"/>
                <a:gd name="T60" fmla="*/ 756 w 756"/>
                <a:gd name="T61" fmla="*/ 52 h 104"/>
                <a:gd name="T62" fmla="*/ 756 w 756"/>
                <a:gd name="T63" fmla="*/ 62 h 104"/>
                <a:gd name="T64" fmla="*/ 752 w 756"/>
                <a:gd name="T65" fmla="*/ 72 h 104"/>
                <a:gd name="T66" fmla="*/ 748 w 756"/>
                <a:gd name="T67" fmla="*/ 82 h 104"/>
                <a:gd name="T68" fmla="*/ 740 w 756"/>
                <a:gd name="T69" fmla="*/ 90 h 104"/>
                <a:gd name="T70" fmla="*/ 732 w 756"/>
                <a:gd name="T71" fmla="*/ 96 h 104"/>
                <a:gd name="T72" fmla="*/ 724 w 756"/>
                <a:gd name="T73" fmla="*/ 100 h 104"/>
                <a:gd name="T74" fmla="*/ 714 w 756"/>
                <a:gd name="T75" fmla="*/ 104 h 104"/>
                <a:gd name="T76" fmla="*/ 704 w 756"/>
                <a:gd name="T77" fmla="*/ 104 h 104"/>
                <a:gd name="T78" fmla="*/ 704 w 756"/>
                <a:gd name="T79"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56" h="104">
                  <a:moveTo>
                    <a:pt x="704" y="104"/>
                  </a:moveTo>
                  <a:lnTo>
                    <a:pt x="52" y="104"/>
                  </a:lnTo>
                  <a:lnTo>
                    <a:pt x="52" y="104"/>
                  </a:lnTo>
                  <a:lnTo>
                    <a:pt x="42" y="104"/>
                  </a:lnTo>
                  <a:lnTo>
                    <a:pt x="32" y="100"/>
                  </a:lnTo>
                  <a:lnTo>
                    <a:pt x="22" y="96"/>
                  </a:lnTo>
                  <a:lnTo>
                    <a:pt x="14" y="90"/>
                  </a:lnTo>
                  <a:lnTo>
                    <a:pt x="8" y="82"/>
                  </a:lnTo>
                  <a:lnTo>
                    <a:pt x="4" y="72"/>
                  </a:lnTo>
                  <a:lnTo>
                    <a:pt x="0" y="62"/>
                  </a:lnTo>
                  <a:lnTo>
                    <a:pt x="0" y="52"/>
                  </a:lnTo>
                  <a:lnTo>
                    <a:pt x="0" y="52"/>
                  </a:lnTo>
                  <a:lnTo>
                    <a:pt x="0" y="42"/>
                  </a:lnTo>
                  <a:lnTo>
                    <a:pt x="4" y="32"/>
                  </a:lnTo>
                  <a:lnTo>
                    <a:pt x="8" y="22"/>
                  </a:lnTo>
                  <a:lnTo>
                    <a:pt x="14" y="16"/>
                  </a:lnTo>
                  <a:lnTo>
                    <a:pt x="22" y="8"/>
                  </a:lnTo>
                  <a:lnTo>
                    <a:pt x="32" y="4"/>
                  </a:lnTo>
                  <a:lnTo>
                    <a:pt x="42" y="0"/>
                  </a:lnTo>
                  <a:lnTo>
                    <a:pt x="52" y="0"/>
                  </a:lnTo>
                  <a:lnTo>
                    <a:pt x="704" y="0"/>
                  </a:lnTo>
                  <a:lnTo>
                    <a:pt x="704" y="0"/>
                  </a:lnTo>
                  <a:lnTo>
                    <a:pt x="714" y="0"/>
                  </a:lnTo>
                  <a:lnTo>
                    <a:pt x="724" y="4"/>
                  </a:lnTo>
                  <a:lnTo>
                    <a:pt x="732" y="8"/>
                  </a:lnTo>
                  <a:lnTo>
                    <a:pt x="740" y="16"/>
                  </a:lnTo>
                  <a:lnTo>
                    <a:pt x="748" y="22"/>
                  </a:lnTo>
                  <a:lnTo>
                    <a:pt x="752" y="32"/>
                  </a:lnTo>
                  <a:lnTo>
                    <a:pt x="756" y="42"/>
                  </a:lnTo>
                  <a:lnTo>
                    <a:pt x="756" y="52"/>
                  </a:lnTo>
                  <a:lnTo>
                    <a:pt x="756" y="52"/>
                  </a:lnTo>
                  <a:lnTo>
                    <a:pt x="756" y="62"/>
                  </a:lnTo>
                  <a:lnTo>
                    <a:pt x="752" y="72"/>
                  </a:lnTo>
                  <a:lnTo>
                    <a:pt x="748" y="82"/>
                  </a:lnTo>
                  <a:lnTo>
                    <a:pt x="740" y="90"/>
                  </a:lnTo>
                  <a:lnTo>
                    <a:pt x="732" y="96"/>
                  </a:lnTo>
                  <a:lnTo>
                    <a:pt x="724" y="100"/>
                  </a:lnTo>
                  <a:lnTo>
                    <a:pt x="714" y="104"/>
                  </a:lnTo>
                  <a:lnTo>
                    <a:pt x="704" y="104"/>
                  </a:lnTo>
                  <a:lnTo>
                    <a:pt x="704" y="104"/>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32504"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endParaRPr>
            </a:p>
          </p:txBody>
        </p:sp>
        <p:sp>
          <p:nvSpPr>
            <p:cNvPr id="11" name="Freeform 13"/>
            <p:cNvSpPr>
              <a:spLocks/>
            </p:cNvSpPr>
            <p:nvPr/>
          </p:nvSpPr>
          <p:spPr bwMode="auto">
            <a:xfrm>
              <a:off x="4889641" y="3331803"/>
              <a:ext cx="540222" cy="245886"/>
            </a:xfrm>
            <a:custGeom>
              <a:avLst/>
              <a:gdLst>
                <a:gd name="T0" fmla="*/ 456 w 892"/>
                <a:gd name="T1" fmla="*/ 406 h 406"/>
                <a:gd name="T2" fmla="*/ 436 w 892"/>
                <a:gd name="T3" fmla="*/ 402 h 406"/>
                <a:gd name="T4" fmla="*/ 418 w 892"/>
                <a:gd name="T5" fmla="*/ 390 h 406"/>
                <a:gd name="T6" fmla="*/ 408 w 892"/>
                <a:gd name="T7" fmla="*/ 374 h 406"/>
                <a:gd name="T8" fmla="*/ 404 w 892"/>
                <a:gd name="T9" fmla="*/ 354 h 406"/>
                <a:gd name="T10" fmla="*/ 402 w 892"/>
                <a:gd name="T11" fmla="*/ 346 h 406"/>
                <a:gd name="T12" fmla="*/ 396 w 892"/>
                <a:gd name="T13" fmla="*/ 344 h 406"/>
                <a:gd name="T14" fmla="*/ 164 w 892"/>
                <a:gd name="T15" fmla="*/ 344 h 406"/>
                <a:gd name="T16" fmla="*/ 138 w 892"/>
                <a:gd name="T17" fmla="*/ 344 h 406"/>
                <a:gd name="T18" fmla="*/ 104 w 892"/>
                <a:gd name="T19" fmla="*/ 336 h 406"/>
                <a:gd name="T20" fmla="*/ 66 w 892"/>
                <a:gd name="T21" fmla="*/ 318 h 406"/>
                <a:gd name="T22" fmla="*/ 46 w 892"/>
                <a:gd name="T23" fmla="*/ 302 h 406"/>
                <a:gd name="T24" fmla="*/ 30 w 892"/>
                <a:gd name="T25" fmla="*/ 284 h 406"/>
                <a:gd name="T26" fmla="*/ 14 w 892"/>
                <a:gd name="T27" fmla="*/ 258 h 406"/>
                <a:gd name="T28" fmla="*/ 4 w 892"/>
                <a:gd name="T29" fmla="*/ 224 h 406"/>
                <a:gd name="T30" fmla="*/ 0 w 892"/>
                <a:gd name="T31" fmla="*/ 180 h 406"/>
                <a:gd name="T32" fmla="*/ 0 w 892"/>
                <a:gd name="T33" fmla="*/ 156 h 406"/>
                <a:gd name="T34" fmla="*/ 10 w 892"/>
                <a:gd name="T35" fmla="*/ 114 h 406"/>
                <a:gd name="T36" fmla="*/ 28 w 892"/>
                <a:gd name="T37" fmla="*/ 80 h 406"/>
                <a:gd name="T38" fmla="*/ 52 w 892"/>
                <a:gd name="T39" fmla="*/ 54 h 406"/>
                <a:gd name="T40" fmla="*/ 78 w 892"/>
                <a:gd name="T41" fmla="*/ 32 h 406"/>
                <a:gd name="T42" fmla="*/ 108 w 892"/>
                <a:gd name="T43" fmla="*/ 18 h 406"/>
                <a:gd name="T44" fmla="*/ 150 w 892"/>
                <a:gd name="T45" fmla="*/ 4 h 406"/>
                <a:gd name="T46" fmla="*/ 840 w 892"/>
                <a:gd name="T47" fmla="*/ 0 h 406"/>
                <a:gd name="T48" fmla="*/ 852 w 892"/>
                <a:gd name="T49" fmla="*/ 2 h 406"/>
                <a:gd name="T50" fmla="*/ 870 w 892"/>
                <a:gd name="T51" fmla="*/ 10 h 406"/>
                <a:gd name="T52" fmla="*/ 884 w 892"/>
                <a:gd name="T53" fmla="*/ 24 h 406"/>
                <a:gd name="T54" fmla="*/ 892 w 892"/>
                <a:gd name="T55" fmla="*/ 42 h 406"/>
                <a:gd name="T56" fmla="*/ 892 w 892"/>
                <a:gd name="T57" fmla="*/ 52 h 406"/>
                <a:gd name="T58" fmla="*/ 888 w 892"/>
                <a:gd name="T59" fmla="*/ 74 h 406"/>
                <a:gd name="T60" fmla="*/ 878 w 892"/>
                <a:gd name="T61" fmla="*/ 90 h 406"/>
                <a:gd name="T62" fmla="*/ 860 w 892"/>
                <a:gd name="T63" fmla="*/ 102 h 406"/>
                <a:gd name="T64" fmla="*/ 840 w 892"/>
                <a:gd name="T65" fmla="*/ 106 h 406"/>
                <a:gd name="T66" fmla="*/ 180 w 892"/>
                <a:gd name="T67" fmla="*/ 106 h 406"/>
                <a:gd name="T68" fmla="*/ 148 w 892"/>
                <a:gd name="T69" fmla="*/ 114 h 406"/>
                <a:gd name="T70" fmla="*/ 124 w 892"/>
                <a:gd name="T71" fmla="*/ 130 h 406"/>
                <a:gd name="T72" fmla="*/ 110 w 892"/>
                <a:gd name="T73" fmla="*/ 150 h 406"/>
                <a:gd name="T74" fmla="*/ 104 w 892"/>
                <a:gd name="T75" fmla="*/ 170 h 406"/>
                <a:gd name="T76" fmla="*/ 104 w 892"/>
                <a:gd name="T77" fmla="*/ 180 h 406"/>
                <a:gd name="T78" fmla="*/ 108 w 892"/>
                <a:gd name="T79" fmla="*/ 208 h 406"/>
                <a:gd name="T80" fmla="*/ 118 w 892"/>
                <a:gd name="T81" fmla="*/ 226 h 406"/>
                <a:gd name="T82" fmla="*/ 130 w 892"/>
                <a:gd name="T83" fmla="*/ 234 h 406"/>
                <a:gd name="T84" fmla="*/ 152 w 892"/>
                <a:gd name="T85" fmla="*/ 240 h 406"/>
                <a:gd name="T86" fmla="*/ 394 w 892"/>
                <a:gd name="T87" fmla="*/ 240 h 406"/>
                <a:gd name="T88" fmla="*/ 406 w 892"/>
                <a:gd name="T89" fmla="*/ 240 h 406"/>
                <a:gd name="T90" fmla="*/ 438 w 892"/>
                <a:gd name="T91" fmla="*/ 248 h 406"/>
                <a:gd name="T92" fmla="*/ 464 w 892"/>
                <a:gd name="T93" fmla="*/ 260 h 406"/>
                <a:gd name="T94" fmla="*/ 476 w 892"/>
                <a:gd name="T95" fmla="*/ 270 h 406"/>
                <a:gd name="T96" fmla="*/ 498 w 892"/>
                <a:gd name="T97" fmla="*/ 302 h 406"/>
                <a:gd name="T98" fmla="*/ 506 w 892"/>
                <a:gd name="T99" fmla="*/ 324 h 406"/>
                <a:gd name="T100" fmla="*/ 508 w 892"/>
                <a:gd name="T101" fmla="*/ 354 h 406"/>
                <a:gd name="T102" fmla="*/ 508 w 892"/>
                <a:gd name="T103" fmla="*/ 364 h 406"/>
                <a:gd name="T104" fmla="*/ 500 w 892"/>
                <a:gd name="T105" fmla="*/ 384 h 406"/>
                <a:gd name="T106" fmla="*/ 486 w 892"/>
                <a:gd name="T107" fmla="*/ 398 h 406"/>
                <a:gd name="T108" fmla="*/ 466 w 892"/>
                <a:gd name="T109" fmla="*/ 406 h 406"/>
                <a:gd name="T110" fmla="*/ 456 w 892"/>
                <a:gd name="T111"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892" h="406">
                  <a:moveTo>
                    <a:pt x="456" y="406"/>
                  </a:moveTo>
                  <a:lnTo>
                    <a:pt x="456" y="406"/>
                  </a:lnTo>
                  <a:lnTo>
                    <a:pt x="446" y="406"/>
                  </a:lnTo>
                  <a:lnTo>
                    <a:pt x="436" y="402"/>
                  </a:lnTo>
                  <a:lnTo>
                    <a:pt x="426" y="398"/>
                  </a:lnTo>
                  <a:lnTo>
                    <a:pt x="418" y="390"/>
                  </a:lnTo>
                  <a:lnTo>
                    <a:pt x="412" y="384"/>
                  </a:lnTo>
                  <a:lnTo>
                    <a:pt x="408" y="374"/>
                  </a:lnTo>
                  <a:lnTo>
                    <a:pt x="404" y="364"/>
                  </a:lnTo>
                  <a:lnTo>
                    <a:pt x="404" y="354"/>
                  </a:lnTo>
                  <a:lnTo>
                    <a:pt x="404" y="354"/>
                  </a:lnTo>
                  <a:lnTo>
                    <a:pt x="402" y="346"/>
                  </a:lnTo>
                  <a:lnTo>
                    <a:pt x="402" y="346"/>
                  </a:lnTo>
                  <a:lnTo>
                    <a:pt x="396" y="344"/>
                  </a:lnTo>
                  <a:lnTo>
                    <a:pt x="164" y="344"/>
                  </a:lnTo>
                  <a:lnTo>
                    <a:pt x="164" y="344"/>
                  </a:lnTo>
                  <a:lnTo>
                    <a:pt x="150" y="344"/>
                  </a:lnTo>
                  <a:lnTo>
                    <a:pt x="138" y="344"/>
                  </a:lnTo>
                  <a:lnTo>
                    <a:pt x="122" y="340"/>
                  </a:lnTo>
                  <a:lnTo>
                    <a:pt x="104" y="336"/>
                  </a:lnTo>
                  <a:lnTo>
                    <a:pt x="84" y="328"/>
                  </a:lnTo>
                  <a:lnTo>
                    <a:pt x="66" y="318"/>
                  </a:lnTo>
                  <a:lnTo>
                    <a:pt x="46" y="302"/>
                  </a:lnTo>
                  <a:lnTo>
                    <a:pt x="46" y="302"/>
                  </a:lnTo>
                  <a:lnTo>
                    <a:pt x="38" y="294"/>
                  </a:lnTo>
                  <a:lnTo>
                    <a:pt x="30" y="284"/>
                  </a:lnTo>
                  <a:lnTo>
                    <a:pt x="22" y="272"/>
                  </a:lnTo>
                  <a:lnTo>
                    <a:pt x="14" y="258"/>
                  </a:lnTo>
                  <a:lnTo>
                    <a:pt x="8" y="242"/>
                  </a:lnTo>
                  <a:lnTo>
                    <a:pt x="4" y="224"/>
                  </a:lnTo>
                  <a:lnTo>
                    <a:pt x="0" y="204"/>
                  </a:lnTo>
                  <a:lnTo>
                    <a:pt x="0" y="180"/>
                  </a:lnTo>
                  <a:lnTo>
                    <a:pt x="0" y="180"/>
                  </a:lnTo>
                  <a:lnTo>
                    <a:pt x="0" y="156"/>
                  </a:lnTo>
                  <a:lnTo>
                    <a:pt x="4" y="134"/>
                  </a:lnTo>
                  <a:lnTo>
                    <a:pt x="10" y="114"/>
                  </a:lnTo>
                  <a:lnTo>
                    <a:pt x="18" y="96"/>
                  </a:lnTo>
                  <a:lnTo>
                    <a:pt x="28" y="80"/>
                  </a:lnTo>
                  <a:lnTo>
                    <a:pt x="38" y="66"/>
                  </a:lnTo>
                  <a:lnTo>
                    <a:pt x="52" y="54"/>
                  </a:lnTo>
                  <a:lnTo>
                    <a:pt x="64" y="42"/>
                  </a:lnTo>
                  <a:lnTo>
                    <a:pt x="78" y="32"/>
                  </a:lnTo>
                  <a:lnTo>
                    <a:pt x="92" y="24"/>
                  </a:lnTo>
                  <a:lnTo>
                    <a:pt x="108" y="18"/>
                  </a:lnTo>
                  <a:lnTo>
                    <a:pt x="122" y="12"/>
                  </a:lnTo>
                  <a:lnTo>
                    <a:pt x="150" y="4"/>
                  </a:lnTo>
                  <a:lnTo>
                    <a:pt x="176" y="0"/>
                  </a:lnTo>
                  <a:lnTo>
                    <a:pt x="840" y="0"/>
                  </a:lnTo>
                  <a:lnTo>
                    <a:pt x="840" y="0"/>
                  </a:lnTo>
                  <a:lnTo>
                    <a:pt x="852" y="2"/>
                  </a:lnTo>
                  <a:lnTo>
                    <a:pt x="860" y="4"/>
                  </a:lnTo>
                  <a:lnTo>
                    <a:pt x="870" y="10"/>
                  </a:lnTo>
                  <a:lnTo>
                    <a:pt x="878" y="16"/>
                  </a:lnTo>
                  <a:lnTo>
                    <a:pt x="884" y="24"/>
                  </a:lnTo>
                  <a:lnTo>
                    <a:pt x="888" y="32"/>
                  </a:lnTo>
                  <a:lnTo>
                    <a:pt x="892" y="42"/>
                  </a:lnTo>
                  <a:lnTo>
                    <a:pt x="892" y="52"/>
                  </a:lnTo>
                  <a:lnTo>
                    <a:pt x="892" y="52"/>
                  </a:lnTo>
                  <a:lnTo>
                    <a:pt x="892" y="64"/>
                  </a:lnTo>
                  <a:lnTo>
                    <a:pt x="888" y="74"/>
                  </a:lnTo>
                  <a:lnTo>
                    <a:pt x="884" y="82"/>
                  </a:lnTo>
                  <a:lnTo>
                    <a:pt x="878" y="90"/>
                  </a:lnTo>
                  <a:lnTo>
                    <a:pt x="870" y="96"/>
                  </a:lnTo>
                  <a:lnTo>
                    <a:pt x="860" y="102"/>
                  </a:lnTo>
                  <a:lnTo>
                    <a:pt x="852" y="104"/>
                  </a:lnTo>
                  <a:lnTo>
                    <a:pt x="840" y="106"/>
                  </a:lnTo>
                  <a:lnTo>
                    <a:pt x="180" y="106"/>
                  </a:lnTo>
                  <a:lnTo>
                    <a:pt x="180" y="106"/>
                  </a:lnTo>
                  <a:lnTo>
                    <a:pt x="162" y="108"/>
                  </a:lnTo>
                  <a:lnTo>
                    <a:pt x="148" y="114"/>
                  </a:lnTo>
                  <a:lnTo>
                    <a:pt x="136" y="120"/>
                  </a:lnTo>
                  <a:lnTo>
                    <a:pt x="124" y="130"/>
                  </a:lnTo>
                  <a:lnTo>
                    <a:pt x="114" y="142"/>
                  </a:lnTo>
                  <a:lnTo>
                    <a:pt x="110" y="150"/>
                  </a:lnTo>
                  <a:lnTo>
                    <a:pt x="106" y="158"/>
                  </a:lnTo>
                  <a:lnTo>
                    <a:pt x="104" y="170"/>
                  </a:lnTo>
                  <a:lnTo>
                    <a:pt x="104" y="180"/>
                  </a:lnTo>
                  <a:lnTo>
                    <a:pt x="104" y="180"/>
                  </a:lnTo>
                  <a:lnTo>
                    <a:pt x="106" y="196"/>
                  </a:lnTo>
                  <a:lnTo>
                    <a:pt x="108" y="208"/>
                  </a:lnTo>
                  <a:lnTo>
                    <a:pt x="112" y="218"/>
                  </a:lnTo>
                  <a:lnTo>
                    <a:pt x="118" y="226"/>
                  </a:lnTo>
                  <a:lnTo>
                    <a:pt x="118" y="226"/>
                  </a:lnTo>
                  <a:lnTo>
                    <a:pt x="130" y="234"/>
                  </a:lnTo>
                  <a:lnTo>
                    <a:pt x="142" y="238"/>
                  </a:lnTo>
                  <a:lnTo>
                    <a:pt x="152" y="240"/>
                  </a:lnTo>
                  <a:lnTo>
                    <a:pt x="160" y="240"/>
                  </a:lnTo>
                  <a:lnTo>
                    <a:pt x="394" y="240"/>
                  </a:lnTo>
                  <a:lnTo>
                    <a:pt x="394" y="240"/>
                  </a:lnTo>
                  <a:lnTo>
                    <a:pt x="406" y="240"/>
                  </a:lnTo>
                  <a:lnTo>
                    <a:pt x="426" y="244"/>
                  </a:lnTo>
                  <a:lnTo>
                    <a:pt x="438" y="248"/>
                  </a:lnTo>
                  <a:lnTo>
                    <a:pt x="450" y="252"/>
                  </a:lnTo>
                  <a:lnTo>
                    <a:pt x="464" y="260"/>
                  </a:lnTo>
                  <a:lnTo>
                    <a:pt x="476" y="270"/>
                  </a:lnTo>
                  <a:lnTo>
                    <a:pt x="476" y="270"/>
                  </a:lnTo>
                  <a:lnTo>
                    <a:pt x="488" y="284"/>
                  </a:lnTo>
                  <a:lnTo>
                    <a:pt x="498" y="302"/>
                  </a:lnTo>
                  <a:lnTo>
                    <a:pt x="502" y="312"/>
                  </a:lnTo>
                  <a:lnTo>
                    <a:pt x="506" y="324"/>
                  </a:lnTo>
                  <a:lnTo>
                    <a:pt x="508" y="338"/>
                  </a:lnTo>
                  <a:lnTo>
                    <a:pt x="508" y="354"/>
                  </a:lnTo>
                  <a:lnTo>
                    <a:pt x="508" y="354"/>
                  </a:lnTo>
                  <a:lnTo>
                    <a:pt x="508" y="364"/>
                  </a:lnTo>
                  <a:lnTo>
                    <a:pt x="504" y="374"/>
                  </a:lnTo>
                  <a:lnTo>
                    <a:pt x="500" y="384"/>
                  </a:lnTo>
                  <a:lnTo>
                    <a:pt x="494" y="390"/>
                  </a:lnTo>
                  <a:lnTo>
                    <a:pt x="486" y="398"/>
                  </a:lnTo>
                  <a:lnTo>
                    <a:pt x="476" y="402"/>
                  </a:lnTo>
                  <a:lnTo>
                    <a:pt x="466" y="406"/>
                  </a:lnTo>
                  <a:lnTo>
                    <a:pt x="456" y="406"/>
                  </a:lnTo>
                  <a:lnTo>
                    <a:pt x="456" y="40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32504"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endParaRPr>
            </a:p>
          </p:txBody>
        </p:sp>
        <p:sp>
          <p:nvSpPr>
            <p:cNvPr id="12" name="Freeform 14"/>
            <p:cNvSpPr>
              <a:spLocks/>
            </p:cNvSpPr>
            <p:nvPr/>
          </p:nvSpPr>
          <p:spPr bwMode="auto">
            <a:xfrm>
              <a:off x="6726775" y="3077438"/>
              <a:ext cx="895121" cy="245886"/>
            </a:xfrm>
            <a:custGeom>
              <a:avLst/>
              <a:gdLst>
                <a:gd name="T0" fmla="*/ 52 w 1478"/>
                <a:gd name="T1" fmla="*/ 406 h 406"/>
                <a:gd name="T2" fmla="*/ 32 w 1478"/>
                <a:gd name="T3" fmla="*/ 402 h 406"/>
                <a:gd name="T4" fmla="*/ 14 w 1478"/>
                <a:gd name="T5" fmla="*/ 390 h 406"/>
                <a:gd name="T6" fmla="*/ 4 w 1478"/>
                <a:gd name="T7" fmla="*/ 374 h 406"/>
                <a:gd name="T8" fmla="*/ 0 w 1478"/>
                <a:gd name="T9" fmla="*/ 352 h 406"/>
                <a:gd name="T10" fmla="*/ 0 w 1478"/>
                <a:gd name="T11" fmla="*/ 342 h 406"/>
                <a:gd name="T12" fmla="*/ 8 w 1478"/>
                <a:gd name="T13" fmla="*/ 324 h 406"/>
                <a:gd name="T14" fmla="*/ 22 w 1478"/>
                <a:gd name="T15" fmla="*/ 310 h 406"/>
                <a:gd name="T16" fmla="*/ 42 w 1478"/>
                <a:gd name="T17" fmla="*/ 302 h 406"/>
                <a:gd name="T18" fmla="*/ 1300 w 1478"/>
                <a:gd name="T19" fmla="*/ 300 h 406"/>
                <a:gd name="T20" fmla="*/ 1316 w 1478"/>
                <a:gd name="T21" fmla="*/ 296 h 406"/>
                <a:gd name="T22" fmla="*/ 1342 w 1478"/>
                <a:gd name="T23" fmla="*/ 286 h 406"/>
                <a:gd name="T24" fmla="*/ 1364 w 1478"/>
                <a:gd name="T25" fmla="*/ 264 h 406"/>
                <a:gd name="T26" fmla="*/ 1372 w 1478"/>
                <a:gd name="T27" fmla="*/ 246 h 406"/>
                <a:gd name="T28" fmla="*/ 1374 w 1478"/>
                <a:gd name="T29" fmla="*/ 226 h 406"/>
                <a:gd name="T30" fmla="*/ 1374 w 1478"/>
                <a:gd name="T31" fmla="*/ 210 h 406"/>
                <a:gd name="T32" fmla="*/ 1366 w 1478"/>
                <a:gd name="T33" fmla="*/ 188 h 406"/>
                <a:gd name="T34" fmla="*/ 1360 w 1478"/>
                <a:gd name="T35" fmla="*/ 180 h 406"/>
                <a:gd name="T36" fmla="*/ 1336 w 1478"/>
                <a:gd name="T37" fmla="*/ 168 h 406"/>
                <a:gd name="T38" fmla="*/ 1318 w 1478"/>
                <a:gd name="T39" fmla="*/ 166 h 406"/>
                <a:gd name="T40" fmla="*/ 1084 w 1478"/>
                <a:gd name="T41" fmla="*/ 166 h 406"/>
                <a:gd name="T42" fmla="*/ 1052 w 1478"/>
                <a:gd name="T43" fmla="*/ 162 h 406"/>
                <a:gd name="T44" fmla="*/ 1028 w 1478"/>
                <a:gd name="T45" fmla="*/ 152 h 406"/>
                <a:gd name="T46" fmla="*/ 1002 w 1478"/>
                <a:gd name="T47" fmla="*/ 134 h 406"/>
                <a:gd name="T48" fmla="*/ 990 w 1478"/>
                <a:gd name="T49" fmla="*/ 122 h 406"/>
                <a:gd name="T50" fmla="*/ 976 w 1478"/>
                <a:gd name="T51" fmla="*/ 94 h 406"/>
                <a:gd name="T52" fmla="*/ 970 w 1478"/>
                <a:gd name="T53" fmla="*/ 68 h 406"/>
                <a:gd name="T54" fmla="*/ 970 w 1478"/>
                <a:gd name="T55" fmla="*/ 52 h 406"/>
                <a:gd name="T56" fmla="*/ 974 w 1478"/>
                <a:gd name="T57" fmla="*/ 32 h 406"/>
                <a:gd name="T58" fmla="*/ 984 w 1478"/>
                <a:gd name="T59" fmla="*/ 14 h 406"/>
                <a:gd name="T60" fmla="*/ 1002 w 1478"/>
                <a:gd name="T61" fmla="*/ 4 h 406"/>
                <a:gd name="T62" fmla="*/ 1022 w 1478"/>
                <a:gd name="T63" fmla="*/ 0 h 406"/>
                <a:gd name="T64" fmla="*/ 1032 w 1478"/>
                <a:gd name="T65" fmla="*/ 0 h 406"/>
                <a:gd name="T66" fmla="*/ 1052 w 1478"/>
                <a:gd name="T67" fmla="*/ 8 h 406"/>
                <a:gd name="T68" fmla="*/ 1066 w 1478"/>
                <a:gd name="T69" fmla="*/ 22 h 406"/>
                <a:gd name="T70" fmla="*/ 1074 w 1478"/>
                <a:gd name="T71" fmla="*/ 42 h 406"/>
                <a:gd name="T72" fmla="*/ 1074 w 1478"/>
                <a:gd name="T73" fmla="*/ 52 h 406"/>
                <a:gd name="T74" fmla="*/ 1076 w 1478"/>
                <a:gd name="T75" fmla="*/ 60 h 406"/>
                <a:gd name="T76" fmla="*/ 1314 w 1478"/>
                <a:gd name="T77" fmla="*/ 60 h 406"/>
                <a:gd name="T78" fmla="*/ 1328 w 1478"/>
                <a:gd name="T79" fmla="*/ 60 h 406"/>
                <a:gd name="T80" fmla="*/ 1356 w 1478"/>
                <a:gd name="T81" fmla="*/ 64 h 406"/>
                <a:gd name="T82" fmla="*/ 1394 w 1478"/>
                <a:gd name="T83" fmla="*/ 78 h 406"/>
                <a:gd name="T84" fmla="*/ 1432 w 1478"/>
                <a:gd name="T85" fmla="*/ 104 h 406"/>
                <a:gd name="T86" fmla="*/ 1440 w 1478"/>
                <a:gd name="T87" fmla="*/ 112 h 406"/>
                <a:gd name="T88" fmla="*/ 1456 w 1478"/>
                <a:gd name="T89" fmla="*/ 134 h 406"/>
                <a:gd name="T90" fmla="*/ 1470 w 1478"/>
                <a:gd name="T91" fmla="*/ 164 h 406"/>
                <a:gd name="T92" fmla="*/ 1478 w 1478"/>
                <a:gd name="T93" fmla="*/ 202 h 406"/>
                <a:gd name="T94" fmla="*/ 1478 w 1478"/>
                <a:gd name="T95" fmla="*/ 226 h 406"/>
                <a:gd name="T96" fmla="*/ 1474 w 1478"/>
                <a:gd name="T97" fmla="*/ 272 h 406"/>
                <a:gd name="T98" fmla="*/ 1460 w 1478"/>
                <a:gd name="T99" fmla="*/ 310 h 406"/>
                <a:gd name="T100" fmla="*/ 1440 w 1478"/>
                <a:gd name="T101" fmla="*/ 340 h 406"/>
                <a:gd name="T102" fmla="*/ 1414 w 1478"/>
                <a:gd name="T103" fmla="*/ 364 h 406"/>
                <a:gd name="T104" fmla="*/ 1386 w 1478"/>
                <a:gd name="T105" fmla="*/ 382 h 406"/>
                <a:gd name="T106" fmla="*/ 1356 w 1478"/>
                <a:gd name="T107" fmla="*/ 394 h 406"/>
                <a:gd name="T108" fmla="*/ 1302 w 1478"/>
                <a:gd name="T109"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478" h="406">
                  <a:moveTo>
                    <a:pt x="52" y="406"/>
                  </a:moveTo>
                  <a:lnTo>
                    <a:pt x="52" y="406"/>
                  </a:lnTo>
                  <a:lnTo>
                    <a:pt x="42" y="404"/>
                  </a:lnTo>
                  <a:lnTo>
                    <a:pt x="32" y="402"/>
                  </a:lnTo>
                  <a:lnTo>
                    <a:pt x="22" y="396"/>
                  </a:lnTo>
                  <a:lnTo>
                    <a:pt x="14" y="390"/>
                  </a:lnTo>
                  <a:lnTo>
                    <a:pt x="8" y="382"/>
                  </a:lnTo>
                  <a:lnTo>
                    <a:pt x="4" y="374"/>
                  </a:lnTo>
                  <a:lnTo>
                    <a:pt x="0" y="364"/>
                  </a:lnTo>
                  <a:lnTo>
                    <a:pt x="0" y="352"/>
                  </a:lnTo>
                  <a:lnTo>
                    <a:pt x="0" y="352"/>
                  </a:lnTo>
                  <a:lnTo>
                    <a:pt x="0" y="342"/>
                  </a:lnTo>
                  <a:lnTo>
                    <a:pt x="4" y="332"/>
                  </a:lnTo>
                  <a:lnTo>
                    <a:pt x="8" y="324"/>
                  </a:lnTo>
                  <a:lnTo>
                    <a:pt x="14" y="316"/>
                  </a:lnTo>
                  <a:lnTo>
                    <a:pt x="22" y="310"/>
                  </a:lnTo>
                  <a:lnTo>
                    <a:pt x="32" y="304"/>
                  </a:lnTo>
                  <a:lnTo>
                    <a:pt x="42" y="302"/>
                  </a:lnTo>
                  <a:lnTo>
                    <a:pt x="52" y="300"/>
                  </a:lnTo>
                  <a:lnTo>
                    <a:pt x="1300" y="300"/>
                  </a:lnTo>
                  <a:lnTo>
                    <a:pt x="1300" y="300"/>
                  </a:lnTo>
                  <a:lnTo>
                    <a:pt x="1316" y="296"/>
                  </a:lnTo>
                  <a:lnTo>
                    <a:pt x="1330" y="292"/>
                  </a:lnTo>
                  <a:lnTo>
                    <a:pt x="1342" y="286"/>
                  </a:lnTo>
                  <a:lnTo>
                    <a:pt x="1354" y="276"/>
                  </a:lnTo>
                  <a:lnTo>
                    <a:pt x="1364" y="264"/>
                  </a:lnTo>
                  <a:lnTo>
                    <a:pt x="1368" y="256"/>
                  </a:lnTo>
                  <a:lnTo>
                    <a:pt x="1372" y="246"/>
                  </a:lnTo>
                  <a:lnTo>
                    <a:pt x="1374" y="236"/>
                  </a:lnTo>
                  <a:lnTo>
                    <a:pt x="1374" y="226"/>
                  </a:lnTo>
                  <a:lnTo>
                    <a:pt x="1374" y="226"/>
                  </a:lnTo>
                  <a:lnTo>
                    <a:pt x="1374" y="210"/>
                  </a:lnTo>
                  <a:lnTo>
                    <a:pt x="1370" y="198"/>
                  </a:lnTo>
                  <a:lnTo>
                    <a:pt x="1366" y="188"/>
                  </a:lnTo>
                  <a:lnTo>
                    <a:pt x="1360" y="180"/>
                  </a:lnTo>
                  <a:lnTo>
                    <a:pt x="1360" y="180"/>
                  </a:lnTo>
                  <a:lnTo>
                    <a:pt x="1348" y="172"/>
                  </a:lnTo>
                  <a:lnTo>
                    <a:pt x="1336" y="168"/>
                  </a:lnTo>
                  <a:lnTo>
                    <a:pt x="1326" y="166"/>
                  </a:lnTo>
                  <a:lnTo>
                    <a:pt x="1318" y="166"/>
                  </a:lnTo>
                  <a:lnTo>
                    <a:pt x="1084" y="166"/>
                  </a:lnTo>
                  <a:lnTo>
                    <a:pt x="1084" y="166"/>
                  </a:lnTo>
                  <a:lnTo>
                    <a:pt x="1072" y="166"/>
                  </a:lnTo>
                  <a:lnTo>
                    <a:pt x="1052" y="162"/>
                  </a:lnTo>
                  <a:lnTo>
                    <a:pt x="1040" y="158"/>
                  </a:lnTo>
                  <a:lnTo>
                    <a:pt x="1028" y="152"/>
                  </a:lnTo>
                  <a:lnTo>
                    <a:pt x="1014" y="146"/>
                  </a:lnTo>
                  <a:lnTo>
                    <a:pt x="1002" y="134"/>
                  </a:lnTo>
                  <a:lnTo>
                    <a:pt x="1002" y="134"/>
                  </a:lnTo>
                  <a:lnTo>
                    <a:pt x="990" y="122"/>
                  </a:lnTo>
                  <a:lnTo>
                    <a:pt x="980" y="104"/>
                  </a:lnTo>
                  <a:lnTo>
                    <a:pt x="976" y="94"/>
                  </a:lnTo>
                  <a:lnTo>
                    <a:pt x="972" y="80"/>
                  </a:lnTo>
                  <a:lnTo>
                    <a:pt x="970" y="68"/>
                  </a:lnTo>
                  <a:lnTo>
                    <a:pt x="970" y="52"/>
                  </a:lnTo>
                  <a:lnTo>
                    <a:pt x="970" y="52"/>
                  </a:lnTo>
                  <a:lnTo>
                    <a:pt x="970" y="42"/>
                  </a:lnTo>
                  <a:lnTo>
                    <a:pt x="974" y="32"/>
                  </a:lnTo>
                  <a:lnTo>
                    <a:pt x="978" y="22"/>
                  </a:lnTo>
                  <a:lnTo>
                    <a:pt x="984" y="14"/>
                  </a:lnTo>
                  <a:lnTo>
                    <a:pt x="992" y="8"/>
                  </a:lnTo>
                  <a:lnTo>
                    <a:pt x="1002" y="4"/>
                  </a:lnTo>
                  <a:lnTo>
                    <a:pt x="1012" y="0"/>
                  </a:lnTo>
                  <a:lnTo>
                    <a:pt x="1022" y="0"/>
                  </a:lnTo>
                  <a:lnTo>
                    <a:pt x="1022" y="0"/>
                  </a:lnTo>
                  <a:lnTo>
                    <a:pt x="1032" y="0"/>
                  </a:lnTo>
                  <a:lnTo>
                    <a:pt x="1042" y="4"/>
                  </a:lnTo>
                  <a:lnTo>
                    <a:pt x="1052" y="8"/>
                  </a:lnTo>
                  <a:lnTo>
                    <a:pt x="1060" y="14"/>
                  </a:lnTo>
                  <a:lnTo>
                    <a:pt x="1066" y="22"/>
                  </a:lnTo>
                  <a:lnTo>
                    <a:pt x="1070" y="32"/>
                  </a:lnTo>
                  <a:lnTo>
                    <a:pt x="1074" y="42"/>
                  </a:lnTo>
                  <a:lnTo>
                    <a:pt x="1074" y="52"/>
                  </a:lnTo>
                  <a:lnTo>
                    <a:pt x="1074" y="52"/>
                  </a:lnTo>
                  <a:lnTo>
                    <a:pt x="1076" y="60"/>
                  </a:lnTo>
                  <a:lnTo>
                    <a:pt x="1076" y="60"/>
                  </a:lnTo>
                  <a:lnTo>
                    <a:pt x="1082" y="60"/>
                  </a:lnTo>
                  <a:lnTo>
                    <a:pt x="1314" y="60"/>
                  </a:lnTo>
                  <a:lnTo>
                    <a:pt x="1314" y="60"/>
                  </a:lnTo>
                  <a:lnTo>
                    <a:pt x="1328" y="60"/>
                  </a:lnTo>
                  <a:lnTo>
                    <a:pt x="1340" y="62"/>
                  </a:lnTo>
                  <a:lnTo>
                    <a:pt x="1356" y="64"/>
                  </a:lnTo>
                  <a:lnTo>
                    <a:pt x="1374" y="70"/>
                  </a:lnTo>
                  <a:lnTo>
                    <a:pt x="1394" y="78"/>
                  </a:lnTo>
                  <a:lnTo>
                    <a:pt x="1412" y="88"/>
                  </a:lnTo>
                  <a:lnTo>
                    <a:pt x="1432" y="104"/>
                  </a:lnTo>
                  <a:lnTo>
                    <a:pt x="1432" y="104"/>
                  </a:lnTo>
                  <a:lnTo>
                    <a:pt x="1440" y="112"/>
                  </a:lnTo>
                  <a:lnTo>
                    <a:pt x="1448" y="122"/>
                  </a:lnTo>
                  <a:lnTo>
                    <a:pt x="1456" y="134"/>
                  </a:lnTo>
                  <a:lnTo>
                    <a:pt x="1464" y="148"/>
                  </a:lnTo>
                  <a:lnTo>
                    <a:pt x="1470" y="164"/>
                  </a:lnTo>
                  <a:lnTo>
                    <a:pt x="1474" y="182"/>
                  </a:lnTo>
                  <a:lnTo>
                    <a:pt x="1478" y="202"/>
                  </a:lnTo>
                  <a:lnTo>
                    <a:pt x="1478" y="226"/>
                  </a:lnTo>
                  <a:lnTo>
                    <a:pt x="1478" y="226"/>
                  </a:lnTo>
                  <a:lnTo>
                    <a:pt x="1478" y="250"/>
                  </a:lnTo>
                  <a:lnTo>
                    <a:pt x="1474" y="272"/>
                  </a:lnTo>
                  <a:lnTo>
                    <a:pt x="1468" y="292"/>
                  </a:lnTo>
                  <a:lnTo>
                    <a:pt x="1460" y="310"/>
                  </a:lnTo>
                  <a:lnTo>
                    <a:pt x="1450" y="326"/>
                  </a:lnTo>
                  <a:lnTo>
                    <a:pt x="1440" y="340"/>
                  </a:lnTo>
                  <a:lnTo>
                    <a:pt x="1426" y="352"/>
                  </a:lnTo>
                  <a:lnTo>
                    <a:pt x="1414" y="364"/>
                  </a:lnTo>
                  <a:lnTo>
                    <a:pt x="1400" y="374"/>
                  </a:lnTo>
                  <a:lnTo>
                    <a:pt x="1386" y="382"/>
                  </a:lnTo>
                  <a:lnTo>
                    <a:pt x="1370" y="388"/>
                  </a:lnTo>
                  <a:lnTo>
                    <a:pt x="1356" y="394"/>
                  </a:lnTo>
                  <a:lnTo>
                    <a:pt x="1328" y="402"/>
                  </a:lnTo>
                  <a:lnTo>
                    <a:pt x="1302" y="406"/>
                  </a:lnTo>
                  <a:lnTo>
                    <a:pt x="52" y="40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32504"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endParaRPr>
            </a:p>
          </p:txBody>
        </p:sp>
        <p:sp>
          <p:nvSpPr>
            <p:cNvPr id="13" name="Freeform 15"/>
            <p:cNvSpPr>
              <a:spLocks noEditPoints="1"/>
            </p:cNvSpPr>
            <p:nvPr/>
          </p:nvSpPr>
          <p:spPr bwMode="auto">
            <a:xfrm>
              <a:off x="6892717" y="3505013"/>
              <a:ext cx="208337" cy="208337"/>
            </a:xfrm>
            <a:custGeom>
              <a:avLst/>
              <a:gdLst>
                <a:gd name="T0" fmla="*/ 172 w 344"/>
                <a:gd name="T1" fmla="*/ 344 h 344"/>
                <a:gd name="T2" fmla="*/ 172 w 344"/>
                <a:gd name="T3" fmla="*/ 344 h 344"/>
                <a:gd name="T4" fmla="*/ 142 w 344"/>
                <a:gd name="T5" fmla="*/ 334 h 344"/>
                <a:gd name="T6" fmla="*/ 124 w 344"/>
                <a:gd name="T7" fmla="*/ 312 h 344"/>
                <a:gd name="T8" fmla="*/ 118 w 344"/>
                <a:gd name="T9" fmla="*/ 300 h 344"/>
                <a:gd name="T10" fmla="*/ 102 w 344"/>
                <a:gd name="T11" fmla="*/ 278 h 344"/>
                <a:gd name="T12" fmla="*/ 72 w 344"/>
                <a:gd name="T13" fmla="*/ 248 h 344"/>
                <a:gd name="T14" fmla="*/ 28 w 344"/>
                <a:gd name="T15" fmla="*/ 218 h 344"/>
                <a:gd name="T16" fmla="*/ 16 w 344"/>
                <a:gd name="T17" fmla="*/ 210 h 344"/>
                <a:gd name="T18" fmla="*/ 2 w 344"/>
                <a:gd name="T19" fmla="*/ 186 h 344"/>
                <a:gd name="T20" fmla="*/ 0 w 344"/>
                <a:gd name="T21" fmla="*/ 172 h 344"/>
                <a:gd name="T22" fmla="*/ 8 w 344"/>
                <a:gd name="T23" fmla="*/ 144 h 344"/>
                <a:gd name="T24" fmla="*/ 30 w 344"/>
                <a:gd name="T25" fmla="*/ 124 h 344"/>
                <a:gd name="T26" fmla="*/ 54 w 344"/>
                <a:gd name="T27" fmla="*/ 112 h 344"/>
                <a:gd name="T28" fmla="*/ 90 w 344"/>
                <a:gd name="T29" fmla="*/ 82 h 344"/>
                <a:gd name="T30" fmla="*/ 112 w 344"/>
                <a:gd name="T31" fmla="*/ 54 h 344"/>
                <a:gd name="T32" fmla="*/ 124 w 344"/>
                <a:gd name="T33" fmla="*/ 34 h 344"/>
                <a:gd name="T34" fmla="*/ 126 w 344"/>
                <a:gd name="T35" fmla="*/ 26 h 344"/>
                <a:gd name="T36" fmla="*/ 142 w 344"/>
                <a:gd name="T37" fmla="*/ 10 h 344"/>
                <a:gd name="T38" fmla="*/ 164 w 344"/>
                <a:gd name="T39" fmla="*/ 2 h 344"/>
                <a:gd name="T40" fmla="*/ 172 w 344"/>
                <a:gd name="T41" fmla="*/ 0 h 344"/>
                <a:gd name="T42" fmla="*/ 172 w 344"/>
                <a:gd name="T43" fmla="*/ 0 h 344"/>
                <a:gd name="T44" fmla="*/ 188 w 344"/>
                <a:gd name="T45" fmla="*/ 2 h 344"/>
                <a:gd name="T46" fmla="*/ 214 w 344"/>
                <a:gd name="T47" fmla="*/ 20 h 344"/>
                <a:gd name="T48" fmla="*/ 222 w 344"/>
                <a:gd name="T49" fmla="*/ 34 h 344"/>
                <a:gd name="T50" fmla="*/ 226 w 344"/>
                <a:gd name="T51" fmla="*/ 44 h 344"/>
                <a:gd name="T52" fmla="*/ 242 w 344"/>
                <a:gd name="T53" fmla="*/ 68 h 344"/>
                <a:gd name="T54" fmla="*/ 270 w 344"/>
                <a:gd name="T55" fmla="*/ 96 h 344"/>
                <a:gd name="T56" fmla="*/ 314 w 344"/>
                <a:gd name="T57" fmla="*/ 124 h 344"/>
                <a:gd name="T58" fmla="*/ 328 w 344"/>
                <a:gd name="T59" fmla="*/ 134 h 344"/>
                <a:gd name="T60" fmla="*/ 342 w 344"/>
                <a:gd name="T61" fmla="*/ 160 h 344"/>
                <a:gd name="T62" fmla="*/ 344 w 344"/>
                <a:gd name="T63" fmla="*/ 176 h 344"/>
                <a:gd name="T64" fmla="*/ 340 w 344"/>
                <a:gd name="T65" fmla="*/ 190 h 344"/>
                <a:gd name="T66" fmla="*/ 322 w 344"/>
                <a:gd name="T67" fmla="*/ 214 h 344"/>
                <a:gd name="T68" fmla="*/ 308 w 344"/>
                <a:gd name="T69" fmla="*/ 222 h 344"/>
                <a:gd name="T70" fmla="*/ 276 w 344"/>
                <a:gd name="T71" fmla="*/ 240 h 344"/>
                <a:gd name="T72" fmla="*/ 250 w 344"/>
                <a:gd name="T73" fmla="*/ 266 h 344"/>
                <a:gd name="T74" fmla="*/ 232 w 344"/>
                <a:gd name="T75" fmla="*/ 292 h 344"/>
                <a:gd name="T76" fmla="*/ 220 w 344"/>
                <a:gd name="T77" fmla="*/ 312 h 344"/>
                <a:gd name="T78" fmla="*/ 200 w 344"/>
                <a:gd name="T79" fmla="*/ 336 h 344"/>
                <a:gd name="T80" fmla="*/ 172 w 344"/>
                <a:gd name="T81" fmla="*/ 344 h 344"/>
                <a:gd name="T82" fmla="*/ 146 w 344"/>
                <a:gd name="T83" fmla="*/ 172 h 344"/>
                <a:gd name="T84" fmla="*/ 170 w 344"/>
                <a:gd name="T85" fmla="*/ 196 h 344"/>
                <a:gd name="T86" fmla="*/ 196 w 344"/>
                <a:gd name="T87" fmla="*/ 170 h 344"/>
                <a:gd name="T88" fmla="*/ 172 w 344"/>
                <a:gd name="T89" fmla="*/ 148 h 344"/>
                <a:gd name="T90" fmla="*/ 146 w 344"/>
                <a:gd name="T91" fmla="*/ 172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44" h="344">
                  <a:moveTo>
                    <a:pt x="172" y="344"/>
                  </a:moveTo>
                  <a:lnTo>
                    <a:pt x="172" y="344"/>
                  </a:lnTo>
                  <a:lnTo>
                    <a:pt x="172" y="344"/>
                  </a:lnTo>
                  <a:lnTo>
                    <a:pt x="172" y="344"/>
                  </a:lnTo>
                  <a:lnTo>
                    <a:pt x="156" y="342"/>
                  </a:lnTo>
                  <a:lnTo>
                    <a:pt x="142" y="334"/>
                  </a:lnTo>
                  <a:lnTo>
                    <a:pt x="132" y="324"/>
                  </a:lnTo>
                  <a:lnTo>
                    <a:pt x="124" y="312"/>
                  </a:lnTo>
                  <a:lnTo>
                    <a:pt x="124" y="312"/>
                  </a:lnTo>
                  <a:lnTo>
                    <a:pt x="118" y="300"/>
                  </a:lnTo>
                  <a:lnTo>
                    <a:pt x="112" y="290"/>
                  </a:lnTo>
                  <a:lnTo>
                    <a:pt x="102" y="278"/>
                  </a:lnTo>
                  <a:lnTo>
                    <a:pt x="90" y="264"/>
                  </a:lnTo>
                  <a:lnTo>
                    <a:pt x="72" y="248"/>
                  </a:lnTo>
                  <a:lnTo>
                    <a:pt x="52" y="232"/>
                  </a:lnTo>
                  <a:lnTo>
                    <a:pt x="28" y="218"/>
                  </a:lnTo>
                  <a:lnTo>
                    <a:pt x="28" y="218"/>
                  </a:lnTo>
                  <a:lnTo>
                    <a:pt x="16" y="210"/>
                  </a:lnTo>
                  <a:lnTo>
                    <a:pt x="8" y="198"/>
                  </a:lnTo>
                  <a:lnTo>
                    <a:pt x="2" y="186"/>
                  </a:lnTo>
                  <a:lnTo>
                    <a:pt x="0" y="172"/>
                  </a:lnTo>
                  <a:lnTo>
                    <a:pt x="0" y="172"/>
                  </a:lnTo>
                  <a:lnTo>
                    <a:pt x="2" y="156"/>
                  </a:lnTo>
                  <a:lnTo>
                    <a:pt x="8" y="144"/>
                  </a:lnTo>
                  <a:lnTo>
                    <a:pt x="18" y="132"/>
                  </a:lnTo>
                  <a:lnTo>
                    <a:pt x="30" y="124"/>
                  </a:lnTo>
                  <a:lnTo>
                    <a:pt x="30" y="124"/>
                  </a:lnTo>
                  <a:lnTo>
                    <a:pt x="54" y="112"/>
                  </a:lnTo>
                  <a:lnTo>
                    <a:pt x="74" y="96"/>
                  </a:lnTo>
                  <a:lnTo>
                    <a:pt x="90" y="82"/>
                  </a:lnTo>
                  <a:lnTo>
                    <a:pt x="102" y="68"/>
                  </a:lnTo>
                  <a:lnTo>
                    <a:pt x="112" y="54"/>
                  </a:lnTo>
                  <a:lnTo>
                    <a:pt x="118" y="44"/>
                  </a:lnTo>
                  <a:lnTo>
                    <a:pt x="124" y="34"/>
                  </a:lnTo>
                  <a:lnTo>
                    <a:pt x="124" y="34"/>
                  </a:lnTo>
                  <a:lnTo>
                    <a:pt x="126" y="26"/>
                  </a:lnTo>
                  <a:lnTo>
                    <a:pt x="130" y="20"/>
                  </a:lnTo>
                  <a:lnTo>
                    <a:pt x="142" y="10"/>
                  </a:lnTo>
                  <a:lnTo>
                    <a:pt x="156" y="2"/>
                  </a:lnTo>
                  <a:lnTo>
                    <a:pt x="164" y="2"/>
                  </a:lnTo>
                  <a:lnTo>
                    <a:pt x="172" y="0"/>
                  </a:lnTo>
                  <a:lnTo>
                    <a:pt x="172" y="0"/>
                  </a:lnTo>
                  <a:lnTo>
                    <a:pt x="172" y="0"/>
                  </a:lnTo>
                  <a:lnTo>
                    <a:pt x="172" y="0"/>
                  </a:lnTo>
                  <a:lnTo>
                    <a:pt x="180" y="2"/>
                  </a:lnTo>
                  <a:lnTo>
                    <a:pt x="188" y="2"/>
                  </a:lnTo>
                  <a:lnTo>
                    <a:pt x="202" y="10"/>
                  </a:lnTo>
                  <a:lnTo>
                    <a:pt x="214" y="20"/>
                  </a:lnTo>
                  <a:lnTo>
                    <a:pt x="218" y="28"/>
                  </a:lnTo>
                  <a:lnTo>
                    <a:pt x="222" y="34"/>
                  </a:lnTo>
                  <a:lnTo>
                    <a:pt x="222" y="34"/>
                  </a:lnTo>
                  <a:lnTo>
                    <a:pt x="226" y="44"/>
                  </a:lnTo>
                  <a:lnTo>
                    <a:pt x="232" y="56"/>
                  </a:lnTo>
                  <a:lnTo>
                    <a:pt x="242" y="68"/>
                  </a:lnTo>
                  <a:lnTo>
                    <a:pt x="254" y="82"/>
                  </a:lnTo>
                  <a:lnTo>
                    <a:pt x="270" y="96"/>
                  </a:lnTo>
                  <a:lnTo>
                    <a:pt x="290" y="112"/>
                  </a:lnTo>
                  <a:lnTo>
                    <a:pt x="314" y="124"/>
                  </a:lnTo>
                  <a:lnTo>
                    <a:pt x="314" y="124"/>
                  </a:lnTo>
                  <a:lnTo>
                    <a:pt x="328" y="134"/>
                  </a:lnTo>
                  <a:lnTo>
                    <a:pt x="336" y="146"/>
                  </a:lnTo>
                  <a:lnTo>
                    <a:pt x="342" y="160"/>
                  </a:lnTo>
                  <a:lnTo>
                    <a:pt x="344" y="176"/>
                  </a:lnTo>
                  <a:lnTo>
                    <a:pt x="344" y="176"/>
                  </a:lnTo>
                  <a:lnTo>
                    <a:pt x="342" y="184"/>
                  </a:lnTo>
                  <a:lnTo>
                    <a:pt x="340" y="190"/>
                  </a:lnTo>
                  <a:lnTo>
                    <a:pt x="334" y="204"/>
                  </a:lnTo>
                  <a:lnTo>
                    <a:pt x="322" y="214"/>
                  </a:lnTo>
                  <a:lnTo>
                    <a:pt x="308" y="222"/>
                  </a:lnTo>
                  <a:lnTo>
                    <a:pt x="308" y="222"/>
                  </a:lnTo>
                  <a:lnTo>
                    <a:pt x="292" y="230"/>
                  </a:lnTo>
                  <a:lnTo>
                    <a:pt x="276" y="240"/>
                  </a:lnTo>
                  <a:lnTo>
                    <a:pt x="262" y="252"/>
                  </a:lnTo>
                  <a:lnTo>
                    <a:pt x="250" y="266"/>
                  </a:lnTo>
                  <a:lnTo>
                    <a:pt x="240" y="278"/>
                  </a:lnTo>
                  <a:lnTo>
                    <a:pt x="232" y="292"/>
                  </a:lnTo>
                  <a:lnTo>
                    <a:pt x="220" y="312"/>
                  </a:lnTo>
                  <a:lnTo>
                    <a:pt x="220" y="312"/>
                  </a:lnTo>
                  <a:lnTo>
                    <a:pt x="212" y="326"/>
                  </a:lnTo>
                  <a:lnTo>
                    <a:pt x="200" y="336"/>
                  </a:lnTo>
                  <a:lnTo>
                    <a:pt x="188" y="342"/>
                  </a:lnTo>
                  <a:lnTo>
                    <a:pt x="172" y="344"/>
                  </a:lnTo>
                  <a:lnTo>
                    <a:pt x="172" y="344"/>
                  </a:lnTo>
                  <a:close/>
                  <a:moveTo>
                    <a:pt x="146" y="172"/>
                  </a:moveTo>
                  <a:lnTo>
                    <a:pt x="146" y="172"/>
                  </a:lnTo>
                  <a:lnTo>
                    <a:pt x="170" y="196"/>
                  </a:lnTo>
                  <a:lnTo>
                    <a:pt x="170" y="196"/>
                  </a:lnTo>
                  <a:lnTo>
                    <a:pt x="196" y="170"/>
                  </a:lnTo>
                  <a:lnTo>
                    <a:pt x="196" y="170"/>
                  </a:lnTo>
                  <a:lnTo>
                    <a:pt x="172" y="148"/>
                  </a:lnTo>
                  <a:lnTo>
                    <a:pt x="172" y="148"/>
                  </a:lnTo>
                  <a:lnTo>
                    <a:pt x="146" y="172"/>
                  </a:lnTo>
                  <a:lnTo>
                    <a:pt x="146" y="172"/>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32504"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endParaRPr>
            </a:p>
          </p:txBody>
        </p:sp>
        <p:sp>
          <p:nvSpPr>
            <p:cNvPr id="14" name="Freeform 18"/>
            <p:cNvSpPr>
              <a:spLocks/>
            </p:cNvSpPr>
            <p:nvPr/>
          </p:nvSpPr>
          <p:spPr bwMode="auto">
            <a:xfrm>
              <a:off x="6965393" y="3268818"/>
              <a:ext cx="64197" cy="213182"/>
            </a:xfrm>
            <a:custGeom>
              <a:avLst/>
              <a:gdLst>
                <a:gd name="T0" fmla="*/ 52 w 106"/>
                <a:gd name="T1" fmla="*/ 352 h 352"/>
                <a:gd name="T2" fmla="*/ 52 w 106"/>
                <a:gd name="T3" fmla="*/ 352 h 352"/>
                <a:gd name="T4" fmla="*/ 52 w 106"/>
                <a:gd name="T5" fmla="*/ 352 h 352"/>
                <a:gd name="T6" fmla="*/ 52 w 106"/>
                <a:gd name="T7" fmla="*/ 352 h 352"/>
                <a:gd name="T8" fmla="*/ 40 w 106"/>
                <a:gd name="T9" fmla="*/ 352 h 352"/>
                <a:gd name="T10" fmla="*/ 32 w 106"/>
                <a:gd name="T11" fmla="*/ 348 h 352"/>
                <a:gd name="T12" fmla="*/ 22 w 106"/>
                <a:gd name="T13" fmla="*/ 342 h 352"/>
                <a:gd name="T14" fmla="*/ 14 w 106"/>
                <a:gd name="T15" fmla="*/ 336 h 352"/>
                <a:gd name="T16" fmla="*/ 8 w 106"/>
                <a:gd name="T17" fmla="*/ 328 h 352"/>
                <a:gd name="T18" fmla="*/ 4 w 106"/>
                <a:gd name="T19" fmla="*/ 320 h 352"/>
                <a:gd name="T20" fmla="*/ 0 w 106"/>
                <a:gd name="T21" fmla="*/ 310 h 352"/>
                <a:gd name="T22" fmla="*/ 0 w 106"/>
                <a:gd name="T23" fmla="*/ 300 h 352"/>
                <a:gd name="T24" fmla="*/ 0 w 106"/>
                <a:gd name="T25" fmla="*/ 300 h 352"/>
                <a:gd name="T26" fmla="*/ 0 w 106"/>
                <a:gd name="T27" fmla="*/ 134 h 352"/>
                <a:gd name="T28" fmla="*/ 0 w 106"/>
                <a:gd name="T29" fmla="*/ 44 h 352"/>
                <a:gd name="T30" fmla="*/ 52 w 106"/>
                <a:gd name="T31" fmla="*/ 36 h 352"/>
                <a:gd name="T32" fmla="*/ 90 w 106"/>
                <a:gd name="T33" fmla="*/ 0 h 352"/>
                <a:gd name="T34" fmla="*/ 90 w 106"/>
                <a:gd name="T35" fmla="*/ 0 h 352"/>
                <a:gd name="T36" fmla="*/ 96 w 106"/>
                <a:gd name="T37" fmla="*/ 6 h 352"/>
                <a:gd name="T38" fmla="*/ 100 w 106"/>
                <a:gd name="T39" fmla="*/ 16 h 352"/>
                <a:gd name="T40" fmla="*/ 104 w 106"/>
                <a:gd name="T41" fmla="*/ 28 h 352"/>
                <a:gd name="T42" fmla="*/ 106 w 106"/>
                <a:gd name="T43" fmla="*/ 52 h 352"/>
                <a:gd name="T44" fmla="*/ 106 w 106"/>
                <a:gd name="T45" fmla="*/ 138 h 352"/>
                <a:gd name="T46" fmla="*/ 104 w 106"/>
                <a:gd name="T47" fmla="*/ 300 h 352"/>
                <a:gd name="T48" fmla="*/ 104 w 106"/>
                <a:gd name="T49" fmla="*/ 300 h 352"/>
                <a:gd name="T50" fmla="*/ 104 w 106"/>
                <a:gd name="T51" fmla="*/ 310 h 352"/>
                <a:gd name="T52" fmla="*/ 100 w 106"/>
                <a:gd name="T53" fmla="*/ 320 h 352"/>
                <a:gd name="T54" fmla="*/ 96 w 106"/>
                <a:gd name="T55" fmla="*/ 330 h 352"/>
                <a:gd name="T56" fmla="*/ 88 w 106"/>
                <a:gd name="T57" fmla="*/ 338 h 352"/>
                <a:gd name="T58" fmla="*/ 82 w 106"/>
                <a:gd name="T59" fmla="*/ 344 h 352"/>
                <a:gd name="T60" fmla="*/ 72 w 106"/>
                <a:gd name="T61" fmla="*/ 348 h 352"/>
                <a:gd name="T62" fmla="*/ 62 w 106"/>
                <a:gd name="T63" fmla="*/ 352 h 352"/>
                <a:gd name="T64" fmla="*/ 52 w 106"/>
                <a:gd name="T65" fmla="*/ 352 h 352"/>
                <a:gd name="T66" fmla="*/ 52 w 106"/>
                <a:gd name="T67" fmla="*/ 352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6" h="352">
                  <a:moveTo>
                    <a:pt x="52" y="352"/>
                  </a:moveTo>
                  <a:lnTo>
                    <a:pt x="52" y="352"/>
                  </a:lnTo>
                  <a:lnTo>
                    <a:pt x="52" y="352"/>
                  </a:lnTo>
                  <a:lnTo>
                    <a:pt x="52" y="352"/>
                  </a:lnTo>
                  <a:lnTo>
                    <a:pt x="40" y="352"/>
                  </a:lnTo>
                  <a:lnTo>
                    <a:pt x="32" y="348"/>
                  </a:lnTo>
                  <a:lnTo>
                    <a:pt x="22" y="342"/>
                  </a:lnTo>
                  <a:lnTo>
                    <a:pt x="14" y="336"/>
                  </a:lnTo>
                  <a:lnTo>
                    <a:pt x="8" y="328"/>
                  </a:lnTo>
                  <a:lnTo>
                    <a:pt x="4" y="320"/>
                  </a:lnTo>
                  <a:lnTo>
                    <a:pt x="0" y="310"/>
                  </a:lnTo>
                  <a:lnTo>
                    <a:pt x="0" y="300"/>
                  </a:lnTo>
                  <a:lnTo>
                    <a:pt x="0" y="300"/>
                  </a:lnTo>
                  <a:lnTo>
                    <a:pt x="0" y="134"/>
                  </a:lnTo>
                  <a:lnTo>
                    <a:pt x="0" y="44"/>
                  </a:lnTo>
                  <a:lnTo>
                    <a:pt x="52" y="36"/>
                  </a:lnTo>
                  <a:lnTo>
                    <a:pt x="90" y="0"/>
                  </a:lnTo>
                  <a:lnTo>
                    <a:pt x="90" y="0"/>
                  </a:lnTo>
                  <a:lnTo>
                    <a:pt x="96" y="6"/>
                  </a:lnTo>
                  <a:lnTo>
                    <a:pt x="100" y="16"/>
                  </a:lnTo>
                  <a:lnTo>
                    <a:pt x="104" y="28"/>
                  </a:lnTo>
                  <a:lnTo>
                    <a:pt x="106" y="52"/>
                  </a:lnTo>
                  <a:lnTo>
                    <a:pt x="106" y="138"/>
                  </a:lnTo>
                  <a:lnTo>
                    <a:pt x="104" y="300"/>
                  </a:lnTo>
                  <a:lnTo>
                    <a:pt x="104" y="300"/>
                  </a:lnTo>
                  <a:lnTo>
                    <a:pt x="104" y="310"/>
                  </a:lnTo>
                  <a:lnTo>
                    <a:pt x="100" y="320"/>
                  </a:lnTo>
                  <a:lnTo>
                    <a:pt x="96" y="330"/>
                  </a:lnTo>
                  <a:lnTo>
                    <a:pt x="88" y="338"/>
                  </a:lnTo>
                  <a:lnTo>
                    <a:pt x="82" y="344"/>
                  </a:lnTo>
                  <a:lnTo>
                    <a:pt x="72" y="348"/>
                  </a:lnTo>
                  <a:lnTo>
                    <a:pt x="62" y="352"/>
                  </a:lnTo>
                  <a:lnTo>
                    <a:pt x="52" y="352"/>
                  </a:lnTo>
                  <a:lnTo>
                    <a:pt x="52" y="352"/>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32504"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endParaRPr>
            </a:p>
          </p:txBody>
        </p:sp>
        <p:sp>
          <p:nvSpPr>
            <p:cNvPr id="15" name="Freeform 19"/>
            <p:cNvSpPr>
              <a:spLocks noEditPoints="1"/>
            </p:cNvSpPr>
            <p:nvPr/>
          </p:nvSpPr>
          <p:spPr bwMode="auto">
            <a:xfrm>
              <a:off x="5077386" y="3609182"/>
              <a:ext cx="186534" cy="185323"/>
            </a:xfrm>
            <a:custGeom>
              <a:avLst/>
              <a:gdLst>
                <a:gd name="T0" fmla="*/ 154 w 308"/>
                <a:gd name="T1" fmla="*/ 306 h 306"/>
                <a:gd name="T2" fmla="*/ 124 w 308"/>
                <a:gd name="T3" fmla="*/ 304 h 306"/>
                <a:gd name="T4" fmla="*/ 94 w 308"/>
                <a:gd name="T5" fmla="*/ 294 h 306"/>
                <a:gd name="T6" fmla="*/ 68 w 308"/>
                <a:gd name="T7" fmla="*/ 280 h 306"/>
                <a:gd name="T8" fmla="*/ 46 w 308"/>
                <a:gd name="T9" fmla="*/ 262 h 306"/>
                <a:gd name="T10" fmla="*/ 26 w 308"/>
                <a:gd name="T11" fmla="*/ 240 h 306"/>
                <a:gd name="T12" fmla="*/ 12 w 308"/>
                <a:gd name="T13" fmla="*/ 212 h 306"/>
                <a:gd name="T14" fmla="*/ 4 w 308"/>
                <a:gd name="T15" fmla="*/ 184 h 306"/>
                <a:gd name="T16" fmla="*/ 0 w 308"/>
                <a:gd name="T17" fmla="*/ 154 h 306"/>
                <a:gd name="T18" fmla="*/ 2 w 308"/>
                <a:gd name="T19" fmla="*/ 138 h 306"/>
                <a:gd name="T20" fmla="*/ 8 w 308"/>
                <a:gd name="T21" fmla="*/ 108 h 306"/>
                <a:gd name="T22" fmla="*/ 20 w 308"/>
                <a:gd name="T23" fmla="*/ 80 h 306"/>
                <a:gd name="T24" fmla="*/ 36 w 308"/>
                <a:gd name="T25" fmla="*/ 56 h 306"/>
                <a:gd name="T26" fmla="*/ 56 w 308"/>
                <a:gd name="T27" fmla="*/ 34 h 306"/>
                <a:gd name="T28" fmla="*/ 82 w 308"/>
                <a:gd name="T29" fmla="*/ 18 h 306"/>
                <a:gd name="T30" fmla="*/ 108 w 308"/>
                <a:gd name="T31" fmla="*/ 6 h 306"/>
                <a:gd name="T32" fmla="*/ 138 w 308"/>
                <a:gd name="T33" fmla="*/ 0 h 306"/>
                <a:gd name="T34" fmla="*/ 154 w 308"/>
                <a:gd name="T35" fmla="*/ 0 h 306"/>
                <a:gd name="T36" fmla="*/ 186 w 308"/>
                <a:gd name="T37" fmla="*/ 2 h 306"/>
                <a:gd name="T38" fmla="*/ 214 w 308"/>
                <a:gd name="T39" fmla="*/ 12 h 306"/>
                <a:gd name="T40" fmla="*/ 240 w 308"/>
                <a:gd name="T41" fmla="*/ 26 h 306"/>
                <a:gd name="T42" fmla="*/ 262 w 308"/>
                <a:gd name="T43" fmla="*/ 44 h 306"/>
                <a:gd name="T44" fmla="*/ 282 w 308"/>
                <a:gd name="T45" fmla="*/ 68 h 306"/>
                <a:gd name="T46" fmla="*/ 296 w 308"/>
                <a:gd name="T47" fmla="*/ 94 h 306"/>
                <a:gd name="T48" fmla="*/ 304 w 308"/>
                <a:gd name="T49" fmla="*/ 122 h 306"/>
                <a:gd name="T50" fmla="*/ 308 w 308"/>
                <a:gd name="T51" fmla="*/ 154 h 306"/>
                <a:gd name="T52" fmla="*/ 308 w 308"/>
                <a:gd name="T53" fmla="*/ 168 h 306"/>
                <a:gd name="T54" fmla="*/ 302 w 308"/>
                <a:gd name="T55" fmla="*/ 198 h 306"/>
                <a:gd name="T56" fmla="*/ 290 w 308"/>
                <a:gd name="T57" fmla="*/ 226 h 306"/>
                <a:gd name="T58" fmla="*/ 272 w 308"/>
                <a:gd name="T59" fmla="*/ 250 h 306"/>
                <a:gd name="T60" fmla="*/ 252 w 308"/>
                <a:gd name="T61" fmla="*/ 272 h 306"/>
                <a:gd name="T62" fmla="*/ 228 w 308"/>
                <a:gd name="T63" fmla="*/ 288 h 306"/>
                <a:gd name="T64" fmla="*/ 200 w 308"/>
                <a:gd name="T65" fmla="*/ 300 h 306"/>
                <a:gd name="T66" fmla="*/ 170 w 308"/>
                <a:gd name="T67" fmla="*/ 306 h 306"/>
                <a:gd name="T68" fmla="*/ 154 w 308"/>
                <a:gd name="T69" fmla="*/ 306 h 306"/>
                <a:gd name="T70" fmla="*/ 154 w 308"/>
                <a:gd name="T71" fmla="*/ 104 h 306"/>
                <a:gd name="T72" fmla="*/ 136 w 308"/>
                <a:gd name="T73" fmla="*/ 108 h 306"/>
                <a:gd name="T74" fmla="*/ 120 w 308"/>
                <a:gd name="T75" fmla="*/ 118 h 306"/>
                <a:gd name="T76" fmla="*/ 110 w 308"/>
                <a:gd name="T77" fmla="*/ 134 h 306"/>
                <a:gd name="T78" fmla="*/ 106 w 308"/>
                <a:gd name="T79" fmla="*/ 154 h 306"/>
                <a:gd name="T80" fmla="*/ 106 w 308"/>
                <a:gd name="T81" fmla="*/ 164 h 306"/>
                <a:gd name="T82" fmla="*/ 114 w 308"/>
                <a:gd name="T83" fmla="*/ 180 h 306"/>
                <a:gd name="T84" fmla="*/ 128 w 308"/>
                <a:gd name="T85" fmla="*/ 194 h 306"/>
                <a:gd name="T86" fmla="*/ 144 w 308"/>
                <a:gd name="T87" fmla="*/ 200 h 306"/>
                <a:gd name="T88" fmla="*/ 154 w 308"/>
                <a:gd name="T89" fmla="*/ 202 h 306"/>
                <a:gd name="T90" fmla="*/ 174 w 308"/>
                <a:gd name="T91" fmla="*/ 198 h 306"/>
                <a:gd name="T92" fmla="*/ 188 w 308"/>
                <a:gd name="T93" fmla="*/ 188 h 306"/>
                <a:gd name="T94" fmla="*/ 200 w 308"/>
                <a:gd name="T95" fmla="*/ 172 h 306"/>
                <a:gd name="T96" fmla="*/ 202 w 308"/>
                <a:gd name="T97" fmla="*/ 154 h 306"/>
                <a:gd name="T98" fmla="*/ 202 w 308"/>
                <a:gd name="T99" fmla="*/ 144 h 306"/>
                <a:gd name="T100" fmla="*/ 194 w 308"/>
                <a:gd name="T101" fmla="*/ 126 h 306"/>
                <a:gd name="T102" fmla="*/ 182 w 308"/>
                <a:gd name="T103" fmla="*/ 112 h 306"/>
                <a:gd name="T104" fmla="*/ 164 w 308"/>
                <a:gd name="T105" fmla="*/ 106 h 306"/>
                <a:gd name="T106" fmla="*/ 154 w 308"/>
                <a:gd name="T107" fmla="*/ 104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8" h="306">
                  <a:moveTo>
                    <a:pt x="154" y="306"/>
                  </a:moveTo>
                  <a:lnTo>
                    <a:pt x="154" y="306"/>
                  </a:lnTo>
                  <a:lnTo>
                    <a:pt x="138" y="306"/>
                  </a:lnTo>
                  <a:lnTo>
                    <a:pt x="124" y="304"/>
                  </a:lnTo>
                  <a:lnTo>
                    <a:pt x="108" y="300"/>
                  </a:lnTo>
                  <a:lnTo>
                    <a:pt x="94" y="294"/>
                  </a:lnTo>
                  <a:lnTo>
                    <a:pt x="82" y="288"/>
                  </a:lnTo>
                  <a:lnTo>
                    <a:pt x="68" y="280"/>
                  </a:lnTo>
                  <a:lnTo>
                    <a:pt x="56" y="272"/>
                  </a:lnTo>
                  <a:lnTo>
                    <a:pt x="46" y="262"/>
                  </a:lnTo>
                  <a:lnTo>
                    <a:pt x="36" y="250"/>
                  </a:lnTo>
                  <a:lnTo>
                    <a:pt x="26" y="240"/>
                  </a:lnTo>
                  <a:lnTo>
                    <a:pt x="20" y="226"/>
                  </a:lnTo>
                  <a:lnTo>
                    <a:pt x="12" y="212"/>
                  </a:lnTo>
                  <a:lnTo>
                    <a:pt x="8" y="198"/>
                  </a:lnTo>
                  <a:lnTo>
                    <a:pt x="4" y="184"/>
                  </a:lnTo>
                  <a:lnTo>
                    <a:pt x="2" y="168"/>
                  </a:lnTo>
                  <a:lnTo>
                    <a:pt x="0" y="154"/>
                  </a:lnTo>
                  <a:lnTo>
                    <a:pt x="0" y="154"/>
                  </a:lnTo>
                  <a:lnTo>
                    <a:pt x="2" y="138"/>
                  </a:lnTo>
                  <a:lnTo>
                    <a:pt x="4" y="122"/>
                  </a:lnTo>
                  <a:lnTo>
                    <a:pt x="8" y="108"/>
                  </a:lnTo>
                  <a:lnTo>
                    <a:pt x="12" y="94"/>
                  </a:lnTo>
                  <a:lnTo>
                    <a:pt x="20" y="80"/>
                  </a:lnTo>
                  <a:lnTo>
                    <a:pt x="26" y="68"/>
                  </a:lnTo>
                  <a:lnTo>
                    <a:pt x="36" y="56"/>
                  </a:lnTo>
                  <a:lnTo>
                    <a:pt x="46" y="44"/>
                  </a:lnTo>
                  <a:lnTo>
                    <a:pt x="56" y="34"/>
                  </a:lnTo>
                  <a:lnTo>
                    <a:pt x="68" y="26"/>
                  </a:lnTo>
                  <a:lnTo>
                    <a:pt x="82" y="18"/>
                  </a:lnTo>
                  <a:lnTo>
                    <a:pt x="94" y="12"/>
                  </a:lnTo>
                  <a:lnTo>
                    <a:pt x="108" y="6"/>
                  </a:lnTo>
                  <a:lnTo>
                    <a:pt x="124" y="2"/>
                  </a:lnTo>
                  <a:lnTo>
                    <a:pt x="138" y="0"/>
                  </a:lnTo>
                  <a:lnTo>
                    <a:pt x="154" y="0"/>
                  </a:lnTo>
                  <a:lnTo>
                    <a:pt x="154" y="0"/>
                  </a:lnTo>
                  <a:lnTo>
                    <a:pt x="170" y="0"/>
                  </a:lnTo>
                  <a:lnTo>
                    <a:pt x="186" y="2"/>
                  </a:lnTo>
                  <a:lnTo>
                    <a:pt x="200" y="6"/>
                  </a:lnTo>
                  <a:lnTo>
                    <a:pt x="214" y="12"/>
                  </a:lnTo>
                  <a:lnTo>
                    <a:pt x="228" y="18"/>
                  </a:lnTo>
                  <a:lnTo>
                    <a:pt x="240" y="26"/>
                  </a:lnTo>
                  <a:lnTo>
                    <a:pt x="252" y="34"/>
                  </a:lnTo>
                  <a:lnTo>
                    <a:pt x="262" y="44"/>
                  </a:lnTo>
                  <a:lnTo>
                    <a:pt x="272" y="56"/>
                  </a:lnTo>
                  <a:lnTo>
                    <a:pt x="282" y="68"/>
                  </a:lnTo>
                  <a:lnTo>
                    <a:pt x="290" y="80"/>
                  </a:lnTo>
                  <a:lnTo>
                    <a:pt x="296" y="94"/>
                  </a:lnTo>
                  <a:lnTo>
                    <a:pt x="302" y="108"/>
                  </a:lnTo>
                  <a:lnTo>
                    <a:pt x="304" y="122"/>
                  </a:lnTo>
                  <a:lnTo>
                    <a:pt x="308" y="138"/>
                  </a:lnTo>
                  <a:lnTo>
                    <a:pt x="308" y="154"/>
                  </a:lnTo>
                  <a:lnTo>
                    <a:pt x="308" y="154"/>
                  </a:lnTo>
                  <a:lnTo>
                    <a:pt x="308" y="168"/>
                  </a:lnTo>
                  <a:lnTo>
                    <a:pt x="304" y="184"/>
                  </a:lnTo>
                  <a:lnTo>
                    <a:pt x="302" y="198"/>
                  </a:lnTo>
                  <a:lnTo>
                    <a:pt x="296" y="212"/>
                  </a:lnTo>
                  <a:lnTo>
                    <a:pt x="290" y="226"/>
                  </a:lnTo>
                  <a:lnTo>
                    <a:pt x="282" y="240"/>
                  </a:lnTo>
                  <a:lnTo>
                    <a:pt x="272" y="250"/>
                  </a:lnTo>
                  <a:lnTo>
                    <a:pt x="262" y="262"/>
                  </a:lnTo>
                  <a:lnTo>
                    <a:pt x="252" y="272"/>
                  </a:lnTo>
                  <a:lnTo>
                    <a:pt x="240" y="280"/>
                  </a:lnTo>
                  <a:lnTo>
                    <a:pt x="228" y="288"/>
                  </a:lnTo>
                  <a:lnTo>
                    <a:pt x="214" y="294"/>
                  </a:lnTo>
                  <a:lnTo>
                    <a:pt x="200" y="300"/>
                  </a:lnTo>
                  <a:lnTo>
                    <a:pt x="186" y="304"/>
                  </a:lnTo>
                  <a:lnTo>
                    <a:pt x="170" y="306"/>
                  </a:lnTo>
                  <a:lnTo>
                    <a:pt x="154" y="306"/>
                  </a:lnTo>
                  <a:lnTo>
                    <a:pt x="154" y="306"/>
                  </a:lnTo>
                  <a:close/>
                  <a:moveTo>
                    <a:pt x="154" y="104"/>
                  </a:moveTo>
                  <a:lnTo>
                    <a:pt x="154" y="104"/>
                  </a:lnTo>
                  <a:lnTo>
                    <a:pt x="144" y="106"/>
                  </a:lnTo>
                  <a:lnTo>
                    <a:pt x="136" y="108"/>
                  </a:lnTo>
                  <a:lnTo>
                    <a:pt x="128" y="112"/>
                  </a:lnTo>
                  <a:lnTo>
                    <a:pt x="120" y="118"/>
                  </a:lnTo>
                  <a:lnTo>
                    <a:pt x="114" y="126"/>
                  </a:lnTo>
                  <a:lnTo>
                    <a:pt x="110" y="134"/>
                  </a:lnTo>
                  <a:lnTo>
                    <a:pt x="106" y="144"/>
                  </a:lnTo>
                  <a:lnTo>
                    <a:pt x="106" y="154"/>
                  </a:lnTo>
                  <a:lnTo>
                    <a:pt x="106" y="154"/>
                  </a:lnTo>
                  <a:lnTo>
                    <a:pt x="106" y="164"/>
                  </a:lnTo>
                  <a:lnTo>
                    <a:pt x="110" y="172"/>
                  </a:lnTo>
                  <a:lnTo>
                    <a:pt x="114" y="180"/>
                  </a:lnTo>
                  <a:lnTo>
                    <a:pt x="120" y="188"/>
                  </a:lnTo>
                  <a:lnTo>
                    <a:pt x="128" y="194"/>
                  </a:lnTo>
                  <a:lnTo>
                    <a:pt x="136" y="198"/>
                  </a:lnTo>
                  <a:lnTo>
                    <a:pt x="144" y="200"/>
                  </a:lnTo>
                  <a:lnTo>
                    <a:pt x="154" y="202"/>
                  </a:lnTo>
                  <a:lnTo>
                    <a:pt x="154" y="202"/>
                  </a:lnTo>
                  <a:lnTo>
                    <a:pt x="164" y="200"/>
                  </a:lnTo>
                  <a:lnTo>
                    <a:pt x="174" y="198"/>
                  </a:lnTo>
                  <a:lnTo>
                    <a:pt x="182" y="194"/>
                  </a:lnTo>
                  <a:lnTo>
                    <a:pt x="188" y="188"/>
                  </a:lnTo>
                  <a:lnTo>
                    <a:pt x="194" y="180"/>
                  </a:lnTo>
                  <a:lnTo>
                    <a:pt x="200" y="172"/>
                  </a:lnTo>
                  <a:lnTo>
                    <a:pt x="202" y="164"/>
                  </a:lnTo>
                  <a:lnTo>
                    <a:pt x="202" y="154"/>
                  </a:lnTo>
                  <a:lnTo>
                    <a:pt x="202" y="154"/>
                  </a:lnTo>
                  <a:lnTo>
                    <a:pt x="202" y="144"/>
                  </a:lnTo>
                  <a:lnTo>
                    <a:pt x="200" y="134"/>
                  </a:lnTo>
                  <a:lnTo>
                    <a:pt x="194" y="126"/>
                  </a:lnTo>
                  <a:lnTo>
                    <a:pt x="188" y="118"/>
                  </a:lnTo>
                  <a:lnTo>
                    <a:pt x="182" y="112"/>
                  </a:lnTo>
                  <a:lnTo>
                    <a:pt x="174" y="108"/>
                  </a:lnTo>
                  <a:lnTo>
                    <a:pt x="164" y="106"/>
                  </a:lnTo>
                  <a:lnTo>
                    <a:pt x="154" y="104"/>
                  </a:lnTo>
                  <a:lnTo>
                    <a:pt x="154" y="104"/>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32504"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endParaRPr>
            </a:p>
          </p:txBody>
        </p:sp>
        <p:sp>
          <p:nvSpPr>
            <p:cNvPr id="16" name="Freeform 20"/>
            <p:cNvSpPr>
              <a:spLocks noEditPoints="1"/>
            </p:cNvSpPr>
            <p:nvPr/>
          </p:nvSpPr>
          <p:spPr bwMode="auto">
            <a:xfrm>
              <a:off x="7250039" y="2854566"/>
              <a:ext cx="186534" cy="186534"/>
            </a:xfrm>
            <a:custGeom>
              <a:avLst/>
              <a:gdLst>
                <a:gd name="T0" fmla="*/ 154 w 308"/>
                <a:gd name="T1" fmla="*/ 308 h 308"/>
                <a:gd name="T2" fmla="*/ 122 w 308"/>
                <a:gd name="T3" fmla="*/ 304 h 308"/>
                <a:gd name="T4" fmla="*/ 94 w 308"/>
                <a:gd name="T5" fmla="*/ 296 h 308"/>
                <a:gd name="T6" fmla="*/ 68 w 308"/>
                <a:gd name="T7" fmla="*/ 282 h 308"/>
                <a:gd name="T8" fmla="*/ 44 w 308"/>
                <a:gd name="T9" fmla="*/ 262 h 308"/>
                <a:gd name="T10" fmla="*/ 26 w 308"/>
                <a:gd name="T11" fmla="*/ 240 h 308"/>
                <a:gd name="T12" fmla="*/ 12 w 308"/>
                <a:gd name="T13" fmla="*/ 214 h 308"/>
                <a:gd name="T14" fmla="*/ 2 w 308"/>
                <a:gd name="T15" fmla="*/ 184 h 308"/>
                <a:gd name="T16" fmla="*/ 0 w 308"/>
                <a:gd name="T17" fmla="*/ 154 h 308"/>
                <a:gd name="T18" fmla="*/ 0 w 308"/>
                <a:gd name="T19" fmla="*/ 138 h 308"/>
                <a:gd name="T20" fmla="*/ 6 w 308"/>
                <a:gd name="T21" fmla="*/ 108 h 308"/>
                <a:gd name="T22" fmla="*/ 18 w 308"/>
                <a:gd name="T23" fmla="*/ 80 h 308"/>
                <a:gd name="T24" fmla="*/ 34 w 308"/>
                <a:gd name="T25" fmla="*/ 56 h 308"/>
                <a:gd name="T26" fmla="*/ 56 w 308"/>
                <a:gd name="T27" fmla="*/ 36 h 308"/>
                <a:gd name="T28" fmla="*/ 80 w 308"/>
                <a:gd name="T29" fmla="*/ 18 h 308"/>
                <a:gd name="T30" fmla="*/ 108 w 308"/>
                <a:gd name="T31" fmla="*/ 6 h 308"/>
                <a:gd name="T32" fmla="*/ 138 w 308"/>
                <a:gd name="T33" fmla="*/ 0 h 308"/>
                <a:gd name="T34" fmla="*/ 154 w 308"/>
                <a:gd name="T35" fmla="*/ 0 h 308"/>
                <a:gd name="T36" fmla="*/ 184 w 308"/>
                <a:gd name="T37" fmla="*/ 4 h 308"/>
                <a:gd name="T38" fmla="*/ 214 w 308"/>
                <a:gd name="T39" fmla="*/ 12 h 308"/>
                <a:gd name="T40" fmla="*/ 240 w 308"/>
                <a:gd name="T41" fmla="*/ 26 h 308"/>
                <a:gd name="T42" fmla="*/ 262 w 308"/>
                <a:gd name="T43" fmla="*/ 46 h 308"/>
                <a:gd name="T44" fmla="*/ 280 w 308"/>
                <a:gd name="T45" fmla="*/ 68 h 308"/>
                <a:gd name="T46" fmla="*/ 294 w 308"/>
                <a:gd name="T47" fmla="*/ 94 h 308"/>
                <a:gd name="T48" fmla="*/ 304 w 308"/>
                <a:gd name="T49" fmla="*/ 122 h 308"/>
                <a:gd name="T50" fmla="*/ 308 w 308"/>
                <a:gd name="T51" fmla="*/ 154 h 308"/>
                <a:gd name="T52" fmla="*/ 306 w 308"/>
                <a:gd name="T53" fmla="*/ 170 h 308"/>
                <a:gd name="T54" fmla="*/ 300 w 308"/>
                <a:gd name="T55" fmla="*/ 200 h 308"/>
                <a:gd name="T56" fmla="*/ 288 w 308"/>
                <a:gd name="T57" fmla="*/ 226 h 308"/>
                <a:gd name="T58" fmla="*/ 272 w 308"/>
                <a:gd name="T59" fmla="*/ 252 h 308"/>
                <a:gd name="T60" fmla="*/ 252 w 308"/>
                <a:gd name="T61" fmla="*/ 272 h 308"/>
                <a:gd name="T62" fmla="*/ 226 w 308"/>
                <a:gd name="T63" fmla="*/ 288 h 308"/>
                <a:gd name="T64" fmla="*/ 200 w 308"/>
                <a:gd name="T65" fmla="*/ 300 h 308"/>
                <a:gd name="T66" fmla="*/ 170 w 308"/>
                <a:gd name="T67" fmla="*/ 306 h 308"/>
                <a:gd name="T68" fmla="*/ 154 w 308"/>
                <a:gd name="T69" fmla="*/ 308 h 308"/>
                <a:gd name="T70" fmla="*/ 154 w 308"/>
                <a:gd name="T71" fmla="*/ 104 h 308"/>
                <a:gd name="T72" fmla="*/ 134 w 308"/>
                <a:gd name="T73" fmla="*/ 108 h 308"/>
                <a:gd name="T74" fmla="*/ 120 w 308"/>
                <a:gd name="T75" fmla="*/ 120 h 308"/>
                <a:gd name="T76" fmla="*/ 108 w 308"/>
                <a:gd name="T77" fmla="*/ 134 h 308"/>
                <a:gd name="T78" fmla="*/ 104 w 308"/>
                <a:gd name="T79" fmla="*/ 154 h 308"/>
                <a:gd name="T80" fmla="*/ 106 w 308"/>
                <a:gd name="T81" fmla="*/ 164 h 308"/>
                <a:gd name="T82" fmla="*/ 114 w 308"/>
                <a:gd name="T83" fmla="*/ 180 h 308"/>
                <a:gd name="T84" fmla="*/ 126 w 308"/>
                <a:gd name="T85" fmla="*/ 194 h 308"/>
                <a:gd name="T86" fmla="*/ 144 w 308"/>
                <a:gd name="T87" fmla="*/ 202 h 308"/>
                <a:gd name="T88" fmla="*/ 154 w 308"/>
                <a:gd name="T89" fmla="*/ 202 h 308"/>
                <a:gd name="T90" fmla="*/ 172 w 308"/>
                <a:gd name="T91" fmla="*/ 198 h 308"/>
                <a:gd name="T92" fmla="*/ 188 w 308"/>
                <a:gd name="T93" fmla="*/ 188 h 308"/>
                <a:gd name="T94" fmla="*/ 198 w 308"/>
                <a:gd name="T95" fmla="*/ 172 h 308"/>
                <a:gd name="T96" fmla="*/ 202 w 308"/>
                <a:gd name="T97" fmla="*/ 154 h 308"/>
                <a:gd name="T98" fmla="*/ 202 w 308"/>
                <a:gd name="T99" fmla="*/ 144 h 308"/>
                <a:gd name="T100" fmla="*/ 194 w 308"/>
                <a:gd name="T101" fmla="*/ 126 h 308"/>
                <a:gd name="T102" fmla="*/ 180 w 308"/>
                <a:gd name="T103" fmla="*/ 114 h 308"/>
                <a:gd name="T104" fmla="*/ 164 w 308"/>
                <a:gd name="T105" fmla="*/ 106 h 308"/>
                <a:gd name="T106" fmla="*/ 154 w 308"/>
                <a:gd name="T107" fmla="*/ 104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8" h="308">
                  <a:moveTo>
                    <a:pt x="154" y="308"/>
                  </a:moveTo>
                  <a:lnTo>
                    <a:pt x="154" y="308"/>
                  </a:lnTo>
                  <a:lnTo>
                    <a:pt x="138" y="306"/>
                  </a:lnTo>
                  <a:lnTo>
                    <a:pt x="122" y="304"/>
                  </a:lnTo>
                  <a:lnTo>
                    <a:pt x="108" y="300"/>
                  </a:lnTo>
                  <a:lnTo>
                    <a:pt x="94" y="296"/>
                  </a:lnTo>
                  <a:lnTo>
                    <a:pt x="80" y="288"/>
                  </a:lnTo>
                  <a:lnTo>
                    <a:pt x="68" y="282"/>
                  </a:lnTo>
                  <a:lnTo>
                    <a:pt x="56" y="272"/>
                  </a:lnTo>
                  <a:lnTo>
                    <a:pt x="44" y="262"/>
                  </a:lnTo>
                  <a:lnTo>
                    <a:pt x="34" y="252"/>
                  </a:lnTo>
                  <a:lnTo>
                    <a:pt x="26" y="240"/>
                  </a:lnTo>
                  <a:lnTo>
                    <a:pt x="18" y="226"/>
                  </a:lnTo>
                  <a:lnTo>
                    <a:pt x="12" y="214"/>
                  </a:lnTo>
                  <a:lnTo>
                    <a:pt x="6" y="200"/>
                  </a:lnTo>
                  <a:lnTo>
                    <a:pt x="2" y="184"/>
                  </a:lnTo>
                  <a:lnTo>
                    <a:pt x="0" y="170"/>
                  </a:lnTo>
                  <a:lnTo>
                    <a:pt x="0" y="154"/>
                  </a:lnTo>
                  <a:lnTo>
                    <a:pt x="0" y="154"/>
                  </a:lnTo>
                  <a:lnTo>
                    <a:pt x="0" y="138"/>
                  </a:lnTo>
                  <a:lnTo>
                    <a:pt x="2" y="122"/>
                  </a:lnTo>
                  <a:lnTo>
                    <a:pt x="6" y="108"/>
                  </a:lnTo>
                  <a:lnTo>
                    <a:pt x="12" y="94"/>
                  </a:lnTo>
                  <a:lnTo>
                    <a:pt x="18" y="80"/>
                  </a:lnTo>
                  <a:lnTo>
                    <a:pt x="26" y="68"/>
                  </a:lnTo>
                  <a:lnTo>
                    <a:pt x="34" y="56"/>
                  </a:lnTo>
                  <a:lnTo>
                    <a:pt x="44" y="46"/>
                  </a:lnTo>
                  <a:lnTo>
                    <a:pt x="56" y="36"/>
                  </a:lnTo>
                  <a:lnTo>
                    <a:pt x="68" y="26"/>
                  </a:lnTo>
                  <a:lnTo>
                    <a:pt x="80" y="18"/>
                  </a:lnTo>
                  <a:lnTo>
                    <a:pt x="94" y="12"/>
                  </a:lnTo>
                  <a:lnTo>
                    <a:pt x="108" y="6"/>
                  </a:lnTo>
                  <a:lnTo>
                    <a:pt x="122" y="4"/>
                  </a:lnTo>
                  <a:lnTo>
                    <a:pt x="138" y="0"/>
                  </a:lnTo>
                  <a:lnTo>
                    <a:pt x="154" y="0"/>
                  </a:lnTo>
                  <a:lnTo>
                    <a:pt x="154" y="0"/>
                  </a:lnTo>
                  <a:lnTo>
                    <a:pt x="170" y="0"/>
                  </a:lnTo>
                  <a:lnTo>
                    <a:pt x="184" y="4"/>
                  </a:lnTo>
                  <a:lnTo>
                    <a:pt x="200" y="6"/>
                  </a:lnTo>
                  <a:lnTo>
                    <a:pt x="214" y="12"/>
                  </a:lnTo>
                  <a:lnTo>
                    <a:pt x="226" y="18"/>
                  </a:lnTo>
                  <a:lnTo>
                    <a:pt x="240" y="26"/>
                  </a:lnTo>
                  <a:lnTo>
                    <a:pt x="252" y="36"/>
                  </a:lnTo>
                  <a:lnTo>
                    <a:pt x="262" y="46"/>
                  </a:lnTo>
                  <a:lnTo>
                    <a:pt x="272" y="56"/>
                  </a:lnTo>
                  <a:lnTo>
                    <a:pt x="280" y="68"/>
                  </a:lnTo>
                  <a:lnTo>
                    <a:pt x="288" y="80"/>
                  </a:lnTo>
                  <a:lnTo>
                    <a:pt x="294" y="94"/>
                  </a:lnTo>
                  <a:lnTo>
                    <a:pt x="300" y="108"/>
                  </a:lnTo>
                  <a:lnTo>
                    <a:pt x="304" y="122"/>
                  </a:lnTo>
                  <a:lnTo>
                    <a:pt x="306" y="138"/>
                  </a:lnTo>
                  <a:lnTo>
                    <a:pt x="308" y="154"/>
                  </a:lnTo>
                  <a:lnTo>
                    <a:pt x="308" y="154"/>
                  </a:lnTo>
                  <a:lnTo>
                    <a:pt x="306" y="170"/>
                  </a:lnTo>
                  <a:lnTo>
                    <a:pt x="304" y="184"/>
                  </a:lnTo>
                  <a:lnTo>
                    <a:pt x="300" y="200"/>
                  </a:lnTo>
                  <a:lnTo>
                    <a:pt x="294" y="214"/>
                  </a:lnTo>
                  <a:lnTo>
                    <a:pt x="288" y="226"/>
                  </a:lnTo>
                  <a:lnTo>
                    <a:pt x="280" y="240"/>
                  </a:lnTo>
                  <a:lnTo>
                    <a:pt x="272" y="252"/>
                  </a:lnTo>
                  <a:lnTo>
                    <a:pt x="262" y="262"/>
                  </a:lnTo>
                  <a:lnTo>
                    <a:pt x="252" y="272"/>
                  </a:lnTo>
                  <a:lnTo>
                    <a:pt x="240" y="282"/>
                  </a:lnTo>
                  <a:lnTo>
                    <a:pt x="226" y="288"/>
                  </a:lnTo>
                  <a:lnTo>
                    <a:pt x="214" y="296"/>
                  </a:lnTo>
                  <a:lnTo>
                    <a:pt x="200" y="300"/>
                  </a:lnTo>
                  <a:lnTo>
                    <a:pt x="184" y="304"/>
                  </a:lnTo>
                  <a:lnTo>
                    <a:pt x="170" y="306"/>
                  </a:lnTo>
                  <a:lnTo>
                    <a:pt x="154" y="308"/>
                  </a:lnTo>
                  <a:lnTo>
                    <a:pt x="154" y="308"/>
                  </a:lnTo>
                  <a:close/>
                  <a:moveTo>
                    <a:pt x="154" y="104"/>
                  </a:moveTo>
                  <a:lnTo>
                    <a:pt x="154" y="104"/>
                  </a:lnTo>
                  <a:lnTo>
                    <a:pt x="144" y="106"/>
                  </a:lnTo>
                  <a:lnTo>
                    <a:pt x="134" y="108"/>
                  </a:lnTo>
                  <a:lnTo>
                    <a:pt x="126" y="114"/>
                  </a:lnTo>
                  <a:lnTo>
                    <a:pt x="120" y="120"/>
                  </a:lnTo>
                  <a:lnTo>
                    <a:pt x="114" y="126"/>
                  </a:lnTo>
                  <a:lnTo>
                    <a:pt x="108" y="134"/>
                  </a:lnTo>
                  <a:lnTo>
                    <a:pt x="106" y="144"/>
                  </a:lnTo>
                  <a:lnTo>
                    <a:pt x="104" y="154"/>
                  </a:lnTo>
                  <a:lnTo>
                    <a:pt x="104" y="154"/>
                  </a:lnTo>
                  <a:lnTo>
                    <a:pt x="106" y="164"/>
                  </a:lnTo>
                  <a:lnTo>
                    <a:pt x="108" y="172"/>
                  </a:lnTo>
                  <a:lnTo>
                    <a:pt x="114" y="180"/>
                  </a:lnTo>
                  <a:lnTo>
                    <a:pt x="120" y="188"/>
                  </a:lnTo>
                  <a:lnTo>
                    <a:pt x="126" y="194"/>
                  </a:lnTo>
                  <a:lnTo>
                    <a:pt x="134" y="198"/>
                  </a:lnTo>
                  <a:lnTo>
                    <a:pt x="144" y="202"/>
                  </a:lnTo>
                  <a:lnTo>
                    <a:pt x="154" y="202"/>
                  </a:lnTo>
                  <a:lnTo>
                    <a:pt x="154" y="202"/>
                  </a:lnTo>
                  <a:lnTo>
                    <a:pt x="164" y="202"/>
                  </a:lnTo>
                  <a:lnTo>
                    <a:pt x="172" y="198"/>
                  </a:lnTo>
                  <a:lnTo>
                    <a:pt x="180" y="194"/>
                  </a:lnTo>
                  <a:lnTo>
                    <a:pt x="188" y="188"/>
                  </a:lnTo>
                  <a:lnTo>
                    <a:pt x="194" y="180"/>
                  </a:lnTo>
                  <a:lnTo>
                    <a:pt x="198" y="172"/>
                  </a:lnTo>
                  <a:lnTo>
                    <a:pt x="202" y="164"/>
                  </a:lnTo>
                  <a:lnTo>
                    <a:pt x="202" y="154"/>
                  </a:lnTo>
                  <a:lnTo>
                    <a:pt x="202" y="154"/>
                  </a:lnTo>
                  <a:lnTo>
                    <a:pt x="202" y="144"/>
                  </a:lnTo>
                  <a:lnTo>
                    <a:pt x="198" y="134"/>
                  </a:lnTo>
                  <a:lnTo>
                    <a:pt x="194" y="126"/>
                  </a:lnTo>
                  <a:lnTo>
                    <a:pt x="188" y="120"/>
                  </a:lnTo>
                  <a:lnTo>
                    <a:pt x="180" y="114"/>
                  </a:lnTo>
                  <a:lnTo>
                    <a:pt x="172" y="108"/>
                  </a:lnTo>
                  <a:lnTo>
                    <a:pt x="164" y="106"/>
                  </a:lnTo>
                  <a:lnTo>
                    <a:pt x="154" y="104"/>
                  </a:lnTo>
                  <a:lnTo>
                    <a:pt x="154" y="104"/>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32504"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endParaRPr>
            </a:p>
          </p:txBody>
        </p:sp>
        <p:grpSp>
          <p:nvGrpSpPr>
            <p:cNvPr id="17" name="Group 16"/>
            <p:cNvGrpSpPr/>
            <p:nvPr/>
          </p:nvGrpSpPr>
          <p:grpSpPr>
            <a:xfrm>
              <a:off x="5413104" y="2621197"/>
              <a:ext cx="1326042" cy="1326043"/>
              <a:chOff x="5413104" y="2598477"/>
              <a:chExt cx="1326042" cy="1326043"/>
            </a:xfrm>
          </p:grpSpPr>
          <p:sp>
            <p:nvSpPr>
              <p:cNvPr id="18" name="Freeform 5"/>
              <p:cNvSpPr>
                <a:spLocks/>
              </p:cNvSpPr>
              <p:nvPr/>
            </p:nvSpPr>
            <p:spPr bwMode="auto">
              <a:xfrm>
                <a:off x="5642613" y="3166154"/>
                <a:ext cx="838193" cy="391237"/>
              </a:xfrm>
              <a:custGeom>
                <a:avLst/>
                <a:gdLst>
                  <a:gd name="T0" fmla="*/ 1228 w 1384"/>
                  <a:gd name="T1" fmla="*/ 646 h 646"/>
                  <a:gd name="T2" fmla="*/ 1198 w 1384"/>
                  <a:gd name="T3" fmla="*/ 636 h 646"/>
                  <a:gd name="T4" fmla="*/ 1178 w 1384"/>
                  <a:gd name="T5" fmla="*/ 614 h 646"/>
                  <a:gd name="T6" fmla="*/ 1174 w 1384"/>
                  <a:gd name="T7" fmla="*/ 106 h 646"/>
                  <a:gd name="T8" fmla="*/ 1118 w 1384"/>
                  <a:gd name="T9" fmla="*/ 594 h 646"/>
                  <a:gd name="T10" fmla="*/ 1108 w 1384"/>
                  <a:gd name="T11" fmla="*/ 622 h 646"/>
                  <a:gd name="T12" fmla="*/ 1086 w 1384"/>
                  <a:gd name="T13" fmla="*/ 642 h 646"/>
                  <a:gd name="T14" fmla="*/ 824 w 1384"/>
                  <a:gd name="T15" fmla="*/ 646 h 646"/>
                  <a:gd name="T16" fmla="*/ 804 w 1384"/>
                  <a:gd name="T17" fmla="*/ 642 h 646"/>
                  <a:gd name="T18" fmla="*/ 780 w 1384"/>
                  <a:gd name="T19" fmla="*/ 622 h 646"/>
                  <a:gd name="T20" fmla="*/ 772 w 1384"/>
                  <a:gd name="T21" fmla="*/ 594 h 646"/>
                  <a:gd name="T22" fmla="*/ 714 w 1384"/>
                  <a:gd name="T23" fmla="*/ 594 h 646"/>
                  <a:gd name="T24" fmla="*/ 710 w 1384"/>
                  <a:gd name="T25" fmla="*/ 614 h 646"/>
                  <a:gd name="T26" fmla="*/ 690 w 1384"/>
                  <a:gd name="T27" fmla="*/ 636 h 646"/>
                  <a:gd name="T28" fmla="*/ 662 w 1384"/>
                  <a:gd name="T29" fmla="*/ 646 h 646"/>
                  <a:gd name="T30" fmla="*/ 410 w 1384"/>
                  <a:gd name="T31" fmla="*/ 644 h 646"/>
                  <a:gd name="T32" fmla="*/ 384 w 1384"/>
                  <a:gd name="T33" fmla="*/ 630 h 646"/>
                  <a:gd name="T34" fmla="*/ 368 w 1384"/>
                  <a:gd name="T35" fmla="*/ 604 h 646"/>
                  <a:gd name="T36" fmla="*/ 310 w 1384"/>
                  <a:gd name="T37" fmla="*/ 322 h 646"/>
                  <a:gd name="T38" fmla="*/ 310 w 1384"/>
                  <a:gd name="T39" fmla="*/ 604 h 646"/>
                  <a:gd name="T40" fmla="*/ 296 w 1384"/>
                  <a:gd name="T41" fmla="*/ 630 h 646"/>
                  <a:gd name="T42" fmla="*/ 268 w 1384"/>
                  <a:gd name="T43" fmla="*/ 644 h 646"/>
                  <a:gd name="T44" fmla="*/ 52 w 1384"/>
                  <a:gd name="T45" fmla="*/ 646 h 646"/>
                  <a:gd name="T46" fmla="*/ 24 w 1384"/>
                  <a:gd name="T47" fmla="*/ 636 h 646"/>
                  <a:gd name="T48" fmla="*/ 4 w 1384"/>
                  <a:gd name="T49" fmla="*/ 614 h 646"/>
                  <a:gd name="T50" fmla="*/ 0 w 1384"/>
                  <a:gd name="T51" fmla="*/ 594 h 646"/>
                  <a:gd name="T52" fmla="*/ 10 w 1384"/>
                  <a:gd name="T53" fmla="*/ 564 h 646"/>
                  <a:gd name="T54" fmla="*/ 32 w 1384"/>
                  <a:gd name="T55" fmla="*/ 544 h 646"/>
                  <a:gd name="T56" fmla="*/ 206 w 1384"/>
                  <a:gd name="T57" fmla="*/ 540 h 646"/>
                  <a:gd name="T58" fmla="*/ 208 w 1384"/>
                  <a:gd name="T59" fmla="*/ 278 h 646"/>
                  <a:gd name="T60" fmla="*/ 228 w 1384"/>
                  <a:gd name="T61" fmla="*/ 240 h 646"/>
                  <a:gd name="T62" fmla="*/ 266 w 1384"/>
                  <a:gd name="T63" fmla="*/ 218 h 646"/>
                  <a:gd name="T64" fmla="*/ 398 w 1384"/>
                  <a:gd name="T65" fmla="*/ 218 h 646"/>
                  <a:gd name="T66" fmla="*/ 440 w 1384"/>
                  <a:gd name="T67" fmla="*/ 230 h 646"/>
                  <a:gd name="T68" fmla="*/ 466 w 1384"/>
                  <a:gd name="T69" fmla="*/ 264 h 646"/>
                  <a:gd name="T70" fmla="*/ 472 w 1384"/>
                  <a:gd name="T71" fmla="*/ 540 h 646"/>
                  <a:gd name="T72" fmla="*/ 608 w 1384"/>
                  <a:gd name="T73" fmla="*/ 152 h 646"/>
                  <a:gd name="T74" fmla="*/ 622 w 1384"/>
                  <a:gd name="T75" fmla="*/ 110 h 646"/>
                  <a:gd name="T76" fmla="*/ 654 w 1384"/>
                  <a:gd name="T77" fmla="*/ 82 h 646"/>
                  <a:gd name="T78" fmla="*/ 800 w 1384"/>
                  <a:gd name="T79" fmla="*/ 76 h 646"/>
                  <a:gd name="T80" fmla="*/ 830 w 1384"/>
                  <a:gd name="T81" fmla="*/ 82 h 646"/>
                  <a:gd name="T82" fmla="*/ 864 w 1384"/>
                  <a:gd name="T83" fmla="*/ 110 h 646"/>
                  <a:gd name="T84" fmla="*/ 876 w 1384"/>
                  <a:gd name="T85" fmla="*/ 152 h 646"/>
                  <a:gd name="T86" fmla="*/ 1012 w 1384"/>
                  <a:gd name="T87" fmla="*/ 76 h 646"/>
                  <a:gd name="T88" fmla="*/ 1018 w 1384"/>
                  <a:gd name="T89" fmla="*/ 46 h 646"/>
                  <a:gd name="T90" fmla="*/ 1046 w 1384"/>
                  <a:gd name="T91" fmla="*/ 12 h 646"/>
                  <a:gd name="T92" fmla="*/ 1088 w 1384"/>
                  <a:gd name="T93" fmla="*/ 0 h 646"/>
                  <a:gd name="T94" fmla="*/ 1220 w 1384"/>
                  <a:gd name="T95" fmla="*/ 2 h 646"/>
                  <a:gd name="T96" fmla="*/ 1258 w 1384"/>
                  <a:gd name="T97" fmla="*/ 22 h 646"/>
                  <a:gd name="T98" fmla="*/ 1278 w 1384"/>
                  <a:gd name="T99" fmla="*/ 60 h 646"/>
                  <a:gd name="T100" fmla="*/ 1332 w 1384"/>
                  <a:gd name="T101" fmla="*/ 540 h 646"/>
                  <a:gd name="T102" fmla="*/ 1352 w 1384"/>
                  <a:gd name="T103" fmla="*/ 544 h 646"/>
                  <a:gd name="T104" fmla="*/ 1376 w 1384"/>
                  <a:gd name="T105" fmla="*/ 564 h 646"/>
                  <a:gd name="T106" fmla="*/ 1384 w 1384"/>
                  <a:gd name="T107" fmla="*/ 594 h 646"/>
                  <a:gd name="T108" fmla="*/ 1380 w 1384"/>
                  <a:gd name="T109" fmla="*/ 614 h 646"/>
                  <a:gd name="T110" fmla="*/ 1362 w 1384"/>
                  <a:gd name="T111" fmla="*/ 636 h 646"/>
                  <a:gd name="T112" fmla="*/ 1332 w 1384"/>
                  <a:gd name="T113" fmla="*/ 646 h 6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384" h="646">
                    <a:moveTo>
                      <a:pt x="1332" y="646"/>
                    </a:moveTo>
                    <a:lnTo>
                      <a:pt x="1228" y="646"/>
                    </a:lnTo>
                    <a:lnTo>
                      <a:pt x="1228" y="646"/>
                    </a:lnTo>
                    <a:lnTo>
                      <a:pt x="1216" y="644"/>
                    </a:lnTo>
                    <a:lnTo>
                      <a:pt x="1206" y="642"/>
                    </a:lnTo>
                    <a:lnTo>
                      <a:pt x="1198" y="636"/>
                    </a:lnTo>
                    <a:lnTo>
                      <a:pt x="1190" y="630"/>
                    </a:lnTo>
                    <a:lnTo>
                      <a:pt x="1184" y="622"/>
                    </a:lnTo>
                    <a:lnTo>
                      <a:pt x="1178" y="614"/>
                    </a:lnTo>
                    <a:lnTo>
                      <a:pt x="1176" y="604"/>
                    </a:lnTo>
                    <a:lnTo>
                      <a:pt x="1174" y="594"/>
                    </a:lnTo>
                    <a:lnTo>
                      <a:pt x="1174" y="106"/>
                    </a:lnTo>
                    <a:lnTo>
                      <a:pt x="1118" y="106"/>
                    </a:lnTo>
                    <a:lnTo>
                      <a:pt x="1118" y="594"/>
                    </a:lnTo>
                    <a:lnTo>
                      <a:pt x="1118" y="594"/>
                    </a:lnTo>
                    <a:lnTo>
                      <a:pt x="1116" y="604"/>
                    </a:lnTo>
                    <a:lnTo>
                      <a:pt x="1114" y="614"/>
                    </a:lnTo>
                    <a:lnTo>
                      <a:pt x="1108" y="622"/>
                    </a:lnTo>
                    <a:lnTo>
                      <a:pt x="1102" y="630"/>
                    </a:lnTo>
                    <a:lnTo>
                      <a:pt x="1094" y="636"/>
                    </a:lnTo>
                    <a:lnTo>
                      <a:pt x="1086" y="642"/>
                    </a:lnTo>
                    <a:lnTo>
                      <a:pt x="1076" y="644"/>
                    </a:lnTo>
                    <a:lnTo>
                      <a:pt x="1064" y="646"/>
                    </a:lnTo>
                    <a:lnTo>
                      <a:pt x="824" y="646"/>
                    </a:lnTo>
                    <a:lnTo>
                      <a:pt x="824" y="646"/>
                    </a:lnTo>
                    <a:lnTo>
                      <a:pt x="814" y="644"/>
                    </a:lnTo>
                    <a:lnTo>
                      <a:pt x="804" y="642"/>
                    </a:lnTo>
                    <a:lnTo>
                      <a:pt x="794" y="636"/>
                    </a:lnTo>
                    <a:lnTo>
                      <a:pt x="786" y="630"/>
                    </a:lnTo>
                    <a:lnTo>
                      <a:pt x="780" y="622"/>
                    </a:lnTo>
                    <a:lnTo>
                      <a:pt x="776" y="614"/>
                    </a:lnTo>
                    <a:lnTo>
                      <a:pt x="772" y="604"/>
                    </a:lnTo>
                    <a:lnTo>
                      <a:pt x="772" y="594"/>
                    </a:lnTo>
                    <a:lnTo>
                      <a:pt x="772" y="182"/>
                    </a:lnTo>
                    <a:lnTo>
                      <a:pt x="714" y="182"/>
                    </a:lnTo>
                    <a:lnTo>
                      <a:pt x="714" y="594"/>
                    </a:lnTo>
                    <a:lnTo>
                      <a:pt x="714" y="594"/>
                    </a:lnTo>
                    <a:lnTo>
                      <a:pt x="712" y="604"/>
                    </a:lnTo>
                    <a:lnTo>
                      <a:pt x="710" y="614"/>
                    </a:lnTo>
                    <a:lnTo>
                      <a:pt x="706" y="622"/>
                    </a:lnTo>
                    <a:lnTo>
                      <a:pt x="698" y="630"/>
                    </a:lnTo>
                    <a:lnTo>
                      <a:pt x="690" y="636"/>
                    </a:lnTo>
                    <a:lnTo>
                      <a:pt x="682" y="642"/>
                    </a:lnTo>
                    <a:lnTo>
                      <a:pt x="672" y="644"/>
                    </a:lnTo>
                    <a:lnTo>
                      <a:pt x="662" y="646"/>
                    </a:lnTo>
                    <a:lnTo>
                      <a:pt x="420" y="646"/>
                    </a:lnTo>
                    <a:lnTo>
                      <a:pt x="420" y="646"/>
                    </a:lnTo>
                    <a:lnTo>
                      <a:pt x="410" y="644"/>
                    </a:lnTo>
                    <a:lnTo>
                      <a:pt x="400" y="642"/>
                    </a:lnTo>
                    <a:lnTo>
                      <a:pt x="390" y="636"/>
                    </a:lnTo>
                    <a:lnTo>
                      <a:pt x="384" y="630"/>
                    </a:lnTo>
                    <a:lnTo>
                      <a:pt x="376" y="622"/>
                    </a:lnTo>
                    <a:lnTo>
                      <a:pt x="372" y="614"/>
                    </a:lnTo>
                    <a:lnTo>
                      <a:pt x="368" y="604"/>
                    </a:lnTo>
                    <a:lnTo>
                      <a:pt x="368" y="594"/>
                    </a:lnTo>
                    <a:lnTo>
                      <a:pt x="368" y="322"/>
                    </a:lnTo>
                    <a:lnTo>
                      <a:pt x="310" y="322"/>
                    </a:lnTo>
                    <a:lnTo>
                      <a:pt x="310" y="594"/>
                    </a:lnTo>
                    <a:lnTo>
                      <a:pt x="310" y="594"/>
                    </a:lnTo>
                    <a:lnTo>
                      <a:pt x="310" y="604"/>
                    </a:lnTo>
                    <a:lnTo>
                      <a:pt x="306" y="614"/>
                    </a:lnTo>
                    <a:lnTo>
                      <a:pt x="302" y="622"/>
                    </a:lnTo>
                    <a:lnTo>
                      <a:pt x="296" y="630"/>
                    </a:lnTo>
                    <a:lnTo>
                      <a:pt x="288" y="636"/>
                    </a:lnTo>
                    <a:lnTo>
                      <a:pt x="278" y="642"/>
                    </a:lnTo>
                    <a:lnTo>
                      <a:pt x="268" y="644"/>
                    </a:lnTo>
                    <a:lnTo>
                      <a:pt x="258" y="646"/>
                    </a:lnTo>
                    <a:lnTo>
                      <a:pt x="52" y="646"/>
                    </a:lnTo>
                    <a:lnTo>
                      <a:pt x="52" y="646"/>
                    </a:lnTo>
                    <a:lnTo>
                      <a:pt x="42" y="644"/>
                    </a:lnTo>
                    <a:lnTo>
                      <a:pt x="32" y="642"/>
                    </a:lnTo>
                    <a:lnTo>
                      <a:pt x="24" y="636"/>
                    </a:lnTo>
                    <a:lnTo>
                      <a:pt x="16" y="630"/>
                    </a:lnTo>
                    <a:lnTo>
                      <a:pt x="10" y="622"/>
                    </a:lnTo>
                    <a:lnTo>
                      <a:pt x="4" y="614"/>
                    </a:lnTo>
                    <a:lnTo>
                      <a:pt x="2" y="604"/>
                    </a:lnTo>
                    <a:lnTo>
                      <a:pt x="0" y="594"/>
                    </a:lnTo>
                    <a:lnTo>
                      <a:pt x="0" y="594"/>
                    </a:lnTo>
                    <a:lnTo>
                      <a:pt x="2" y="582"/>
                    </a:lnTo>
                    <a:lnTo>
                      <a:pt x="4" y="572"/>
                    </a:lnTo>
                    <a:lnTo>
                      <a:pt x="10" y="564"/>
                    </a:lnTo>
                    <a:lnTo>
                      <a:pt x="16" y="556"/>
                    </a:lnTo>
                    <a:lnTo>
                      <a:pt x="24" y="550"/>
                    </a:lnTo>
                    <a:lnTo>
                      <a:pt x="32" y="544"/>
                    </a:lnTo>
                    <a:lnTo>
                      <a:pt x="42" y="542"/>
                    </a:lnTo>
                    <a:lnTo>
                      <a:pt x="52" y="540"/>
                    </a:lnTo>
                    <a:lnTo>
                      <a:pt x="206" y="540"/>
                    </a:lnTo>
                    <a:lnTo>
                      <a:pt x="206" y="292"/>
                    </a:lnTo>
                    <a:lnTo>
                      <a:pt x="206" y="292"/>
                    </a:lnTo>
                    <a:lnTo>
                      <a:pt x="208" y="278"/>
                    </a:lnTo>
                    <a:lnTo>
                      <a:pt x="212" y="264"/>
                    </a:lnTo>
                    <a:lnTo>
                      <a:pt x="218" y="250"/>
                    </a:lnTo>
                    <a:lnTo>
                      <a:pt x="228" y="240"/>
                    </a:lnTo>
                    <a:lnTo>
                      <a:pt x="238" y="230"/>
                    </a:lnTo>
                    <a:lnTo>
                      <a:pt x="252" y="224"/>
                    </a:lnTo>
                    <a:lnTo>
                      <a:pt x="266" y="218"/>
                    </a:lnTo>
                    <a:lnTo>
                      <a:pt x="280" y="218"/>
                    </a:lnTo>
                    <a:lnTo>
                      <a:pt x="398" y="218"/>
                    </a:lnTo>
                    <a:lnTo>
                      <a:pt x="398" y="218"/>
                    </a:lnTo>
                    <a:lnTo>
                      <a:pt x="412" y="218"/>
                    </a:lnTo>
                    <a:lnTo>
                      <a:pt x="426" y="224"/>
                    </a:lnTo>
                    <a:lnTo>
                      <a:pt x="440" y="230"/>
                    </a:lnTo>
                    <a:lnTo>
                      <a:pt x="450" y="240"/>
                    </a:lnTo>
                    <a:lnTo>
                      <a:pt x="460" y="250"/>
                    </a:lnTo>
                    <a:lnTo>
                      <a:pt x="466" y="264"/>
                    </a:lnTo>
                    <a:lnTo>
                      <a:pt x="472" y="278"/>
                    </a:lnTo>
                    <a:lnTo>
                      <a:pt x="472" y="292"/>
                    </a:lnTo>
                    <a:lnTo>
                      <a:pt x="472" y="540"/>
                    </a:lnTo>
                    <a:lnTo>
                      <a:pt x="608" y="540"/>
                    </a:lnTo>
                    <a:lnTo>
                      <a:pt x="608" y="152"/>
                    </a:lnTo>
                    <a:lnTo>
                      <a:pt x="608" y="152"/>
                    </a:lnTo>
                    <a:lnTo>
                      <a:pt x="610" y="136"/>
                    </a:lnTo>
                    <a:lnTo>
                      <a:pt x="614" y="122"/>
                    </a:lnTo>
                    <a:lnTo>
                      <a:pt x="622" y="110"/>
                    </a:lnTo>
                    <a:lnTo>
                      <a:pt x="632" y="98"/>
                    </a:lnTo>
                    <a:lnTo>
                      <a:pt x="642" y="90"/>
                    </a:lnTo>
                    <a:lnTo>
                      <a:pt x="654" y="82"/>
                    </a:lnTo>
                    <a:lnTo>
                      <a:pt x="668" y="78"/>
                    </a:lnTo>
                    <a:lnTo>
                      <a:pt x="684" y="76"/>
                    </a:lnTo>
                    <a:lnTo>
                      <a:pt x="800" y="76"/>
                    </a:lnTo>
                    <a:lnTo>
                      <a:pt x="800" y="76"/>
                    </a:lnTo>
                    <a:lnTo>
                      <a:pt x="816" y="78"/>
                    </a:lnTo>
                    <a:lnTo>
                      <a:pt x="830" y="82"/>
                    </a:lnTo>
                    <a:lnTo>
                      <a:pt x="842" y="90"/>
                    </a:lnTo>
                    <a:lnTo>
                      <a:pt x="854" y="98"/>
                    </a:lnTo>
                    <a:lnTo>
                      <a:pt x="864" y="110"/>
                    </a:lnTo>
                    <a:lnTo>
                      <a:pt x="870" y="122"/>
                    </a:lnTo>
                    <a:lnTo>
                      <a:pt x="874" y="136"/>
                    </a:lnTo>
                    <a:lnTo>
                      <a:pt x="876" y="152"/>
                    </a:lnTo>
                    <a:lnTo>
                      <a:pt x="876" y="540"/>
                    </a:lnTo>
                    <a:lnTo>
                      <a:pt x="1012" y="540"/>
                    </a:lnTo>
                    <a:lnTo>
                      <a:pt x="1012" y="76"/>
                    </a:lnTo>
                    <a:lnTo>
                      <a:pt x="1012" y="76"/>
                    </a:lnTo>
                    <a:lnTo>
                      <a:pt x="1014" y="60"/>
                    </a:lnTo>
                    <a:lnTo>
                      <a:pt x="1018" y="46"/>
                    </a:lnTo>
                    <a:lnTo>
                      <a:pt x="1026" y="34"/>
                    </a:lnTo>
                    <a:lnTo>
                      <a:pt x="1034" y="22"/>
                    </a:lnTo>
                    <a:lnTo>
                      <a:pt x="1046" y="12"/>
                    </a:lnTo>
                    <a:lnTo>
                      <a:pt x="1058" y="6"/>
                    </a:lnTo>
                    <a:lnTo>
                      <a:pt x="1072" y="2"/>
                    </a:lnTo>
                    <a:lnTo>
                      <a:pt x="1088" y="0"/>
                    </a:lnTo>
                    <a:lnTo>
                      <a:pt x="1204" y="0"/>
                    </a:lnTo>
                    <a:lnTo>
                      <a:pt x="1204" y="0"/>
                    </a:lnTo>
                    <a:lnTo>
                      <a:pt x="1220" y="2"/>
                    </a:lnTo>
                    <a:lnTo>
                      <a:pt x="1234" y="6"/>
                    </a:lnTo>
                    <a:lnTo>
                      <a:pt x="1246" y="12"/>
                    </a:lnTo>
                    <a:lnTo>
                      <a:pt x="1258" y="22"/>
                    </a:lnTo>
                    <a:lnTo>
                      <a:pt x="1266" y="34"/>
                    </a:lnTo>
                    <a:lnTo>
                      <a:pt x="1274" y="46"/>
                    </a:lnTo>
                    <a:lnTo>
                      <a:pt x="1278" y="60"/>
                    </a:lnTo>
                    <a:lnTo>
                      <a:pt x="1280" y="76"/>
                    </a:lnTo>
                    <a:lnTo>
                      <a:pt x="1280" y="540"/>
                    </a:lnTo>
                    <a:lnTo>
                      <a:pt x="1332" y="540"/>
                    </a:lnTo>
                    <a:lnTo>
                      <a:pt x="1332" y="540"/>
                    </a:lnTo>
                    <a:lnTo>
                      <a:pt x="1342" y="542"/>
                    </a:lnTo>
                    <a:lnTo>
                      <a:pt x="1352" y="544"/>
                    </a:lnTo>
                    <a:lnTo>
                      <a:pt x="1362" y="550"/>
                    </a:lnTo>
                    <a:lnTo>
                      <a:pt x="1370" y="556"/>
                    </a:lnTo>
                    <a:lnTo>
                      <a:pt x="1376" y="564"/>
                    </a:lnTo>
                    <a:lnTo>
                      <a:pt x="1380" y="572"/>
                    </a:lnTo>
                    <a:lnTo>
                      <a:pt x="1384" y="582"/>
                    </a:lnTo>
                    <a:lnTo>
                      <a:pt x="1384" y="594"/>
                    </a:lnTo>
                    <a:lnTo>
                      <a:pt x="1384" y="594"/>
                    </a:lnTo>
                    <a:lnTo>
                      <a:pt x="1384" y="604"/>
                    </a:lnTo>
                    <a:lnTo>
                      <a:pt x="1380" y="614"/>
                    </a:lnTo>
                    <a:lnTo>
                      <a:pt x="1376" y="622"/>
                    </a:lnTo>
                    <a:lnTo>
                      <a:pt x="1370" y="630"/>
                    </a:lnTo>
                    <a:lnTo>
                      <a:pt x="1362" y="636"/>
                    </a:lnTo>
                    <a:lnTo>
                      <a:pt x="1352" y="642"/>
                    </a:lnTo>
                    <a:lnTo>
                      <a:pt x="1342" y="644"/>
                    </a:lnTo>
                    <a:lnTo>
                      <a:pt x="1332" y="646"/>
                    </a:lnTo>
                    <a:lnTo>
                      <a:pt x="1332" y="64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32504"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endParaRPr>
              </a:p>
            </p:txBody>
          </p:sp>
          <p:sp>
            <p:nvSpPr>
              <p:cNvPr id="19" name="Freeform 6"/>
              <p:cNvSpPr>
                <a:spLocks noEditPoints="1"/>
              </p:cNvSpPr>
              <p:nvPr/>
            </p:nvSpPr>
            <p:spPr bwMode="auto">
              <a:xfrm>
                <a:off x="5757683" y="2925113"/>
                <a:ext cx="184112" cy="184112"/>
              </a:xfrm>
              <a:custGeom>
                <a:avLst/>
                <a:gdLst>
                  <a:gd name="T0" fmla="*/ 152 w 304"/>
                  <a:gd name="T1" fmla="*/ 304 h 304"/>
                  <a:gd name="T2" fmla="*/ 122 w 304"/>
                  <a:gd name="T3" fmla="*/ 302 h 304"/>
                  <a:gd name="T4" fmla="*/ 92 w 304"/>
                  <a:gd name="T5" fmla="*/ 292 h 304"/>
                  <a:gd name="T6" fmla="*/ 66 w 304"/>
                  <a:gd name="T7" fmla="*/ 278 h 304"/>
                  <a:gd name="T8" fmla="*/ 44 w 304"/>
                  <a:gd name="T9" fmla="*/ 260 h 304"/>
                  <a:gd name="T10" fmla="*/ 26 w 304"/>
                  <a:gd name="T11" fmla="*/ 238 h 304"/>
                  <a:gd name="T12" fmla="*/ 12 w 304"/>
                  <a:gd name="T13" fmla="*/ 212 h 304"/>
                  <a:gd name="T14" fmla="*/ 2 w 304"/>
                  <a:gd name="T15" fmla="*/ 182 h 304"/>
                  <a:gd name="T16" fmla="*/ 0 w 304"/>
                  <a:gd name="T17" fmla="*/ 152 h 304"/>
                  <a:gd name="T18" fmla="*/ 0 w 304"/>
                  <a:gd name="T19" fmla="*/ 136 h 304"/>
                  <a:gd name="T20" fmla="*/ 6 w 304"/>
                  <a:gd name="T21" fmla="*/ 106 h 304"/>
                  <a:gd name="T22" fmla="*/ 18 w 304"/>
                  <a:gd name="T23" fmla="*/ 80 h 304"/>
                  <a:gd name="T24" fmla="*/ 34 w 304"/>
                  <a:gd name="T25" fmla="*/ 56 h 304"/>
                  <a:gd name="T26" fmla="*/ 56 w 304"/>
                  <a:gd name="T27" fmla="*/ 34 h 304"/>
                  <a:gd name="T28" fmla="*/ 80 w 304"/>
                  <a:gd name="T29" fmla="*/ 18 h 304"/>
                  <a:gd name="T30" fmla="*/ 106 w 304"/>
                  <a:gd name="T31" fmla="*/ 6 h 304"/>
                  <a:gd name="T32" fmla="*/ 136 w 304"/>
                  <a:gd name="T33" fmla="*/ 0 h 304"/>
                  <a:gd name="T34" fmla="*/ 152 w 304"/>
                  <a:gd name="T35" fmla="*/ 0 h 304"/>
                  <a:gd name="T36" fmla="*/ 182 w 304"/>
                  <a:gd name="T37" fmla="*/ 2 h 304"/>
                  <a:gd name="T38" fmla="*/ 212 w 304"/>
                  <a:gd name="T39" fmla="*/ 12 h 304"/>
                  <a:gd name="T40" fmla="*/ 238 w 304"/>
                  <a:gd name="T41" fmla="*/ 26 h 304"/>
                  <a:gd name="T42" fmla="*/ 260 w 304"/>
                  <a:gd name="T43" fmla="*/ 44 h 304"/>
                  <a:gd name="T44" fmla="*/ 278 w 304"/>
                  <a:gd name="T45" fmla="*/ 66 h 304"/>
                  <a:gd name="T46" fmla="*/ 292 w 304"/>
                  <a:gd name="T47" fmla="*/ 92 h 304"/>
                  <a:gd name="T48" fmla="*/ 302 w 304"/>
                  <a:gd name="T49" fmla="*/ 122 h 304"/>
                  <a:gd name="T50" fmla="*/ 304 w 304"/>
                  <a:gd name="T51" fmla="*/ 152 h 304"/>
                  <a:gd name="T52" fmla="*/ 304 w 304"/>
                  <a:gd name="T53" fmla="*/ 168 h 304"/>
                  <a:gd name="T54" fmla="*/ 298 w 304"/>
                  <a:gd name="T55" fmla="*/ 198 h 304"/>
                  <a:gd name="T56" fmla="*/ 286 w 304"/>
                  <a:gd name="T57" fmla="*/ 224 h 304"/>
                  <a:gd name="T58" fmla="*/ 270 w 304"/>
                  <a:gd name="T59" fmla="*/ 250 h 304"/>
                  <a:gd name="T60" fmla="*/ 250 w 304"/>
                  <a:gd name="T61" fmla="*/ 270 h 304"/>
                  <a:gd name="T62" fmla="*/ 224 w 304"/>
                  <a:gd name="T63" fmla="*/ 286 h 304"/>
                  <a:gd name="T64" fmla="*/ 198 w 304"/>
                  <a:gd name="T65" fmla="*/ 298 h 304"/>
                  <a:gd name="T66" fmla="*/ 168 w 304"/>
                  <a:gd name="T67" fmla="*/ 304 h 304"/>
                  <a:gd name="T68" fmla="*/ 152 w 304"/>
                  <a:gd name="T69" fmla="*/ 304 h 304"/>
                  <a:gd name="T70" fmla="*/ 152 w 304"/>
                  <a:gd name="T71" fmla="*/ 104 h 304"/>
                  <a:gd name="T72" fmla="*/ 134 w 304"/>
                  <a:gd name="T73" fmla="*/ 108 h 304"/>
                  <a:gd name="T74" fmla="*/ 118 w 304"/>
                  <a:gd name="T75" fmla="*/ 118 h 304"/>
                  <a:gd name="T76" fmla="*/ 108 w 304"/>
                  <a:gd name="T77" fmla="*/ 134 h 304"/>
                  <a:gd name="T78" fmla="*/ 104 w 304"/>
                  <a:gd name="T79" fmla="*/ 152 h 304"/>
                  <a:gd name="T80" fmla="*/ 106 w 304"/>
                  <a:gd name="T81" fmla="*/ 162 h 304"/>
                  <a:gd name="T82" fmla="*/ 112 w 304"/>
                  <a:gd name="T83" fmla="*/ 178 h 304"/>
                  <a:gd name="T84" fmla="*/ 126 w 304"/>
                  <a:gd name="T85" fmla="*/ 192 h 304"/>
                  <a:gd name="T86" fmla="*/ 142 w 304"/>
                  <a:gd name="T87" fmla="*/ 198 h 304"/>
                  <a:gd name="T88" fmla="*/ 152 w 304"/>
                  <a:gd name="T89" fmla="*/ 200 h 304"/>
                  <a:gd name="T90" fmla="*/ 170 w 304"/>
                  <a:gd name="T91" fmla="*/ 196 h 304"/>
                  <a:gd name="T92" fmla="*/ 186 w 304"/>
                  <a:gd name="T93" fmla="*/ 186 h 304"/>
                  <a:gd name="T94" fmla="*/ 196 w 304"/>
                  <a:gd name="T95" fmla="*/ 170 h 304"/>
                  <a:gd name="T96" fmla="*/ 200 w 304"/>
                  <a:gd name="T97" fmla="*/ 152 h 304"/>
                  <a:gd name="T98" fmla="*/ 198 w 304"/>
                  <a:gd name="T99" fmla="*/ 142 h 304"/>
                  <a:gd name="T100" fmla="*/ 192 w 304"/>
                  <a:gd name="T101" fmla="*/ 126 h 304"/>
                  <a:gd name="T102" fmla="*/ 178 w 304"/>
                  <a:gd name="T103" fmla="*/ 112 h 304"/>
                  <a:gd name="T104" fmla="*/ 162 w 304"/>
                  <a:gd name="T105" fmla="*/ 106 h 304"/>
                  <a:gd name="T106" fmla="*/ 152 w 304"/>
                  <a:gd name="T107" fmla="*/ 104 h 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4" h="304">
                    <a:moveTo>
                      <a:pt x="152" y="304"/>
                    </a:moveTo>
                    <a:lnTo>
                      <a:pt x="152" y="304"/>
                    </a:lnTo>
                    <a:lnTo>
                      <a:pt x="136" y="304"/>
                    </a:lnTo>
                    <a:lnTo>
                      <a:pt x="122" y="302"/>
                    </a:lnTo>
                    <a:lnTo>
                      <a:pt x="106" y="298"/>
                    </a:lnTo>
                    <a:lnTo>
                      <a:pt x="92" y="292"/>
                    </a:lnTo>
                    <a:lnTo>
                      <a:pt x="80" y="286"/>
                    </a:lnTo>
                    <a:lnTo>
                      <a:pt x="66" y="278"/>
                    </a:lnTo>
                    <a:lnTo>
                      <a:pt x="56" y="270"/>
                    </a:lnTo>
                    <a:lnTo>
                      <a:pt x="44" y="260"/>
                    </a:lnTo>
                    <a:lnTo>
                      <a:pt x="34" y="250"/>
                    </a:lnTo>
                    <a:lnTo>
                      <a:pt x="26" y="238"/>
                    </a:lnTo>
                    <a:lnTo>
                      <a:pt x="18" y="224"/>
                    </a:lnTo>
                    <a:lnTo>
                      <a:pt x="12" y="212"/>
                    </a:lnTo>
                    <a:lnTo>
                      <a:pt x="6" y="198"/>
                    </a:lnTo>
                    <a:lnTo>
                      <a:pt x="2" y="182"/>
                    </a:lnTo>
                    <a:lnTo>
                      <a:pt x="0" y="168"/>
                    </a:lnTo>
                    <a:lnTo>
                      <a:pt x="0" y="152"/>
                    </a:lnTo>
                    <a:lnTo>
                      <a:pt x="0" y="152"/>
                    </a:lnTo>
                    <a:lnTo>
                      <a:pt x="0" y="136"/>
                    </a:lnTo>
                    <a:lnTo>
                      <a:pt x="2" y="122"/>
                    </a:lnTo>
                    <a:lnTo>
                      <a:pt x="6" y="106"/>
                    </a:lnTo>
                    <a:lnTo>
                      <a:pt x="12" y="92"/>
                    </a:lnTo>
                    <a:lnTo>
                      <a:pt x="18" y="80"/>
                    </a:lnTo>
                    <a:lnTo>
                      <a:pt x="26" y="66"/>
                    </a:lnTo>
                    <a:lnTo>
                      <a:pt x="34" y="56"/>
                    </a:lnTo>
                    <a:lnTo>
                      <a:pt x="44" y="44"/>
                    </a:lnTo>
                    <a:lnTo>
                      <a:pt x="56" y="34"/>
                    </a:lnTo>
                    <a:lnTo>
                      <a:pt x="66" y="26"/>
                    </a:lnTo>
                    <a:lnTo>
                      <a:pt x="80" y="18"/>
                    </a:lnTo>
                    <a:lnTo>
                      <a:pt x="92" y="12"/>
                    </a:lnTo>
                    <a:lnTo>
                      <a:pt x="106" y="6"/>
                    </a:lnTo>
                    <a:lnTo>
                      <a:pt x="122" y="2"/>
                    </a:lnTo>
                    <a:lnTo>
                      <a:pt x="136" y="0"/>
                    </a:lnTo>
                    <a:lnTo>
                      <a:pt x="152" y="0"/>
                    </a:lnTo>
                    <a:lnTo>
                      <a:pt x="152" y="0"/>
                    </a:lnTo>
                    <a:lnTo>
                      <a:pt x="168" y="0"/>
                    </a:lnTo>
                    <a:lnTo>
                      <a:pt x="182" y="2"/>
                    </a:lnTo>
                    <a:lnTo>
                      <a:pt x="198" y="6"/>
                    </a:lnTo>
                    <a:lnTo>
                      <a:pt x="212" y="12"/>
                    </a:lnTo>
                    <a:lnTo>
                      <a:pt x="224" y="18"/>
                    </a:lnTo>
                    <a:lnTo>
                      <a:pt x="238" y="26"/>
                    </a:lnTo>
                    <a:lnTo>
                      <a:pt x="250" y="34"/>
                    </a:lnTo>
                    <a:lnTo>
                      <a:pt x="260" y="44"/>
                    </a:lnTo>
                    <a:lnTo>
                      <a:pt x="270" y="56"/>
                    </a:lnTo>
                    <a:lnTo>
                      <a:pt x="278" y="66"/>
                    </a:lnTo>
                    <a:lnTo>
                      <a:pt x="286" y="80"/>
                    </a:lnTo>
                    <a:lnTo>
                      <a:pt x="292" y="92"/>
                    </a:lnTo>
                    <a:lnTo>
                      <a:pt x="298" y="106"/>
                    </a:lnTo>
                    <a:lnTo>
                      <a:pt x="302" y="122"/>
                    </a:lnTo>
                    <a:lnTo>
                      <a:pt x="304" y="136"/>
                    </a:lnTo>
                    <a:lnTo>
                      <a:pt x="304" y="152"/>
                    </a:lnTo>
                    <a:lnTo>
                      <a:pt x="304" y="152"/>
                    </a:lnTo>
                    <a:lnTo>
                      <a:pt x="304" y="168"/>
                    </a:lnTo>
                    <a:lnTo>
                      <a:pt x="302" y="182"/>
                    </a:lnTo>
                    <a:lnTo>
                      <a:pt x="298" y="198"/>
                    </a:lnTo>
                    <a:lnTo>
                      <a:pt x="292" y="212"/>
                    </a:lnTo>
                    <a:lnTo>
                      <a:pt x="286" y="224"/>
                    </a:lnTo>
                    <a:lnTo>
                      <a:pt x="278" y="238"/>
                    </a:lnTo>
                    <a:lnTo>
                      <a:pt x="270" y="250"/>
                    </a:lnTo>
                    <a:lnTo>
                      <a:pt x="260" y="260"/>
                    </a:lnTo>
                    <a:lnTo>
                      <a:pt x="250" y="270"/>
                    </a:lnTo>
                    <a:lnTo>
                      <a:pt x="238" y="278"/>
                    </a:lnTo>
                    <a:lnTo>
                      <a:pt x="224" y="286"/>
                    </a:lnTo>
                    <a:lnTo>
                      <a:pt x="212" y="292"/>
                    </a:lnTo>
                    <a:lnTo>
                      <a:pt x="198" y="298"/>
                    </a:lnTo>
                    <a:lnTo>
                      <a:pt x="182" y="302"/>
                    </a:lnTo>
                    <a:lnTo>
                      <a:pt x="168" y="304"/>
                    </a:lnTo>
                    <a:lnTo>
                      <a:pt x="152" y="304"/>
                    </a:lnTo>
                    <a:lnTo>
                      <a:pt x="152" y="304"/>
                    </a:lnTo>
                    <a:close/>
                    <a:moveTo>
                      <a:pt x="152" y="104"/>
                    </a:moveTo>
                    <a:lnTo>
                      <a:pt x="152" y="104"/>
                    </a:lnTo>
                    <a:lnTo>
                      <a:pt x="142" y="106"/>
                    </a:lnTo>
                    <a:lnTo>
                      <a:pt x="134" y="108"/>
                    </a:lnTo>
                    <a:lnTo>
                      <a:pt x="126" y="112"/>
                    </a:lnTo>
                    <a:lnTo>
                      <a:pt x="118" y="118"/>
                    </a:lnTo>
                    <a:lnTo>
                      <a:pt x="112" y="126"/>
                    </a:lnTo>
                    <a:lnTo>
                      <a:pt x="108" y="134"/>
                    </a:lnTo>
                    <a:lnTo>
                      <a:pt x="106" y="142"/>
                    </a:lnTo>
                    <a:lnTo>
                      <a:pt x="104" y="152"/>
                    </a:lnTo>
                    <a:lnTo>
                      <a:pt x="104" y="152"/>
                    </a:lnTo>
                    <a:lnTo>
                      <a:pt x="106" y="162"/>
                    </a:lnTo>
                    <a:lnTo>
                      <a:pt x="108" y="170"/>
                    </a:lnTo>
                    <a:lnTo>
                      <a:pt x="112" y="178"/>
                    </a:lnTo>
                    <a:lnTo>
                      <a:pt x="118" y="186"/>
                    </a:lnTo>
                    <a:lnTo>
                      <a:pt x="126" y="192"/>
                    </a:lnTo>
                    <a:lnTo>
                      <a:pt x="134" y="196"/>
                    </a:lnTo>
                    <a:lnTo>
                      <a:pt x="142" y="198"/>
                    </a:lnTo>
                    <a:lnTo>
                      <a:pt x="152" y="200"/>
                    </a:lnTo>
                    <a:lnTo>
                      <a:pt x="152" y="200"/>
                    </a:lnTo>
                    <a:lnTo>
                      <a:pt x="162" y="198"/>
                    </a:lnTo>
                    <a:lnTo>
                      <a:pt x="170" y="196"/>
                    </a:lnTo>
                    <a:lnTo>
                      <a:pt x="178" y="192"/>
                    </a:lnTo>
                    <a:lnTo>
                      <a:pt x="186" y="186"/>
                    </a:lnTo>
                    <a:lnTo>
                      <a:pt x="192" y="178"/>
                    </a:lnTo>
                    <a:lnTo>
                      <a:pt x="196" y="170"/>
                    </a:lnTo>
                    <a:lnTo>
                      <a:pt x="198" y="162"/>
                    </a:lnTo>
                    <a:lnTo>
                      <a:pt x="200" y="152"/>
                    </a:lnTo>
                    <a:lnTo>
                      <a:pt x="200" y="152"/>
                    </a:lnTo>
                    <a:lnTo>
                      <a:pt x="198" y="142"/>
                    </a:lnTo>
                    <a:lnTo>
                      <a:pt x="196" y="134"/>
                    </a:lnTo>
                    <a:lnTo>
                      <a:pt x="192" y="126"/>
                    </a:lnTo>
                    <a:lnTo>
                      <a:pt x="186" y="118"/>
                    </a:lnTo>
                    <a:lnTo>
                      <a:pt x="178" y="112"/>
                    </a:lnTo>
                    <a:lnTo>
                      <a:pt x="170" y="108"/>
                    </a:lnTo>
                    <a:lnTo>
                      <a:pt x="162" y="106"/>
                    </a:lnTo>
                    <a:lnTo>
                      <a:pt x="152" y="104"/>
                    </a:lnTo>
                    <a:lnTo>
                      <a:pt x="152" y="104"/>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32504"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endParaRPr>
              </a:p>
            </p:txBody>
          </p:sp>
          <p:sp>
            <p:nvSpPr>
              <p:cNvPr id="20" name="Freeform 7"/>
              <p:cNvSpPr>
                <a:spLocks noEditPoints="1"/>
              </p:cNvSpPr>
              <p:nvPr/>
            </p:nvSpPr>
            <p:spPr bwMode="auto">
              <a:xfrm>
                <a:off x="6002359" y="2994156"/>
                <a:ext cx="184112" cy="185323"/>
              </a:xfrm>
              <a:custGeom>
                <a:avLst/>
                <a:gdLst>
                  <a:gd name="T0" fmla="*/ 152 w 304"/>
                  <a:gd name="T1" fmla="*/ 306 h 306"/>
                  <a:gd name="T2" fmla="*/ 120 w 304"/>
                  <a:gd name="T3" fmla="*/ 302 h 306"/>
                  <a:gd name="T4" fmla="*/ 92 w 304"/>
                  <a:gd name="T5" fmla="*/ 294 h 306"/>
                  <a:gd name="T6" fmla="*/ 66 w 304"/>
                  <a:gd name="T7" fmla="*/ 280 h 306"/>
                  <a:gd name="T8" fmla="*/ 44 w 304"/>
                  <a:gd name="T9" fmla="*/ 262 h 306"/>
                  <a:gd name="T10" fmla="*/ 26 w 304"/>
                  <a:gd name="T11" fmla="*/ 238 h 306"/>
                  <a:gd name="T12" fmla="*/ 12 w 304"/>
                  <a:gd name="T13" fmla="*/ 212 h 306"/>
                  <a:gd name="T14" fmla="*/ 2 w 304"/>
                  <a:gd name="T15" fmla="*/ 184 h 306"/>
                  <a:gd name="T16" fmla="*/ 0 w 304"/>
                  <a:gd name="T17" fmla="*/ 154 h 306"/>
                  <a:gd name="T18" fmla="*/ 0 w 304"/>
                  <a:gd name="T19" fmla="*/ 138 h 306"/>
                  <a:gd name="T20" fmla="*/ 6 w 304"/>
                  <a:gd name="T21" fmla="*/ 108 h 306"/>
                  <a:gd name="T22" fmla="*/ 18 w 304"/>
                  <a:gd name="T23" fmla="*/ 80 h 306"/>
                  <a:gd name="T24" fmla="*/ 34 w 304"/>
                  <a:gd name="T25" fmla="*/ 56 h 306"/>
                  <a:gd name="T26" fmla="*/ 54 w 304"/>
                  <a:gd name="T27" fmla="*/ 36 h 306"/>
                  <a:gd name="T28" fmla="*/ 78 w 304"/>
                  <a:gd name="T29" fmla="*/ 20 h 306"/>
                  <a:gd name="T30" fmla="*/ 106 w 304"/>
                  <a:gd name="T31" fmla="*/ 8 h 306"/>
                  <a:gd name="T32" fmla="*/ 136 w 304"/>
                  <a:gd name="T33" fmla="*/ 2 h 306"/>
                  <a:gd name="T34" fmla="*/ 152 w 304"/>
                  <a:gd name="T35" fmla="*/ 0 h 306"/>
                  <a:gd name="T36" fmla="*/ 182 w 304"/>
                  <a:gd name="T37" fmla="*/ 4 h 306"/>
                  <a:gd name="T38" fmla="*/ 212 w 304"/>
                  <a:gd name="T39" fmla="*/ 12 h 306"/>
                  <a:gd name="T40" fmla="*/ 236 w 304"/>
                  <a:gd name="T41" fmla="*/ 26 h 306"/>
                  <a:gd name="T42" fmla="*/ 260 w 304"/>
                  <a:gd name="T43" fmla="*/ 46 h 306"/>
                  <a:gd name="T44" fmla="*/ 278 w 304"/>
                  <a:gd name="T45" fmla="*/ 68 h 306"/>
                  <a:gd name="T46" fmla="*/ 292 w 304"/>
                  <a:gd name="T47" fmla="*/ 94 h 306"/>
                  <a:gd name="T48" fmla="*/ 302 w 304"/>
                  <a:gd name="T49" fmla="*/ 122 h 306"/>
                  <a:gd name="T50" fmla="*/ 304 w 304"/>
                  <a:gd name="T51" fmla="*/ 154 h 306"/>
                  <a:gd name="T52" fmla="*/ 304 w 304"/>
                  <a:gd name="T53" fmla="*/ 168 h 306"/>
                  <a:gd name="T54" fmla="*/ 298 w 304"/>
                  <a:gd name="T55" fmla="*/ 198 h 306"/>
                  <a:gd name="T56" fmla="*/ 286 w 304"/>
                  <a:gd name="T57" fmla="*/ 226 h 306"/>
                  <a:gd name="T58" fmla="*/ 270 w 304"/>
                  <a:gd name="T59" fmla="*/ 250 h 306"/>
                  <a:gd name="T60" fmla="*/ 248 w 304"/>
                  <a:gd name="T61" fmla="*/ 272 h 306"/>
                  <a:gd name="T62" fmla="*/ 224 w 304"/>
                  <a:gd name="T63" fmla="*/ 288 h 306"/>
                  <a:gd name="T64" fmla="*/ 198 w 304"/>
                  <a:gd name="T65" fmla="*/ 300 h 306"/>
                  <a:gd name="T66" fmla="*/ 168 w 304"/>
                  <a:gd name="T67" fmla="*/ 306 h 306"/>
                  <a:gd name="T68" fmla="*/ 152 w 304"/>
                  <a:gd name="T69" fmla="*/ 306 h 306"/>
                  <a:gd name="T70" fmla="*/ 152 w 304"/>
                  <a:gd name="T71" fmla="*/ 106 h 306"/>
                  <a:gd name="T72" fmla="*/ 134 w 304"/>
                  <a:gd name="T73" fmla="*/ 110 h 306"/>
                  <a:gd name="T74" fmla="*/ 118 w 304"/>
                  <a:gd name="T75" fmla="*/ 120 h 306"/>
                  <a:gd name="T76" fmla="*/ 108 w 304"/>
                  <a:gd name="T77" fmla="*/ 134 h 306"/>
                  <a:gd name="T78" fmla="*/ 104 w 304"/>
                  <a:gd name="T79" fmla="*/ 154 h 306"/>
                  <a:gd name="T80" fmla="*/ 106 w 304"/>
                  <a:gd name="T81" fmla="*/ 164 h 306"/>
                  <a:gd name="T82" fmla="*/ 112 w 304"/>
                  <a:gd name="T83" fmla="*/ 180 h 306"/>
                  <a:gd name="T84" fmla="*/ 126 w 304"/>
                  <a:gd name="T85" fmla="*/ 192 h 306"/>
                  <a:gd name="T86" fmla="*/ 142 w 304"/>
                  <a:gd name="T87" fmla="*/ 200 h 306"/>
                  <a:gd name="T88" fmla="*/ 152 w 304"/>
                  <a:gd name="T89" fmla="*/ 202 h 306"/>
                  <a:gd name="T90" fmla="*/ 170 w 304"/>
                  <a:gd name="T91" fmla="*/ 198 h 306"/>
                  <a:gd name="T92" fmla="*/ 186 w 304"/>
                  <a:gd name="T93" fmla="*/ 188 h 306"/>
                  <a:gd name="T94" fmla="*/ 196 w 304"/>
                  <a:gd name="T95" fmla="*/ 172 h 306"/>
                  <a:gd name="T96" fmla="*/ 200 w 304"/>
                  <a:gd name="T97" fmla="*/ 154 h 306"/>
                  <a:gd name="T98" fmla="*/ 198 w 304"/>
                  <a:gd name="T99" fmla="*/ 144 h 306"/>
                  <a:gd name="T100" fmla="*/ 192 w 304"/>
                  <a:gd name="T101" fmla="*/ 126 h 306"/>
                  <a:gd name="T102" fmla="*/ 178 w 304"/>
                  <a:gd name="T103" fmla="*/ 114 h 306"/>
                  <a:gd name="T104" fmla="*/ 162 w 304"/>
                  <a:gd name="T105" fmla="*/ 106 h 306"/>
                  <a:gd name="T106" fmla="*/ 152 w 304"/>
                  <a:gd name="T107" fmla="*/ 106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4" h="306">
                    <a:moveTo>
                      <a:pt x="152" y="306"/>
                    </a:moveTo>
                    <a:lnTo>
                      <a:pt x="152" y="306"/>
                    </a:lnTo>
                    <a:lnTo>
                      <a:pt x="136" y="306"/>
                    </a:lnTo>
                    <a:lnTo>
                      <a:pt x="120" y="302"/>
                    </a:lnTo>
                    <a:lnTo>
                      <a:pt x="106" y="300"/>
                    </a:lnTo>
                    <a:lnTo>
                      <a:pt x="92" y="294"/>
                    </a:lnTo>
                    <a:lnTo>
                      <a:pt x="78" y="288"/>
                    </a:lnTo>
                    <a:lnTo>
                      <a:pt x="66" y="280"/>
                    </a:lnTo>
                    <a:lnTo>
                      <a:pt x="54" y="272"/>
                    </a:lnTo>
                    <a:lnTo>
                      <a:pt x="44" y="262"/>
                    </a:lnTo>
                    <a:lnTo>
                      <a:pt x="34" y="250"/>
                    </a:lnTo>
                    <a:lnTo>
                      <a:pt x="26" y="238"/>
                    </a:lnTo>
                    <a:lnTo>
                      <a:pt x="18" y="226"/>
                    </a:lnTo>
                    <a:lnTo>
                      <a:pt x="12" y="212"/>
                    </a:lnTo>
                    <a:lnTo>
                      <a:pt x="6" y="198"/>
                    </a:lnTo>
                    <a:lnTo>
                      <a:pt x="2" y="184"/>
                    </a:lnTo>
                    <a:lnTo>
                      <a:pt x="0" y="168"/>
                    </a:lnTo>
                    <a:lnTo>
                      <a:pt x="0" y="154"/>
                    </a:lnTo>
                    <a:lnTo>
                      <a:pt x="0" y="154"/>
                    </a:lnTo>
                    <a:lnTo>
                      <a:pt x="0" y="138"/>
                    </a:lnTo>
                    <a:lnTo>
                      <a:pt x="2" y="122"/>
                    </a:lnTo>
                    <a:lnTo>
                      <a:pt x="6" y="108"/>
                    </a:lnTo>
                    <a:lnTo>
                      <a:pt x="12" y="94"/>
                    </a:lnTo>
                    <a:lnTo>
                      <a:pt x="18" y="80"/>
                    </a:lnTo>
                    <a:lnTo>
                      <a:pt x="26" y="68"/>
                    </a:lnTo>
                    <a:lnTo>
                      <a:pt x="34" y="56"/>
                    </a:lnTo>
                    <a:lnTo>
                      <a:pt x="44" y="46"/>
                    </a:lnTo>
                    <a:lnTo>
                      <a:pt x="54" y="36"/>
                    </a:lnTo>
                    <a:lnTo>
                      <a:pt x="66" y="26"/>
                    </a:lnTo>
                    <a:lnTo>
                      <a:pt x="78" y="20"/>
                    </a:lnTo>
                    <a:lnTo>
                      <a:pt x="92" y="12"/>
                    </a:lnTo>
                    <a:lnTo>
                      <a:pt x="106" y="8"/>
                    </a:lnTo>
                    <a:lnTo>
                      <a:pt x="120" y="4"/>
                    </a:lnTo>
                    <a:lnTo>
                      <a:pt x="136" y="2"/>
                    </a:lnTo>
                    <a:lnTo>
                      <a:pt x="152" y="0"/>
                    </a:lnTo>
                    <a:lnTo>
                      <a:pt x="152" y="0"/>
                    </a:lnTo>
                    <a:lnTo>
                      <a:pt x="168" y="2"/>
                    </a:lnTo>
                    <a:lnTo>
                      <a:pt x="182" y="4"/>
                    </a:lnTo>
                    <a:lnTo>
                      <a:pt x="198" y="8"/>
                    </a:lnTo>
                    <a:lnTo>
                      <a:pt x="212" y="12"/>
                    </a:lnTo>
                    <a:lnTo>
                      <a:pt x="224" y="20"/>
                    </a:lnTo>
                    <a:lnTo>
                      <a:pt x="236" y="26"/>
                    </a:lnTo>
                    <a:lnTo>
                      <a:pt x="248" y="36"/>
                    </a:lnTo>
                    <a:lnTo>
                      <a:pt x="260" y="46"/>
                    </a:lnTo>
                    <a:lnTo>
                      <a:pt x="270" y="56"/>
                    </a:lnTo>
                    <a:lnTo>
                      <a:pt x="278" y="68"/>
                    </a:lnTo>
                    <a:lnTo>
                      <a:pt x="286" y="80"/>
                    </a:lnTo>
                    <a:lnTo>
                      <a:pt x="292" y="94"/>
                    </a:lnTo>
                    <a:lnTo>
                      <a:pt x="298" y="108"/>
                    </a:lnTo>
                    <a:lnTo>
                      <a:pt x="302" y="122"/>
                    </a:lnTo>
                    <a:lnTo>
                      <a:pt x="304" y="138"/>
                    </a:lnTo>
                    <a:lnTo>
                      <a:pt x="304" y="154"/>
                    </a:lnTo>
                    <a:lnTo>
                      <a:pt x="304" y="154"/>
                    </a:lnTo>
                    <a:lnTo>
                      <a:pt x="304" y="168"/>
                    </a:lnTo>
                    <a:lnTo>
                      <a:pt x="302" y="184"/>
                    </a:lnTo>
                    <a:lnTo>
                      <a:pt x="298" y="198"/>
                    </a:lnTo>
                    <a:lnTo>
                      <a:pt x="292" y="212"/>
                    </a:lnTo>
                    <a:lnTo>
                      <a:pt x="286" y="226"/>
                    </a:lnTo>
                    <a:lnTo>
                      <a:pt x="278" y="238"/>
                    </a:lnTo>
                    <a:lnTo>
                      <a:pt x="270" y="250"/>
                    </a:lnTo>
                    <a:lnTo>
                      <a:pt x="260" y="262"/>
                    </a:lnTo>
                    <a:lnTo>
                      <a:pt x="248" y="272"/>
                    </a:lnTo>
                    <a:lnTo>
                      <a:pt x="236" y="280"/>
                    </a:lnTo>
                    <a:lnTo>
                      <a:pt x="224" y="288"/>
                    </a:lnTo>
                    <a:lnTo>
                      <a:pt x="212" y="294"/>
                    </a:lnTo>
                    <a:lnTo>
                      <a:pt x="198" y="300"/>
                    </a:lnTo>
                    <a:lnTo>
                      <a:pt x="182" y="302"/>
                    </a:lnTo>
                    <a:lnTo>
                      <a:pt x="168" y="306"/>
                    </a:lnTo>
                    <a:lnTo>
                      <a:pt x="152" y="306"/>
                    </a:lnTo>
                    <a:lnTo>
                      <a:pt x="152" y="306"/>
                    </a:lnTo>
                    <a:close/>
                    <a:moveTo>
                      <a:pt x="152" y="106"/>
                    </a:moveTo>
                    <a:lnTo>
                      <a:pt x="152" y="106"/>
                    </a:lnTo>
                    <a:lnTo>
                      <a:pt x="142" y="106"/>
                    </a:lnTo>
                    <a:lnTo>
                      <a:pt x="134" y="110"/>
                    </a:lnTo>
                    <a:lnTo>
                      <a:pt x="126" y="114"/>
                    </a:lnTo>
                    <a:lnTo>
                      <a:pt x="118" y="120"/>
                    </a:lnTo>
                    <a:lnTo>
                      <a:pt x="112" y="126"/>
                    </a:lnTo>
                    <a:lnTo>
                      <a:pt x="108" y="134"/>
                    </a:lnTo>
                    <a:lnTo>
                      <a:pt x="106" y="144"/>
                    </a:lnTo>
                    <a:lnTo>
                      <a:pt x="104" y="154"/>
                    </a:lnTo>
                    <a:lnTo>
                      <a:pt x="104" y="154"/>
                    </a:lnTo>
                    <a:lnTo>
                      <a:pt x="106" y="164"/>
                    </a:lnTo>
                    <a:lnTo>
                      <a:pt x="108" y="172"/>
                    </a:lnTo>
                    <a:lnTo>
                      <a:pt x="112" y="180"/>
                    </a:lnTo>
                    <a:lnTo>
                      <a:pt x="118" y="188"/>
                    </a:lnTo>
                    <a:lnTo>
                      <a:pt x="126" y="192"/>
                    </a:lnTo>
                    <a:lnTo>
                      <a:pt x="134" y="198"/>
                    </a:lnTo>
                    <a:lnTo>
                      <a:pt x="142" y="200"/>
                    </a:lnTo>
                    <a:lnTo>
                      <a:pt x="152" y="202"/>
                    </a:lnTo>
                    <a:lnTo>
                      <a:pt x="152" y="202"/>
                    </a:lnTo>
                    <a:lnTo>
                      <a:pt x="162" y="200"/>
                    </a:lnTo>
                    <a:lnTo>
                      <a:pt x="170" y="198"/>
                    </a:lnTo>
                    <a:lnTo>
                      <a:pt x="178" y="192"/>
                    </a:lnTo>
                    <a:lnTo>
                      <a:pt x="186" y="188"/>
                    </a:lnTo>
                    <a:lnTo>
                      <a:pt x="192" y="180"/>
                    </a:lnTo>
                    <a:lnTo>
                      <a:pt x="196" y="172"/>
                    </a:lnTo>
                    <a:lnTo>
                      <a:pt x="198" y="164"/>
                    </a:lnTo>
                    <a:lnTo>
                      <a:pt x="200" y="154"/>
                    </a:lnTo>
                    <a:lnTo>
                      <a:pt x="200" y="154"/>
                    </a:lnTo>
                    <a:lnTo>
                      <a:pt x="198" y="144"/>
                    </a:lnTo>
                    <a:lnTo>
                      <a:pt x="196" y="134"/>
                    </a:lnTo>
                    <a:lnTo>
                      <a:pt x="192" y="126"/>
                    </a:lnTo>
                    <a:lnTo>
                      <a:pt x="186" y="120"/>
                    </a:lnTo>
                    <a:lnTo>
                      <a:pt x="178" y="114"/>
                    </a:lnTo>
                    <a:lnTo>
                      <a:pt x="170" y="110"/>
                    </a:lnTo>
                    <a:lnTo>
                      <a:pt x="162" y="106"/>
                    </a:lnTo>
                    <a:lnTo>
                      <a:pt x="152" y="106"/>
                    </a:lnTo>
                    <a:lnTo>
                      <a:pt x="152" y="10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32504"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endParaRPr>
              </a:p>
            </p:txBody>
          </p:sp>
          <p:sp>
            <p:nvSpPr>
              <p:cNvPr id="21" name="Freeform 8"/>
              <p:cNvSpPr>
                <a:spLocks noEditPoints="1"/>
              </p:cNvSpPr>
              <p:nvPr/>
            </p:nvSpPr>
            <p:spPr bwMode="auto">
              <a:xfrm>
                <a:off x="6245822" y="2850015"/>
                <a:ext cx="185323" cy="185323"/>
              </a:xfrm>
              <a:custGeom>
                <a:avLst/>
                <a:gdLst>
                  <a:gd name="T0" fmla="*/ 154 w 306"/>
                  <a:gd name="T1" fmla="*/ 306 h 306"/>
                  <a:gd name="T2" fmla="*/ 122 w 306"/>
                  <a:gd name="T3" fmla="*/ 302 h 306"/>
                  <a:gd name="T4" fmla="*/ 94 w 306"/>
                  <a:gd name="T5" fmla="*/ 294 h 306"/>
                  <a:gd name="T6" fmla="*/ 68 w 306"/>
                  <a:gd name="T7" fmla="*/ 280 h 306"/>
                  <a:gd name="T8" fmla="*/ 46 w 306"/>
                  <a:gd name="T9" fmla="*/ 262 h 306"/>
                  <a:gd name="T10" fmla="*/ 26 w 306"/>
                  <a:gd name="T11" fmla="*/ 238 h 306"/>
                  <a:gd name="T12" fmla="*/ 12 w 306"/>
                  <a:gd name="T13" fmla="*/ 212 h 306"/>
                  <a:gd name="T14" fmla="*/ 4 w 306"/>
                  <a:gd name="T15" fmla="*/ 184 h 306"/>
                  <a:gd name="T16" fmla="*/ 0 w 306"/>
                  <a:gd name="T17" fmla="*/ 154 h 306"/>
                  <a:gd name="T18" fmla="*/ 2 w 306"/>
                  <a:gd name="T19" fmla="*/ 138 h 306"/>
                  <a:gd name="T20" fmla="*/ 8 w 306"/>
                  <a:gd name="T21" fmla="*/ 108 h 306"/>
                  <a:gd name="T22" fmla="*/ 18 w 306"/>
                  <a:gd name="T23" fmla="*/ 80 h 306"/>
                  <a:gd name="T24" fmla="*/ 36 w 306"/>
                  <a:gd name="T25" fmla="*/ 56 h 306"/>
                  <a:gd name="T26" fmla="*/ 56 w 306"/>
                  <a:gd name="T27" fmla="*/ 36 h 306"/>
                  <a:gd name="T28" fmla="*/ 80 w 306"/>
                  <a:gd name="T29" fmla="*/ 18 h 306"/>
                  <a:gd name="T30" fmla="*/ 108 w 306"/>
                  <a:gd name="T31" fmla="*/ 8 h 306"/>
                  <a:gd name="T32" fmla="*/ 138 w 306"/>
                  <a:gd name="T33" fmla="*/ 2 h 306"/>
                  <a:gd name="T34" fmla="*/ 154 w 306"/>
                  <a:gd name="T35" fmla="*/ 0 h 306"/>
                  <a:gd name="T36" fmla="*/ 184 w 306"/>
                  <a:gd name="T37" fmla="*/ 4 h 306"/>
                  <a:gd name="T38" fmla="*/ 212 w 306"/>
                  <a:gd name="T39" fmla="*/ 12 h 306"/>
                  <a:gd name="T40" fmla="*/ 238 w 306"/>
                  <a:gd name="T41" fmla="*/ 26 h 306"/>
                  <a:gd name="T42" fmla="*/ 260 w 306"/>
                  <a:gd name="T43" fmla="*/ 46 h 306"/>
                  <a:gd name="T44" fmla="*/ 280 w 306"/>
                  <a:gd name="T45" fmla="*/ 68 h 306"/>
                  <a:gd name="T46" fmla="*/ 294 w 306"/>
                  <a:gd name="T47" fmla="*/ 94 h 306"/>
                  <a:gd name="T48" fmla="*/ 302 w 306"/>
                  <a:gd name="T49" fmla="*/ 122 h 306"/>
                  <a:gd name="T50" fmla="*/ 306 w 306"/>
                  <a:gd name="T51" fmla="*/ 154 h 306"/>
                  <a:gd name="T52" fmla="*/ 304 w 306"/>
                  <a:gd name="T53" fmla="*/ 168 h 306"/>
                  <a:gd name="T54" fmla="*/ 298 w 306"/>
                  <a:gd name="T55" fmla="*/ 198 h 306"/>
                  <a:gd name="T56" fmla="*/ 288 w 306"/>
                  <a:gd name="T57" fmla="*/ 226 h 306"/>
                  <a:gd name="T58" fmla="*/ 270 w 306"/>
                  <a:gd name="T59" fmla="*/ 250 h 306"/>
                  <a:gd name="T60" fmla="*/ 250 w 306"/>
                  <a:gd name="T61" fmla="*/ 270 h 306"/>
                  <a:gd name="T62" fmla="*/ 226 w 306"/>
                  <a:gd name="T63" fmla="*/ 288 h 306"/>
                  <a:gd name="T64" fmla="*/ 198 w 306"/>
                  <a:gd name="T65" fmla="*/ 298 h 306"/>
                  <a:gd name="T66" fmla="*/ 168 w 306"/>
                  <a:gd name="T67" fmla="*/ 306 h 306"/>
                  <a:gd name="T68" fmla="*/ 154 w 306"/>
                  <a:gd name="T69" fmla="*/ 306 h 306"/>
                  <a:gd name="T70" fmla="*/ 154 w 306"/>
                  <a:gd name="T71" fmla="*/ 106 h 306"/>
                  <a:gd name="T72" fmla="*/ 134 w 306"/>
                  <a:gd name="T73" fmla="*/ 110 h 306"/>
                  <a:gd name="T74" fmla="*/ 120 w 306"/>
                  <a:gd name="T75" fmla="*/ 120 h 306"/>
                  <a:gd name="T76" fmla="*/ 110 w 306"/>
                  <a:gd name="T77" fmla="*/ 134 h 306"/>
                  <a:gd name="T78" fmla="*/ 106 w 306"/>
                  <a:gd name="T79" fmla="*/ 154 h 306"/>
                  <a:gd name="T80" fmla="*/ 106 w 306"/>
                  <a:gd name="T81" fmla="*/ 162 h 306"/>
                  <a:gd name="T82" fmla="*/ 114 w 306"/>
                  <a:gd name="T83" fmla="*/ 180 h 306"/>
                  <a:gd name="T84" fmla="*/ 126 w 306"/>
                  <a:gd name="T85" fmla="*/ 192 h 306"/>
                  <a:gd name="T86" fmla="*/ 144 w 306"/>
                  <a:gd name="T87" fmla="*/ 200 h 306"/>
                  <a:gd name="T88" fmla="*/ 154 w 306"/>
                  <a:gd name="T89" fmla="*/ 200 h 306"/>
                  <a:gd name="T90" fmla="*/ 172 w 306"/>
                  <a:gd name="T91" fmla="*/ 198 h 306"/>
                  <a:gd name="T92" fmla="*/ 186 w 306"/>
                  <a:gd name="T93" fmla="*/ 186 h 306"/>
                  <a:gd name="T94" fmla="*/ 196 w 306"/>
                  <a:gd name="T95" fmla="*/ 172 h 306"/>
                  <a:gd name="T96" fmla="*/ 200 w 306"/>
                  <a:gd name="T97" fmla="*/ 154 h 306"/>
                  <a:gd name="T98" fmla="*/ 200 w 306"/>
                  <a:gd name="T99" fmla="*/ 144 h 306"/>
                  <a:gd name="T100" fmla="*/ 192 w 306"/>
                  <a:gd name="T101" fmla="*/ 126 h 306"/>
                  <a:gd name="T102" fmla="*/ 180 w 306"/>
                  <a:gd name="T103" fmla="*/ 114 h 306"/>
                  <a:gd name="T104" fmla="*/ 162 w 306"/>
                  <a:gd name="T105" fmla="*/ 106 h 306"/>
                  <a:gd name="T106" fmla="*/ 154 w 306"/>
                  <a:gd name="T107" fmla="*/ 106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6" h="306">
                    <a:moveTo>
                      <a:pt x="154" y="306"/>
                    </a:moveTo>
                    <a:lnTo>
                      <a:pt x="154" y="306"/>
                    </a:lnTo>
                    <a:lnTo>
                      <a:pt x="138" y="306"/>
                    </a:lnTo>
                    <a:lnTo>
                      <a:pt x="122" y="302"/>
                    </a:lnTo>
                    <a:lnTo>
                      <a:pt x="108" y="298"/>
                    </a:lnTo>
                    <a:lnTo>
                      <a:pt x="94" y="294"/>
                    </a:lnTo>
                    <a:lnTo>
                      <a:pt x="80" y="288"/>
                    </a:lnTo>
                    <a:lnTo>
                      <a:pt x="68" y="280"/>
                    </a:lnTo>
                    <a:lnTo>
                      <a:pt x="56" y="270"/>
                    </a:lnTo>
                    <a:lnTo>
                      <a:pt x="46" y="262"/>
                    </a:lnTo>
                    <a:lnTo>
                      <a:pt x="36" y="250"/>
                    </a:lnTo>
                    <a:lnTo>
                      <a:pt x="26" y="238"/>
                    </a:lnTo>
                    <a:lnTo>
                      <a:pt x="18" y="226"/>
                    </a:lnTo>
                    <a:lnTo>
                      <a:pt x="12" y="212"/>
                    </a:lnTo>
                    <a:lnTo>
                      <a:pt x="8" y="198"/>
                    </a:lnTo>
                    <a:lnTo>
                      <a:pt x="4" y="184"/>
                    </a:lnTo>
                    <a:lnTo>
                      <a:pt x="2" y="168"/>
                    </a:lnTo>
                    <a:lnTo>
                      <a:pt x="0" y="154"/>
                    </a:lnTo>
                    <a:lnTo>
                      <a:pt x="0" y="154"/>
                    </a:lnTo>
                    <a:lnTo>
                      <a:pt x="2" y="138"/>
                    </a:lnTo>
                    <a:lnTo>
                      <a:pt x="4" y="122"/>
                    </a:lnTo>
                    <a:lnTo>
                      <a:pt x="8" y="108"/>
                    </a:lnTo>
                    <a:lnTo>
                      <a:pt x="12" y="94"/>
                    </a:lnTo>
                    <a:lnTo>
                      <a:pt x="18" y="80"/>
                    </a:lnTo>
                    <a:lnTo>
                      <a:pt x="26" y="68"/>
                    </a:lnTo>
                    <a:lnTo>
                      <a:pt x="36" y="56"/>
                    </a:lnTo>
                    <a:lnTo>
                      <a:pt x="46" y="46"/>
                    </a:lnTo>
                    <a:lnTo>
                      <a:pt x="56" y="36"/>
                    </a:lnTo>
                    <a:lnTo>
                      <a:pt x="68" y="26"/>
                    </a:lnTo>
                    <a:lnTo>
                      <a:pt x="80" y="18"/>
                    </a:lnTo>
                    <a:lnTo>
                      <a:pt x="94" y="12"/>
                    </a:lnTo>
                    <a:lnTo>
                      <a:pt x="108" y="8"/>
                    </a:lnTo>
                    <a:lnTo>
                      <a:pt x="122" y="4"/>
                    </a:lnTo>
                    <a:lnTo>
                      <a:pt x="138" y="2"/>
                    </a:lnTo>
                    <a:lnTo>
                      <a:pt x="154" y="0"/>
                    </a:lnTo>
                    <a:lnTo>
                      <a:pt x="154" y="0"/>
                    </a:lnTo>
                    <a:lnTo>
                      <a:pt x="168" y="2"/>
                    </a:lnTo>
                    <a:lnTo>
                      <a:pt x="184" y="4"/>
                    </a:lnTo>
                    <a:lnTo>
                      <a:pt x="198" y="8"/>
                    </a:lnTo>
                    <a:lnTo>
                      <a:pt x="212" y="12"/>
                    </a:lnTo>
                    <a:lnTo>
                      <a:pt x="226" y="18"/>
                    </a:lnTo>
                    <a:lnTo>
                      <a:pt x="238" y="26"/>
                    </a:lnTo>
                    <a:lnTo>
                      <a:pt x="250" y="36"/>
                    </a:lnTo>
                    <a:lnTo>
                      <a:pt x="260" y="46"/>
                    </a:lnTo>
                    <a:lnTo>
                      <a:pt x="270" y="56"/>
                    </a:lnTo>
                    <a:lnTo>
                      <a:pt x="280" y="68"/>
                    </a:lnTo>
                    <a:lnTo>
                      <a:pt x="288" y="80"/>
                    </a:lnTo>
                    <a:lnTo>
                      <a:pt x="294" y="94"/>
                    </a:lnTo>
                    <a:lnTo>
                      <a:pt x="298" y="108"/>
                    </a:lnTo>
                    <a:lnTo>
                      <a:pt x="302" y="122"/>
                    </a:lnTo>
                    <a:lnTo>
                      <a:pt x="304" y="138"/>
                    </a:lnTo>
                    <a:lnTo>
                      <a:pt x="306" y="154"/>
                    </a:lnTo>
                    <a:lnTo>
                      <a:pt x="306" y="154"/>
                    </a:lnTo>
                    <a:lnTo>
                      <a:pt x="304" y="168"/>
                    </a:lnTo>
                    <a:lnTo>
                      <a:pt x="302" y="184"/>
                    </a:lnTo>
                    <a:lnTo>
                      <a:pt x="298" y="198"/>
                    </a:lnTo>
                    <a:lnTo>
                      <a:pt x="294" y="212"/>
                    </a:lnTo>
                    <a:lnTo>
                      <a:pt x="288" y="226"/>
                    </a:lnTo>
                    <a:lnTo>
                      <a:pt x="280" y="238"/>
                    </a:lnTo>
                    <a:lnTo>
                      <a:pt x="270" y="250"/>
                    </a:lnTo>
                    <a:lnTo>
                      <a:pt x="260" y="262"/>
                    </a:lnTo>
                    <a:lnTo>
                      <a:pt x="250" y="270"/>
                    </a:lnTo>
                    <a:lnTo>
                      <a:pt x="238" y="280"/>
                    </a:lnTo>
                    <a:lnTo>
                      <a:pt x="226" y="288"/>
                    </a:lnTo>
                    <a:lnTo>
                      <a:pt x="212" y="294"/>
                    </a:lnTo>
                    <a:lnTo>
                      <a:pt x="198" y="298"/>
                    </a:lnTo>
                    <a:lnTo>
                      <a:pt x="184" y="302"/>
                    </a:lnTo>
                    <a:lnTo>
                      <a:pt x="168" y="306"/>
                    </a:lnTo>
                    <a:lnTo>
                      <a:pt x="154" y="306"/>
                    </a:lnTo>
                    <a:lnTo>
                      <a:pt x="154" y="306"/>
                    </a:lnTo>
                    <a:close/>
                    <a:moveTo>
                      <a:pt x="154" y="106"/>
                    </a:moveTo>
                    <a:lnTo>
                      <a:pt x="154" y="106"/>
                    </a:lnTo>
                    <a:lnTo>
                      <a:pt x="144" y="106"/>
                    </a:lnTo>
                    <a:lnTo>
                      <a:pt x="134" y="110"/>
                    </a:lnTo>
                    <a:lnTo>
                      <a:pt x="126" y="114"/>
                    </a:lnTo>
                    <a:lnTo>
                      <a:pt x="120" y="120"/>
                    </a:lnTo>
                    <a:lnTo>
                      <a:pt x="114" y="126"/>
                    </a:lnTo>
                    <a:lnTo>
                      <a:pt x="110" y="134"/>
                    </a:lnTo>
                    <a:lnTo>
                      <a:pt x="106" y="144"/>
                    </a:lnTo>
                    <a:lnTo>
                      <a:pt x="106" y="154"/>
                    </a:lnTo>
                    <a:lnTo>
                      <a:pt x="106" y="154"/>
                    </a:lnTo>
                    <a:lnTo>
                      <a:pt x="106" y="162"/>
                    </a:lnTo>
                    <a:lnTo>
                      <a:pt x="110" y="172"/>
                    </a:lnTo>
                    <a:lnTo>
                      <a:pt x="114" y="180"/>
                    </a:lnTo>
                    <a:lnTo>
                      <a:pt x="120" y="186"/>
                    </a:lnTo>
                    <a:lnTo>
                      <a:pt x="126" y="192"/>
                    </a:lnTo>
                    <a:lnTo>
                      <a:pt x="134" y="198"/>
                    </a:lnTo>
                    <a:lnTo>
                      <a:pt x="144" y="200"/>
                    </a:lnTo>
                    <a:lnTo>
                      <a:pt x="154" y="200"/>
                    </a:lnTo>
                    <a:lnTo>
                      <a:pt x="154" y="200"/>
                    </a:lnTo>
                    <a:lnTo>
                      <a:pt x="162" y="200"/>
                    </a:lnTo>
                    <a:lnTo>
                      <a:pt x="172" y="198"/>
                    </a:lnTo>
                    <a:lnTo>
                      <a:pt x="180" y="192"/>
                    </a:lnTo>
                    <a:lnTo>
                      <a:pt x="186" y="186"/>
                    </a:lnTo>
                    <a:lnTo>
                      <a:pt x="192" y="180"/>
                    </a:lnTo>
                    <a:lnTo>
                      <a:pt x="196" y="172"/>
                    </a:lnTo>
                    <a:lnTo>
                      <a:pt x="200" y="162"/>
                    </a:lnTo>
                    <a:lnTo>
                      <a:pt x="200" y="154"/>
                    </a:lnTo>
                    <a:lnTo>
                      <a:pt x="200" y="154"/>
                    </a:lnTo>
                    <a:lnTo>
                      <a:pt x="200" y="144"/>
                    </a:lnTo>
                    <a:lnTo>
                      <a:pt x="196" y="134"/>
                    </a:lnTo>
                    <a:lnTo>
                      <a:pt x="192" y="126"/>
                    </a:lnTo>
                    <a:lnTo>
                      <a:pt x="186" y="120"/>
                    </a:lnTo>
                    <a:lnTo>
                      <a:pt x="180" y="114"/>
                    </a:lnTo>
                    <a:lnTo>
                      <a:pt x="172" y="110"/>
                    </a:lnTo>
                    <a:lnTo>
                      <a:pt x="162" y="106"/>
                    </a:lnTo>
                    <a:lnTo>
                      <a:pt x="154" y="106"/>
                    </a:lnTo>
                    <a:lnTo>
                      <a:pt x="154" y="10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32504"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endParaRPr>
              </a:p>
            </p:txBody>
          </p:sp>
          <p:sp>
            <p:nvSpPr>
              <p:cNvPr id="22" name="Freeform 9"/>
              <p:cNvSpPr>
                <a:spLocks/>
              </p:cNvSpPr>
              <p:nvPr/>
            </p:nvSpPr>
            <p:spPr bwMode="auto">
              <a:xfrm>
                <a:off x="5875176" y="3006268"/>
                <a:ext cx="190168" cy="102957"/>
              </a:xfrm>
              <a:custGeom>
                <a:avLst/>
                <a:gdLst>
                  <a:gd name="T0" fmla="*/ 262 w 314"/>
                  <a:gd name="T1" fmla="*/ 170 h 170"/>
                  <a:gd name="T2" fmla="*/ 262 w 314"/>
                  <a:gd name="T3" fmla="*/ 170 h 170"/>
                  <a:gd name="T4" fmla="*/ 254 w 314"/>
                  <a:gd name="T5" fmla="*/ 170 h 170"/>
                  <a:gd name="T6" fmla="*/ 246 w 314"/>
                  <a:gd name="T7" fmla="*/ 168 h 170"/>
                  <a:gd name="T8" fmla="*/ 36 w 314"/>
                  <a:gd name="T9" fmla="*/ 104 h 170"/>
                  <a:gd name="T10" fmla="*/ 36 w 314"/>
                  <a:gd name="T11" fmla="*/ 104 h 170"/>
                  <a:gd name="T12" fmla="*/ 26 w 314"/>
                  <a:gd name="T13" fmla="*/ 100 h 170"/>
                  <a:gd name="T14" fmla="*/ 18 w 314"/>
                  <a:gd name="T15" fmla="*/ 94 h 170"/>
                  <a:gd name="T16" fmla="*/ 10 w 314"/>
                  <a:gd name="T17" fmla="*/ 86 h 170"/>
                  <a:gd name="T18" fmla="*/ 6 w 314"/>
                  <a:gd name="T19" fmla="*/ 78 h 170"/>
                  <a:gd name="T20" fmla="*/ 2 w 314"/>
                  <a:gd name="T21" fmla="*/ 68 h 170"/>
                  <a:gd name="T22" fmla="*/ 0 w 314"/>
                  <a:gd name="T23" fmla="*/ 58 h 170"/>
                  <a:gd name="T24" fmla="*/ 0 w 314"/>
                  <a:gd name="T25" fmla="*/ 48 h 170"/>
                  <a:gd name="T26" fmla="*/ 2 w 314"/>
                  <a:gd name="T27" fmla="*/ 38 h 170"/>
                  <a:gd name="T28" fmla="*/ 2 w 314"/>
                  <a:gd name="T29" fmla="*/ 38 h 170"/>
                  <a:gd name="T30" fmla="*/ 6 w 314"/>
                  <a:gd name="T31" fmla="*/ 28 h 170"/>
                  <a:gd name="T32" fmla="*/ 12 w 314"/>
                  <a:gd name="T33" fmla="*/ 20 h 170"/>
                  <a:gd name="T34" fmla="*/ 18 w 314"/>
                  <a:gd name="T35" fmla="*/ 12 h 170"/>
                  <a:gd name="T36" fmla="*/ 28 w 314"/>
                  <a:gd name="T37" fmla="*/ 6 h 170"/>
                  <a:gd name="T38" fmla="*/ 36 w 314"/>
                  <a:gd name="T39" fmla="*/ 2 h 170"/>
                  <a:gd name="T40" fmla="*/ 46 w 314"/>
                  <a:gd name="T41" fmla="*/ 0 h 170"/>
                  <a:gd name="T42" fmla="*/ 56 w 314"/>
                  <a:gd name="T43" fmla="*/ 0 h 170"/>
                  <a:gd name="T44" fmla="*/ 68 w 314"/>
                  <a:gd name="T45" fmla="*/ 4 h 170"/>
                  <a:gd name="T46" fmla="*/ 278 w 314"/>
                  <a:gd name="T47" fmla="*/ 68 h 170"/>
                  <a:gd name="T48" fmla="*/ 278 w 314"/>
                  <a:gd name="T49" fmla="*/ 68 h 170"/>
                  <a:gd name="T50" fmla="*/ 286 w 314"/>
                  <a:gd name="T51" fmla="*/ 72 h 170"/>
                  <a:gd name="T52" fmla="*/ 296 w 314"/>
                  <a:gd name="T53" fmla="*/ 78 h 170"/>
                  <a:gd name="T54" fmla="*/ 302 w 314"/>
                  <a:gd name="T55" fmla="*/ 86 h 170"/>
                  <a:gd name="T56" fmla="*/ 308 w 314"/>
                  <a:gd name="T57" fmla="*/ 94 h 170"/>
                  <a:gd name="T58" fmla="*/ 312 w 314"/>
                  <a:gd name="T59" fmla="*/ 104 h 170"/>
                  <a:gd name="T60" fmla="*/ 314 w 314"/>
                  <a:gd name="T61" fmla="*/ 114 h 170"/>
                  <a:gd name="T62" fmla="*/ 314 w 314"/>
                  <a:gd name="T63" fmla="*/ 124 h 170"/>
                  <a:gd name="T64" fmla="*/ 312 w 314"/>
                  <a:gd name="T65" fmla="*/ 134 h 170"/>
                  <a:gd name="T66" fmla="*/ 312 w 314"/>
                  <a:gd name="T67" fmla="*/ 134 h 170"/>
                  <a:gd name="T68" fmla="*/ 308 w 314"/>
                  <a:gd name="T69" fmla="*/ 142 h 170"/>
                  <a:gd name="T70" fmla="*/ 304 w 314"/>
                  <a:gd name="T71" fmla="*/ 150 h 170"/>
                  <a:gd name="T72" fmla="*/ 298 w 314"/>
                  <a:gd name="T73" fmla="*/ 156 h 170"/>
                  <a:gd name="T74" fmla="*/ 292 w 314"/>
                  <a:gd name="T75" fmla="*/ 160 h 170"/>
                  <a:gd name="T76" fmla="*/ 286 w 314"/>
                  <a:gd name="T77" fmla="*/ 166 h 170"/>
                  <a:gd name="T78" fmla="*/ 278 w 314"/>
                  <a:gd name="T79" fmla="*/ 168 h 170"/>
                  <a:gd name="T80" fmla="*/ 270 w 314"/>
                  <a:gd name="T81" fmla="*/ 170 h 170"/>
                  <a:gd name="T82" fmla="*/ 262 w 314"/>
                  <a:gd name="T83" fmla="*/ 170 h 170"/>
                  <a:gd name="T84" fmla="*/ 262 w 314"/>
                  <a:gd name="T85" fmla="*/ 17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14" h="170">
                    <a:moveTo>
                      <a:pt x="262" y="170"/>
                    </a:moveTo>
                    <a:lnTo>
                      <a:pt x="262" y="170"/>
                    </a:lnTo>
                    <a:lnTo>
                      <a:pt x="254" y="170"/>
                    </a:lnTo>
                    <a:lnTo>
                      <a:pt x="246" y="168"/>
                    </a:lnTo>
                    <a:lnTo>
                      <a:pt x="36" y="104"/>
                    </a:lnTo>
                    <a:lnTo>
                      <a:pt x="36" y="104"/>
                    </a:lnTo>
                    <a:lnTo>
                      <a:pt x="26" y="100"/>
                    </a:lnTo>
                    <a:lnTo>
                      <a:pt x="18" y="94"/>
                    </a:lnTo>
                    <a:lnTo>
                      <a:pt x="10" y="86"/>
                    </a:lnTo>
                    <a:lnTo>
                      <a:pt x="6" y="78"/>
                    </a:lnTo>
                    <a:lnTo>
                      <a:pt x="2" y="68"/>
                    </a:lnTo>
                    <a:lnTo>
                      <a:pt x="0" y="58"/>
                    </a:lnTo>
                    <a:lnTo>
                      <a:pt x="0" y="48"/>
                    </a:lnTo>
                    <a:lnTo>
                      <a:pt x="2" y="38"/>
                    </a:lnTo>
                    <a:lnTo>
                      <a:pt x="2" y="38"/>
                    </a:lnTo>
                    <a:lnTo>
                      <a:pt x="6" y="28"/>
                    </a:lnTo>
                    <a:lnTo>
                      <a:pt x="12" y="20"/>
                    </a:lnTo>
                    <a:lnTo>
                      <a:pt x="18" y="12"/>
                    </a:lnTo>
                    <a:lnTo>
                      <a:pt x="28" y="6"/>
                    </a:lnTo>
                    <a:lnTo>
                      <a:pt x="36" y="2"/>
                    </a:lnTo>
                    <a:lnTo>
                      <a:pt x="46" y="0"/>
                    </a:lnTo>
                    <a:lnTo>
                      <a:pt x="56" y="0"/>
                    </a:lnTo>
                    <a:lnTo>
                      <a:pt x="68" y="4"/>
                    </a:lnTo>
                    <a:lnTo>
                      <a:pt x="278" y="68"/>
                    </a:lnTo>
                    <a:lnTo>
                      <a:pt x="278" y="68"/>
                    </a:lnTo>
                    <a:lnTo>
                      <a:pt x="286" y="72"/>
                    </a:lnTo>
                    <a:lnTo>
                      <a:pt x="296" y="78"/>
                    </a:lnTo>
                    <a:lnTo>
                      <a:pt x="302" y="86"/>
                    </a:lnTo>
                    <a:lnTo>
                      <a:pt x="308" y="94"/>
                    </a:lnTo>
                    <a:lnTo>
                      <a:pt x="312" y="104"/>
                    </a:lnTo>
                    <a:lnTo>
                      <a:pt x="314" y="114"/>
                    </a:lnTo>
                    <a:lnTo>
                      <a:pt x="314" y="124"/>
                    </a:lnTo>
                    <a:lnTo>
                      <a:pt x="312" y="134"/>
                    </a:lnTo>
                    <a:lnTo>
                      <a:pt x="312" y="134"/>
                    </a:lnTo>
                    <a:lnTo>
                      <a:pt x="308" y="142"/>
                    </a:lnTo>
                    <a:lnTo>
                      <a:pt x="304" y="150"/>
                    </a:lnTo>
                    <a:lnTo>
                      <a:pt x="298" y="156"/>
                    </a:lnTo>
                    <a:lnTo>
                      <a:pt x="292" y="160"/>
                    </a:lnTo>
                    <a:lnTo>
                      <a:pt x="286" y="166"/>
                    </a:lnTo>
                    <a:lnTo>
                      <a:pt x="278" y="168"/>
                    </a:lnTo>
                    <a:lnTo>
                      <a:pt x="270" y="170"/>
                    </a:lnTo>
                    <a:lnTo>
                      <a:pt x="262" y="170"/>
                    </a:lnTo>
                    <a:lnTo>
                      <a:pt x="262" y="170"/>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32504"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endParaRPr>
              </a:p>
            </p:txBody>
          </p:sp>
          <p:sp>
            <p:nvSpPr>
              <p:cNvPr id="23" name="Freeform 10"/>
              <p:cNvSpPr>
                <a:spLocks/>
              </p:cNvSpPr>
              <p:nvPr/>
            </p:nvSpPr>
            <p:spPr bwMode="auto">
              <a:xfrm>
                <a:off x="6123485" y="2952972"/>
                <a:ext cx="202281" cy="156253"/>
              </a:xfrm>
              <a:custGeom>
                <a:avLst/>
                <a:gdLst>
                  <a:gd name="T0" fmla="*/ 52 w 334"/>
                  <a:gd name="T1" fmla="*/ 258 h 258"/>
                  <a:gd name="T2" fmla="*/ 52 w 334"/>
                  <a:gd name="T3" fmla="*/ 258 h 258"/>
                  <a:gd name="T4" fmla="*/ 40 w 334"/>
                  <a:gd name="T5" fmla="*/ 258 h 258"/>
                  <a:gd name="T6" fmla="*/ 28 w 334"/>
                  <a:gd name="T7" fmla="*/ 252 h 258"/>
                  <a:gd name="T8" fmla="*/ 16 w 334"/>
                  <a:gd name="T9" fmla="*/ 246 h 258"/>
                  <a:gd name="T10" fmla="*/ 8 w 334"/>
                  <a:gd name="T11" fmla="*/ 236 h 258"/>
                  <a:gd name="T12" fmla="*/ 8 w 334"/>
                  <a:gd name="T13" fmla="*/ 236 h 258"/>
                  <a:gd name="T14" fmla="*/ 4 w 334"/>
                  <a:gd name="T15" fmla="*/ 226 h 258"/>
                  <a:gd name="T16" fmla="*/ 0 w 334"/>
                  <a:gd name="T17" fmla="*/ 216 h 258"/>
                  <a:gd name="T18" fmla="*/ 0 w 334"/>
                  <a:gd name="T19" fmla="*/ 206 h 258"/>
                  <a:gd name="T20" fmla="*/ 0 w 334"/>
                  <a:gd name="T21" fmla="*/ 196 h 258"/>
                  <a:gd name="T22" fmla="*/ 4 w 334"/>
                  <a:gd name="T23" fmla="*/ 186 h 258"/>
                  <a:gd name="T24" fmla="*/ 8 w 334"/>
                  <a:gd name="T25" fmla="*/ 178 h 258"/>
                  <a:gd name="T26" fmla="*/ 14 w 334"/>
                  <a:gd name="T27" fmla="*/ 170 h 258"/>
                  <a:gd name="T28" fmla="*/ 22 w 334"/>
                  <a:gd name="T29" fmla="*/ 162 h 258"/>
                  <a:gd name="T30" fmla="*/ 252 w 334"/>
                  <a:gd name="T31" fmla="*/ 8 h 258"/>
                  <a:gd name="T32" fmla="*/ 252 w 334"/>
                  <a:gd name="T33" fmla="*/ 8 h 258"/>
                  <a:gd name="T34" fmla="*/ 262 w 334"/>
                  <a:gd name="T35" fmla="*/ 4 h 258"/>
                  <a:gd name="T36" fmla="*/ 272 w 334"/>
                  <a:gd name="T37" fmla="*/ 0 h 258"/>
                  <a:gd name="T38" fmla="*/ 282 w 334"/>
                  <a:gd name="T39" fmla="*/ 0 h 258"/>
                  <a:gd name="T40" fmla="*/ 292 w 334"/>
                  <a:gd name="T41" fmla="*/ 0 h 258"/>
                  <a:gd name="T42" fmla="*/ 302 w 334"/>
                  <a:gd name="T43" fmla="*/ 4 h 258"/>
                  <a:gd name="T44" fmla="*/ 310 w 334"/>
                  <a:gd name="T45" fmla="*/ 8 h 258"/>
                  <a:gd name="T46" fmla="*/ 318 w 334"/>
                  <a:gd name="T47" fmla="*/ 14 h 258"/>
                  <a:gd name="T48" fmla="*/ 326 w 334"/>
                  <a:gd name="T49" fmla="*/ 22 h 258"/>
                  <a:gd name="T50" fmla="*/ 326 w 334"/>
                  <a:gd name="T51" fmla="*/ 22 h 258"/>
                  <a:gd name="T52" fmla="*/ 330 w 334"/>
                  <a:gd name="T53" fmla="*/ 32 h 258"/>
                  <a:gd name="T54" fmla="*/ 334 w 334"/>
                  <a:gd name="T55" fmla="*/ 42 h 258"/>
                  <a:gd name="T56" fmla="*/ 334 w 334"/>
                  <a:gd name="T57" fmla="*/ 52 h 258"/>
                  <a:gd name="T58" fmla="*/ 334 w 334"/>
                  <a:gd name="T59" fmla="*/ 62 h 258"/>
                  <a:gd name="T60" fmla="*/ 330 w 334"/>
                  <a:gd name="T61" fmla="*/ 72 h 258"/>
                  <a:gd name="T62" fmla="*/ 326 w 334"/>
                  <a:gd name="T63" fmla="*/ 80 h 258"/>
                  <a:gd name="T64" fmla="*/ 320 w 334"/>
                  <a:gd name="T65" fmla="*/ 88 h 258"/>
                  <a:gd name="T66" fmla="*/ 312 w 334"/>
                  <a:gd name="T67" fmla="*/ 96 h 258"/>
                  <a:gd name="T68" fmla="*/ 82 w 334"/>
                  <a:gd name="T69" fmla="*/ 250 h 258"/>
                  <a:gd name="T70" fmla="*/ 82 w 334"/>
                  <a:gd name="T71" fmla="*/ 250 h 258"/>
                  <a:gd name="T72" fmla="*/ 74 w 334"/>
                  <a:gd name="T73" fmla="*/ 254 h 258"/>
                  <a:gd name="T74" fmla="*/ 66 w 334"/>
                  <a:gd name="T75" fmla="*/ 256 h 258"/>
                  <a:gd name="T76" fmla="*/ 52 w 334"/>
                  <a:gd name="T77" fmla="*/ 258 h 258"/>
                  <a:gd name="T78" fmla="*/ 52 w 334"/>
                  <a:gd name="T79" fmla="*/ 258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34" h="258">
                    <a:moveTo>
                      <a:pt x="52" y="258"/>
                    </a:moveTo>
                    <a:lnTo>
                      <a:pt x="52" y="258"/>
                    </a:lnTo>
                    <a:lnTo>
                      <a:pt x="40" y="258"/>
                    </a:lnTo>
                    <a:lnTo>
                      <a:pt x="28" y="252"/>
                    </a:lnTo>
                    <a:lnTo>
                      <a:pt x="16" y="246"/>
                    </a:lnTo>
                    <a:lnTo>
                      <a:pt x="8" y="236"/>
                    </a:lnTo>
                    <a:lnTo>
                      <a:pt x="8" y="236"/>
                    </a:lnTo>
                    <a:lnTo>
                      <a:pt x="4" y="226"/>
                    </a:lnTo>
                    <a:lnTo>
                      <a:pt x="0" y="216"/>
                    </a:lnTo>
                    <a:lnTo>
                      <a:pt x="0" y="206"/>
                    </a:lnTo>
                    <a:lnTo>
                      <a:pt x="0" y="196"/>
                    </a:lnTo>
                    <a:lnTo>
                      <a:pt x="4" y="186"/>
                    </a:lnTo>
                    <a:lnTo>
                      <a:pt x="8" y="178"/>
                    </a:lnTo>
                    <a:lnTo>
                      <a:pt x="14" y="170"/>
                    </a:lnTo>
                    <a:lnTo>
                      <a:pt x="22" y="162"/>
                    </a:lnTo>
                    <a:lnTo>
                      <a:pt x="252" y="8"/>
                    </a:lnTo>
                    <a:lnTo>
                      <a:pt x="252" y="8"/>
                    </a:lnTo>
                    <a:lnTo>
                      <a:pt x="262" y="4"/>
                    </a:lnTo>
                    <a:lnTo>
                      <a:pt x="272" y="0"/>
                    </a:lnTo>
                    <a:lnTo>
                      <a:pt x="282" y="0"/>
                    </a:lnTo>
                    <a:lnTo>
                      <a:pt x="292" y="0"/>
                    </a:lnTo>
                    <a:lnTo>
                      <a:pt x="302" y="4"/>
                    </a:lnTo>
                    <a:lnTo>
                      <a:pt x="310" y="8"/>
                    </a:lnTo>
                    <a:lnTo>
                      <a:pt x="318" y="14"/>
                    </a:lnTo>
                    <a:lnTo>
                      <a:pt x="326" y="22"/>
                    </a:lnTo>
                    <a:lnTo>
                      <a:pt x="326" y="22"/>
                    </a:lnTo>
                    <a:lnTo>
                      <a:pt x="330" y="32"/>
                    </a:lnTo>
                    <a:lnTo>
                      <a:pt x="334" y="42"/>
                    </a:lnTo>
                    <a:lnTo>
                      <a:pt x="334" y="52"/>
                    </a:lnTo>
                    <a:lnTo>
                      <a:pt x="334" y="62"/>
                    </a:lnTo>
                    <a:lnTo>
                      <a:pt x="330" y="72"/>
                    </a:lnTo>
                    <a:lnTo>
                      <a:pt x="326" y="80"/>
                    </a:lnTo>
                    <a:lnTo>
                      <a:pt x="320" y="88"/>
                    </a:lnTo>
                    <a:lnTo>
                      <a:pt x="312" y="96"/>
                    </a:lnTo>
                    <a:lnTo>
                      <a:pt x="82" y="250"/>
                    </a:lnTo>
                    <a:lnTo>
                      <a:pt x="82" y="250"/>
                    </a:lnTo>
                    <a:lnTo>
                      <a:pt x="74" y="254"/>
                    </a:lnTo>
                    <a:lnTo>
                      <a:pt x="66" y="256"/>
                    </a:lnTo>
                    <a:lnTo>
                      <a:pt x="52" y="258"/>
                    </a:lnTo>
                    <a:lnTo>
                      <a:pt x="52" y="258"/>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32504"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endParaRPr>
              </a:p>
            </p:txBody>
          </p:sp>
          <p:sp>
            <p:nvSpPr>
              <p:cNvPr id="24" name="Freeform 11"/>
              <p:cNvSpPr>
                <a:spLocks/>
              </p:cNvSpPr>
              <p:nvPr/>
            </p:nvSpPr>
            <p:spPr bwMode="auto">
              <a:xfrm>
                <a:off x="5628079" y="3026859"/>
                <a:ext cx="208337" cy="180478"/>
              </a:xfrm>
              <a:custGeom>
                <a:avLst/>
                <a:gdLst>
                  <a:gd name="T0" fmla="*/ 52 w 344"/>
                  <a:gd name="T1" fmla="*/ 298 h 298"/>
                  <a:gd name="T2" fmla="*/ 52 w 344"/>
                  <a:gd name="T3" fmla="*/ 298 h 298"/>
                  <a:gd name="T4" fmla="*/ 42 w 344"/>
                  <a:gd name="T5" fmla="*/ 298 h 298"/>
                  <a:gd name="T6" fmla="*/ 30 w 344"/>
                  <a:gd name="T7" fmla="*/ 294 h 298"/>
                  <a:gd name="T8" fmla="*/ 20 w 344"/>
                  <a:gd name="T9" fmla="*/ 288 h 298"/>
                  <a:gd name="T10" fmla="*/ 12 w 344"/>
                  <a:gd name="T11" fmla="*/ 278 h 298"/>
                  <a:gd name="T12" fmla="*/ 12 w 344"/>
                  <a:gd name="T13" fmla="*/ 278 h 298"/>
                  <a:gd name="T14" fmla="*/ 6 w 344"/>
                  <a:gd name="T15" fmla="*/ 270 h 298"/>
                  <a:gd name="T16" fmla="*/ 2 w 344"/>
                  <a:gd name="T17" fmla="*/ 260 h 298"/>
                  <a:gd name="T18" fmla="*/ 0 w 344"/>
                  <a:gd name="T19" fmla="*/ 250 h 298"/>
                  <a:gd name="T20" fmla="*/ 0 w 344"/>
                  <a:gd name="T21" fmla="*/ 240 h 298"/>
                  <a:gd name="T22" fmla="*/ 2 w 344"/>
                  <a:gd name="T23" fmla="*/ 230 h 298"/>
                  <a:gd name="T24" fmla="*/ 6 w 344"/>
                  <a:gd name="T25" fmla="*/ 220 h 298"/>
                  <a:gd name="T26" fmla="*/ 12 w 344"/>
                  <a:gd name="T27" fmla="*/ 212 h 298"/>
                  <a:gd name="T28" fmla="*/ 20 w 344"/>
                  <a:gd name="T29" fmla="*/ 204 h 298"/>
                  <a:gd name="T30" fmla="*/ 260 w 344"/>
                  <a:gd name="T31" fmla="*/ 10 h 298"/>
                  <a:gd name="T32" fmla="*/ 260 w 344"/>
                  <a:gd name="T33" fmla="*/ 10 h 298"/>
                  <a:gd name="T34" fmla="*/ 268 w 344"/>
                  <a:gd name="T35" fmla="*/ 6 h 298"/>
                  <a:gd name="T36" fmla="*/ 278 w 344"/>
                  <a:gd name="T37" fmla="*/ 2 h 298"/>
                  <a:gd name="T38" fmla="*/ 288 w 344"/>
                  <a:gd name="T39" fmla="*/ 0 h 298"/>
                  <a:gd name="T40" fmla="*/ 298 w 344"/>
                  <a:gd name="T41" fmla="*/ 0 h 298"/>
                  <a:gd name="T42" fmla="*/ 308 w 344"/>
                  <a:gd name="T43" fmla="*/ 2 h 298"/>
                  <a:gd name="T44" fmla="*/ 318 w 344"/>
                  <a:gd name="T45" fmla="*/ 6 h 298"/>
                  <a:gd name="T46" fmla="*/ 326 w 344"/>
                  <a:gd name="T47" fmla="*/ 12 h 298"/>
                  <a:gd name="T48" fmla="*/ 334 w 344"/>
                  <a:gd name="T49" fmla="*/ 18 h 298"/>
                  <a:gd name="T50" fmla="*/ 334 w 344"/>
                  <a:gd name="T51" fmla="*/ 18 h 298"/>
                  <a:gd name="T52" fmla="*/ 340 w 344"/>
                  <a:gd name="T53" fmla="*/ 28 h 298"/>
                  <a:gd name="T54" fmla="*/ 344 w 344"/>
                  <a:gd name="T55" fmla="*/ 38 h 298"/>
                  <a:gd name="T56" fmla="*/ 344 w 344"/>
                  <a:gd name="T57" fmla="*/ 48 h 298"/>
                  <a:gd name="T58" fmla="*/ 344 w 344"/>
                  <a:gd name="T59" fmla="*/ 58 h 298"/>
                  <a:gd name="T60" fmla="*/ 342 w 344"/>
                  <a:gd name="T61" fmla="*/ 68 h 298"/>
                  <a:gd name="T62" fmla="*/ 338 w 344"/>
                  <a:gd name="T63" fmla="*/ 76 h 298"/>
                  <a:gd name="T64" fmla="*/ 334 w 344"/>
                  <a:gd name="T65" fmla="*/ 86 h 298"/>
                  <a:gd name="T66" fmla="*/ 326 w 344"/>
                  <a:gd name="T67" fmla="*/ 92 h 298"/>
                  <a:gd name="T68" fmla="*/ 86 w 344"/>
                  <a:gd name="T69" fmla="*/ 286 h 298"/>
                  <a:gd name="T70" fmla="*/ 86 w 344"/>
                  <a:gd name="T71" fmla="*/ 286 h 298"/>
                  <a:gd name="T72" fmla="*/ 78 w 344"/>
                  <a:gd name="T73" fmla="*/ 292 h 298"/>
                  <a:gd name="T74" fmla="*/ 70 w 344"/>
                  <a:gd name="T75" fmla="*/ 296 h 298"/>
                  <a:gd name="T76" fmla="*/ 62 w 344"/>
                  <a:gd name="T77" fmla="*/ 298 h 298"/>
                  <a:gd name="T78" fmla="*/ 52 w 344"/>
                  <a:gd name="T79" fmla="*/ 298 h 298"/>
                  <a:gd name="T80" fmla="*/ 52 w 344"/>
                  <a:gd name="T81" fmla="*/ 298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44" h="298">
                    <a:moveTo>
                      <a:pt x="52" y="298"/>
                    </a:moveTo>
                    <a:lnTo>
                      <a:pt x="52" y="298"/>
                    </a:lnTo>
                    <a:lnTo>
                      <a:pt x="42" y="298"/>
                    </a:lnTo>
                    <a:lnTo>
                      <a:pt x="30" y="294"/>
                    </a:lnTo>
                    <a:lnTo>
                      <a:pt x="20" y="288"/>
                    </a:lnTo>
                    <a:lnTo>
                      <a:pt x="12" y="278"/>
                    </a:lnTo>
                    <a:lnTo>
                      <a:pt x="12" y="278"/>
                    </a:lnTo>
                    <a:lnTo>
                      <a:pt x="6" y="270"/>
                    </a:lnTo>
                    <a:lnTo>
                      <a:pt x="2" y="260"/>
                    </a:lnTo>
                    <a:lnTo>
                      <a:pt x="0" y="250"/>
                    </a:lnTo>
                    <a:lnTo>
                      <a:pt x="0" y="240"/>
                    </a:lnTo>
                    <a:lnTo>
                      <a:pt x="2" y="230"/>
                    </a:lnTo>
                    <a:lnTo>
                      <a:pt x="6" y="220"/>
                    </a:lnTo>
                    <a:lnTo>
                      <a:pt x="12" y="212"/>
                    </a:lnTo>
                    <a:lnTo>
                      <a:pt x="20" y="204"/>
                    </a:lnTo>
                    <a:lnTo>
                      <a:pt x="260" y="10"/>
                    </a:lnTo>
                    <a:lnTo>
                      <a:pt x="260" y="10"/>
                    </a:lnTo>
                    <a:lnTo>
                      <a:pt x="268" y="6"/>
                    </a:lnTo>
                    <a:lnTo>
                      <a:pt x="278" y="2"/>
                    </a:lnTo>
                    <a:lnTo>
                      <a:pt x="288" y="0"/>
                    </a:lnTo>
                    <a:lnTo>
                      <a:pt x="298" y="0"/>
                    </a:lnTo>
                    <a:lnTo>
                      <a:pt x="308" y="2"/>
                    </a:lnTo>
                    <a:lnTo>
                      <a:pt x="318" y="6"/>
                    </a:lnTo>
                    <a:lnTo>
                      <a:pt x="326" y="12"/>
                    </a:lnTo>
                    <a:lnTo>
                      <a:pt x="334" y="18"/>
                    </a:lnTo>
                    <a:lnTo>
                      <a:pt x="334" y="18"/>
                    </a:lnTo>
                    <a:lnTo>
                      <a:pt x="340" y="28"/>
                    </a:lnTo>
                    <a:lnTo>
                      <a:pt x="344" y="38"/>
                    </a:lnTo>
                    <a:lnTo>
                      <a:pt x="344" y="48"/>
                    </a:lnTo>
                    <a:lnTo>
                      <a:pt x="344" y="58"/>
                    </a:lnTo>
                    <a:lnTo>
                      <a:pt x="342" y="68"/>
                    </a:lnTo>
                    <a:lnTo>
                      <a:pt x="338" y="76"/>
                    </a:lnTo>
                    <a:lnTo>
                      <a:pt x="334" y="86"/>
                    </a:lnTo>
                    <a:lnTo>
                      <a:pt x="326" y="92"/>
                    </a:lnTo>
                    <a:lnTo>
                      <a:pt x="86" y="286"/>
                    </a:lnTo>
                    <a:lnTo>
                      <a:pt x="86" y="286"/>
                    </a:lnTo>
                    <a:lnTo>
                      <a:pt x="78" y="292"/>
                    </a:lnTo>
                    <a:lnTo>
                      <a:pt x="70" y="296"/>
                    </a:lnTo>
                    <a:lnTo>
                      <a:pt x="62" y="298"/>
                    </a:lnTo>
                    <a:lnTo>
                      <a:pt x="52" y="298"/>
                    </a:lnTo>
                    <a:lnTo>
                      <a:pt x="52" y="298"/>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32504"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endParaRPr>
              </a:p>
            </p:txBody>
          </p:sp>
          <p:sp>
            <p:nvSpPr>
              <p:cNvPr id="25" name="Oval 24"/>
              <p:cNvSpPr/>
              <p:nvPr/>
            </p:nvSpPr>
            <p:spPr bwMode="auto">
              <a:xfrm>
                <a:off x="5413104" y="2598477"/>
                <a:ext cx="1326042" cy="1326043"/>
              </a:xfrm>
              <a:prstGeom prst="ellipse">
                <a:avLst/>
              </a:prstGeom>
              <a:noFill/>
              <a:ln w="57150" cap="flat" cmpd="sng" algn="ctr">
                <a:solidFill>
                  <a:srgbClr val="1A86DB"/>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50933"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nvGrpSpPr>
          <p:cNvPr id="26" name="Group 25"/>
          <p:cNvGrpSpPr/>
          <p:nvPr userDrawn="1"/>
        </p:nvGrpSpPr>
        <p:grpSpPr>
          <a:xfrm rot="16200000">
            <a:off x="2740080" y="3860028"/>
            <a:ext cx="186070" cy="5666229"/>
            <a:chOff x="9312007" y="34787"/>
            <a:chExt cx="1212906" cy="3143923"/>
          </a:xfrm>
        </p:grpSpPr>
        <p:sp>
          <p:nvSpPr>
            <p:cNvPr id="27" name="Bent Arrow 26"/>
            <p:cNvSpPr/>
            <p:nvPr/>
          </p:nvSpPr>
          <p:spPr bwMode="auto">
            <a:xfrm flipH="1">
              <a:off x="9832459" y="1745357"/>
              <a:ext cx="692454" cy="1433353"/>
            </a:xfrm>
            <a:prstGeom prst="bentArrow">
              <a:avLst>
                <a:gd name="adj1" fmla="val 25000"/>
                <a:gd name="adj2" fmla="val 0"/>
                <a:gd name="adj3" fmla="val 25000"/>
                <a:gd name="adj4" fmla="val 75000"/>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0933"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28" name="Bent Arrow 27"/>
            <p:cNvSpPr/>
            <p:nvPr/>
          </p:nvSpPr>
          <p:spPr bwMode="auto">
            <a:xfrm rot="10800000" flipH="1">
              <a:off x="9312007" y="34787"/>
              <a:ext cx="805099" cy="1711160"/>
            </a:xfrm>
            <a:prstGeom prst="bentArrow">
              <a:avLst>
                <a:gd name="adj1" fmla="val 25000"/>
                <a:gd name="adj2" fmla="val 0"/>
                <a:gd name="adj3" fmla="val 25000"/>
                <a:gd name="adj4" fmla="val 52871"/>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0933"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29" name="Bent Arrow 28"/>
          <p:cNvSpPr/>
          <p:nvPr userDrawn="1"/>
        </p:nvSpPr>
        <p:spPr bwMode="auto">
          <a:xfrm>
            <a:off x="5799565" y="6820878"/>
            <a:ext cx="3896239" cy="166767"/>
          </a:xfrm>
          <a:prstGeom prst="bentArrow">
            <a:avLst>
              <a:gd name="adj1" fmla="val 25000"/>
              <a:gd name="adj2" fmla="val 0"/>
              <a:gd name="adj3" fmla="val 25000"/>
              <a:gd name="adj4" fmla="val 100000"/>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ctr" defTabSz="950933"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40" name="Bent Arrow 39"/>
          <p:cNvSpPr/>
          <p:nvPr userDrawn="1"/>
        </p:nvSpPr>
        <p:spPr bwMode="auto">
          <a:xfrm rot="10800000" flipH="1">
            <a:off x="2090514" y="5824227"/>
            <a:ext cx="8000129" cy="772911"/>
          </a:xfrm>
          <a:prstGeom prst="bentArrow">
            <a:avLst>
              <a:gd name="adj1" fmla="val 25000"/>
              <a:gd name="adj2" fmla="val 0"/>
              <a:gd name="adj3" fmla="val 25000"/>
              <a:gd name="adj4" fmla="val 20518"/>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ctr" defTabSz="950933"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44" name="Bent Arrow 43"/>
          <p:cNvSpPr/>
          <p:nvPr userDrawn="1"/>
        </p:nvSpPr>
        <p:spPr bwMode="auto">
          <a:xfrm rot="10800000">
            <a:off x="11447989" y="6428115"/>
            <a:ext cx="723448" cy="271351"/>
          </a:xfrm>
          <a:prstGeom prst="bentArrow">
            <a:avLst>
              <a:gd name="adj1" fmla="val 25000"/>
              <a:gd name="adj2" fmla="val 0"/>
              <a:gd name="adj3" fmla="val 25000"/>
              <a:gd name="adj4" fmla="val 100000"/>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ctr" defTabSz="950933"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43" name="Rectangle 42"/>
          <p:cNvSpPr/>
          <p:nvPr userDrawn="1"/>
        </p:nvSpPr>
        <p:spPr bwMode="auto">
          <a:xfrm>
            <a:off x="0" y="5482956"/>
            <a:ext cx="12434888" cy="976418"/>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8" tIns="46624" rIns="93248" bIns="46624" numCol="1" spcCol="0" rtlCol="0" fromWordArt="0" anchor="ctr" anchorCtr="0" forceAA="0" compatLnSpc="1">
            <a:prstTxWarp prst="textNoShape">
              <a:avLst/>
            </a:prstTxWarp>
            <a:noAutofit/>
          </a:bodyPr>
          <a:lstStyle/>
          <a:p>
            <a:pPr algn="ctr" defTabSz="950933" fontAlgn="base">
              <a:spcBef>
                <a:spcPct val="0"/>
              </a:spcBef>
              <a:spcAft>
                <a:spcPct val="0"/>
              </a:spcAft>
            </a:pPr>
            <a:endParaRPr lang="en-US" sz="2448">
              <a:solidFill>
                <a:schemeClr val="tx1"/>
              </a:solidFill>
              <a:ea typeface="Segoe UI" pitchFamily="34" charset="0"/>
              <a:cs typeface="Segoe UI" pitchFamily="34" charset="0"/>
            </a:endParaRPr>
          </a:p>
        </p:txBody>
      </p:sp>
      <p:sp>
        <p:nvSpPr>
          <p:cNvPr id="45" name="Bent Arrow 44"/>
          <p:cNvSpPr/>
          <p:nvPr userDrawn="1"/>
        </p:nvSpPr>
        <p:spPr bwMode="auto">
          <a:xfrm rot="16200000">
            <a:off x="11766622" y="6741761"/>
            <a:ext cx="332072" cy="271355"/>
          </a:xfrm>
          <a:prstGeom prst="bentArrow">
            <a:avLst>
              <a:gd name="adj1" fmla="val 25000"/>
              <a:gd name="adj2" fmla="val 0"/>
              <a:gd name="adj3" fmla="val 25000"/>
              <a:gd name="adj4" fmla="val 15819"/>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ctr" defTabSz="950933"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46" name="Freeform 15"/>
          <p:cNvSpPr>
            <a:spLocks noEditPoints="1"/>
          </p:cNvSpPr>
          <p:nvPr userDrawn="1"/>
        </p:nvSpPr>
        <p:spPr bwMode="auto">
          <a:xfrm>
            <a:off x="4476674" y="6731768"/>
            <a:ext cx="123983" cy="123981"/>
          </a:xfrm>
          <a:custGeom>
            <a:avLst/>
            <a:gdLst>
              <a:gd name="T0" fmla="*/ 172 w 344"/>
              <a:gd name="T1" fmla="*/ 344 h 344"/>
              <a:gd name="T2" fmla="*/ 172 w 344"/>
              <a:gd name="T3" fmla="*/ 344 h 344"/>
              <a:gd name="T4" fmla="*/ 142 w 344"/>
              <a:gd name="T5" fmla="*/ 334 h 344"/>
              <a:gd name="T6" fmla="*/ 124 w 344"/>
              <a:gd name="T7" fmla="*/ 312 h 344"/>
              <a:gd name="T8" fmla="*/ 118 w 344"/>
              <a:gd name="T9" fmla="*/ 300 h 344"/>
              <a:gd name="T10" fmla="*/ 102 w 344"/>
              <a:gd name="T11" fmla="*/ 278 h 344"/>
              <a:gd name="T12" fmla="*/ 72 w 344"/>
              <a:gd name="T13" fmla="*/ 248 h 344"/>
              <a:gd name="T14" fmla="*/ 28 w 344"/>
              <a:gd name="T15" fmla="*/ 218 h 344"/>
              <a:gd name="T16" fmla="*/ 16 w 344"/>
              <a:gd name="T17" fmla="*/ 210 h 344"/>
              <a:gd name="T18" fmla="*/ 2 w 344"/>
              <a:gd name="T19" fmla="*/ 186 h 344"/>
              <a:gd name="T20" fmla="*/ 0 w 344"/>
              <a:gd name="T21" fmla="*/ 172 h 344"/>
              <a:gd name="T22" fmla="*/ 8 w 344"/>
              <a:gd name="T23" fmla="*/ 144 h 344"/>
              <a:gd name="T24" fmla="*/ 30 w 344"/>
              <a:gd name="T25" fmla="*/ 124 h 344"/>
              <a:gd name="T26" fmla="*/ 54 w 344"/>
              <a:gd name="T27" fmla="*/ 112 h 344"/>
              <a:gd name="T28" fmla="*/ 90 w 344"/>
              <a:gd name="T29" fmla="*/ 82 h 344"/>
              <a:gd name="T30" fmla="*/ 112 w 344"/>
              <a:gd name="T31" fmla="*/ 54 h 344"/>
              <a:gd name="T32" fmla="*/ 124 w 344"/>
              <a:gd name="T33" fmla="*/ 34 h 344"/>
              <a:gd name="T34" fmla="*/ 126 w 344"/>
              <a:gd name="T35" fmla="*/ 26 h 344"/>
              <a:gd name="T36" fmla="*/ 142 w 344"/>
              <a:gd name="T37" fmla="*/ 10 h 344"/>
              <a:gd name="T38" fmla="*/ 164 w 344"/>
              <a:gd name="T39" fmla="*/ 2 h 344"/>
              <a:gd name="T40" fmla="*/ 172 w 344"/>
              <a:gd name="T41" fmla="*/ 0 h 344"/>
              <a:gd name="T42" fmla="*/ 172 w 344"/>
              <a:gd name="T43" fmla="*/ 0 h 344"/>
              <a:gd name="T44" fmla="*/ 188 w 344"/>
              <a:gd name="T45" fmla="*/ 2 h 344"/>
              <a:gd name="T46" fmla="*/ 214 w 344"/>
              <a:gd name="T47" fmla="*/ 20 h 344"/>
              <a:gd name="T48" fmla="*/ 222 w 344"/>
              <a:gd name="T49" fmla="*/ 34 h 344"/>
              <a:gd name="T50" fmla="*/ 226 w 344"/>
              <a:gd name="T51" fmla="*/ 44 h 344"/>
              <a:gd name="T52" fmla="*/ 242 w 344"/>
              <a:gd name="T53" fmla="*/ 68 h 344"/>
              <a:gd name="T54" fmla="*/ 270 w 344"/>
              <a:gd name="T55" fmla="*/ 96 h 344"/>
              <a:gd name="T56" fmla="*/ 314 w 344"/>
              <a:gd name="T57" fmla="*/ 124 h 344"/>
              <a:gd name="T58" fmla="*/ 328 w 344"/>
              <a:gd name="T59" fmla="*/ 134 h 344"/>
              <a:gd name="T60" fmla="*/ 342 w 344"/>
              <a:gd name="T61" fmla="*/ 160 h 344"/>
              <a:gd name="T62" fmla="*/ 344 w 344"/>
              <a:gd name="T63" fmla="*/ 176 h 344"/>
              <a:gd name="T64" fmla="*/ 340 w 344"/>
              <a:gd name="T65" fmla="*/ 190 h 344"/>
              <a:gd name="T66" fmla="*/ 322 w 344"/>
              <a:gd name="T67" fmla="*/ 214 h 344"/>
              <a:gd name="T68" fmla="*/ 308 w 344"/>
              <a:gd name="T69" fmla="*/ 222 h 344"/>
              <a:gd name="T70" fmla="*/ 276 w 344"/>
              <a:gd name="T71" fmla="*/ 240 h 344"/>
              <a:gd name="T72" fmla="*/ 250 w 344"/>
              <a:gd name="T73" fmla="*/ 266 h 344"/>
              <a:gd name="T74" fmla="*/ 232 w 344"/>
              <a:gd name="T75" fmla="*/ 292 h 344"/>
              <a:gd name="T76" fmla="*/ 220 w 344"/>
              <a:gd name="T77" fmla="*/ 312 h 344"/>
              <a:gd name="T78" fmla="*/ 200 w 344"/>
              <a:gd name="T79" fmla="*/ 336 h 344"/>
              <a:gd name="T80" fmla="*/ 172 w 344"/>
              <a:gd name="T81" fmla="*/ 344 h 344"/>
              <a:gd name="T82" fmla="*/ 146 w 344"/>
              <a:gd name="T83" fmla="*/ 172 h 344"/>
              <a:gd name="T84" fmla="*/ 170 w 344"/>
              <a:gd name="T85" fmla="*/ 196 h 344"/>
              <a:gd name="T86" fmla="*/ 196 w 344"/>
              <a:gd name="T87" fmla="*/ 170 h 344"/>
              <a:gd name="T88" fmla="*/ 172 w 344"/>
              <a:gd name="T89" fmla="*/ 148 h 344"/>
              <a:gd name="T90" fmla="*/ 146 w 344"/>
              <a:gd name="T91" fmla="*/ 172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44" h="344">
                <a:moveTo>
                  <a:pt x="172" y="344"/>
                </a:moveTo>
                <a:lnTo>
                  <a:pt x="172" y="344"/>
                </a:lnTo>
                <a:lnTo>
                  <a:pt x="172" y="344"/>
                </a:lnTo>
                <a:lnTo>
                  <a:pt x="172" y="344"/>
                </a:lnTo>
                <a:lnTo>
                  <a:pt x="156" y="342"/>
                </a:lnTo>
                <a:lnTo>
                  <a:pt x="142" y="334"/>
                </a:lnTo>
                <a:lnTo>
                  <a:pt x="132" y="324"/>
                </a:lnTo>
                <a:lnTo>
                  <a:pt x="124" y="312"/>
                </a:lnTo>
                <a:lnTo>
                  <a:pt x="124" y="312"/>
                </a:lnTo>
                <a:lnTo>
                  <a:pt x="118" y="300"/>
                </a:lnTo>
                <a:lnTo>
                  <a:pt x="112" y="290"/>
                </a:lnTo>
                <a:lnTo>
                  <a:pt x="102" y="278"/>
                </a:lnTo>
                <a:lnTo>
                  <a:pt x="90" y="264"/>
                </a:lnTo>
                <a:lnTo>
                  <a:pt x="72" y="248"/>
                </a:lnTo>
                <a:lnTo>
                  <a:pt x="52" y="232"/>
                </a:lnTo>
                <a:lnTo>
                  <a:pt x="28" y="218"/>
                </a:lnTo>
                <a:lnTo>
                  <a:pt x="28" y="218"/>
                </a:lnTo>
                <a:lnTo>
                  <a:pt x="16" y="210"/>
                </a:lnTo>
                <a:lnTo>
                  <a:pt x="8" y="198"/>
                </a:lnTo>
                <a:lnTo>
                  <a:pt x="2" y="186"/>
                </a:lnTo>
                <a:lnTo>
                  <a:pt x="0" y="172"/>
                </a:lnTo>
                <a:lnTo>
                  <a:pt x="0" y="172"/>
                </a:lnTo>
                <a:lnTo>
                  <a:pt x="2" y="156"/>
                </a:lnTo>
                <a:lnTo>
                  <a:pt x="8" y="144"/>
                </a:lnTo>
                <a:lnTo>
                  <a:pt x="18" y="132"/>
                </a:lnTo>
                <a:lnTo>
                  <a:pt x="30" y="124"/>
                </a:lnTo>
                <a:lnTo>
                  <a:pt x="30" y="124"/>
                </a:lnTo>
                <a:lnTo>
                  <a:pt x="54" y="112"/>
                </a:lnTo>
                <a:lnTo>
                  <a:pt x="74" y="96"/>
                </a:lnTo>
                <a:lnTo>
                  <a:pt x="90" y="82"/>
                </a:lnTo>
                <a:lnTo>
                  <a:pt x="102" y="68"/>
                </a:lnTo>
                <a:lnTo>
                  <a:pt x="112" y="54"/>
                </a:lnTo>
                <a:lnTo>
                  <a:pt x="118" y="44"/>
                </a:lnTo>
                <a:lnTo>
                  <a:pt x="124" y="34"/>
                </a:lnTo>
                <a:lnTo>
                  <a:pt x="124" y="34"/>
                </a:lnTo>
                <a:lnTo>
                  <a:pt x="126" y="26"/>
                </a:lnTo>
                <a:lnTo>
                  <a:pt x="130" y="20"/>
                </a:lnTo>
                <a:lnTo>
                  <a:pt x="142" y="10"/>
                </a:lnTo>
                <a:lnTo>
                  <a:pt x="156" y="2"/>
                </a:lnTo>
                <a:lnTo>
                  <a:pt x="164" y="2"/>
                </a:lnTo>
                <a:lnTo>
                  <a:pt x="172" y="0"/>
                </a:lnTo>
                <a:lnTo>
                  <a:pt x="172" y="0"/>
                </a:lnTo>
                <a:lnTo>
                  <a:pt x="172" y="0"/>
                </a:lnTo>
                <a:lnTo>
                  <a:pt x="172" y="0"/>
                </a:lnTo>
                <a:lnTo>
                  <a:pt x="180" y="2"/>
                </a:lnTo>
                <a:lnTo>
                  <a:pt x="188" y="2"/>
                </a:lnTo>
                <a:lnTo>
                  <a:pt x="202" y="10"/>
                </a:lnTo>
                <a:lnTo>
                  <a:pt x="214" y="20"/>
                </a:lnTo>
                <a:lnTo>
                  <a:pt x="218" y="28"/>
                </a:lnTo>
                <a:lnTo>
                  <a:pt x="222" y="34"/>
                </a:lnTo>
                <a:lnTo>
                  <a:pt x="222" y="34"/>
                </a:lnTo>
                <a:lnTo>
                  <a:pt x="226" y="44"/>
                </a:lnTo>
                <a:lnTo>
                  <a:pt x="232" y="56"/>
                </a:lnTo>
                <a:lnTo>
                  <a:pt x="242" y="68"/>
                </a:lnTo>
                <a:lnTo>
                  <a:pt x="254" y="82"/>
                </a:lnTo>
                <a:lnTo>
                  <a:pt x="270" y="96"/>
                </a:lnTo>
                <a:lnTo>
                  <a:pt x="290" y="112"/>
                </a:lnTo>
                <a:lnTo>
                  <a:pt x="314" y="124"/>
                </a:lnTo>
                <a:lnTo>
                  <a:pt x="314" y="124"/>
                </a:lnTo>
                <a:lnTo>
                  <a:pt x="328" y="134"/>
                </a:lnTo>
                <a:lnTo>
                  <a:pt x="336" y="146"/>
                </a:lnTo>
                <a:lnTo>
                  <a:pt x="342" y="160"/>
                </a:lnTo>
                <a:lnTo>
                  <a:pt x="344" y="176"/>
                </a:lnTo>
                <a:lnTo>
                  <a:pt x="344" y="176"/>
                </a:lnTo>
                <a:lnTo>
                  <a:pt x="342" y="184"/>
                </a:lnTo>
                <a:lnTo>
                  <a:pt x="340" y="190"/>
                </a:lnTo>
                <a:lnTo>
                  <a:pt x="334" y="204"/>
                </a:lnTo>
                <a:lnTo>
                  <a:pt x="322" y="214"/>
                </a:lnTo>
                <a:lnTo>
                  <a:pt x="308" y="222"/>
                </a:lnTo>
                <a:lnTo>
                  <a:pt x="308" y="222"/>
                </a:lnTo>
                <a:lnTo>
                  <a:pt x="292" y="230"/>
                </a:lnTo>
                <a:lnTo>
                  <a:pt x="276" y="240"/>
                </a:lnTo>
                <a:lnTo>
                  <a:pt x="262" y="252"/>
                </a:lnTo>
                <a:lnTo>
                  <a:pt x="250" y="266"/>
                </a:lnTo>
                <a:lnTo>
                  <a:pt x="240" y="278"/>
                </a:lnTo>
                <a:lnTo>
                  <a:pt x="232" y="292"/>
                </a:lnTo>
                <a:lnTo>
                  <a:pt x="220" y="312"/>
                </a:lnTo>
                <a:lnTo>
                  <a:pt x="220" y="312"/>
                </a:lnTo>
                <a:lnTo>
                  <a:pt x="212" y="326"/>
                </a:lnTo>
                <a:lnTo>
                  <a:pt x="200" y="336"/>
                </a:lnTo>
                <a:lnTo>
                  <a:pt x="188" y="342"/>
                </a:lnTo>
                <a:lnTo>
                  <a:pt x="172" y="344"/>
                </a:lnTo>
                <a:lnTo>
                  <a:pt x="172" y="344"/>
                </a:lnTo>
                <a:close/>
                <a:moveTo>
                  <a:pt x="146" y="172"/>
                </a:moveTo>
                <a:lnTo>
                  <a:pt x="146" y="172"/>
                </a:lnTo>
                <a:lnTo>
                  <a:pt x="170" y="196"/>
                </a:lnTo>
                <a:lnTo>
                  <a:pt x="170" y="196"/>
                </a:lnTo>
                <a:lnTo>
                  <a:pt x="196" y="170"/>
                </a:lnTo>
                <a:lnTo>
                  <a:pt x="196" y="170"/>
                </a:lnTo>
                <a:lnTo>
                  <a:pt x="172" y="148"/>
                </a:lnTo>
                <a:lnTo>
                  <a:pt x="172" y="148"/>
                </a:lnTo>
                <a:lnTo>
                  <a:pt x="146" y="172"/>
                </a:lnTo>
                <a:lnTo>
                  <a:pt x="146" y="172"/>
                </a:lnTo>
                <a:close/>
              </a:path>
            </a:pathLst>
          </a:custGeom>
          <a:solidFill>
            <a:srgbClr val="1A86DB"/>
          </a:solidFill>
          <a:ln>
            <a:noFill/>
          </a:ln>
        </p:spPr>
        <p:txBody>
          <a:bodyPr vert="horz" wrap="square" lIns="93248" tIns="46624" rIns="93248" bIns="46624" numCol="1" anchor="t" anchorCtr="0" compatLnSpc="1">
            <a:prstTxWarp prst="textNoShape">
              <a:avLst/>
            </a:prstTxWarp>
          </a:bodyPr>
          <a:lstStyle/>
          <a:p>
            <a:pPr marL="0" marR="0" lvl="0" indent="0" defTabSz="932504"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endParaRPr>
          </a:p>
        </p:txBody>
      </p:sp>
      <p:sp>
        <p:nvSpPr>
          <p:cNvPr id="47" name="Freeform 18"/>
          <p:cNvSpPr>
            <a:spLocks/>
          </p:cNvSpPr>
          <p:nvPr userDrawn="1"/>
        </p:nvSpPr>
        <p:spPr bwMode="auto">
          <a:xfrm>
            <a:off x="4519924" y="6591208"/>
            <a:ext cx="38204" cy="126864"/>
          </a:xfrm>
          <a:custGeom>
            <a:avLst/>
            <a:gdLst>
              <a:gd name="T0" fmla="*/ 52 w 106"/>
              <a:gd name="T1" fmla="*/ 352 h 352"/>
              <a:gd name="T2" fmla="*/ 52 w 106"/>
              <a:gd name="T3" fmla="*/ 352 h 352"/>
              <a:gd name="T4" fmla="*/ 52 w 106"/>
              <a:gd name="T5" fmla="*/ 352 h 352"/>
              <a:gd name="T6" fmla="*/ 52 w 106"/>
              <a:gd name="T7" fmla="*/ 352 h 352"/>
              <a:gd name="T8" fmla="*/ 40 w 106"/>
              <a:gd name="T9" fmla="*/ 352 h 352"/>
              <a:gd name="T10" fmla="*/ 32 w 106"/>
              <a:gd name="T11" fmla="*/ 348 h 352"/>
              <a:gd name="T12" fmla="*/ 22 w 106"/>
              <a:gd name="T13" fmla="*/ 342 h 352"/>
              <a:gd name="T14" fmla="*/ 14 w 106"/>
              <a:gd name="T15" fmla="*/ 336 h 352"/>
              <a:gd name="T16" fmla="*/ 8 w 106"/>
              <a:gd name="T17" fmla="*/ 328 h 352"/>
              <a:gd name="T18" fmla="*/ 4 w 106"/>
              <a:gd name="T19" fmla="*/ 320 h 352"/>
              <a:gd name="T20" fmla="*/ 0 w 106"/>
              <a:gd name="T21" fmla="*/ 310 h 352"/>
              <a:gd name="T22" fmla="*/ 0 w 106"/>
              <a:gd name="T23" fmla="*/ 300 h 352"/>
              <a:gd name="T24" fmla="*/ 0 w 106"/>
              <a:gd name="T25" fmla="*/ 300 h 352"/>
              <a:gd name="T26" fmla="*/ 0 w 106"/>
              <a:gd name="T27" fmla="*/ 134 h 352"/>
              <a:gd name="T28" fmla="*/ 0 w 106"/>
              <a:gd name="T29" fmla="*/ 44 h 352"/>
              <a:gd name="T30" fmla="*/ 52 w 106"/>
              <a:gd name="T31" fmla="*/ 36 h 352"/>
              <a:gd name="T32" fmla="*/ 90 w 106"/>
              <a:gd name="T33" fmla="*/ 0 h 352"/>
              <a:gd name="T34" fmla="*/ 90 w 106"/>
              <a:gd name="T35" fmla="*/ 0 h 352"/>
              <a:gd name="T36" fmla="*/ 96 w 106"/>
              <a:gd name="T37" fmla="*/ 6 h 352"/>
              <a:gd name="T38" fmla="*/ 100 w 106"/>
              <a:gd name="T39" fmla="*/ 16 h 352"/>
              <a:gd name="T40" fmla="*/ 104 w 106"/>
              <a:gd name="T41" fmla="*/ 28 h 352"/>
              <a:gd name="T42" fmla="*/ 106 w 106"/>
              <a:gd name="T43" fmla="*/ 52 h 352"/>
              <a:gd name="T44" fmla="*/ 106 w 106"/>
              <a:gd name="T45" fmla="*/ 138 h 352"/>
              <a:gd name="T46" fmla="*/ 104 w 106"/>
              <a:gd name="T47" fmla="*/ 300 h 352"/>
              <a:gd name="T48" fmla="*/ 104 w 106"/>
              <a:gd name="T49" fmla="*/ 300 h 352"/>
              <a:gd name="T50" fmla="*/ 104 w 106"/>
              <a:gd name="T51" fmla="*/ 310 h 352"/>
              <a:gd name="T52" fmla="*/ 100 w 106"/>
              <a:gd name="T53" fmla="*/ 320 h 352"/>
              <a:gd name="T54" fmla="*/ 96 w 106"/>
              <a:gd name="T55" fmla="*/ 330 h 352"/>
              <a:gd name="T56" fmla="*/ 88 w 106"/>
              <a:gd name="T57" fmla="*/ 338 h 352"/>
              <a:gd name="T58" fmla="*/ 82 w 106"/>
              <a:gd name="T59" fmla="*/ 344 h 352"/>
              <a:gd name="T60" fmla="*/ 72 w 106"/>
              <a:gd name="T61" fmla="*/ 348 h 352"/>
              <a:gd name="T62" fmla="*/ 62 w 106"/>
              <a:gd name="T63" fmla="*/ 352 h 352"/>
              <a:gd name="T64" fmla="*/ 52 w 106"/>
              <a:gd name="T65" fmla="*/ 352 h 352"/>
              <a:gd name="T66" fmla="*/ 52 w 106"/>
              <a:gd name="T67" fmla="*/ 352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6" h="352">
                <a:moveTo>
                  <a:pt x="52" y="352"/>
                </a:moveTo>
                <a:lnTo>
                  <a:pt x="52" y="352"/>
                </a:lnTo>
                <a:lnTo>
                  <a:pt x="52" y="352"/>
                </a:lnTo>
                <a:lnTo>
                  <a:pt x="52" y="352"/>
                </a:lnTo>
                <a:lnTo>
                  <a:pt x="40" y="352"/>
                </a:lnTo>
                <a:lnTo>
                  <a:pt x="32" y="348"/>
                </a:lnTo>
                <a:lnTo>
                  <a:pt x="22" y="342"/>
                </a:lnTo>
                <a:lnTo>
                  <a:pt x="14" y="336"/>
                </a:lnTo>
                <a:lnTo>
                  <a:pt x="8" y="328"/>
                </a:lnTo>
                <a:lnTo>
                  <a:pt x="4" y="320"/>
                </a:lnTo>
                <a:lnTo>
                  <a:pt x="0" y="310"/>
                </a:lnTo>
                <a:lnTo>
                  <a:pt x="0" y="300"/>
                </a:lnTo>
                <a:lnTo>
                  <a:pt x="0" y="300"/>
                </a:lnTo>
                <a:lnTo>
                  <a:pt x="0" y="134"/>
                </a:lnTo>
                <a:lnTo>
                  <a:pt x="0" y="44"/>
                </a:lnTo>
                <a:lnTo>
                  <a:pt x="52" y="36"/>
                </a:lnTo>
                <a:lnTo>
                  <a:pt x="90" y="0"/>
                </a:lnTo>
                <a:lnTo>
                  <a:pt x="90" y="0"/>
                </a:lnTo>
                <a:lnTo>
                  <a:pt x="96" y="6"/>
                </a:lnTo>
                <a:lnTo>
                  <a:pt x="100" y="16"/>
                </a:lnTo>
                <a:lnTo>
                  <a:pt x="104" y="28"/>
                </a:lnTo>
                <a:lnTo>
                  <a:pt x="106" y="52"/>
                </a:lnTo>
                <a:lnTo>
                  <a:pt x="106" y="138"/>
                </a:lnTo>
                <a:lnTo>
                  <a:pt x="104" y="300"/>
                </a:lnTo>
                <a:lnTo>
                  <a:pt x="104" y="300"/>
                </a:lnTo>
                <a:lnTo>
                  <a:pt x="104" y="310"/>
                </a:lnTo>
                <a:lnTo>
                  <a:pt x="100" y="320"/>
                </a:lnTo>
                <a:lnTo>
                  <a:pt x="96" y="330"/>
                </a:lnTo>
                <a:lnTo>
                  <a:pt x="88" y="338"/>
                </a:lnTo>
                <a:lnTo>
                  <a:pt x="82" y="344"/>
                </a:lnTo>
                <a:lnTo>
                  <a:pt x="72" y="348"/>
                </a:lnTo>
                <a:lnTo>
                  <a:pt x="62" y="352"/>
                </a:lnTo>
                <a:lnTo>
                  <a:pt x="52" y="352"/>
                </a:lnTo>
                <a:lnTo>
                  <a:pt x="52" y="352"/>
                </a:lnTo>
                <a:close/>
              </a:path>
            </a:pathLst>
          </a:custGeom>
          <a:solidFill>
            <a:srgbClr val="1A86DB"/>
          </a:solidFill>
          <a:ln>
            <a:noFill/>
          </a:ln>
        </p:spPr>
        <p:txBody>
          <a:bodyPr vert="horz" wrap="square" lIns="93248" tIns="46624" rIns="93248" bIns="46624" numCol="1" anchor="t" anchorCtr="0" compatLnSpc="1">
            <a:prstTxWarp prst="textNoShape">
              <a:avLst/>
            </a:prstTxWarp>
          </a:bodyPr>
          <a:lstStyle/>
          <a:p>
            <a:pPr marL="0" marR="0" lvl="0" indent="0" defTabSz="932504"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endParaRPr>
          </a:p>
        </p:txBody>
      </p:sp>
      <p:sp>
        <p:nvSpPr>
          <p:cNvPr id="49" name="Rectangle 48"/>
          <p:cNvSpPr/>
          <p:nvPr userDrawn="1"/>
        </p:nvSpPr>
        <p:spPr bwMode="auto">
          <a:xfrm>
            <a:off x="-221934" y="6994525"/>
            <a:ext cx="12782769" cy="799374"/>
          </a:xfrm>
          <a:prstGeom prst="rect">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8" tIns="46624" rIns="93248" bIns="46624" numCol="1" spcCol="0" rtlCol="0" fromWordArt="0" anchor="ctr" anchorCtr="0" forceAA="0" compatLnSpc="1">
            <a:prstTxWarp prst="textNoShape">
              <a:avLst/>
            </a:prstTxWarp>
            <a:noAutofit/>
          </a:bodyPr>
          <a:lstStyle/>
          <a:p>
            <a:pPr algn="ctr" defTabSz="950933" fontAlgn="base">
              <a:spcBef>
                <a:spcPct val="0"/>
              </a:spcBef>
              <a:spcAft>
                <a:spcPct val="0"/>
              </a:spcAft>
            </a:pPr>
            <a:endParaRPr lang="en-US" sz="2448">
              <a:solidFill>
                <a:schemeClr val="tx1"/>
              </a:solidFill>
              <a:ea typeface="Segoe UI" pitchFamily="34" charset="0"/>
              <a:cs typeface="Segoe UI" pitchFamily="34" charset="0"/>
            </a:endParaRPr>
          </a:p>
        </p:txBody>
      </p:sp>
      <p:sp>
        <p:nvSpPr>
          <p:cNvPr id="52" name="Rectangle 51"/>
          <p:cNvSpPr/>
          <p:nvPr userDrawn="1"/>
        </p:nvSpPr>
        <p:spPr bwMode="auto">
          <a:xfrm>
            <a:off x="-399693" y="6195152"/>
            <a:ext cx="399693" cy="799374"/>
          </a:xfrm>
          <a:prstGeom prst="rect">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8" tIns="46624" rIns="93248" bIns="46624" numCol="1" spcCol="0" rtlCol="0" fromWordArt="0" anchor="ctr" anchorCtr="0" forceAA="0" compatLnSpc="1">
            <a:prstTxWarp prst="textNoShape">
              <a:avLst/>
            </a:prstTxWarp>
            <a:noAutofit/>
          </a:bodyPr>
          <a:lstStyle/>
          <a:p>
            <a:pPr algn="ctr" defTabSz="950933" fontAlgn="base">
              <a:spcBef>
                <a:spcPct val="0"/>
              </a:spcBef>
              <a:spcAft>
                <a:spcPct val="0"/>
              </a:spcAft>
            </a:pPr>
            <a:endParaRPr lang="en-US" sz="2448">
              <a:solidFill>
                <a:schemeClr val="tx1"/>
              </a:solidFill>
              <a:ea typeface="Segoe UI" pitchFamily="34" charset="0"/>
              <a:cs typeface="Segoe UI" pitchFamily="34" charset="0"/>
            </a:endParaRPr>
          </a:p>
        </p:txBody>
      </p:sp>
      <p:sp>
        <p:nvSpPr>
          <p:cNvPr id="53" name="Rectangle 52"/>
          <p:cNvSpPr/>
          <p:nvPr userDrawn="1"/>
        </p:nvSpPr>
        <p:spPr bwMode="auto">
          <a:xfrm>
            <a:off x="0" y="6471310"/>
            <a:ext cx="12434888" cy="523216"/>
          </a:xfrm>
          <a:prstGeom prst="rect">
            <a:avLst/>
          </a:prstGeom>
          <a:solidFill>
            <a:schemeClr val="accent1">
              <a:alpha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8" tIns="46624" rIns="93248" bIns="46624" numCol="1" spcCol="0" rtlCol="0" fromWordArt="0" anchor="ctr" anchorCtr="0" forceAA="0" compatLnSpc="1">
            <a:prstTxWarp prst="textNoShape">
              <a:avLst/>
            </a:prstTxWarp>
            <a:noAutofit/>
          </a:bodyPr>
          <a:lstStyle/>
          <a:p>
            <a:pPr algn="ctr" defTabSz="950933" fontAlgn="base">
              <a:spcBef>
                <a:spcPct val="0"/>
              </a:spcBef>
              <a:spcAft>
                <a:spcPct val="0"/>
              </a:spcAft>
            </a:pPr>
            <a:endParaRPr lang="en-US" sz="2448">
              <a:solidFill>
                <a:schemeClr val="tx1"/>
              </a:solidFill>
              <a:ea typeface="Segoe UI" pitchFamily="34" charset="0"/>
              <a:cs typeface="Segoe UI" pitchFamily="34" charset="0"/>
            </a:endParaRPr>
          </a:p>
        </p:txBody>
      </p:sp>
      <p:pic>
        <p:nvPicPr>
          <p:cNvPr id="41" name="Picture 40"/>
          <p:cNvPicPr>
            <a:picLocks noChangeAspect="1"/>
          </p:cNvPicPr>
          <p:nvPr userDrawn="1"/>
        </p:nvPicPr>
        <p:blipFill>
          <a:blip r:embed="rId2">
            <a:biLevel thresh="25000"/>
          </a:blip>
          <a:stretch>
            <a:fillRect/>
          </a:stretch>
        </p:blipFill>
        <p:spPr>
          <a:xfrm>
            <a:off x="174928" y="6620265"/>
            <a:ext cx="955268" cy="210480"/>
          </a:xfrm>
          <a:prstGeom prst="rect">
            <a:avLst/>
          </a:prstGeom>
        </p:spPr>
      </p:pic>
      <p:cxnSp>
        <p:nvCxnSpPr>
          <p:cNvPr id="39" name="Straight Connector 38"/>
          <p:cNvCxnSpPr/>
          <p:nvPr userDrawn="1"/>
        </p:nvCxnSpPr>
        <p:spPr>
          <a:xfrm>
            <a:off x="6431108" y="364933"/>
            <a:ext cx="0" cy="5799461"/>
          </a:xfrm>
          <a:prstGeom prst="line">
            <a:avLst/>
          </a:prstGeom>
          <a:ln>
            <a:solidFill>
              <a:srgbClr val="0078D7"/>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 name="Text Placeholder 3"/>
          <p:cNvSpPr>
            <a:spLocks noGrp="1"/>
          </p:cNvSpPr>
          <p:nvPr>
            <p:ph type="body" sz="quarter" idx="10"/>
          </p:nvPr>
        </p:nvSpPr>
        <p:spPr>
          <a:xfrm>
            <a:off x="6745675" y="951675"/>
            <a:ext cx="5347993" cy="1516155"/>
          </a:xfrm>
        </p:spPr>
        <p:txBody>
          <a:bodyPr/>
          <a:lstStyle>
            <a:lvl1pPr>
              <a:buClr>
                <a:schemeClr val="accent1"/>
              </a:buClr>
              <a:defRPr sz="2856">
                <a:solidFill>
                  <a:schemeClr val="bg2"/>
                </a:solidFill>
              </a:defRPr>
            </a:lvl1pPr>
            <a:lvl2pPr>
              <a:buClr>
                <a:schemeClr val="accent1"/>
              </a:buClr>
              <a:defRPr sz="1632">
                <a:solidFill>
                  <a:schemeClr val="bg2"/>
                </a:solidFill>
              </a:defRPr>
            </a:lvl2pPr>
            <a:lvl3pPr>
              <a:buClr>
                <a:schemeClr val="accent1"/>
              </a:buClr>
              <a:defRPr sz="1428">
                <a:solidFill>
                  <a:schemeClr val="bg2"/>
                </a:solidFill>
              </a:defRPr>
            </a:lvl3pPr>
            <a:lvl4pPr>
              <a:buClr>
                <a:schemeClr val="accent1"/>
              </a:buClr>
              <a:defRPr sz="1224">
                <a:solidFill>
                  <a:schemeClr val="bg2"/>
                </a:solidFill>
              </a:defRPr>
            </a:lvl4pPr>
            <a:lvl5pPr>
              <a:buClr>
                <a:schemeClr val="accent1"/>
              </a:buClr>
              <a:defRPr sz="1224">
                <a:solidFill>
                  <a:schemeClr val="bg2"/>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406469871"/>
      </p:ext>
    </p:extLst>
  </p:cSld>
  <p:clrMapOvr>
    <a:masterClrMapping/>
  </p:clrMapOvr>
  <p:transition>
    <p:fade/>
  </p:transition>
</p:sldLayout>
</file>

<file path=ppt/slideLayouts/slideLayout198.xml><?xml version="1.0" encoding="utf-8"?>
<p:sldLayout xmlns:a="http://schemas.openxmlformats.org/drawingml/2006/main" xmlns:r="http://schemas.openxmlformats.org/officeDocument/2006/relationships" xmlns:p="http://schemas.openxmlformats.org/presentationml/2006/main" userDrawn="1">
  <p:cSld name="9_Title Slide Photo_Option">
    <p:bg>
      <p:bgPr>
        <a:solidFill>
          <a:schemeClr val="tx1"/>
        </a:soli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2"/>
          <a:srcRect l="478" t="-1" b="1518"/>
          <a:stretch/>
        </p:blipFill>
        <p:spPr>
          <a:xfrm>
            <a:off x="-7343" y="2"/>
            <a:ext cx="12442231" cy="5265169"/>
          </a:xfrm>
          <a:prstGeom prst="rect">
            <a:avLst/>
          </a:prstGeom>
        </p:spPr>
      </p:pic>
      <p:pic>
        <p:nvPicPr>
          <p:cNvPr id="15" name="Picture 14"/>
          <p:cNvPicPr>
            <a:picLocks noChangeAspect="1"/>
          </p:cNvPicPr>
          <p:nvPr userDrawn="1"/>
        </p:nvPicPr>
        <p:blipFill>
          <a:blip r:embed="rId3"/>
          <a:stretch>
            <a:fillRect/>
          </a:stretch>
        </p:blipFill>
        <p:spPr>
          <a:xfrm>
            <a:off x="10024114" y="6149340"/>
            <a:ext cx="1706601" cy="376026"/>
          </a:xfrm>
          <a:prstGeom prst="rect">
            <a:avLst/>
          </a:prstGeom>
        </p:spPr>
      </p:pic>
      <p:sp>
        <p:nvSpPr>
          <p:cNvPr id="8" name="Title 1"/>
          <p:cNvSpPr>
            <a:spLocks noGrp="1"/>
          </p:cNvSpPr>
          <p:nvPr>
            <p:ph type="title" hasCustomPrompt="1"/>
          </p:nvPr>
        </p:nvSpPr>
        <p:spPr bwMode="auto">
          <a:xfrm>
            <a:off x="274668" y="2125664"/>
            <a:ext cx="6399919" cy="1828800"/>
          </a:xfrm>
          <a:noFill/>
        </p:spPr>
        <p:txBody>
          <a:bodyPr lIns="146304" tIns="91440" rIns="146304" bIns="91440" anchor="t" anchorCtr="0"/>
          <a:lstStyle>
            <a:lvl1pPr>
              <a:defRPr sz="5398" spc="-100" baseline="0">
                <a:gradFill>
                  <a:gsLst>
                    <a:gs pos="64646">
                      <a:srgbClr val="FFFFFF"/>
                    </a:gs>
                    <a:gs pos="45000">
                      <a:srgbClr val="FFFFFF"/>
                    </a:gs>
                  </a:gsLst>
                  <a:lin ang="5400000" scaled="0"/>
                </a:gradFill>
              </a:defRPr>
            </a:lvl1pPr>
          </a:lstStyle>
          <a:p>
            <a:r>
              <a:rPr lang="en-US" dirty="0"/>
              <a:t>Presentation title</a:t>
            </a:r>
          </a:p>
        </p:txBody>
      </p:sp>
      <p:sp>
        <p:nvSpPr>
          <p:cNvPr id="10" name="Text Placeholder 2"/>
          <p:cNvSpPr>
            <a:spLocks noGrp="1"/>
          </p:cNvSpPr>
          <p:nvPr>
            <p:ph type="body" sz="quarter" idx="14" hasCustomPrompt="1"/>
          </p:nvPr>
        </p:nvSpPr>
        <p:spPr bwMode="auto">
          <a:xfrm>
            <a:off x="273015" y="3954445"/>
            <a:ext cx="6401571" cy="1732583"/>
          </a:xfrm>
        </p:spPr>
        <p:txBody>
          <a:bodyPr tIns="109728" bIns="109728">
            <a:noAutofit/>
          </a:bodyPr>
          <a:lstStyle>
            <a:lvl1pPr marL="0" indent="0">
              <a:spcBef>
                <a:spcPts val="0"/>
              </a:spcBef>
              <a:buNone/>
              <a:defRPr sz="3199">
                <a:gradFill>
                  <a:gsLst>
                    <a:gs pos="64646">
                      <a:srgbClr val="FFFFFF"/>
                    </a:gs>
                    <a:gs pos="45000">
                      <a:srgbClr val="FFFFFF"/>
                    </a:gs>
                  </a:gsLst>
                  <a:lin ang="5400000" scaled="0"/>
                </a:gradFill>
              </a:defRPr>
            </a:lvl1pPr>
          </a:lstStyle>
          <a:p>
            <a:pPr lvl="0"/>
            <a:r>
              <a:rPr lang="en-US" dirty="0"/>
              <a:t>Speaker Name</a:t>
            </a:r>
          </a:p>
        </p:txBody>
      </p:sp>
    </p:spTree>
    <p:extLst>
      <p:ext uri="{BB962C8B-B14F-4D97-AF65-F5344CB8AC3E}">
        <p14:creationId xmlns:p14="http://schemas.microsoft.com/office/powerpoint/2010/main" val="20324305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9.xml><?xml version="1.0" encoding="utf-8"?>
<p:sldLayout xmlns:a="http://schemas.openxmlformats.org/drawingml/2006/main" xmlns:r="http://schemas.openxmlformats.org/officeDocument/2006/relationships" xmlns:p="http://schemas.openxmlformats.org/presentationml/2006/main">
  <p:cSld name="4_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4383552" y="1563625"/>
            <a:ext cx="7779100" cy="1440394"/>
          </a:xfrm>
        </p:spPr>
        <p:txBody>
          <a:bodyPr/>
          <a:lstStyle>
            <a:lvl1pPr marL="0" indent="0">
              <a:spcBef>
                <a:spcPts val="2400"/>
              </a:spcBef>
              <a:buNone/>
              <a:defRPr sz="2400">
                <a:solidFill>
                  <a:schemeClr val="accent1"/>
                </a:solidFill>
              </a:defRPr>
            </a:lvl1pPr>
            <a:lvl2pPr marL="0" indent="0">
              <a:spcAft>
                <a:spcPts val="600"/>
              </a:spcAft>
              <a:buFontTx/>
              <a:buNone/>
              <a:defRPr sz="1599"/>
            </a:lvl2pPr>
            <a:lvl3pPr marL="228534" indent="0">
              <a:buNone/>
              <a:defRPr sz="1199"/>
            </a:lvl3pPr>
            <a:lvl4pPr marL="457066" indent="0">
              <a:buNone/>
              <a:defRPr sz="1099"/>
            </a:lvl4pPr>
            <a:lvl5pPr marL="685600" indent="0">
              <a:buNone/>
              <a:defRPr sz="1099"/>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24026692"/>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366168" y="1212850"/>
            <a:ext cx="11702553" cy="1868204"/>
          </a:xfrm>
        </p:spPr>
        <p:txBody>
          <a:bodyPr lIns="164592" rIns="164592"/>
          <a:lstStyle>
            <a:lvl1pPr marL="0" indent="0">
              <a:buNone/>
              <a:defRPr sz="3600">
                <a:gradFill>
                  <a:gsLst>
                    <a:gs pos="1250">
                      <a:schemeClr val="tx2"/>
                    </a:gs>
                    <a:gs pos="99000">
                      <a:schemeClr val="tx2"/>
                    </a:gs>
                  </a:gsLst>
                  <a:lin ang="5400000" scaled="0"/>
                </a:gradFill>
              </a:defRPr>
            </a:lvl1pPr>
            <a:lvl2pPr marL="0" indent="0">
              <a:buFontTx/>
              <a:buNone/>
              <a:defRPr sz="1800"/>
            </a:lvl2pPr>
            <a:lvl3pPr marL="228564" indent="0">
              <a:buNone/>
              <a:defRPr sz="1800"/>
            </a:lvl3pPr>
            <a:lvl4pPr marL="457127" indent="0">
              <a:buNone/>
              <a:defRPr sz="1600"/>
            </a:lvl4pPr>
            <a:lvl5pPr marL="685691" indent="0">
              <a:buNone/>
              <a:defRPr sz="16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2"/>
          <p:cNvSpPr>
            <a:spLocks noGrp="1"/>
          </p:cNvSpPr>
          <p:nvPr>
            <p:ph type="title"/>
          </p:nvPr>
        </p:nvSpPr>
        <p:spPr/>
        <p:txBody>
          <a:bodyPr/>
          <a:lstStyle>
            <a:lvl1pPr>
              <a:defRPr sz="4800"/>
            </a:lvl1pPr>
          </a:lstStyle>
          <a:p>
            <a:r>
              <a:rPr lang="en-US" dirty="0"/>
              <a:t>Click to edit Master title style</a:t>
            </a:r>
          </a:p>
        </p:txBody>
      </p:sp>
    </p:spTree>
    <p:extLst>
      <p:ext uri="{BB962C8B-B14F-4D97-AF65-F5344CB8AC3E}">
        <p14:creationId xmlns:p14="http://schemas.microsoft.com/office/powerpoint/2010/main" val="2174816850"/>
      </p:ext>
    </p:extLst>
  </p:cSld>
  <p:clrMapOvr>
    <a:masterClrMapping/>
  </p:clrMapOvr>
  <p:transition>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Demo">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a:stretch>
            <a:fillRect/>
          </a:stretch>
        </p:blipFill>
        <p:spPr>
          <a:xfrm>
            <a:off x="7756458" y="304193"/>
            <a:ext cx="4408878" cy="6400800"/>
          </a:xfrm>
          <a:prstGeom prst="rect">
            <a:avLst/>
          </a:prstGeom>
        </p:spPr>
      </p:pic>
      <p:sp>
        <p:nvSpPr>
          <p:cNvPr id="4" name="Rectangle 3"/>
          <p:cNvSpPr/>
          <p:nvPr userDrawn="1"/>
        </p:nvSpPr>
        <p:spPr bwMode="auto">
          <a:xfrm>
            <a:off x="274667" y="1211287"/>
            <a:ext cx="10057052" cy="274317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04" y="1209973"/>
            <a:ext cx="7313110" cy="1205390"/>
          </a:xfrm>
          <a:noFill/>
        </p:spPr>
        <p:txBody>
          <a:bodyPr tIns="91440" bIns="91440" anchor="t" anchorCtr="0">
            <a:spAutoFit/>
          </a:bodyPr>
          <a:lstStyle>
            <a:lvl1pPr>
              <a:defRPr sz="7343" spc="-100" baseline="0">
                <a:solidFill>
                  <a:schemeClr val="tx1"/>
                </a:solidFill>
              </a:defRPr>
            </a:lvl1pPr>
          </a:lstStyle>
          <a:p>
            <a:r>
              <a:rPr lang="en-US"/>
              <a:t>Demo title</a:t>
            </a:r>
          </a:p>
        </p:txBody>
      </p:sp>
    </p:spTree>
    <p:extLst>
      <p:ext uri="{BB962C8B-B14F-4D97-AF65-F5344CB8AC3E}">
        <p14:creationId xmlns:p14="http://schemas.microsoft.com/office/powerpoint/2010/main" val="16977752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0.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74604" y="1212851"/>
            <a:ext cx="11888047" cy="1979773"/>
          </a:xfrm>
        </p:spPr>
        <p:txBody>
          <a:bodyPr/>
          <a:lstStyle>
            <a:lvl1pPr marL="0" indent="0">
              <a:buNone/>
              <a:defRPr>
                <a:gradFill>
                  <a:gsLst>
                    <a:gs pos="2920">
                      <a:schemeClr val="tx2"/>
                    </a:gs>
                    <a:gs pos="39000">
                      <a:schemeClr val="tx2"/>
                    </a:gs>
                  </a:gsLst>
                  <a:lin ang="5400000" scaled="0"/>
                </a:gradFill>
              </a:defRPr>
            </a:lvl1pPr>
            <a:lvl2pPr marL="28566" indent="0">
              <a:buNone/>
              <a:defRPr sz="2000"/>
            </a:lvl2pPr>
            <a:lvl3pPr marL="223773" indent="0">
              <a:buNone/>
              <a:defRPr sz="2000"/>
            </a:lvl3pPr>
            <a:lvl4pPr marL="476111" indent="0">
              <a:buNone/>
              <a:defRPr sz="1800"/>
            </a:lvl4pPr>
            <a:lvl5pPr marL="739558" indent="0">
              <a:buNone/>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161768952"/>
      </p:ext>
    </p:extLst>
  </p:cSld>
  <p:clrMapOvr>
    <a:masterClrMapping/>
  </p:clrMapOvr>
  <p:transition>
    <p:fade/>
  </p:transition>
</p:sldLayout>
</file>

<file path=ppt/slideLayouts/slideLayout201.xml><?xml version="1.0" encoding="utf-8"?>
<p:sldLayout xmlns:a="http://schemas.openxmlformats.org/drawingml/2006/main" xmlns:r="http://schemas.openxmlformats.org/officeDocument/2006/relationships" xmlns:p="http://schemas.openxmlformats.org/presentationml/2006/main"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04" y="1212850"/>
            <a:ext cx="11885683" cy="1947008"/>
          </a:xfrm>
        </p:spPr>
        <p:txBody>
          <a:bodyPr>
            <a:spAutoFit/>
          </a:bodyPr>
          <a:lstStyle>
            <a:lvl1pPr>
              <a:defRPr sz="3999">
                <a:gradFill>
                  <a:gsLst>
                    <a:gs pos="1250">
                      <a:schemeClr val="tx2"/>
                    </a:gs>
                    <a:gs pos="99000">
                      <a:schemeClr val="tx2"/>
                    </a:gs>
                  </a:gsLst>
                  <a:lin ang="5400000" scaled="0"/>
                </a:gradFill>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12163380"/>
      </p:ext>
    </p:extLst>
  </p:cSld>
  <p:clrMapOvr>
    <a:masterClrMapping/>
  </p:clrMapOvr>
  <p:transition>
    <p:fade/>
  </p:transition>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p:cSld name="4_Title Slide">
    <p:spTree>
      <p:nvGrpSpPr>
        <p:cNvPr id="1" name=""/>
        <p:cNvGrpSpPr/>
        <p:nvPr/>
      </p:nvGrpSpPr>
      <p:grpSpPr>
        <a:xfrm>
          <a:off x="0" y="0"/>
          <a:ext cx="0" cy="0"/>
          <a:chOff x="0" y="0"/>
          <a:chExt cx="0" cy="0"/>
        </a:xfrm>
      </p:grpSpPr>
      <p:pic>
        <p:nvPicPr>
          <p:cNvPr id="9" name="Picture 8" descr="DataInsights_quadtone.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2329" y="0"/>
            <a:ext cx="12434888" cy="6995517"/>
          </a:xfrm>
          <a:prstGeom prst="rect">
            <a:avLst/>
          </a:prstGeom>
        </p:spPr>
      </p:pic>
      <p:pic>
        <p:nvPicPr>
          <p:cNvPr id="14" name="Picture 13" descr="DataInsights-iStock_000022453217Large.jpg"/>
          <p:cNvPicPr>
            <a:picLocks noChangeAspect="1"/>
          </p:cNvPicPr>
          <p:nvPr/>
        </p:nvPicPr>
        <p:blipFill rotWithShape="1">
          <a:blip r:embed="rId3" cstate="email">
            <a:alphaModFix/>
            <a:extLst>
              <a:ext uri="{28A0092B-C50C-407E-A947-70E740481C1C}">
                <a14:useLocalDpi xmlns:a14="http://schemas.microsoft.com/office/drawing/2010/main" val="0"/>
              </a:ext>
            </a:extLst>
          </a:blip>
          <a:srcRect/>
          <a:stretch/>
        </p:blipFill>
        <p:spPr>
          <a:xfrm>
            <a:off x="8157783" y="2348029"/>
            <a:ext cx="2812175" cy="2806484"/>
          </a:xfrm>
          <a:prstGeom prst="rect">
            <a:avLst/>
          </a:prstGeom>
        </p:spPr>
      </p:pic>
      <p:pic>
        <p:nvPicPr>
          <p:cNvPr id="11" name="Picture 9"/>
          <p:cNvPicPr>
            <a:picLocks noChangeAspect="1"/>
          </p:cNvPicPr>
          <p:nvPr/>
        </p:nvPicPr>
        <p:blipFill>
          <a:blip r:embed="rId4" cstate="email">
            <a:extLst>
              <a:ext uri="{28A0092B-C50C-407E-A947-70E740481C1C}">
                <a14:useLocalDpi xmlns:a14="http://schemas.microsoft.com/office/drawing/2010/main" val="0"/>
              </a:ext>
            </a:extLst>
          </a:blip>
          <a:srcRect l="19656" r="20331"/>
          <a:stretch>
            <a:fillRect/>
          </a:stretch>
        </p:blipFill>
        <p:spPr bwMode="auto">
          <a:xfrm>
            <a:off x="6704746" y="241300"/>
            <a:ext cx="5573001" cy="6565900"/>
          </a:xfrm>
          <a:prstGeom prst="rect">
            <a:avLst/>
          </a:prstGeom>
          <a:noFill/>
          <a:ln>
            <a:noFill/>
          </a:ln>
          <a:effectLst>
            <a:outerShdw blurRad="114300" dist="38100" dir="2700000" algn="tl" rotWithShape="0">
              <a:srgbClr val="000000">
                <a:alpha val="39999"/>
              </a:srgb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Rectangle 11"/>
          <p:cNvSpPr/>
          <p:nvPr/>
        </p:nvSpPr>
        <p:spPr bwMode="auto">
          <a:xfrm>
            <a:off x="2" y="2"/>
            <a:ext cx="6174339" cy="7006405"/>
          </a:xfrm>
          <a:prstGeom prst="rect">
            <a:avLst/>
          </a:prstGeom>
          <a:gradFill flip="none" rotWithShape="1">
            <a:gsLst>
              <a:gs pos="100000">
                <a:srgbClr val="003963">
                  <a:alpha val="0"/>
                </a:srgbClr>
              </a:gs>
              <a:gs pos="0">
                <a:srgbClr val="03122F"/>
              </a:gs>
              <a:gs pos="50000">
                <a:srgbClr val="072450">
                  <a:alpha val="90000"/>
                </a:srgbClr>
              </a:gs>
            </a:gsLst>
            <a:lin ang="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46624" rIns="0" bIns="46624" anchor="ctr"/>
          <a:lstStyle/>
          <a:p>
            <a:pPr algn="ctr" defTabSz="932200">
              <a:defRPr/>
            </a:pPr>
            <a:endParaRPr lang="en-US" sz="2000" dirty="0">
              <a:gradFill>
                <a:gsLst>
                  <a:gs pos="0">
                    <a:srgbClr val="FFFFFF"/>
                  </a:gs>
                  <a:gs pos="100000">
                    <a:srgbClr val="FFFFFF"/>
                  </a:gs>
                </a:gsLst>
                <a:lin ang="5400000" scaled="0"/>
              </a:gradFill>
            </a:endParaRPr>
          </a:p>
        </p:txBody>
      </p:sp>
      <p:pic>
        <p:nvPicPr>
          <p:cNvPr id="15" name="Picture 8"/>
          <p:cNvPicPr>
            <a:picLocks noChangeAspect="1"/>
          </p:cNvPicPr>
          <p:nvPr/>
        </p:nvPicPr>
        <p:blipFill>
          <a:blip r:embed="rId5" cstate="email">
            <a:extLst>
              <a:ext uri="{28A0092B-C50C-407E-A947-70E740481C1C}">
                <a14:useLocalDpi xmlns:a14="http://schemas.microsoft.com/office/drawing/2010/main" val="0"/>
              </a:ext>
            </a:extLst>
          </a:blip>
          <a:srcRect/>
          <a:stretch>
            <a:fillRect/>
          </a:stretch>
        </p:blipFill>
        <p:spPr bwMode="auto">
          <a:xfrm>
            <a:off x="473016" y="479426"/>
            <a:ext cx="1330155" cy="292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itle 1"/>
          <p:cNvSpPr>
            <a:spLocks noGrp="1"/>
          </p:cNvSpPr>
          <p:nvPr>
            <p:ph type="ctrTitle"/>
          </p:nvPr>
        </p:nvSpPr>
        <p:spPr>
          <a:xfrm>
            <a:off x="274605" y="1456838"/>
            <a:ext cx="5596398" cy="915537"/>
          </a:xfrm>
        </p:spPr>
        <p:txBody>
          <a:bodyPr/>
          <a:lstStyle>
            <a:lvl1pPr>
              <a:defRPr sz="5198">
                <a:solidFill>
                  <a:schemeClr val="bg1"/>
                </a:solidFill>
              </a:defRPr>
            </a:lvl1pPr>
          </a:lstStyle>
          <a:p>
            <a:r>
              <a:rPr lang="en-US"/>
              <a:t>Click to edit Master title style</a:t>
            </a:r>
            <a:endParaRPr lang="en-US" dirty="0"/>
          </a:p>
        </p:txBody>
      </p:sp>
      <p:sp>
        <p:nvSpPr>
          <p:cNvPr id="17" name="Subtitle 2"/>
          <p:cNvSpPr>
            <a:spLocks noGrp="1"/>
          </p:cNvSpPr>
          <p:nvPr>
            <p:ph type="subTitle" idx="1"/>
          </p:nvPr>
        </p:nvSpPr>
        <p:spPr>
          <a:xfrm>
            <a:off x="274667" y="4440120"/>
            <a:ext cx="5596334" cy="1076679"/>
          </a:xfrm>
        </p:spPr>
        <p:txBody>
          <a:bodyPr/>
          <a:lstStyle>
            <a:lvl1pPr marL="0" indent="0" algn="l">
              <a:lnSpc>
                <a:spcPts val="2700"/>
              </a:lnSpc>
              <a:buNone/>
              <a:defRPr sz="2200">
                <a:solidFill>
                  <a:schemeClr val="bg1"/>
                </a:solidFill>
                <a:latin typeface="+mj-lt"/>
              </a:defRPr>
            </a:lvl1pPr>
            <a:lvl2pPr marL="457066" indent="0" algn="ctr">
              <a:buNone/>
              <a:defRPr>
                <a:solidFill>
                  <a:schemeClr val="tx1">
                    <a:tint val="75000"/>
                  </a:schemeClr>
                </a:solidFill>
              </a:defRPr>
            </a:lvl2pPr>
            <a:lvl3pPr marL="914133" indent="0" algn="ctr">
              <a:buNone/>
              <a:defRPr>
                <a:solidFill>
                  <a:schemeClr val="tx1">
                    <a:tint val="75000"/>
                  </a:schemeClr>
                </a:solidFill>
              </a:defRPr>
            </a:lvl3pPr>
            <a:lvl4pPr marL="1371199" indent="0" algn="ctr">
              <a:buNone/>
              <a:defRPr>
                <a:solidFill>
                  <a:schemeClr val="tx1">
                    <a:tint val="75000"/>
                  </a:schemeClr>
                </a:solidFill>
              </a:defRPr>
            </a:lvl4pPr>
            <a:lvl5pPr marL="1828266" indent="0" algn="ctr">
              <a:buNone/>
              <a:defRPr>
                <a:solidFill>
                  <a:schemeClr val="tx1">
                    <a:tint val="75000"/>
                  </a:schemeClr>
                </a:solidFill>
              </a:defRPr>
            </a:lvl5pPr>
            <a:lvl6pPr marL="2285332" indent="0" algn="ctr">
              <a:buNone/>
              <a:defRPr>
                <a:solidFill>
                  <a:schemeClr val="tx1">
                    <a:tint val="75000"/>
                  </a:schemeClr>
                </a:solidFill>
              </a:defRPr>
            </a:lvl6pPr>
            <a:lvl7pPr marL="2742399" indent="0" algn="ctr">
              <a:buNone/>
              <a:defRPr>
                <a:solidFill>
                  <a:schemeClr val="tx1">
                    <a:tint val="75000"/>
                  </a:schemeClr>
                </a:solidFill>
              </a:defRPr>
            </a:lvl7pPr>
            <a:lvl8pPr marL="3199465" indent="0" algn="ctr">
              <a:buNone/>
              <a:defRPr>
                <a:solidFill>
                  <a:schemeClr val="tx1">
                    <a:tint val="75000"/>
                  </a:schemeClr>
                </a:solidFill>
              </a:defRPr>
            </a:lvl8pPr>
            <a:lvl9pPr marL="3656531" indent="0" algn="ctr">
              <a:buNone/>
              <a:defRPr>
                <a:solidFill>
                  <a:schemeClr val="tx1">
                    <a:tint val="75000"/>
                  </a:schemeClr>
                </a:solidFill>
              </a:defRPr>
            </a:lvl9pPr>
          </a:lstStyle>
          <a:p>
            <a:r>
              <a:rPr lang="en-US"/>
              <a:t>Click to edit Master subtitle style</a:t>
            </a:r>
            <a:endParaRPr lang="en-US" dirty="0"/>
          </a:p>
        </p:txBody>
      </p:sp>
    </p:spTree>
    <p:extLst>
      <p:ext uri="{BB962C8B-B14F-4D97-AF65-F5344CB8AC3E}">
        <p14:creationId xmlns:p14="http://schemas.microsoft.com/office/powerpoint/2010/main" val="2011474410"/>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p:cSld name="5_BLANK">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a:srcRect l="120"/>
          <a:stretch/>
        </p:blipFill>
        <p:spPr>
          <a:xfrm>
            <a:off x="1" y="-318"/>
            <a:ext cx="12449808" cy="6995160"/>
          </a:xfrm>
          <a:prstGeom prst="rect">
            <a:avLst/>
          </a:prstGeom>
        </p:spPr>
      </p:pic>
    </p:spTree>
    <p:extLst>
      <p:ext uri="{BB962C8B-B14F-4D97-AF65-F5344CB8AC3E}">
        <p14:creationId xmlns:p14="http://schemas.microsoft.com/office/powerpoint/2010/main" val="3187878085"/>
      </p:ext>
    </p:extLst>
  </p:cSld>
  <p:clrMapOvr>
    <a:masterClrMapping/>
  </p:clrMapOvr>
  <p:transition spd="med">
    <p:wipe dir="r"/>
  </p:transition>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p:cSld name="63pt Title + Subtitl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274604" y="1304927"/>
            <a:ext cx="11031717" cy="574675"/>
          </a:xfrm>
          <a:prstGeom prst="rect">
            <a:avLst/>
          </a:prstGeom>
        </p:spPr>
        <p:txBody>
          <a:bodyPr lIns="192024"/>
          <a:lstStyle>
            <a:lvl1pPr marL="0" indent="0">
              <a:buNone/>
              <a:defRPr lang="en-US" sz="2800" kern="1200" smtClean="0">
                <a:solidFill>
                  <a:schemeClr val="tx2"/>
                </a:solidFill>
                <a:latin typeface="+mj-lt"/>
                <a:ea typeface="+mn-ea"/>
                <a:cs typeface="+mn-cs"/>
              </a:defRPr>
            </a:lvl1pPr>
            <a:lvl2pPr marL="0" indent="0">
              <a:buNone/>
              <a:defRPr lang="en-US" sz="3170" kern="1200" smtClean="0">
                <a:solidFill>
                  <a:schemeClr val="bg1"/>
                </a:solidFill>
                <a:latin typeface="+mj-lt"/>
                <a:ea typeface="+mn-ea"/>
                <a:cs typeface="+mn-cs"/>
              </a:defRPr>
            </a:lvl2pPr>
            <a:lvl3pPr marL="0" indent="0">
              <a:buNone/>
              <a:defRPr lang="en-US" sz="3170" kern="1200" smtClean="0">
                <a:solidFill>
                  <a:schemeClr val="bg1"/>
                </a:solidFill>
                <a:latin typeface="+mj-lt"/>
                <a:ea typeface="+mn-ea"/>
                <a:cs typeface="+mn-cs"/>
              </a:defRPr>
            </a:lvl3pPr>
            <a:lvl4pPr marL="0" indent="0">
              <a:buNone/>
              <a:defRPr lang="en-US" sz="3170" kern="1200" smtClean="0">
                <a:solidFill>
                  <a:schemeClr val="bg1"/>
                </a:solidFill>
                <a:latin typeface="+mj-lt"/>
                <a:ea typeface="+mn-ea"/>
                <a:cs typeface="+mn-cs"/>
              </a:defRPr>
            </a:lvl4pPr>
            <a:lvl5pPr marL="0" indent="0">
              <a:buNone/>
              <a:defRPr lang="en-US" sz="3170" kern="1200">
                <a:solidFill>
                  <a:schemeClr val="bg1"/>
                </a:solidFill>
                <a:latin typeface="+mj-lt"/>
                <a:ea typeface="+mn-ea"/>
                <a:cs typeface="+mn-cs"/>
              </a:defRPr>
            </a:lvl5pPr>
          </a:lstStyle>
          <a:p>
            <a:pPr lvl="0"/>
            <a:r>
              <a:rPr lang="en-US"/>
              <a:t>Click to edit Master text styles</a:t>
            </a:r>
          </a:p>
        </p:txBody>
      </p:sp>
      <p:sp>
        <p:nvSpPr>
          <p:cNvPr id="7" name="Title 2"/>
          <p:cNvSpPr>
            <a:spLocks noGrp="1"/>
          </p:cNvSpPr>
          <p:nvPr>
            <p:ph type="title"/>
          </p:nvPr>
        </p:nvSpPr>
        <p:spPr>
          <a:xfrm>
            <a:off x="274285" y="292083"/>
            <a:ext cx="11885683" cy="946413"/>
          </a:xfrm>
          <a:prstGeom prst="rect">
            <a:avLst/>
          </a:prstGeom>
        </p:spPr>
        <p:txBody>
          <a:bodyPr/>
          <a:lstStyle>
            <a:lvl1pPr algn="l">
              <a:defRPr sz="5198">
                <a:solidFill>
                  <a:schemeClr val="tx2"/>
                </a:solidFill>
              </a:defRPr>
            </a:lvl1pPr>
          </a:lstStyle>
          <a:p>
            <a:r>
              <a:rPr lang="en-US"/>
              <a:t>Click to edit Master title style</a:t>
            </a:r>
            <a:endParaRPr lang="en-US" dirty="0"/>
          </a:p>
        </p:txBody>
      </p:sp>
      <p:sp>
        <p:nvSpPr>
          <p:cNvPr id="4" name="Footer Placeholder 2"/>
          <p:cNvSpPr>
            <a:spLocks noGrp="1"/>
          </p:cNvSpPr>
          <p:nvPr>
            <p:ph type="ftr" sz="quarter" idx="14"/>
          </p:nvPr>
        </p:nvSpPr>
        <p:spPr/>
        <p:txBody>
          <a:bodyPr/>
          <a:lstStyle>
            <a:lvl1pPr fontAlgn="base">
              <a:spcBef>
                <a:spcPct val="0"/>
              </a:spcBef>
              <a:spcAft>
                <a:spcPct val="0"/>
              </a:spcAft>
              <a:defRPr dirty="0" smtClean="0">
                <a:solidFill>
                  <a:srgbClr val="505050"/>
                </a:solidFill>
              </a:defRPr>
            </a:lvl1pPr>
          </a:lstStyle>
          <a:p>
            <a:pPr>
              <a:defRPr/>
            </a:pPr>
            <a:endParaRPr/>
          </a:p>
        </p:txBody>
      </p:sp>
      <p:sp>
        <p:nvSpPr>
          <p:cNvPr id="5" name="Slide Number Placeholder 3"/>
          <p:cNvSpPr>
            <a:spLocks noGrp="1"/>
          </p:cNvSpPr>
          <p:nvPr>
            <p:ph type="sldNum" sz="quarter" idx="15"/>
          </p:nvPr>
        </p:nvSpPr>
        <p:spPr/>
        <p:txBody>
          <a:bodyPr/>
          <a:lstStyle>
            <a:lvl1pPr defTabSz="931591" fontAlgn="base">
              <a:spcBef>
                <a:spcPct val="0"/>
              </a:spcBef>
              <a:spcAft>
                <a:spcPct val="0"/>
              </a:spcAft>
              <a:defRPr smtClean="0">
                <a:solidFill>
                  <a:srgbClr val="505050"/>
                </a:solidFill>
              </a:defRPr>
            </a:lvl1pPr>
          </a:lstStyle>
          <a:p>
            <a:pPr>
              <a:defRPr/>
            </a:pPr>
            <a:fld id="{56442AAA-6A77-5942-BCC4-0CCA4B0626F8}" type="slidenum">
              <a:rPr/>
              <a:pPr>
                <a:defRPr/>
              </a:pPr>
              <a:t>‹#›</a:t>
            </a:fld>
            <a:endParaRPr dirty="0"/>
          </a:p>
        </p:txBody>
      </p:sp>
    </p:spTree>
    <p:extLst>
      <p:ext uri="{BB962C8B-B14F-4D97-AF65-F5344CB8AC3E}">
        <p14:creationId xmlns:p14="http://schemas.microsoft.com/office/powerpoint/2010/main" val="2722268883"/>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lvl1pPr fontAlgn="base">
              <a:spcBef>
                <a:spcPct val="0"/>
              </a:spcBef>
              <a:spcAft>
                <a:spcPct val="0"/>
              </a:spcAft>
              <a:defRPr dirty="0" smtClean="0">
                <a:solidFill>
                  <a:srgbClr val="000000"/>
                </a:solidFill>
              </a:defRPr>
            </a:lvl1pPr>
          </a:lstStyle>
          <a:p>
            <a:pPr>
              <a:defRPr/>
            </a:pPr>
            <a:endParaRPr/>
          </a:p>
        </p:txBody>
      </p:sp>
      <p:sp>
        <p:nvSpPr>
          <p:cNvPr id="3" name="Slide Number Placeholder 2"/>
          <p:cNvSpPr>
            <a:spLocks noGrp="1"/>
          </p:cNvSpPr>
          <p:nvPr>
            <p:ph type="sldNum" sz="quarter" idx="11"/>
          </p:nvPr>
        </p:nvSpPr>
        <p:spPr/>
        <p:txBody>
          <a:bodyPr/>
          <a:lstStyle>
            <a:lvl1pPr defTabSz="931591" fontAlgn="base">
              <a:spcBef>
                <a:spcPct val="0"/>
              </a:spcBef>
              <a:spcAft>
                <a:spcPct val="0"/>
              </a:spcAft>
              <a:defRPr smtClean="0">
                <a:solidFill>
                  <a:srgbClr val="000000"/>
                </a:solidFill>
              </a:defRPr>
            </a:lvl1pPr>
          </a:lstStyle>
          <a:p>
            <a:pPr>
              <a:defRPr/>
            </a:pPr>
            <a:fld id="{F8A0AC42-AA1D-4944-8D96-660DE70C7E1B}" type="slidenum">
              <a:rPr/>
              <a:pPr>
                <a:defRPr/>
              </a:pPr>
              <a:t>‹#›</a:t>
            </a:fld>
            <a:endParaRPr dirty="0"/>
          </a:p>
        </p:txBody>
      </p:sp>
    </p:spTree>
    <p:extLst>
      <p:ext uri="{BB962C8B-B14F-4D97-AF65-F5344CB8AC3E}">
        <p14:creationId xmlns:p14="http://schemas.microsoft.com/office/powerpoint/2010/main" val="2775113478"/>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206.xml><?xml version="1.0" encoding="utf-8"?>
<p:sldLayout xmlns:a="http://schemas.openxmlformats.org/drawingml/2006/main" xmlns:r="http://schemas.openxmlformats.org/officeDocument/2006/relationships" xmlns:p="http://schemas.openxmlformats.org/presentationml/2006/main">
  <p:cSld name="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74285" y="292083"/>
            <a:ext cx="11885683" cy="946413"/>
          </a:xfrm>
          <a:prstGeom prst="rect">
            <a:avLst/>
          </a:prstGeom>
        </p:spPr>
        <p:txBody>
          <a:bodyPr/>
          <a:lstStyle>
            <a:lvl1pPr algn="l">
              <a:defRPr sz="5198">
                <a:solidFill>
                  <a:schemeClr val="tx2"/>
                </a:solidFill>
              </a:defRPr>
            </a:lvl1pPr>
          </a:lstStyle>
          <a:p>
            <a:r>
              <a:rPr lang="en-US"/>
              <a:t>Click to edit Master title style</a:t>
            </a:r>
            <a:endParaRPr lang="en-US" dirty="0"/>
          </a:p>
        </p:txBody>
      </p:sp>
      <p:sp>
        <p:nvSpPr>
          <p:cNvPr id="4" name="Slide Number Placeholder 2"/>
          <p:cNvSpPr>
            <a:spLocks noGrp="1"/>
          </p:cNvSpPr>
          <p:nvPr>
            <p:ph type="sldNum" sz="quarter" idx="11"/>
          </p:nvPr>
        </p:nvSpPr>
        <p:spPr>
          <a:xfrm>
            <a:off x="11593621" y="6565902"/>
            <a:ext cx="566666" cy="136525"/>
          </a:xfrm>
        </p:spPr>
        <p:txBody>
          <a:bodyPr/>
          <a:lstStyle>
            <a:lvl1pPr defTabSz="931591" fontAlgn="base">
              <a:spcBef>
                <a:spcPct val="0"/>
              </a:spcBef>
              <a:spcAft>
                <a:spcPct val="0"/>
              </a:spcAft>
              <a:defRPr smtClean="0">
                <a:solidFill>
                  <a:srgbClr val="000000"/>
                </a:solidFill>
              </a:defRPr>
            </a:lvl1pPr>
          </a:lstStyle>
          <a:p>
            <a:pPr>
              <a:defRPr/>
            </a:pPr>
            <a:fld id="{F8A0AC42-AA1D-4944-8D96-660DE70C7E1B}" type="slidenum">
              <a:rPr/>
              <a:pPr>
                <a:defRPr/>
              </a:pPr>
              <a:t>‹#›</a:t>
            </a:fld>
            <a:endParaRPr dirty="0"/>
          </a:p>
        </p:txBody>
      </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val="0"/>
              </a:ext>
            </a:extLst>
          </a:blip>
          <a:srcRect l="28502" t="40628" r="27716" b="39461"/>
          <a:stretch/>
        </p:blipFill>
        <p:spPr>
          <a:xfrm>
            <a:off x="533565" y="6562763"/>
            <a:ext cx="954466" cy="244197"/>
          </a:xfrm>
          <a:prstGeom prst="rect">
            <a:avLst/>
          </a:prstGeom>
        </p:spPr>
      </p:pic>
    </p:spTree>
    <p:extLst>
      <p:ext uri="{BB962C8B-B14F-4D97-AF65-F5344CB8AC3E}">
        <p14:creationId xmlns:p14="http://schemas.microsoft.com/office/powerpoint/2010/main" val="2602787750"/>
      </p:ext>
    </p:extLst>
  </p:cSld>
  <p:clrMapOvr>
    <a:masterClrMapping/>
  </p:clrMapOvr>
  <p:transition spd="med">
    <p:fade/>
  </p:transition>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p:cSld name="1_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74285" y="292083"/>
            <a:ext cx="11885683" cy="946413"/>
          </a:xfrm>
          <a:prstGeom prst="rect">
            <a:avLst/>
          </a:prstGeom>
        </p:spPr>
        <p:txBody>
          <a:bodyPr/>
          <a:lstStyle>
            <a:lvl1pPr algn="l">
              <a:defRPr sz="5198">
                <a:solidFill>
                  <a:schemeClr val="tx2"/>
                </a:solidFill>
              </a:defRPr>
            </a:lvl1pPr>
          </a:lstStyle>
          <a:p>
            <a:r>
              <a:rPr lang="en-US"/>
              <a:t>Click to edit Master title style</a:t>
            </a:r>
            <a:endParaRPr lang="en-US" dirty="0"/>
          </a:p>
        </p:txBody>
      </p:sp>
      <p:sp>
        <p:nvSpPr>
          <p:cNvPr id="4" name="Slide Number Placeholder 2"/>
          <p:cNvSpPr>
            <a:spLocks noGrp="1"/>
          </p:cNvSpPr>
          <p:nvPr>
            <p:ph type="sldNum" sz="quarter" idx="11"/>
          </p:nvPr>
        </p:nvSpPr>
        <p:spPr>
          <a:xfrm>
            <a:off x="11593621" y="6565902"/>
            <a:ext cx="566666" cy="136525"/>
          </a:xfrm>
        </p:spPr>
        <p:txBody>
          <a:bodyPr/>
          <a:lstStyle>
            <a:lvl1pPr defTabSz="931591" fontAlgn="base">
              <a:spcBef>
                <a:spcPct val="0"/>
              </a:spcBef>
              <a:spcAft>
                <a:spcPct val="0"/>
              </a:spcAft>
              <a:defRPr smtClean="0">
                <a:solidFill>
                  <a:srgbClr val="000000"/>
                </a:solidFill>
              </a:defRPr>
            </a:lvl1pPr>
          </a:lstStyle>
          <a:p>
            <a:pPr>
              <a:defRPr/>
            </a:pPr>
            <a:fld id="{F8A0AC42-AA1D-4944-8D96-660DE70C7E1B}" type="slidenum">
              <a:rPr/>
              <a:pPr>
                <a:defRPr/>
              </a:pPr>
              <a:t>‹#›</a:t>
            </a:fld>
            <a:endParaRPr dirty="0"/>
          </a:p>
        </p:txBody>
      </p:sp>
    </p:spTree>
    <p:extLst>
      <p:ext uri="{BB962C8B-B14F-4D97-AF65-F5344CB8AC3E}">
        <p14:creationId xmlns:p14="http://schemas.microsoft.com/office/powerpoint/2010/main" val="928053280"/>
      </p:ext>
    </p:extLst>
  </p:cSld>
  <p:clrMapOvr>
    <a:masterClrMapping/>
  </p:clrMapOvr>
  <p:transition spd="med">
    <p:fade/>
  </p:transition>
</p:sldLayout>
</file>

<file path=ppt/slideLayouts/slideLayout208.xml><?xml version="1.0" encoding="utf-8"?>
<p:sldLayout xmlns:a="http://schemas.openxmlformats.org/drawingml/2006/main" xmlns:r="http://schemas.openxmlformats.org/officeDocument/2006/relationships" xmlns:p="http://schemas.openxmlformats.org/presentationml/2006/main">
  <p:cSld name="4_BLANK">
    <p:spTree>
      <p:nvGrpSpPr>
        <p:cNvPr id="1" name=""/>
        <p:cNvGrpSpPr/>
        <p:nvPr/>
      </p:nvGrpSpPr>
      <p:grpSpPr>
        <a:xfrm>
          <a:off x="0" y="0"/>
          <a:ext cx="0" cy="0"/>
          <a:chOff x="0" y="0"/>
          <a:chExt cx="0" cy="0"/>
        </a:xfrm>
      </p:grpSpPr>
      <p:sp>
        <p:nvSpPr>
          <p:cNvPr id="3" name="Rectangle 2"/>
          <p:cNvSpPr/>
          <p:nvPr/>
        </p:nvSpPr>
        <p:spPr bwMode="auto">
          <a:xfrm rot="16200000">
            <a:off x="4524606" y="-915760"/>
            <a:ext cx="3385680" cy="12434890"/>
          </a:xfrm>
          <a:prstGeom prst="rect">
            <a:avLst/>
          </a:prstGeom>
          <a:gradFill flip="none" rotWithShape="1">
            <a:gsLst>
              <a:gs pos="75000">
                <a:srgbClr val="003963">
                  <a:alpha val="0"/>
                </a:srgbClr>
              </a:gs>
              <a:gs pos="0">
                <a:srgbClr val="002B4A"/>
              </a:gs>
            </a:gsLst>
            <a:lin ang="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46624" rIns="0" bIns="46624" anchor="ctr"/>
          <a:lstStyle/>
          <a:p>
            <a:pPr algn="ctr" defTabSz="932200">
              <a:defRPr/>
            </a:pPr>
            <a:endParaRPr lang="en-US" sz="2000" dirty="0">
              <a:gradFill>
                <a:gsLst>
                  <a:gs pos="0">
                    <a:srgbClr val="FFFFFF"/>
                  </a:gs>
                  <a:gs pos="100000">
                    <a:srgbClr val="FFFFFF"/>
                  </a:gs>
                </a:gsLst>
                <a:lin ang="5400000" scaled="0"/>
              </a:gradFill>
            </a:endParaRPr>
          </a:p>
        </p:txBody>
      </p:sp>
      <p:pic>
        <p:nvPicPr>
          <p:cNvPr id="4" name="Picture 3"/>
          <p:cNvPicPr>
            <a:picLocks noChangeAspect="1"/>
          </p:cNvPicPr>
          <p:nvPr userDrawn="1"/>
        </p:nvPicPr>
        <p:blipFill>
          <a:blip r:embed="rId2"/>
          <a:stretch>
            <a:fillRect/>
          </a:stretch>
        </p:blipFill>
        <p:spPr>
          <a:xfrm>
            <a:off x="0" y="1"/>
            <a:ext cx="12457110" cy="6995160"/>
          </a:xfrm>
          <a:prstGeom prst="rect">
            <a:avLst/>
          </a:prstGeom>
        </p:spPr>
      </p:pic>
    </p:spTree>
    <p:extLst>
      <p:ext uri="{BB962C8B-B14F-4D97-AF65-F5344CB8AC3E}">
        <p14:creationId xmlns:p14="http://schemas.microsoft.com/office/powerpoint/2010/main" val="2776527089"/>
      </p:ext>
    </p:extLst>
  </p:cSld>
  <p:clrMapOvr>
    <a:masterClrMapping/>
  </p:clrMapOvr>
  <p:transition spd="med">
    <p:wipe dir="r"/>
  </p:transition>
</p:sldLayout>
</file>

<file path=ppt/slideLayouts/slideLayout209.xml><?xml version="1.0" encoding="utf-8"?>
<p:sldLayout xmlns:a="http://schemas.openxmlformats.org/drawingml/2006/main" xmlns:r="http://schemas.openxmlformats.org/officeDocument/2006/relationships" xmlns:p="http://schemas.openxmlformats.org/presentationml/2006/main">
  <p:cSld name="Blank Accent Color 1">
    <p:bg>
      <p:bgPr>
        <a:solidFill>
          <a:srgbClr val="DA3C16"/>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23116195"/>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cSld name="5_Title Slide">
    <p:bg>
      <p:bgPr>
        <a:solidFill>
          <a:srgbClr val="0072C6"/>
        </a:solidFill>
        <a:effectLst/>
      </p:bgPr>
    </p:bg>
    <p:spTree>
      <p:nvGrpSpPr>
        <p:cNvPr id="1" name=""/>
        <p:cNvGrpSpPr/>
        <p:nvPr/>
      </p:nvGrpSpPr>
      <p:grpSpPr>
        <a:xfrm>
          <a:off x="0" y="0"/>
          <a:ext cx="0" cy="0"/>
          <a:chOff x="0" y="0"/>
          <a:chExt cx="0" cy="0"/>
        </a:xfrm>
      </p:grpSpPr>
      <p:pic>
        <p:nvPicPr>
          <p:cNvPr id="90" name="Picture 89"/>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50794" y="6143778"/>
            <a:ext cx="2283296" cy="373062"/>
          </a:xfrm>
          <a:prstGeom prst="rect">
            <a:avLst/>
          </a:prstGeom>
        </p:spPr>
      </p:pic>
      <p:sp>
        <p:nvSpPr>
          <p:cNvPr id="2" name="Rectangle 1"/>
          <p:cNvSpPr/>
          <p:nvPr/>
        </p:nvSpPr>
        <p:spPr bwMode="auto">
          <a:xfrm>
            <a:off x="8807914" y="0"/>
            <a:ext cx="3626974" cy="6994525"/>
          </a:xfrm>
          <a:prstGeom prst="rect">
            <a:avLst/>
          </a:prstGeom>
          <a:solidFill>
            <a:srgbClr val="EEEEE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4603" y="2774679"/>
            <a:ext cx="8435271" cy="914400"/>
          </a:xfrm>
          <a:noFill/>
        </p:spPr>
        <p:txBody>
          <a:bodyPr lIns="91440" tIns="91440" rIns="91440" bIns="91440">
            <a:noAutofit/>
          </a:bodyPr>
          <a:lstStyle>
            <a:lvl1pPr marL="0" indent="0">
              <a:spcBef>
                <a:spcPts val="0"/>
              </a:spcBef>
              <a:buNone/>
              <a:defRPr sz="2800" spc="0" baseline="0">
                <a:solidFill>
                  <a:schemeClr val="bg1"/>
                </a:solidFill>
                <a:latin typeface="+mj-lt"/>
              </a:defRPr>
            </a:lvl1pPr>
          </a:lstStyle>
          <a:p>
            <a:pPr lvl="0"/>
            <a:r>
              <a:rPr lang="en-US"/>
              <a:t>Speaker Name</a:t>
            </a:r>
          </a:p>
        </p:txBody>
      </p:sp>
      <p:sp>
        <p:nvSpPr>
          <p:cNvPr id="9" name="Title 1"/>
          <p:cNvSpPr>
            <a:spLocks noGrp="1"/>
          </p:cNvSpPr>
          <p:nvPr>
            <p:ph type="title" hasCustomPrompt="1"/>
          </p:nvPr>
        </p:nvSpPr>
        <p:spPr>
          <a:xfrm>
            <a:off x="274602" y="1677399"/>
            <a:ext cx="8435271" cy="1097280"/>
          </a:xfrm>
          <a:noFill/>
        </p:spPr>
        <p:txBody>
          <a:bodyPr lIns="91440" tIns="91440" rIns="91440" bIns="91440" anchor="t" anchorCtr="0"/>
          <a:lstStyle>
            <a:lvl1pPr>
              <a:defRPr sz="5999" spc="-80" baseline="0">
                <a:solidFill>
                  <a:schemeClr val="bg1"/>
                </a:solidFill>
              </a:defRPr>
            </a:lvl1pPr>
          </a:lstStyle>
          <a:p>
            <a:r>
              <a:rPr lang="en-US"/>
              <a:t>Presentation title</a:t>
            </a:r>
          </a:p>
        </p:txBody>
      </p:sp>
      <p:grpSp>
        <p:nvGrpSpPr>
          <p:cNvPr id="49" name="Group 48"/>
          <p:cNvGrpSpPr/>
          <p:nvPr/>
        </p:nvGrpSpPr>
        <p:grpSpPr>
          <a:xfrm>
            <a:off x="9256886" y="1695133"/>
            <a:ext cx="2805220" cy="3604260"/>
            <a:chOff x="4173933" y="1990739"/>
            <a:chExt cx="2457160" cy="3156656"/>
          </a:xfrm>
        </p:grpSpPr>
        <p:sp>
          <p:nvSpPr>
            <p:cNvPr id="50" name="Freeform 8"/>
            <p:cNvSpPr>
              <a:spLocks noEditPoints="1"/>
            </p:cNvSpPr>
            <p:nvPr/>
          </p:nvSpPr>
          <p:spPr bwMode="auto">
            <a:xfrm>
              <a:off x="4825097" y="2367213"/>
              <a:ext cx="1197063" cy="1195470"/>
            </a:xfrm>
            <a:custGeom>
              <a:avLst/>
              <a:gdLst>
                <a:gd name="T0" fmla="*/ 670 w 1598"/>
                <a:gd name="T1" fmla="*/ 1577 h 1597"/>
                <a:gd name="T2" fmla="*/ 760 w 1598"/>
                <a:gd name="T3" fmla="*/ 1597 h 1597"/>
                <a:gd name="T4" fmla="*/ 917 w 1598"/>
                <a:gd name="T5" fmla="*/ 1569 h 1597"/>
                <a:gd name="T6" fmla="*/ 839 w 1598"/>
                <a:gd name="T7" fmla="*/ 1597 h 1597"/>
                <a:gd name="T8" fmla="*/ 516 w 1598"/>
                <a:gd name="T9" fmla="*/ 1535 h 1597"/>
                <a:gd name="T10" fmla="*/ 602 w 1598"/>
                <a:gd name="T11" fmla="*/ 1573 h 1597"/>
                <a:gd name="T12" fmla="*/ 1070 w 1598"/>
                <a:gd name="T13" fmla="*/ 1529 h 1597"/>
                <a:gd name="T14" fmla="*/ 997 w 1598"/>
                <a:gd name="T15" fmla="*/ 1573 h 1597"/>
                <a:gd name="T16" fmla="*/ 374 w 1598"/>
                <a:gd name="T17" fmla="*/ 1463 h 1597"/>
                <a:gd name="T18" fmla="*/ 452 w 1598"/>
                <a:gd name="T19" fmla="*/ 1517 h 1597"/>
                <a:gd name="T20" fmla="*/ 1211 w 1598"/>
                <a:gd name="T21" fmla="*/ 1460 h 1597"/>
                <a:gd name="T22" fmla="*/ 1147 w 1598"/>
                <a:gd name="T23" fmla="*/ 1517 h 1597"/>
                <a:gd name="T24" fmla="*/ 249 w 1598"/>
                <a:gd name="T25" fmla="*/ 1364 h 1597"/>
                <a:gd name="T26" fmla="*/ 317 w 1598"/>
                <a:gd name="T27" fmla="*/ 1433 h 1597"/>
                <a:gd name="T28" fmla="*/ 1336 w 1598"/>
                <a:gd name="T29" fmla="*/ 1363 h 1597"/>
                <a:gd name="T30" fmla="*/ 1282 w 1598"/>
                <a:gd name="T31" fmla="*/ 1432 h 1597"/>
                <a:gd name="T32" fmla="*/ 146 w 1598"/>
                <a:gd name="T33" fmla="*/ 1242 h 1597"/>
                <a:gd name="T34" fmla="*/ 201 w 1598"/>
                <a:gd name="T35" fmla="*/ 1323 h 1597"/>
                <a:gd name="T36" fmla="*/ 1438 w 1598"/>
                <a:gd name="T37" fmla="*/ 1244 h 1597"/>
                <a:gd name="T38" fmla="*/ 1398 w 1598"/>
                <a:gd name="T39" fmla="*/ 1323 h 1597"/>
                <a:gd name="T40" fmla="*/ 71 w 1598"/>
                <a:gd name="T41" fmla="*/ 1102 h 1597"/>
                <a:gd name="T42" fmla="*/ 110 w 1598"/>
                <a:gd name="T43" fmla="*/ 1192 h 1597"/>
                <a:gd name="T44" fmla="*/ 1515 w 1598"/>
                <a:gd name="T45" fmla="*/ 1106 h 1597"/>
                <a:gd name="T46" fmla="*/ 1489 w 1598"/>
                <a:gd name="T47" fmla="*/ 1192 h 1597"/>
                <a:gd name="T48" fmla="*/ 25 w 1598"/>
                <a:gd name="T49" fmla="*/ 949 h 1597"/>
                <a:gd name="T50" fmla="*/ 47 w 1598"/>
                <a:gd name="T51" fmla="*/ 1046 h 1597"/>
                <a:gd name="T52" fmla="*/ 1562 w 1598"/>
                <a:gd name="T53" fmla="*/ 956 h 1597"/>
                <a:gd name="T54" fmla="*/ 1552 w 1598"/>
                <a:gd name="T55" fmla="*/ 1045 h 1597"/>
                <a:gd name="T56" fmla="*/ 10 w 1598"/>
                <a:gd name="T57" fmla="*/ 790 h 1597"/>
                <a:gd name="T58" fmla="*/ 16 w 1598"/>
                <a:gd name="T59" fmla="*/ 890 h 1597"/>
                <a:gd name="T60" fmla="*/ 1574 w 1598"/>
                <a:gd name="T61" fmla="*/ 878 h 1597"/>
                <a:gd name="T62" fmla="*/ 1598 w 1598"/>
                <a:gd name="T63" fmla="*/ 797 h 1597"/>
                <a:gd name="T64" fmla="*/ 14 w 1598"/>
                <a:gd name="T65" fmla="*/ 730 h 1597"/>
                <a:gd name="T66" fmla="*/ 28 w 1598"/>
                <a:gd name="T67" fmla="*/ 631 h 1597"/>
                <a:gd name="T68" fmla="*/ 1584 w 1598"/>
                <a:gd name="T69" fmla="*/ 727 h 1597"/>
                <a:gd name="T70" fmla="*/ 1581 w 1598"/>
                <a:gd name="T71" fmla="*/ 637 h 1597"/>
                <a:gd name="T72" fmla="*/ 46 w 1598"/>
                <a:gd name="T73" fmla="*/ 574 h 1597"/>
                <a:gd name="T74" fmla="*/ 78 w 1598"/>
                <a:gd name="T75" fmla="*/ 480 h 1597"/>
                <a:gd name="T76" fmla="*/ 1551 w 1598"/>
                <a:gd name="T77" fmla="*/ 571 h 1597"/>
                <a:gd name="T78" fmla="*/ 1533 w 1598"/>
                <a:gd name="T79" fmla="*/ 482 h 1597"/>
                <a:gd name="T80" fmla="*/ 109 w 1598"/>
                <a:gd name="T81" fmla="*/ 427 h 1597"/>
                <a:gd name="T82" fmla="*/ 157 w 1598"/>
                <a:gd name="T83" fmla="*/ 341 h 1597"/>
                <a:gd name="T84" fmla="*/ 1488 w 1598"/>
                <a:gd name="T85" fmla="*/ 425 h 1597"/>
                <a:gd name="T86" fmla="*/ 1454 w 1598"/>
                <a:gd name="T87" fmla="*/ 341 h 1597"/>
                <a:gd name="T88" fmla="*/ 200 w 1598"/>
                <a:gd name="T89" fmla="*/ 296 h 1597"/>
                <a:gd name="T90" fmla="*/ 262 w 1598"/>
                <a:gd name="T91" fmla="*/ 221 h 1597"/>
                <a:gd name="T92" fmla="*/ 1396 w 1598"/>
                <a:gd name="T93" fmla="*/ 294 h 1597"/>
                <a:gd name="T94" fmla="*/ 1348 w 1598"/>
                <a:gd name="T95" fmla="*/ 219 h 1597"/>
                <a:gd name="T96" fmla="*/ 315 w 1598"/>
                <a:gd name="T97" fmla="*/ 186 h 1597"/>
                <a:gd name="T98" fmla="*/ 389 w 1598"/>
                <a:gd name="T99" fmla="*/ 125 h 1597"/>
                <a:gd name="T100" fmla="*/ 1281 w 1598"/>
                <a:gd name="T101" fmla="*/ 184 h 1597"/>
                <a:gd name="T102" fmla="*/ 1220 w 1598"/>
                <a:gd name="T103" fmla="*/ 120 h 1597"/>
                <a:gd name="T104" fmla="*/ 451 w 1598"/>
                <a:gd name="T105" fmla="*/ 101 h 1597"/>
                <a:gd name="T106" fmla="*/ 533 w 1598"/>
                <a:gd name="T107" fmla="*/ 56 h 1597"/>
                <a:gd name="T108" fmla="*/ 1145 w 1598"/>
                <a:gd name="T109" fmla="*/ 100 h 1597"/>
                <a:gd name="T110" fmla="*/ 1075 w 1598"/>
                <a:gd name="T111" fmla="*/ 49 h 1597"/>
                <a:gd name="T112" fmla="*/ 600 w 1598"/>
                <a:gd name="T113" fmla="*/ 46 h 1597"/>
                <a:gd name="T114" fmla="*/ 688 w 1598"/>
                <a:gd name="T115" fmla="*/ 18 h 1597"/>
                <a:gd name="T116" fmla="*/ 995 w 1598"/>
                <a:gd name="T117" fmla="*/ 45 h 1597"/>
                <a:gd name="T118" fmla="*/ 919 w 1598"/>
                <a:gd name="T119" fmla="*/ 9 h 1597"/>
                <a:gd name="T120" fmla="*/ 758 w 1598"/>
                <a:gd name="T121" fmla="*/ 21 h 1597"/>
                <a:gd name="T122" fmla="*/ 848 w 1598"/>
                <a:gd name="T123" fmla="*/ 12 h 15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98" h="1597">
                  <a:moveTo>
                    <a:pt x="760" y="1597"/>
                  </a:moveTo>
                  <a:cubicBezTo>
                    <a:pt x="759" y="1597"/>
                    <a:pt x="759" y="1597"/>
                    <a:pt x="759" y="1597"/>
                  </a:cubicBezTo>
                  <a:cubicBezTo>
                    <a:pt x="732" y="1595"/>
                    <a:pt x="705" y="1593"/>
                    <a:pt x="679" y="1589"/>
                  </a:cubicBezTo>
                  <a:cubicBezTo>
                    <a:pt x="673" y="1588"/>
                    <a:pt x="669" y="1583"/>
                    <a:pt x="670" y="1577"/>
                  </a:cubicBezTo>
                  <a:cubicBezTo>
                    <a:pt x="671" y="1572"/>
                    <a:pt x="676" y="1568"/>
                    <a:pt x="682" y="1569"/>
                  </a:cubicBezTo>
                  <a:cubicBezTo>
                    <a:pt x="707" y="1573"/>
                    <a:pt x="734" y="1575"/>
                    <a:pt x="760" y="1577"/>
                  </a:cubicBezTo>
                  <a:cubicBezTo>
                    <a:pt x="766" y="1577"/>
                    <a:pt x="770" y="1582"/>
                    <a:pt x="770" y="1587"/>
                  </a:cubicBezTo>
                  <a:cubicBezTo>
                    <a:pt x="769" y="1592"/>
                    <a:pt x="765" y="1597"/>
                    <a:pt x="760" y="1597"/>
                  </a:cubicBezTo>
                  <a:close/>
                  <a:moveTo>
                    <a:pt x="839" y="1597"/>
                  </a:moveTo>
                  <a:cubicBezTo>
                    <a:pt x="834" y="1597"/>
                    <a:pt x="830" y="1592"/>
                    <a:pt x="829" y="1587"/>
                  </a:cubicBezTo>
                  <a:cubicBezTo>
                    <a:pt x="829" y="1582"/>
                    <a:pt x="833" y="1577"/>
                    <a:pt x="839" y="1577"/>
                  </a:cubicBezTo>
                  <a:cubicBezTo>
                    <a:pt x="865" y="1575"/>
                    <a:pt x="892" y="1573"/>
                    <a:pt x="917" y="1569"/>
                  </a:cubicBezTo>
                  <a:cubicBezTo>
                    <a:pt x="923" y="1568"/>
                    <a:pt x="928" y="1572"/>
                    <a:pt x="929" y="1577"/>
                  </a:cubicBezTo>
                  <a:cubicBezTo>
                    <a:pt x="930" y="1583"/>
                    <a:pt x="926" y="1588"/>
                    <a:pt x="920" y="1588"/>
                  </a:cubicBezTo>
                  <a:cubicBezTo>
                    <a:pt x="894" y="1592"/>
                    <a:pt x="867" y="1595"/>
                    <a:pt x="840" y="1597"/>
                  </a:cubicBezTo>
                  <a:lnTo>
                    <a:pt x="839" y="1597"/>
                  </a:lnTo>
                  <a:close/>
                  <a:moveTo>
                    <a:pt x="602" y="1573"/>
                  </a:moveTo>
                  <a:cubicBezTo>
                    <a:pt x="601" y="1573"/>
                    <a:pt x="600" y="1573"/>
                    <a:pt x="599" y="1572"/>
                  </a:cubicBezTo>
                  <a:cubicBezTo>
                    <a:pt x="573" y="1566"/>
                    <a:pt x="547" y="1558"/>
                    <a:pt x="522" y="1548"/>
                  </a:cubicBezTo>
                  <a:cubicBezTo>
                    <a:pt x="517" y="1546"/>
                    <a:pt x="514" y="1541"/>
                    <a:pt x="516" y="1535"/>
                  </a:cubicBezTo>
                  <a:cubicBezTo>
                    <a:pt x="518" y="1530"/>
                    <a:pt x="524" y="1528"/>
                    <a:pt x="529" y="1530"/>
                  </a:cubicBezTo>
                  <a:cubicBezTo>
                    <a:pt x="554" y="1539"/>
                    <a:pt x="579" y="1547"/>
                    <a:pt x="604" y="1553"/>
                  </a:cubicBezTo>
                  <a:cubicBezTo>
                    <a:pt x="610" y="1554"/>
                    <a:pt x="613" y="1560"/>
                    <a:pt x="612" y="1565"/>
                  </a:cubicBezTo>
                  <a:cubicBezTo>
                    <a:pt x="610" y="1570"/>
                    <a:pt x="606" y="1573"/>
                    <a:pt x="602" y="1573"/>
                  </a:cubicBezTo>
                  <a:close/>
                  <a:moveTo>
                    <a:pt x="997" y="1573"/>
                  </a:moveTo>
                  <a:cubicBezTo>
                    <a:pt x="993" y="1573"/>
                    <a:pt x="989" y="1570"/>
                    <a:pt x="987" y="1565"/>
                  </a:cubicBezTo>
                  <a:cubicBezTo>
                    <a:pt x="986" y="1560"/>
                    <a:pt x="989" y="1554"/>
                    <a:pt x="995" y="1553"/>
                  </a:cubicBezTo>
                  <a:cubicBezTo>
                    <a:pt x="1020" y="1546"/>
                    <a:pt x="1045" y="1538"/>
                    <a:pt x="1070" y="1529"/>
                  </a:cubicBezTo>
                  <a:cubicBezTo>
                    <a:pt x="1075" y="1527"/>
                    <a:pt x="1081" y="1530"/>
                    <a:pt x="1083" y="1535"/>
                  </a:cubicBezTo>
                  <a:cubicBezTo>
                    <a:pt x="1085" y="1540"/>
                    <a:pt x="1082" y="1546"/>
                    <a:pt x="1077" y="1548"/>
                  </a:cubicBezTo>
                  <a:cubicBezTo>
                    <a:pt x="1052" y="1557"/>
                    <a:pt x="1026" y="1565"/>
                    <a:pt x="1000" y="1572"/>
                  </a:cubicBezTo>
                  <a:cubicBezTo>
                    <a:pt x="999" y="1572"/>
                    <a:pt x="998" y="1573"/>
                    <a:pt x="997" y="1573"/>
                  </a:cubicBezTo>
                  <a:close/>
                  <a:moveTo>
                    <a:pt x="452" y="1517"/>
                  </a:moveTo>
                  <a:cubicBezTo>
                    <a:pt x="451" y="1517"/>
                    <a:pt x="449" y="1517"/>
                    <a:pt x="448" y="1516"/>
                  </a:cubicBezTo>
                  <a:cubicBezTo>
                    <a:pt x="424" y="1505"/>
                    <a:pt x="400" y="1491"/>
                    <a:pt x="377" y="1477"/>
                  </a:cubicBezTo>
                  <a:cubicBezTo>
                    <a:pt x="372" y="1474"/>
                    <a:pt x="371" y="1468"/>
                    <a:pt x="374" y="1463"/>
                  </a:cubicBezTo>
                  <a:cubicBezTo>
                    <a:pt x="377" y="1459"/>
                    <a:pt x="383" y="1457"/>
                    <a:pt x="388" y="1460"/>
                  </a:cubicBezTo>
                  <a:cubicBezTo>
                    <a:pt x="410" y="1474"/>
                    <a:pt x="433" y="1487"/>
                    <a:pt x="457" y="1498"/>
                  </a:cubicBezTo>
                  <a:cubicBezTo>
                    <a:pt x="462" y="1501"/>
                    <a:pt x="464" y="1507"/>
                    <a:pt x="461" y="1512"/>
                  </a:cubicBezTo>
                  <a:cubicBezTo>
                    <a:pt x="459" y="1515"/>
                    <a:pt x="456" y="1517"/>
                    <a:pt x="452" y="1517"/>
                  </a:cubicBezTo>
                  <a:close/>
                  <a:moveTo>
                    <a:pt x="1147" y="1517"/>
                  </a:moveTo>
                  <a:cubicBezTo>
                    <a:pt x="1143" y="1517"/>
                    <a:pt x="1139" y="1515"/>
                    <a:pt x="1138" y="1511"/>
                  </a:cubicBezTo>
                  <a:cubicBezTo>
                    <a:pt x="1135" y="1506"/>
                    <a:pt x="1137" y="1501"/>
                    <a:pt x="1142" y="1498"/>
                  </a:cubicBezTo>
                  <a:cubicBezTo>
                    <a:pt x="1166" y="1487"/>
                    <a:pt x="1189" y="1474"/>
                    <a:pt x="1211" y="1460"/>
                  </a:cubicBezTo>
                  <a:cubicBezTo>
                    <a:pt x="1216" y="1457"/>
                    <a:pt x="1222" y="1458"/>
                    <a:pt x="1225" y="1463"/>
                  </a:cubicBezTo>
                  <a:cubicBezTo>
                    <a:pt x="1228" y="1468"/>
                    <a:pt x="1226" y="1474"/>
                    <a:pt x="1222" y="1477"/>
                  </a:cubicBezTo>
                  <a:cubicBezTo>
                    <a:pt x="1199" y="1491"/>
                    <a:pt x="1175" y="1504"/>
                    <a:pt x="1151" y="1516"/>
                  </a:cubicBezTo>
                  <a:cubicBezTo>
                    <a:pt x="1150" y="1517"/>
                    <a:pt x="1148" y="1517"/>
                    <a:pt x="1147" y="1517"/>
                  </a:cubicBezTo>
                  <a:close/>
                  <a:moveTo>
                    <a:pt x="317" y="1433"/>
                  </a:moveTo>
                  <a:cubicBezTo>
                    <a:pt x="315" y="1433"/>
                    <a:pt x="313" y="1432"/>
                    <a:pt x="311" y="1431"/>
                  </a:cubicBezTo>
                  <a:cubicBezTo>
                    <a:pt x="289" y="1414"/>
                    <a:pt x="269" y="1397"/>
                    <a:pt x="249" y="1378"/>
                  </a:cubicBezTo>
                  <a:cubicBezTo>
                    <a:pt x="245" y="1374"/>
                    <a:pt x="245" y="1368"/>
                    <a:pt x="249" y="1364"/>
                  </a:cubicBezTo>
                  <a:cubicBezTo>
                    <a:pt x="253" y="1360"/>
                    <a:pt x="259" y="1360"/>
                    <a:pt x="263" y="1364"/>
                  </a:cubicBezTo>
                  <a:cubicBezTo>
                    <a:pt x="282" y="1382"/>
                    <a:pt x="302" y="1399"/>
                    <a:pt x="323" y="1415"/>
                  </a:cubicBezTo>
                  <a:cubicBezTo>
                    <a:pt x="327" y="1418"/>
                    <a:pt x="328" y="1425"/>
                    <a:pt x="325" y="1429"/>
                  </a:cubicBezTo>
                  <a:cubicBezTo>
                    <a:pt x="323" y="1432"/>
                    <a:pt x="320" y="1433"/>
                    <a:pt x="317" y="1433"/>
                  </a:cubicBezTo>
                  <a:close/>
                  <a:moveTo>
                    <a:pt x="1282" y="1432"/>
                  </a:moveTo>
                  <a:cubicBezTo>
                    <a:pt x="1279" y="1432"/>
                    <a:pt x="1276" y="1431"/>
                    <a:pt x="1274" y="1429"/>
                  </a:cubicBezTo>
                  <a:cubicBezTo>
                    <a:pt x="1271" y="1424"/>
                    <a:pt x="1271" y="1418"/>
                    <a:pt x="1276" y="1415"/>
                  </a:cubicBezTo>
                  <a:cubicBezTo>
                    <a:pt x="1297" y="1399"/>
                    <a:pt x="1317" y="1381"/>
                    <a:pt x="1336" y="1363"/>
                  </a:cubicBezTo>
                  <a:cubicBezTo>
                    <a:pt x="1340" y="1359"/>
                    <a:pt x="1346" y="1360"/>
                    <a:pt x="1350" y="1364"/>
                  </a:cubicBezTo>
                  <a:cubicBezTo>
                    <a:pt x="1354" y="1368"/>
                    <a:pt x="1353" y="1374"/>
                    <a:pt x="1349" y="1378"/>
                  </a:cubicBezTo>
                  <a:cubicBezTo>
                    <a:pt x="1330" y="1396"/>
                    <a:pt x="1309" y="1414"/>
                    <a:pt x="1288" y="1430"/>
                  </a:cubicBezTo>
                  <a:cubicBezTo>
                    <a:pt x="1286" y="1432"/>
                    <a:pt x="1284" y="1432"/>
                    <a:pt x="1282" y="1432"/>
                  </a:cubicBezTo>
                  <a:close/>
                  <a:moveTo>
                    <a:pt x="201" y="1323"/>
                  </a:moveTo>
                  <a:cubicBezTo>
                    <a:pt x="198" y="1323"/>
                    <a:pt x="196" y="1322"/>
                    <a:pt x="194" y="1320"/>
                  </a:cubicBezTo>
                  <a:cubicBezTo>
                    <a:pt x="176" y="1299"/>
                    <a:pt x="159" y="1278"/>
                    <a:pt x="144" y="1256"/>
                  </a:cubicBezTo>
                  <a:cubicBezTo>
                    <a:pt x="141" y="1251"/>
                    <a:pt x="142" y="1245"/>
                    <a:pt x="146" y="1242"/>
                  </a:cubicBezTo>
                  <a:cubicBezTo>
                    <a:pt x="151" y="1239"/>
                    <a:pt x="157" y="1240"/>
                    <a:pt x="160" y="1244"/>
                  </a:cubicBezTo>
                  <a:cubicBezTo>
                    <a:pt x="175" y="1266"/>
                    <a:pt x="192" y="1287"/>
                    <a:pt x="209" y="1307"/>
                  </a:cubicBezTo>
                  <a:cubicBezTo>
                    <a:pt x="212" y="1311"/>
                    <a:pt x="212" y="1317"/>
                    <a:pt x="208" y="1321"/>
                  </a:cubicBezTo>
                  <a:cubicBezTo>
                    <a:pt x="206" y="1322"/>
                    <a:pt x="203" y="1323"/>
                    <a:pt x="201" y="1323"/>
                  </a:cubicBezTo>
                  <a:close/>
                  <a:moveTo>
                    <a:pt x="1398" y="1323"/>
                  </a:moveTo>
                  <a:cubicBezTo>
                    <a:pt x="1395" y="1323"/>
                    <a:pt x="1393" y="1322"/>
                    <a:pt x="1391" y="1320"/>
                  </a:cubicBezTo>
                  <a:cubicBezTo>
                    <a:pt x="1387" y="1317"/>
                    <a:pt x="1386" y="1310"/>
                    <a:pt x="1390" y="1306"/>
                  </a:cubicBezTo>
                  <a:cubicBezTo>
                    <a:pt x="1407" y="1286"/>
                    <a:pt x="1423" y="1265"/>
                    <a:pt x="1438" y="1244"/>
                  </a:cubicBezTo>
                  <a:cubicBezTo>
                    <a:pt x="1441" y="1239"/>
                    <a:pt x="1448" y="1238"/>
                    <a:pt x="1452" y="1241"/>
                  </a:cubicBezTo>
                  <a:cubicBezTo>
                    <a:pt x="1457" y="1244"/>
                    <a:pt x="1458" y="1251"/>
                    <a:pt x="1455" y="1255"/>
                  </a:cubicBezTo>
                  <a:cubicBezTo>
                    <a:pt x="1439" y="1277"/>
                    <a:pt x="1423" y="1299"/>
                    <a:pt x="1405" y="1319"/>
                  </a:cubicBezTo>
                  <a:cubicBezTo>
                    <a:pt x="1403" y="1321"/>
                    <a:pt x="1400" y="1323"/>
                    <a:pt x="1398" y="1323"/>
                  </a:cubicBezTo>
                  <a:close/>
                  <a:moveTo>
                    <a:pt x="110" y="1192"/>
                  </a:moveTo>
                  <a:cubicBezTo>
                    <a:pt x="106" y="1192"/>
                    <a:pt x="103" y="1191"/>
                    <a:pt x="101" y="1187"/>
                  </a:cubicBezTo>
                  <a:cubicBezTo>
                    <a:pt x="88" y="1164"/>
                    <a:pt x="76" y="1139"/>
                    <a:pt x="65" y="1115"/>
                  </a:cubicBezTo>
                  <a:cubicBezTo>
                    <a:pt x="63" y="1110"/>
                    <a:pt x="65" y="1104"/>
                    <a:pt x="71" y="1102"/>
                  </a:cubicBezTo>
                  <a:cubicBezTo>
                    <a:pt x="76" y="1099"/>
                    <a:pt x="81" y="1102"/>
                    <a:pt x="84" y="1107"/>
                  </a:cubicBezTo>
                  <a:cubicBezTo>
                    <a:pt x="94" y="1131"/>
                    <a:pt x="106" y="1155"/>
                    <a:pt x="119" y="1177"/>
                  </a:cubicBezTo>
                  <a:cubicBezTo>
                    <a:pt x="121" y="1182"/>
                    <a:pt x="119" y="1188"/>
                    <a:pt x="115" y="1191"/>
                  </a:cubicBezTo>
                  <a:cubicBezTo>
                    <a:pt x="113" y="1192"/>
                    <a:pt x="111" y="1192"/>
                    <a:pt x="110" y="1192"/>
                  </a:cubicBezTo>
                  <a:close/>
                  <a:moveTo>
                    <a:pt x="1489" y="1192"/>
                  </a:moveTo>
                  <a:cubicBezTo>
                    <a:pt x="1487" y="1192"/>
                    <a:pt x="1485" y="1191"/>
                    <a:pt x="1484" y="1190"/>
                  </a:cubicBezTo>
                  <a:cubicBezTo>
                    <a:pt x="1479" y="1188"/>
                    <a:pt x="1477" y="1182"/>
                    <a:pt x="1480" y="1177"/>
                  </a:cubicBezTo>
                  <a:cubicBezTo>
                    <a:pt x="1493" y="1154"/>
                    <a:pt x="1505" y="1130"/>
                    <a:pt x="1515" y="1106"/>
                  </a:cubicBezTo>
                  <a:cubicBezTo>
                    <a:pt x="1517" y="1101"/>
                    <a:pt x="1523" y="1099"/>
                    <a:pt x="1528" y="1101"/>
                  </a:cubicBezTo>
                  <a:cubicBezTo>
                    <a:pt x="1533" y="1103"/>
                    <a:pt x="1535" y="1109"/>
                    <a:pt x="1533" y="1114"/>
                  </a:cubicBezTo>
                  <a:cubicBezTo>
                    <a:pt x="1523" y="1139"/>
                    <a:pt x="1511" y="1163"/>
                    <a:pt x="1498" y="1186"/>
                  </a:cubicBezTo>
                  <a:cubicBezTo>
                    <a:pt x="1496" y="1190"/>
                    <a:pt x="1492" y="1192"/>
                    <a:pt x="1489" y="1192"/>
                  </a:cubicBezTo>
                  <a:close/>
                  <a:moveTo>
                    <a:pt x="47" y="1046"/>
                  </a:moveTo>
                  <a:cubicBezTo>
                    <a:pt x="42" y="1046"/>
                    <a:pt x="38" y="1043"/>
                    <a:pt x="37" y="1039"/>
                  </a:cubicBezTo>
                  <a:cubicBezTo>
                    <a:pt x="29" y="1013"/>
                    <a:pt x="22" y="987"/>
                    <a:pt x="17" y="961"/>
                  </a:cubicBezTo>
                  <a:cubicBezTo>
                    <a:pt x="16" y="955"/>
                    <a:pt x="19" y="950"/>
                    <a:pt x="25" y="949"/>
                  </a:cubicBezTo>
                  <a:cubicBezTo>
                    <a:pt x="30" y="948"/>
                    <a:pt x="35" y="951"/>
                    <a:pt x="36" y="957"/>
                  </a:cubicBezTo>
                  <a:cubicBezTo>
                    <a:pt x="42" y="982"/>
                    <a:pt x="48" y="1008"/>
                    <a:pt x="56" y="1033"/>
                  </a:cubicBezTo>
                  <a:cubicBezTo>
                    <a:pt x="58" y="1038"/>
                    <a:pt x="55" y="1044"/>
                    <a:pt x="50" y="1045"/>
                  </a:cubicBezTo>
                  <a:cubicBezTo>
                    <a:pt x="49" y="1046"/>
                    <a:pt x="48" y="1046"/>
                    <a:pt x="47" y="1046"/>
                  </a:cubicBezTo>
                  <a:close/>
                  <a:moveTo>
                    <a:pt x="1552" y="1045"/>
                  </a:moveTo>
                  <a:cubicBezTo>
                    <a:pt x="1551" y="1045"/>
                    <a:pt x="1550" y="1045"/>
                    <a:pt x="1549" y="1045"/>
                  </a:cubicBezTo>
                  <a:cubicBezTo>
                    <a:pt x="1543" y="1043"/>
                    <a:pt x="1541" y="1037"/>
                    <a:pt x="1542" y="1032"/>
                  </a:cubicBezTo>
                  <a:cubicBezTo>
                    <a:pt x="1550" y="1007"/>
                    <a:pt x="1557" y="981"/>
                    <a:pt x="1562" y="956"/>
                  </a:cubicBezTo>
                  <a:cubicBezTo>
                    <a:pt x="1563" y="950"/>
                    <a:pt x="1568" y="947"/>
                    <a:pt x="1574" y="948"/>
                  </a:cubicBezTo>
                  <a:cubicBezTo>
                    <a:pt x="1579" y="949"/>
                    <a:pt x="1583" y="954"/>
                    <a:pt x="1582" y="960"/>
                  </a:cubicBezTo>
                  <a:cubicBezTo>
                    <a:pt x="1576" y="986"/>
                    <a:pt x="1569" y="1012"/>
                    <a:pt x="1561" y="1038"/>
                  </a:cubicBezTo>
                  <a:cubicBezTo>
                    <a:pt x="1560" y="1042"/>
                    <a:pt x="1556" y="1045"/>
                    <a:pt x="1552" y="1045"/>
                  </a:cubicBezTo>
                  <a:close/>
                  <a:moveTo>
                    <a:pt x="15" y="890"/>
                  </a:moveTo>
                  <a:cubicBezTo>
                    <a:pt x="9" y="890"/>
                    <a:pt x="5" y="886"/>
                    <a:pt x="5" y="881"/>
                  </a:cubicBezTo>
                  <a:cubicBezTo>
                    <a:pt x="2" y="854"/>
                    <a:pt x="1" y="827"/>
                    <a:pt x="0" y="800"/>
                  </a:cubicBezTo>
                  <a:cubicBezTo>
                    <a:pt x="0" y="794"/>
                    <a:pt x="5" y="790"/>
                    <a:pt x="10" y="790"/>
                  </a:cubicBezTo>
                  <a:cubicBezTo>
                    <a:pt x="10" y="790"/>
                    <a:pt x="10" y="790"/>
                    <a:pt x="10" y="790"/>
                  </a:cubicBezTo>
                  <a:cubicBezTo>
                    <a:pt x="16" y="790"/>
                    <a:pt x="20" y="794"/>
                    <a:pt x="20" y="800"/>
                  </a:cubicBezTo>
                  <a:cubicBezTo>
                    <a:pt x="21" y="826"/>
                    <a:pt x="22" y="853"/>
                    <a:pt x="24" y="879"/>
                  </a:cubicBezTo>
                  <a:cubicBezTo>
                    <a:pt x="25" y="884"/>
                    <a:pt x="21" y="889"/>
                    <a:pt x="16" y="890"/>
                  </a:cubicBezTo>
                  <a:lnTo>
                    <a:pt x="15" y="890"/>
                  </a:lnTo>
                  <a:close/>
                  <a:moveTo>
                    <a:pt x="1584" y="889"/>
                  </a:moveTo>
                  <a:cubicBezTo>
                    <a:pt x="1583" y="889"/>
                    <a:pt x="1583" y="889"/>
                    <a:pt x="1583" y="889"/>
                  </a:cubicBezTo>
                  <a:cubicBezTo>
                    <a:pt x="1577" y="888"/>
                    <a:pt x="1573" y="883"/>
                    <a:pt x="1574" y="878"/>
                  </a:cubicBezTo>
                  <a:cubicBezTo>
                    <a:pt x="1576" y="852"/>
                    <a:pt x="1578" y="825"/>
                    <a:pt x="1578" y="799"/>
                  </a:cubicBezTo>
                  <a:cubicBezTo>
                    <a:pt x="1578" y="797"/>
                    <a:pt x="1578" y="797"/>
                    <a:pt x="1578" y="797"/>
                  </a:cubicBezTo>
                  <a:cubicBezTo>
                    <a:pt x="1578" y="792"/>
                    <a:pt x="1582" y="787"/>
                    <a:pt x="1588" y="787"/>
                  </a:cubicBezTo>
                  <a:cubicBezTo>
                    <a:pt x="1593" y="787"/>
                    <a:pt x="1598" y="792"/>
                    <a:pt x="1598" y="797"/>
                  </a:cubicBezTo>
                  <a:cubicBezTo>
                    <a:pt x="1598" y="799"/>
                    <a:pt x="1598" y="799"/>
                    <a:pt x="1598" y="799"/>
                  </a:cubicBezTo>
                  <a:cubicBezTo>
                    <a:pt x="1598" y="826"/>
                    <a:pt x="1596" y="853"/>
                    <a:pt x="1594" y="880"/>
                  </a:cubicBezTo>
                  <a:cubicBezTo>
                    <a:pt x="1593" y="885"/>
                    <a:pt x="1589" y="889"/>
                    <a:pt x="1584" y="889"/>
                  </a:cubicBezTo>
                  <a:close/>
                  <a:moveTo>
                    <a:pt x="14" y="730"/>
                  </a:moveTo>
                  <a:cubicBezTo>
                    <a:pt x="13" y="730"/>
                    <a:pt x="13" y="730"/>
                    <a:pt x="13" y="730"/>
                  </a:cubicBezTo>
                  <a:cubicBezTo>
                    <a:pt x="8" y="730"/>
                    <a:pt x="4" y="725"/>
                    <a:pt x="4" y="719"/>
                  </a:cubicBezTo>
                  <a:cubicBezTo>
                    <a:pt x="7" y="692"/>
                    <a:pt x="11" y="665"/>
                    <a:pt x="16" y="639"/>
                  </a:cubicBezTo>
                  <a:cubicBezTo>
                    <a:pt x="18" y="634"/>
                    <a:pt x="23" y="630"/>
                    <a:pt x="28" y="631"/>
                  </a:cubicBezTo>
                  <a:cubicBezTo>
                    <a:pt x="34" y="632"/>
                    <a:pt x="37" y="638"/>
                    <a:pt x="36" y="643"/>
                  </a:cubicBezTo>
                  <a:cubicBezTo>
                    <a:pt x="31" y="669"/>
                    <a:pt x="27" y="695"/>
                    <a:pt x="24" y="721"/>
                  </a:cubicBezTo>
                  <a:cubicBezTo>
                    <a:pt x="24" y="726"/>
                    <a:pt x="19" y="730"/>
                    <a:pt x="14" y="730"/>
                  </a:cubicBezTo>
                  <a:close/>
                  <a:moveTo>
                    <a:pt x="1584" y="727"/>
                  </a:moveTo>
                  <a:cubicBezTo>
                    <a:pt x="1578" y="727"/>
                    <a:pt x="1574" y="724"/>
                    <a:pt x="1574" y="718"/>
                  </a:cubicBezTo>
                  <a:cubicBezTo>
                    <a:pt x="1571" y="692"/>
                    <a:pt x="1567" y="666"/>
                    <a:pt x="1562" y="641"/>
                  </a:cubicBezTo>
                  <a:cubicBezTo>
                    <a:pt x="1560" y="635"/>
                    <a:pt x="1564" y="630"/>
                    <a:pt x="1569" y="629"/>
                  </a:cubicBezTo>
                  <a:cubicBezTo>
                    <a:pt x="1575" y="628"/>
                    <a:pt x="1580" y="631"/>
                    <a:pt x="1581" y="637"/>
                  </a:cubicBezTo>
                  <a:cubicBezTo>
                    <a:pt x="1587" y="663"/>
                    <a:pt x="1591" y="690"/>
                    <a:pt x="1593" y="716"/>
                  </a:cubicBezTo>
                  <a:cubicBezTo>
                    <a:pt x="1594" y="722"/>
                    <a:pt x="1590" y="727"/>
                    <a:pt x="1585" y="727"/>
                  </a:cubicBezTo>
                  <a:lnTo>
                    <a:pt x="1584" y="727"/>
                  </a:lnTo>
                  <a:close/>
                  <a:moveTo>
                    <a:pt x="46" y="574"/>
                  </a:moveTo>
                  <a:cubicBezTo>
                    <a:pt x="45" y="574"/>
                    <a:pt x="44" y="574"/>
                    <a:pt x="43" y="573"/>
                  </a:cubicBezTo>
                  <a:cubicBezTo>
                    <a:pt x="38" y="572"/>
                    <a:pt x="35" y="566"/>
                    <a:pt x="37" y="561"/>
                  </a:cubicBezTo>
                  <a:cubicBezTo>
                    <a:pt x="45" y="535"/>
                    <a:pt x="54" y="510"/>
                    <a:pt x="65" y="485"/>
                  </a:cubicBezTo>
                  <a:cubicBezTo>
                    <a:pt x="67" y="480"/>
                    <a:pt x="73" y="477"/>
                    <a:pt x="78" y="480"/>
                  </a:cubicBezTo>
                  <a:cubicBezTo>
                    <a:pt x="83" y="482"/>
                    <a:pt x="85" y="488"/>
                    <a:pt x="83" y="493"/>
                  </a:cubicBezTo>
                  <a:cubicBezTo>
                    <a:pt x="73" y="517"/>
                    <a:pt x="63" y="542"/>
                    <a:pt x="56" y="567"/>
                  </a:cubicBezTo>
                  <a:cubicBezTo>
                    <a:pt x="54" y="571"/>
                    <a:pt x="50" y="574"/>
                    <a:pt x="46" y="574"/>
                  </a:cubicBezTo>
                  <a:close/>
                  <a:moveTo>
                    <a:pt x="1551" y="571"/>
                  </a:moveTo>
                  <a:cubicBezTo>
                    <a:pt x="1547" y="571"/>
                    <a:pt x="1543" y="569"/>
                    <a:pt x="1542" y="564"/>
                  </a:cubicBezTo>
                  <a:cubicBezTo>
                    <a:pt x="1534" y="539"/>
                    <a:pt x="1525" y="514"/>
                    <a:pt x="1514" y="490"/>
                  </a:cubicBezTo>
                  <a:cubicBezTo>
                    <a:pt x="1512" y="485"/>
                    <a:pt x="1514" y="479"/>
                    <a:pt x="1519" y="477"/>
                  </a:cubicBezTo>
                  <a:cubicBezTo>
                    <a:pt x="1524" y="475"/>
                    <a:pt x="1530" y="477"/>
                    <a:pt x="1533" y="482"/>
                  </a:cubicBezTo>
                  <a:cubicBezTo>
                    <a:pt x="1543" y="507"/>
                    <a:pt x="1553" y="533"/>
                    <a:pt x="1561" y="558"/>
                  </a:cubicBezTo>
                  <a:cubicBezTo>
                    <a:pt x="1562" y="564"/>
                    <a:pt x="1560" y="569"/>
                    <a:pt x="1554" y="571"/>
                  </a:cubicBezTo>
                  <a:cubicBezTo>
                    <a:pt x="1553" y="571"/>
                    <a:pt x="1552" y="571"/>
                    <a:pt x="1551" y="571"/>
                  </a:cubicBezTo>
                  <a:close/>
                  <a:moveTo>
                    <a:pt x="109" y="427"/>
                  </a:moveTo>
                  <a:cubicBezTo>
                    <a:pt x="107" y="427"/>
                    <a:pt x="106" y="427"/>
                    <a:pt x="104" y="426"/>
                  </a:cubicBezTo>
                  <a:cubicBezTo>
                    <a:pt x="99" y="423"/>
                    <a:pt x="98" y="417"/>
                    <a:pt x="100" y="412"/>
                  </a:cubicBezTo>
                  <a:cubicBezTo>
                    <a:pt x="113" y="389"/>
                    <a:pt x="128" y="366"/>
                    <a:pt x="143" y="344"/>
                  </a:cubicBezTo>
                  <a:cubicBezTo>
                    <a:pt x="146" y="339"/>
                    <a:pt x="152" y="338"/>
                    <a:pt x="157" y="341"/>
                  </a:cubicBezTo>
                  <a:cubicBezTo>
                    <a:pt x="161" y="344"/>
                    <a:pt x="163" y="350"/>
                    <a:pt x="159" y="355"/>
                  </a:cubicBezTo>
                  <a:cubicBezTo>
                    <a:pt x="144" y="377"/>
                    <a:pt x="130" y="399"/>
                    <a:pt x="118" y="422"/>
                  </a:cubicBezTo>
                  <a:cubicBezTo>
                    <a:pt x="116" y="425"/>
                    <a:pt x="112" y="427"/>
                    <a:pt x="109" y="427"/>
                  </a:cubicBezTo>
                  <a:close/>
                  <a:moveTo>
                    <a:pt x="1488" y="425"/>
                  </a:moveTo>
                  <a:cubicBezTo>
                    <a:pt x="1484" y="425"/>
                    <a:pt x="1481" y="423"/>
                    <a:pt x="1479" y="420"/>
                  </a:cubicBezTo>
                  <a:cubicBezTo>
                    <a:pt x="1466" y="397"/>
                    <a:pt x="1452" y="374"/>
                    <a:pt x="1437" y="353"/>
                  </a:cubicBezTo>
                  <a:cubicBezTo>
                    <a:pt x="1434" y="348"/>
                    <a:pt x="1435" y="342"/>
                    <a:pt x="1440" y="339"/>
                  </a:cubicBezTo>
                  <a:cubicBezTo>
                    <a:pt x="1444" y="336"/>
                    <a:pt x="1451" y="337"/>
                    <a:pt x="1454" y="341"/>
                  </a:cubicBezTo>
                  <a:cubicBezTo>
                    <a:pt x="1469" y="363"/>
                    <a:pt x="1484" y="387"/>
                    <a:pt x="1497" y="410"/>
                  </a:cubicBezTo>
                  <a:cubicBezTo>
                    <a:pt x="1499" y="415"/>
                    <a:pt x="1498" y="421"/>
                    <a:pt x="1493" y="424"/>
                  </a:cubicBezTo>
                  <a:cubicBezTo>
                    <a:pt x="1491" y="424"/>
                    <a:pt x="1490" y="425"/>
                    <a:pt x="1488" y="425"/>
                  </a:cubicBezTo>
                  <a:close/>
                  <a:moveTo>
                    <a:pt x="200" y="296"/>
                  </a:moveTo>
                  <a:cubicBezTo>
                    <a:pt x="198" y="296"/>
                    <a:pt x="195" y="295"/>
                    <a:pt x="194" y="294"/>
                  </a:cubicBezTo>
                  <a:cubicBezTo>
                    <a:pt x="189" y="290"/>
                    <a:pt x="189" y="284"/>
                    <a:pt x="192" y="280"/>
                  </a:cubicBezTo>
                  <a:cubicBezTo>
                    <a:pt x="210" y="259"/>
                    <a:pt x="229" y="239"/>
                    <a:pt x="248" y="221"/>
                  </a:cubicBezTo>
                  <a:cubicBezTo>
                    <a:pt x="252" y="217"/>
                    <a:pt x="258" y="217"/>
                    <a:pt x="262" y="221"/>
                  </a:cubicBezTo>
                  <a:cubicBezTo>
                    <a:pt x="266" y="225"/>
                    <a:pt x="266" y="232"/>
                    <a:pt x="262" y="235"/>
                  </a:cubicBezTo>
                  <a:cubicBezTo>
                    <a:pt x="243" y="253"/>
                    <a:pt x="225" y="273"/>
                    <a:pt x="208" y="293"/>
                  </a:cubicBezTo>
                  <a:cubicBezTo>
                    <a:pt x="206" y="295"/>
                    <a:pt x="203" y="296"/>
                    <a:pt x="200" y="296"/>
                  </a:cubicBezTo>
                  <a:close/>
                  <a:moveTo>
                    <a:pt x="1396" y="294"/>
                  </a:moveTo>
                  <a:cubicBezTo>
                    <a:pt x="1394" y="294"/>
                    <a:pt x="1391" y="293"/>
                    <a:pt x="1389" y="291"/>
                  </a:cubicBezTo>
                  <a:cubicBezTo>
                    <a:pt x="1372" y="271"/>
                    <a:pt x="1353" y="252"/>
                    <a:pt x="1334" y="234"/>
                  </a:cubicBezTo>
                  <a:cubicBezTo>
                    <a:pt x="1330" y="230"/>
                    <a:pt x="1330" y="223"/>
                    <a:pt x="1334" y="219"/>
                  </a:cubicBezTo>
                  <a:cubicBezTo>
                    <a:pt x="1338" y="215"/>
                    <a:pt x="1344" y="215"/>
                    <a:pt x="1348" y="219"/>
                  </a:cubicBezTo>
                  <a:cubicBezTo>
                    <a:pt x="1368" y="238"/>
                    <a:pt x="1387" y="257"/>
                    <a:pt x="1404" y="278"/>
                  </a:cubicBezTo>
                  <a:cubicBezTo>
                    <a:pt x="1408" y="282"/>
                    <a:pt x="1407" y="288"/>
                    <a:pt x="1403" y="292"/>
                  </a:cubicBezTo>
                  <a:cubicBezTo>
                    <a:pt x="1401" y="293"/>
                    <a:pt x="1399" y="294"/>
                    <a:pt x="1396" y="294"/>
                  </a:cubicBezTo>
                  <a:close/>
                  <a:moveTo>
                    <a:pt x="315" y="186"/>
                  </a:moveTo>
                  <a:cubicBezTo>
                    <a:pt x="313" y="186"/>
                    <a:pt x="310" y="185"/>
                    <a:pt x="308" y="182"/>
                  </a:cubicBezTo>
                  <a:cubicBezTo>
                    <a:pt x="304" y="178"/>
                    <a:pt x="305" y="172"/>
                    <a:pt x="309" y="168"/>
                  </a:cubicBezTo>
                  <a:cubicBezTo>
                    <a:pt x="331" y="152"/>
                    <a:pt x="353" y="136"/>
                    <a:pt x="376" y="122"/>
                  </a:cubicBezTo>
                  <a:cubicBezTo>
                    <a:pt x="380" y="119"/>
                    <a:pt x="386" y="120"/>
                    <a:pt x="389" y="125"/>
                  </a:cubicBezTo>
                  <a:cubicBezTo>
                    <a:pt x="392" y="130"/>
                    <a:pt x="391" y="136"/>
                    <a:pt x="386" y="139"/>
                  </a:cubicBezTo>
                  <a:cubicBezTo>
                    <a:pt x="364" y="153"/>
                    <a:pt x="342" y="168"/>
                    <a:pt x="322" y="184"/>
                  </a:cubicBezTo>
                  <a:cubicBezTo>
                    <a:pt x="320" y="185"/>
                    <a:pt x="318" y="186"/>
                    <a:pt x="315" y="186"/>
                  </a:cubicBezTo>
                  <a:close/>
                  <a:moveTo>
                    <a:pt x="1281" y="184"/>
                  </a:moveTo>
                  <a:cubicBezTo>
                    <a:pt x="1279" y="184"/>
                    <a:pt x="1276" y="184"/>
                    <a:pt x="1275" y="182"/>
                  </a:cubicBezTo>
                  <a:cubicBezTo>
                    <a:pt x="1254" y="166"/>
                    <a:pt x="1232" y="151"/>
                    <a:pt x="1210" y="137"/>
                  </a:cubicBezTo>
                  <a:cubicBezTo>
                    <a:pt x="1205" y="134"/>
                    <a:pt x="1204" y="128"/>
                    <a:pt x="1207" y="124"/>
                  </a:cubicBezTo>
                  <a:cubicBezTo>
                    <a:pt x="1209" y="119"/>
                    <a:pt x="1216" y="117"/>
                    <a:pt x="1220" y="120"/>
                  </a:cubicBezTo>
                  <a:cubicBezTo>
                    <a:pt x="1243" y="135"/>
                    <a:pt x="1265" y="150"/>
                    <a:pt x="1287" y="167"/>
                  </a:cubicBezTo>
                  <a:cubicBezTo>
                    <a:pt x="1291" y="170"/>
                    <a:pt x="1292" y="176"/>
                    <a:pt x="1289" y="181"/>
                  </a:cubicBezTo>
                  <a:cubicBezTo>
                    <a:pt x="1287" y="183"/>
                    <a:pt x="1284" y="184"/>
                    <a:pt x="1281" y="184"/>
                  </a:cubicBezTo>
                  <a:close/>
                  <a:moveTo>
                    <a:pt x="451" y="101"/>
                  </a:moveTo>
                  <a:cubicBezTo>
                    <a:pt x="447" y="101"/>
                    <a:pt x="443" y="99"/>
                    <a:pt x="442" y="96"/>
                  </a:cubicBezTo>
                  <a:cubicBezTo>
                    <a:pt x="439" y="91"/>
                    <a:pt x="441" y="85"/>
                    <a:pt x="446" y="82"/>
                  </a:cubicBezTo>
                  <a:cubicBezTo>
                    <a:pt x="470" y="70"/>
                    <a:pt x="495" y="60"/>
                    <a:pt x="521" y="50"/>
                  </a:cubicBezTo>
                  <a:cubicBezTo>
                    <a:pt x="526" y="48"/>
                    <a:pt x="531" y="51"/>
                    <a:pt x="533" y="56"/>
                  </a:cubicBezTo>
                  <a:cubicBezTo>
                    <a:pt x="535" y="61"/>
                    <a:pt x="533" y="67"/>
                    <a:pt x="527" y="69"/>
                  </a:cubicBezTo>
                  <a:cubicBezTo>
                    <a:pt x="503" y="78"/>
                    <a:pt x="479" y="89"/>
                    <a:pt x="455" y="100"/>
                  </a:cubicBezTo>
                  <a:cubicBezTo>
                    <a:pt x="454" y="101"/>
                    <a:pt x="452" y="101"/>
                    <a:pt x="451" y="101"/>
                  </a:cubicBezTo>
                  <a:close/>
                  <a:moveTo>
                    <a:pt x="1145" y="100"/>
                  </a:moveTo>
                  <a:cubicBezTo>
                    <a:pt x="1144" y="100"/>
                    <a:pt x="1142" y="100"/>
                    <a:pt x="1141" y="99"/>
                  </a:cubicBezTo>
                  <a:cubicBezTo>
                    <a:pt x="1117" y="88"/>
                    <a:pt x="1093" y="77"/>
                    <a:pt x="1068" y="68"/>
                  </a:cubicBezTo>
                  <a:cubicBezTo>
                    <a:pt x="1063" y="66"/>
                    <a:pt x="1060" y="60"/>
                    <a:pt x="1062" y="55"/>
                  </a:cubicBezTo>
                  <a:cubicBezTo>
                    <a:pt x="1064" y="50"/>
                    <a:pt x="1070" y="47"/>
                    <a:pt x="1075" y="49"/>
                  </a:cubicBezTo>
                  <a:cubicBezTo>
                    <a:pt x="1100" y="59"/>
                    <a:pt x="1125" y="69"/>
                    <a:pt x="1150" y="81"/>
                  </a:cubicBezTo>
                  <a:cubicBezTo>
                    <a:pt x="1155" y="84"/>
                    <a:pt x="1157" y="90"/>
                    <a:pt x="1154" y="95"/>
                  </a:cubicBezTo>
                  <a:cubicBezTo>
                    <a:pt x="1152" y="98"/>
                    <a:pt x="1149" y="100"/>
                    <a:pt x="1145" y="100"/>
                  </a:cubicBezTo>
                  <a:close/>
                  <a:moveTo>
                    <a:pt x="600" y="46"/>
                  </a:moveTo>
                  <a:cubicBezTo>
                    <a:pt x="596" y="46"/>
                    <a:pt x="592" y="43"/>
                    <a:pt x="591" y="38"/>
                  </a:cubicBezTo>
                  <a:cubicBezTo>
                    <a:pt x="589" y="33"/>
                    <a:pt x="592" y="27"/>
                    <a:pt x="598" y="26"/>
                  </a:cubicBezTo>
                  <a:cubicBezTo>
                    <a:pt x="624" y="19"/>
                    <a:pt x="650" y="14"/>
                    <a:pt x="677" y="10"/>
                  </a:cubicBezTo>
                  <a:cubicBezTo>
                    <a:pt x="682" y="9"/>
                    <a:pt x="687" y="13"/>
                    <a:pt x="688" y="18"/>
                  </a:cubicBezTo>
                  <a:cubicBezTo>
                    <a:pt x="689" y="23"/>
                    <a:pt x="685" y="29"/>
                    <a:pt x="680" y="29"/>
                  </a:cubicBezTo>
                  <a:cubicBezTo>
                    <a:pt x="654" y="33"/>
                    <a:pt x="628" y="39"/>
                    <a:pt x="603" y="45"/>
                  </a:cubicBezTo>
                  <a:cubicBezTo>
                    <a:pt x="602" y="46"/>
                    <a:pt x="601" y="46"/>
                    <a:pt x="600" y="46"/>
                  </a:cubicBezTo>
                  <a:close/>
                  <a:moveTo>
                    <a:pt x="995" y="45"/>
                  </a:moveTo>
                  <a:cubicBezTo>
                    <a:pt x="995" y="45"/>
                    <a:pt x="994" y="45"/>
                    <a:pt x="993" y="45"/>
                  </a:cubicBezTo>
                  <a:cubicBezTo>
                    <a:pt x="968" y="38"/>
                    <a:pt x="942" y="33"/>
                    <a:pt x="916" y="29"/>
                  </a:cubicBezTo>
                  <a:cubicBezTo>
                    <a:pt x="910" y="28"/>
                    <a:pt x="906" y="23"/>
                    <a:pt x="907" y="18"/>
                  </a:cubicBezTo>
                  <a:cubicBezTo>
                    <a:pt x="908" y="12"/>
                    <a:pt x="913" y="8"/>
                    <a:pt x="919" y="9"/>
                  </a:cubicBezTo>
                  <a:cubicBezTo>
                    <a:pt x="945" y="13"/>
                    <a:pt x="972" y="19"/>
                    <a:pt x="998" y="25"/>
                  </a:cubicBezTo>
                  <a:cubicBezTo>
                    <a:pt x="1003" y="27"/>
                    <a:pt x="1007" y="32"/>
                    <a:pt x="1005" y="37"/>
                  </a:cubicBezTo>
                  <a:cubicBezTo>
                    <a:pt x="1004" y="42"/>
                    <a:pt x="1000" y="45"/>
                    <a:pt x="995" y="45"/>
                  </a:cubicBezTo>
                  <a:close/>
                  <a:moveTo>
                    <a:pt x="758" y="21"/>
                  </a:moveTo>
                  <a:cubicBezTo>
                    <a:pt x="753" y="21"/>
                    <a:pt x="748" y="17"/>
                    <a:pt x="748" y="12"/>
                  </a:cubicBezTo>
                  <a:cubicBezTo>
                    <a:pt x="748" y="6"/>
                    <a:pt x="752" y="2"/>
                    <a:pt x="757" y="1"/>
                  </a:cubicBezTo>
                  <a:cubicBezTo>
                    <a:pt x="784" y="0"/>
                    <a:pt x="811" y="0"/>
                    <a:pt x="838" y="1"/>
                  </a:cubicBezTo>
                  <a:cubicBezTo>
                    <a:pt x="844" y="2"/>
                    <a:pt x="848" y="6"/>
                    <a:pt x="848" y="12"/>
                  </a:cubicBezTo>
                  <a:cubicBezTo>
                    <a:pt x="847" y="17"/>
                    <a:pt x="843" y="22"/>
                    <a:pt x="837" y="21"/>
                  </a:cubicBezTo>
                  <a:cubicBezTo>
                    <a:pt x="811" y="20"/>
                    <a:pt x="784" y="20"/>
                    <a:pt x="758" y="21"/>
                  </a:cubicBezTo>
                  <a:close/>
                </a:path>
              </a:pathLst>
            </a:custGeom>
            <a:solidFill>
              <a:srgbClr val="FFC000"/>
            </a:solidFill>
            <a:ln w="9525">
              <a:noFill/>
              <a:round/>
              <a:headEnd/>
              <a:tailEnd/>
            </a:ln>
          </p:spPr>
          <p:txBody>
            <a:bodyPr vert="horz" wrap="square" lIns="91440" tIns="45720" rIns="91440" bIns="45720" numCol="1" anchor="t" anchorCtr="0" compatLnSpc="1">
              <a:prstTxWarp prst="textNoShape">
                <a:avLst/>
              </a:prstTxWarp>
            </a:bodyPr>
            <a:lstStyle/>
            <a:p>
              <a:pPr defTabSz="975477">
                <a:defRPr/>
              </a:pPr>
              <a:endParaRPr lang="en-US" sz="1920" kern="0">
                <a:solidFill>
                  <a:prstClr val="white"/>
                </a:solidFill>
              </a:endParaRPr>
            </a:p>
          </p:txBody>
        </p:sp>
        <p:sp>
          <p:nvSpPr>
            <p:cNvPr id="51" name="Oval 50"/>
            <p:cNvSpPr>
              <a:spLocks noChangeArrowheads="1"/>
            </p:cNvSpPr>
            <p:nvPr/>
          </p:nvSpPr>
          <p:spPr bwMode="auto">
            <a:xfrm>
              <a:off x="4378042" y="5054831"/>
              <a:ext cx="2073439" cy="92564"/>
            </a:xfrm>
            <a:prstGeom prst="ellipse">
              <a:avLst/>
            </a:prstGeom>
            <a:solidFill>
              <a:srgbClr val="A0A0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75477">
                <a:defRPr/>
              </a:pPr>
              <a:endParaRPr lang="en-US" sz="1920" kern="0">
                <a:solidFill>
                  <a:prstClr val="white"/>
                </a:solidFill>
              </a:endParaRPr>
            </a:p>
          </p:txBody>
        </p:sp>
        <p:sp>
          <p:nvSpPr>
            <p:cNvPr id="52" name="Freeform 51"/>
            <p:cNvSpPr>
              <a:spLocks/>
            </p:cNvSpPr>
            <p:nvPr/>
          </p:nvSpPr>
          <p:spPr bwMode="auto">
            <a:xfrm>
              <a:off x="6002951" y="4381427"/>
              <a:ext cx="150418" cy="115705"/>
            </a:xfrm>
            <a:custGeom>
              <a:avLst/>
              <a:gdLst>
                <a:gd name="T0" fmla="*/ 0 w 65"/>
                <a:gd name="T1" fmla="*/ 16 h 50"/>
                <a:gd name="T2" fmla="*/ 31 w 65"/>
                <a:gd name="T3" fmla="*/ 0 h 50"/>
                <a:gd name="T4" fmla="*/ 65 w 65"/>
                <a:gd name="T5" fmla="*/ 33 h 50"/>
                <a:gd name="T6" fmla="*/ 65 w 65"/>
                <a:gd name="T7" fmla="*/ 47 h 50"/>
                <a:gd name="T8" fmla="*/ 58 w 65"/>
                <a:gd name="T9" fmla="*/ 50 h 50"/>
                <a:gd name="T10" fmla="*/ 11 w 65"/>
                <a:gd name="T11" fmla="*/ 34 h 50"/>
                <a:gd name="T12" fmla="*/ 0 w 65"/>
                <a:gd name="T13" fmla="*/ 16 h 50"/>
              </a:gdLst>
              <a:ahLst/>
              <a:cxnLst>
                <a:cxn ang="0">
                  <a:pos x="T0" y="T1"/>
                </a:cxn>
                <a:cxn ang="0">
                  <a:pos x="T2" y="T3"/>
                </a:cxn>
                <a:cxn ang="0">
                  <a:pos x="T4" y="T5"/>
                </a:cxn>
                <a:cxn ang="0">
                  <a:pos x="T6" y="T7"/>
                </a:cxn>
                <a:cxn ang="0">
                  <a:pos x="T8" y="T9"/>
                </a:cxn>
                <a:cxn ang="0">
                  <a:pos x="T10" y="T11"/>
                </a:cxn>
                <a:cxn ang="0">
                  <a:pos x="T12" y="T13"/>
                </a:cxn>
              </a:cxnLst>
              <a:rect l="0" t="0" r="r" b="b"/>
              <a:pathLst>
                <a:path w="65" h="50">
                  <a:moveTo>
                    <a:pt x="0" y="16"/>
                  </a:moveTo>
                  <a:lnTo>
                    <a:pt x="31" y="0"/>
                  </a:lnTo>
                  <a:lnTo>
                    <a:pt x="65" y="33"/>
                  </a:lnTo>
                  <a:lnTo>
                    <a:pt x="65" y="47"/>
                  </a:lnTo>
                  <a:lnTo>
                    <a:pt x="58" y="50"/>
                  </a:lnTo>
                  <a:lnTo>
                    <a:pt x="11" y="34"/>
                  </a:lnTo>
                  <a:lnTo>
                    <a:pt x="0" y="16"/>
                  </a:lnTo>
                  <a:close/>
                </a:path>
              </a:pathLst>
            </a:custGeom>
            <a:solidFill>
              <a:srgbClr val="0020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75477">
                <a:defRPr/>
              </a:pPr>
              <a:endParaRPr lang="en-US" sz="1920" kern="0">
                <a:solidFill>
                  <a:prstClr val="white"/>
                </a:solidFill>
              </a:endParaRPr>
            </a:p>
          </p:txBody>
        </p:sp>
        <p:sp>
          <p:nvSpPr>
            <p:cNvPr id="53" name="Freeform 52"/>
            <p:cNvSpPr>
              <a:spLocks/>
            </p:cNvSpPr>
            <p:nvPr/>
          </p:nvSpPr>
          <p:spPr bwMode="auto">
            <a:xfrm>
              <a:off x="5417483" y="3666368"/>
              <a:ext cx="657206" cy="768283"/>
            </a:xfrm>
            <a:custGeom>
              <a:avLst/>
              <a:gdLst>
                <a:gd name="T0" fmla="*/ 0 w 284"/>
                <a:gd name="T1" fmla="*/ 25 h 332"/>
                <a:gd name="T2" fmla="*/ 257 w 284"/>
                <a:gd name="T3" fmla="*/ 332 h 332"/>
                <a:gd name="T4" fmla="*/ 284 w 284"/>
                <a:gd name="T5" fmla="*/ 310 h 332"/>
                <a:gd name="T6" fmla="*/ 62 w 284"/>
                <a:gd name="T7" fmla="*/ 0 h 332"/>
                <a:gd name="T8" fmla="*/ 0 w 284"/>
                <a:gd name="T9" fmla="*/ 25 h 332"/>
              </a:gdLst>
              <a:ahLst/>
              <a:cxnLst>
                <a:cxn ang="0">
                  <a:pos x="T0" y="T1"/>
                </a:cxn>
                <a:cxn ang="0">
                  <a:pos x="T2" y="T3"/>
                </a:cxn>
                <a:cxn ang="0">
                  <a:pos x="T4" y="T5"/>
                </a:cxn>
                <a:cxn ang="0">
                  <a:pos x="T6" y="T7"/>
                </a:cxn>
                <a:cxn ang="0">
                  <a:pos x="T8" y="T9"/>
                </a:cxn>
              </a:cxnLst>
              <a:rect l="0" t="0" r="r" b="b"/>
              <a:pathLst>
                <a:path w="284" h="332">
                  <a:moveTo>
                    <a:pt x="0" y="25"/>
                  </a:moveTo>
                  <a:lnTo>
                    <a:pt x="257" y="332"/>
                  </a:lnTo>
                  <a:lnTo>
                    <a:pt x="284" y="310"/>
                  </a:lnTo>
                  <a:lnTo>
                    <a:pt x="62" y="0"/>
                  </a:lnTo>
                  <a:lnTo>
                    <a:pt x="0" y="25"/>
                  </a:lnTo>
                  <a:close/>
                </a:path>
              </a:pathLst>
            </a:custGeom>
            <a:solidFill>
              <a:srgbClr val="5B9BD5"/>
            </a:solidFill>
            <a:ln>
              <a:noFill/>
            </a:ln>
            <a:extLst/>
          </p:spPr>
          <p:txBody>
            <a:bodyPr vert="horz" wrap="square" lIns="91440" tIns="45720" rIns="91440" bIns="45720" numCol="1" anchor="t" anchorCtr="0" compatLnSpc="1">
              <a:prstTxWarp prst="textNoShape">
                <a:avLst/>
              </a:prstTxWarp>
            </a:bodyPr>
            <a:lstStyle/>
            <a:p>
              <a:pPr defTabSz="975477">
                <a:defRPr/>
              </a:pPr>
              <a:endParaRPr lang="en-US" sz="1920" kern="0">
                <a:solidFill>
                  <a:prstClr val="white"/>
                </a:solidFill>
              </a:endParaRPr>
            </a:p>
          </p:txBody>
        </p:sp>
        <p:sp>
          <p:nvSpPr>
            <p:cNvPr id="54" name="Freeform 53"/>
            <p:cNvSpPr>
              <a:spLocks/>
            </p:cNvSpPr>
            <p:nvPr/>
          </p:nvSpPr>
          <p:spPr bwMode="auto">
            <a:xfrm>
              <a:off x="5259717" y="3670996"/>
              <a:ext cx="155046" cy="978868"/>
            </a:xfrm>
            <a:custGeom>
              <a:avLst/>
              <a:gdLst>
                <a:gd name="T0" fmla="*/ 67 w 67"/>
                <a:gd name="T1" fmla="*/ 423 h 423"/>
                <a:gd name="T2" fmla="*/ 67 w 67"/>
                <a:gd name="T3" fmla="*/ 28 h 423"/>
                <a:gd name="T4" fmla="*/ 0 w 67"/>
                <a:gd name="T5" fmla="*/ 0 h 423"/>
                <a:gd name="T6" fmla="*/ 32 w 67"/>
                <a:gd name="T7" fmla="*/ 423 h 423"/>
                <a:gd name="T8" fmla="*/ 67 w 67"/>
                <a:gd name="T9" fmla="*/ 423 h 423"/>
              </a:gdLst>
              <a:ahLst/>
              <a:cxnLst>
                <a:cxn ang="0">
                  <a:pos x="T0" y="T1"/>
                </a:cxn>
                <a:cxn ang="0">
                  <a:pos x="T2" y="T3"/>
                </a:cxn>
                <a:cxn ang="0">
                  <a:pos x="T4" y="T5"/>
                </a:cxn>
                <a:cxn ang="0">
                  <a:pos x="T6" y="T7"/>
                </a:cxn>
                <a:cxn ang="0">
                  <a:pos x="T8" y="T9"/>
                </a:cxn>
              </a:cxnLst>
              <a:rect l="0" t="0" r="r" b="b"/>
              <a:pathLst>
                <a:path w="67" h="423">
                  <a:moveTo>
                    <a:pt x="67" y="423"/>
                  </a:moveTo>
                  <a:lnTo>
                    <a:pt x="67" y="28"/>
                  </a:lnTo>
                  <a:lnTo>
                    <a:pt x="0" y="0"/>
                  </a:lnTo>
                  <a:lnTo>
                    <a:pt x="32" y="423"/>
                  </a:lnTo>
                  <a:lnTo>
                    <a:pt x="67" y="423"/>
                  </a:lnTo>
                  <a:close/>
                </a:path>
              </a:pathLst>
            </a:custGeom>
            <a:solidFill>
              <a:srgbClr val="0072C6"/>
            </a:solidFill>
            <a:ln>
              <a:noFill/>
            </a:ln>
            <a:extLst/>
          </p:spPr>
          <p:txBody>
            <a:bodyPr vert="horz" wrap="square" lIns="91440" tIns="45720" rIns="91440" bIns="45720" numCol="1" anchor="t" anchorCtr="0" compatLnSpc="1">
              <a:prstTxWarp prst="textNoShape">
                <a:avLst/>
              </a:prstTxWarp>
            </a:bodyPr>
            <a:lstStyle/>
            <a:p>
              <a:pPr defTabSz="975477">
                <a:defRPr/>
              </a:pPr>
              <a:endParaRPr lang="en-US" sz="1920" kern="0">
                <a:solidFill>
                  <a:prstClr val="white"/>
                </a:solidFill>
              </a:endParaRPr>
            </a:p>
          </p:txBody>
        </p:sp>
        <p:sp>
          <p:nvSpPr>
            <p:cNvPr id="55" name="Freeform 54"/>
            <p:cNvSpPr>
              <a:spLocks/>
            </p:cNvSpPr>
            <p:nvPr/>
          </p:nvSpPr>
          <p:spPr bwMode="auto">
            <a:xfrm>
              <a:off x="4739042" y="3080899"/>
              <a:ext cx="32397" cy="94879"/>
            </a:xfrm>
            <a:custGeom>
              <a:avLst/>
              <a:gdLst>
                <a:gd name="T0" fmla="*/ 9 w 14"/>
                <a:gd name="T1" fmla="*/ 0 h 41"/>
                <a:gd name="T2" fmla="*/ 0 w 14"/>
                <a:gd name="T3" fmla="*/ 40 h 41"/>
                <a:gd name="T4" fmla="*/ 5 w 14"/>
                <a:gd name="T5" fmla="*/ 41 h 41"/>
                <a:gd name="T6" fmla="*/ 14 w 14"/>
                <a:gd name="T7" fmla="*/ 1 h 41"/>
                <a:gd name="T8" fmla="*/ 9 w 14"/>
                <a:gd name="T9" fmla="*/ 0 h 41"/>
              </a:gdLst>
              <a:ahLst/>
              <a:cxnLst>
                <a:cxn ang="0">
                  <a:pos x="T0" y="T1"/>
                </a:cxn>
                <a:cxn ang="0">
                  <a:pos x="T2" y="T3"/>
                </a:cxn>
                <a:cxn ang="0">
                  <a:pos x="T4" y="T5"/>
                </a:cxn>
                <a:cxn ang="0">
                  <a:pos x="T6" y="T7"/>
                </a:cxn>
                <a:cxn ang="0">
                  <a:pos x="T8" y="T9"/>
                </a:cxn>
              </a:cxnLst>
              <a:rect l="0" t="0" r="r" b="b"/>
              <a:pathLst>
                <a:path w="14" h="41">
                  <a:moveTo>
                    <a:pt x="9" y="0"/>
                  </a:moveTo>
                  <a:lnTo>
                    <a:pt x="0" y="40"/>
                  </a:lnTo>
                  <a:lnTo>
                    <a:pt x="5" y="41"/>
                  </a:lnTo>
                  <a:lnTo>
                    <a:pt x="14" y="1"/>
                  </a:lnTo>
                  <a:lnTo>
                    <a:pt x="9"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75477">
                <a:defRPr/>
              </a:pPr>
              <a:endParaRPr lang="en-US" sz="1920" kern="0">
                <a:solidFill>
                  <a:prstClr val="white"/>
                </a:solidFill>
              </a:endParaRPr>
            </a:p>
          </p:txBody>
        </p:sp>
        <p:sp>
          <p:nvSpPr>
            <p:cNvPr id="56" name="Freeform 55"/>
            <p:cNvSpPr>
              <a:spLocks/>
            </p:cNvSpPr>
            <p:nvPr/>
          </p:nvSpPr>
          <p:spPr bwMode="auto">
            <a:xfrm>
              <a:off x="6060397" y="3080899"/>
              <a:ext cx="30084" cy="94879"/>
            </a:xfrm>
            <a:custGeom>
              <a:avLst/>
              <a:gdLst>
                <a:gd name="T0" fmla="*/ 5 w 13"/>
                <a:gd name="T1" fmla="*/ 0 h 41"/>
                <a:gd name="T2" fmla="*/ 13 w 13"/>
                <a:gd name="T3" fmla="*/ 40 h 41"/>
                <a:gd name="T4" fmla="*/ 8 w 13"/>
                <a:gd name="T5" fmla="*/ 41 h 41"/>
                <a:gd name="T6" fmla="*/ 0 w 13"/>
                <a:gd name="T7" fmla="*/ 1 h 41"/>
                <a:gd name="T8" fmla="*/ 5 w 13"/>
                <a:gd name="T9" fmla="*/ 0 h 41"/>
              </a:gdLst>
              <a:ahLst/>
              <a:cxnLst>
                <a:cxn ang="0">
                  <a:pos x="T0" y="T1"/>
                </a:cxn>
                <a:cxn ang="0">
                  <a:pos x="T2" y="T3"/>
                </a:cxn>
                <a:cxn ang="0">
                  <a:pos x="T4" y="T5"/>
                </a:cxn>
                <a:cxn ang="0">
                  <a:pos x="T6" y="T7"/>
                </a:cxn>
                <a:cxn ang="0">
                  <a:pos x="T8" y="T9"/>
                </a:cxn>
              </a:cxnLst>
              <a:rect l="0" t="0" r="r" b="b"/>
              <a:pathLst>
                <a:path w="13" h="41">
                  <a:moveTo>
                    <a:pt x="5" y="0"/>
                  </a:moveTo>
                  <a:lnTo>
                    <a:pt x="13" y="40"/>
                  </a:lnTo>
                  <a:lnTo>
                    <a:pt x="8" y="41"/>
                  </a:lnTo>
                  <a:lnTo>
                    <a:pt x="0" y="1"/>
                  </a:lnTo>
                  <a:lnTo>
                    <a:pt x="5"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75477">
                <a:defRPr/>
              </a:pPr>
              <a:endParaRPr lang="en-US" sz="1920" kern="0">
                <a:solidFill>
                  <a:prstClr val="white"/>
                </a:solidFill>
              </a:endParaRPr>
            </a:p>
          </p:txBody>
        </p:sp>
        <p:sp>
          <p:nvSpPr>
            <p:cNvPr id="57" name="Oval 28"/>
            <p:cNvSpPr>
              <a:spLocks noChangeArrowheads="1"/>
            </p:cNvSpPr>
            <p:nvPr/>
          </p:nvSpPr>
          <p:spPr bwMode="auto">
            <a:xfrm>
              <a:off x="5206492" y="4696145"/>
              <a:ext cx="416539" cy="416539"/>
            </a:xfrm>
            <a:prstGeom prst="ellipse">
              <a:avLst/>
            </a:prstGeom>
            <a:solidFill>
              <a:srgbClr val="FFC000"/>
            </a:solidFill>
            <a:ln>
              <a:noFill/>
            </a:ln>
            <a:extLst/>
          </p:spPr>
          <p:txBody>
            <a:bodyPr vert="horz" wrap="square" lIns="91440" tIns="45720" rIns="91440" bIns="45720" numCol="1" anchor="t" anchorCtr="0" compatLnSpc="1">
              <a:prstTxWarp prst="textNoShape">
                <a:avLst/>
              </a:prstTxWarp>
            </a:bodyPr>
            <a:lstStyle/>
            <a:p>
              <a:pPr defTabSz="975477">
                <a:defRPr/>
              </a:pPr>
              <a:endParaRPr lang="en-US" sz="1920" kern="0">
                <a:solidFill>
                  <a:prstClr val="white"/>
                </a:solidFill>
              </a:endParaRPr>
            </a:p>
          </p:txBody>
        </p:sp>
        <p:sp>
          <p:nvSpPr>
            <p:cNvPr id="58" name="Freeform 29"/>
            <p:cNvSpPr>
              <a:spLocks/>
            </p:cNvSpPr>
            <p:nvPr/>
          </p:nvSpPr>
          <p:spPr bwMode="auto">
            <a:xfrm>
              <a:off x="5206492" y="4883588"/>
              <a:ext cx="416539" cy="229097"/>
            </a:xfrm>
            <a:custGeom>
              <a:avLst/>
              <a:gdLst>
                <a:gd name="T0" fmla="*/ 192 w 383"/>
                <a:gd name="T1" fmla="*/ 210 h 210"/>
                <a:gd name="T2" fmla="*/ 383 w 383"/>
                <a:gd name="T3" fmla="*/ 18 h 210"/>
                <a:gd name="T4" fmla="*/ 382 w 383"/>
                <a:gd name="T5" fmla="*/ 0 h 210"/>
                <a:gd name="T6" fmla="*/ 192 w 383"/>
                <a:gd name="T7" fmla="*/ 173 h 210"/>
                <a:gd name="T8" fmla="*/ 1 w 383"/>
                <a:gd name="T9" fmla="*/ 0 h 210"/>
                <a:gd name="T10" fmla="*/ 0 w 383"/>
                <a:gd name="T11" fmla="*/ 18 h 210"/>
                <a:gd name="T12" fmla="*/ 192 w 383"/>
                <a:gd name="T13" fmla="*/ 210 h 210"/>
              </a:gdLst>
              <a:ahLst/>
              <a:cxnLst>
                <a:cxn ang="0">
                  <a:pos x="T0" y="T1"/>
                </a:cxn>
                <a:cxn ang="0">
                  <a:pos x="T2" y="T3"/>
                </a:cxn>
                <a:cxn ang="0">
                  <a:pos x="T4" y="T5"/>
                </a:cxn>
                <a:cxn ang="0">
                  <a:pos x="T6" y="T7"/>
                </a:cxn>
                <a:cxn ang="0">
                  <a:pos x="T8" y="T9"/>
                </a:cxn>
                <a:cxn ang="0">
                  <a:pos x="T10" y="T11"/>
                </a:cxn>
                <a:cxn ang="0">
                  <a:pos x="T12" y="T13"/>
                </a:cxn>
              </a:cxnLst>
              <a:rect l="0" t="0" r="r" b="b"/>
              <a:pathLst>
                <a:path w="383" h="210">
                  <a:moveTo>
                    <a:pt x="192" y="210"/>
                  </a:moveTo>
                  <a:cubicBezTo>
                    <a:pt x="298" y="210"/>
                    <a:pt x="383" y="124"/>
                    <a:pt x="383" y="18"/>
                  </a:cubicBezTo>
                  <a:cubicBezTo>
                    <a:pt x="383" y="12"/>
                    <a:pt x="383" y="6"/>
                    <a:pt x="382" y="0"/>
                  </a:cubicBezTo>
                  <a:cubicBezTo>
                    <a:pt x="373" y="97"/>
                    <a:pt x="291" y="173"/>
                    <a:pt x="192" y="173"/>
                  </a:cubicBezTo>
                  <a:cubicBezTo>
                    <a:pt x="92" y="173"/>
                    <a:pt x="10" y="97"/>
                    <a:pt x="1" y="0"/>
                  </a:cubicBezTo>
                  <a:cubicBezTo>
                    <a:pt x="0" y="6"/>
                    <a:pt x="0" y="12"/>
                    <a:pt x="0" y="18"/>
                  </a:cubicBezTo>
                  <a:cubicBezTo>
                    <a:pt x="0" y="124"/>
                    <a:pt x="86" y="210"/>
                    <a:pt x="192" y="210"/>
                  </a:cubicBezTo>
                </a:path>
              </a:pathLst>
            </a:custGeom>
            <a:solidFill>
              <a:srgbClr val="ED7D31"/>
            </a:solidFill>
            <a:ln>
              <a:noFill/>
            </a:ln>
            <a:extLst/>
          </p:spPr>
          <p:txBody>
            <a:bodyPr vert="horz" wrap="square" lIns="91440" tIns="45720" rIns="91440" bIns="45720" numCol="1" anchor="t" anchorCtr="0" compatLnSpc="1">
              <a:prstTxWarp prst="textNoShape">
                <a:avLst/>
              </a:prstTxWarp>
            </a:bodyPr>
            <a:lstStyle/>
            <a:p>
              <a:pPr defTabSz="975477">
                <a:defRPr/>
              </a:pPr>
              <a:endParaRPr lang="en-US" sz="1920" kern="0">
                <a:solidFill>
                  <a:prstClr val="white"/>
                </a:solidFill>
              </a:endParaRPr>
            </a:p>
          </p:txBody>
        </p:sp>
        <p:sp>
          <p:nvSpPr>
            <p:cNvPr id="59" name="Freeform 30"/>
            <p:cNvSpPr>
              <a:spLocks/>
            </p:cNvSpPr>
            <p:nvPr/>
          </p:nvSpPr>
          <p:spPr bwMode="auto">
            <a:xfrm>
              <a:off x="5299056" y="4649863"/>
              <a:ext cx="113392" cy="131905"/>
            </a:xfrm>
            <a:custGeom>
              <a:avLst/>
              <a:gdLst>
                <a:gd name="T0" fmla="*/ 49 w 49"/>
                <a:gd name="T1" fmla="*/ 0 h 57"/>
                <a:gd name="T2" fmla="*/ 15 w 49"/>
                <a:gd name="T3" fmla="*/ 0 h 57"/>
                <a:gd name="T4" fmla="*/ 0 w 49"/>
                <a:gd name="T5" fmla="*/ 44 h 57"/>
                <a:gd name="T6" fmla="*/ 6 w 49"/>
                <a:gd name="T7" fmla="*/ 57 h 57"/>
                <a:gd name="T8" fmla="*/ 14 w 49"/>
                <a:gd name="T9" fmla="*/ 57 h 57"/>
                <a:gd name="T10" fmla="*/ 49 w 49"/>
                <a:gd name="T11" fmla="*/ 19 h 57"/>
                <a:gd name="T12" fmla="*/ 49 w 49"/>
                <a:gd name="T13" fmla="*/ 0 h 57"/>
              </a:gdLst>
              <a:ahLst/>
              <a:cxnLst>
                <a:cxn ang="0">
                  <a:pos x="T0" y="T1"/>
                </a:cxn>
                <a:cxn ang="0">
                  <a:pos x="T2" y="T3"/>
                </a:cxn>
                <a:cxn ang="0">
                  <a:pos x="T4" y="T5"/>
                </a:cxn>
                <a:cxn ang="0">
                  <a:pos x="T6" y="T7"/>
                </a:cxn>
                <a:cxn ang="0">
                  <a:pos x="T8" y="T9"/>
                </a:cxn>
                <a:cxn ang="0">
                  <a:pos x="T10" y="T11"/>
                </a:cxn>
                <a:cxn ang="0">
                  <a:pos x="T12" y="T13"/>
                </a:cxn>
              </a:cxnLst>
              <a:rect l="0" t="0" r="r" b="b"/>
              <a:pathLst>
                <a:path w="49" h="57">
                  <a:moveTo>
                    <a:pt x="49" y="0"/>
                  </a:moveTo>
                  <a:lnTo>
                    <a:pt x="15" y="0"/>
                  </a:lnTo>
                  <a:lnTo>
                    <a:pt x="0" y="44"/>
                  </a:lnTo>
                  <a:lnTo>
                    <a:pt x="6" y="57"/>
                  </a:lnTo>
                  <a:lnTo>
                    <a:pt x="14" y="57"/>
                  </a:lnTo>
                  <a:lnTo>
                    <a:pt x="49" y="19"/>
                  </a:lnTo>
                  <a:lnTo>
                    <a:pt x="49" y="0"/>
                  </a:lnTo>
                  <a:close/>
                </a:path>
              </a:pathLst>
            </a:custGeom>
            <a:solidFill>
              <a:srgbClr val="0020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75477">
                <a:defRPr/>
              </a:pPr>
              <a:endParaRPr lang="en-US" sz="1920" kern="0">
                <a:solidFill>
                  <a:prstClr val="white"/>
                </a:solidFill>
              </a:endParaRPr>
            </a:p>
          </p:txBody>
        </p:sp>
        <p:grpSp>
          <p:nvGrpSpPr>
            <p:cNvPr id="60" name="Group 59"/>
            <p:cNvGrpSpPr>
              <a:grpSpLocks noChangeAspect="1"/>
            </p:cNvGrpSpPr>
            <p:nvPr/>
          </p:nvGrpSpPr>
          <p:grpSpPr>
            <a:xfrm>
              <a:off x="4696944" y="2059194"/>
              <a:ext cx="415996" cy="234364"/>
              <a:chOff x="3370263" y="896938"/>
              <a:chExt cx="450850" cy="254000"/>
            </a:xfrm>
            <a:solidFill>
              <a:srgbClr val="0072C6"/>
            </a:solidFill>
          </p:grpSpPr>
          <p:sp>
            <p:nvSpPr>
              <p:cNvPr id="88" name="Freeform 107"/>
              <p:cNvSpPr>
                <a:spLocks noEditPoints="1"/>
              </p:cNvSpPr>
              <p:nvPr/>
            </p:nvSpPr>
            <p:spPr bwMode="auto">
              <a:xfrm>
                <a:off x="3370263" y="896938"/>
                <a:ext cx="450850" cy="254000"/>
              </a:xfrm>
              <a:custGeom>
                <a:avLst/>
                <a:gdLst>
                  <a:gd name="T0" fmla="*/ 268 w 284"/>
                  <a:gd name="T1" fmla="*/ 0 h 160"/>
                  <a:gd name="T2" fmla="*/ 16 w 284"/>
                  <a:gd name="T3" fmla="*/ 0 h 160"/>
                  <a:gd name="T4" fmla="*/ 16 w 284"/>
                  <a:gd name="T5" fmla="*/ 0 h 160"/>
                  <a:gd name="T6" fmla="*/ 10 w 284"/>
                  <a:gd name="T7" fmla="*/ 2 h 160"/>
                  <a:gd name="T8" fmla="*/ 6 w 284"/>
                  <a:gd name="T9" fmla="*/ 6 h 160"/>
                  <a:gd name="T10" fmla="*/ 2 w 284"/>
                  <a:gd name="T11" fmla="*/ 10 h 160"/>
                  <a:gd name="T12" fmla="*/ 0 w 284"/>
                  <a:gd name="T13" fmla="*/ 16 h 160"/>
                  <a:gd name="T14" fmla="*/ 0 w 284"/>
                  <a:gd name="T15" fmla="*/ 144 h 160"/>
                  <a:gd name="T16" fmla="*/ 0 w 284"/>
                  <a:gd name="T17" fmla="*/ 144 h 160"/>
                  <a:gd name="T18" fmla="*/ 2 w 284"/>
                  <a:gd name="T19" fmla="*/ 150 h 160"/>
                  <a:gd name="T20" fmla="*/ 6 w 284"/>
                  <a:gd name="T21" fmla="*/ 156 h 160"/>
                  <a:gd name="T22" fmla="*/ 10 w 284"/>
                  <a:gd name="T23" fmla="*/ 160 h 160"/>
                  <a:gd name="T24" fmla="*/ 16 w 284"/>
                  <a:gd name="T25" fmla="*/ 160 h 160"/>
                  <a:gd name="T26" fmla="*/ 268 w 284"/>
                  <a:gd name="T27" fmla="*/ 160 h 160"/>
                  <a:gd name="T28" fmla="*/ 268 w 284"/>
                  <a:gd name="T29" fmla="*/ 160 h 160"/>
                  <a:gd name="T30" fmla="*/ 274 w 284"/>
                  <a:gd name="T31" fmla="*/ 160 h 160"/>
                  <a:gd name="T32" fmla="*/ 280 w 284"/>
                  <a:gd name="T33" fmla="*/ 156 h 160"/>
                  <a:gd name="T34" fmla="*/ 282 w 284"/>
                  <a:gd name="T35" fmla="*/ 150 h 160"/>
                  <a:gd name="T36" fmla="*/ 284 w 284"/>
                  <a:gd name="T37" fmla="*/ 144 h 160"/>
                  <a:gd name="T38" fmla="*/ 284 w 284"/>
                  <a:gd name="T39" fmla="*/ 16 h 160"/>
                  <a:gd name="T40" fmla="*/ 284 w 284"/>
                  <a:gd name="T41" fmla="*/ 16 h 160"/>
                  <a:gd name="T42" fmla="*/ 282 w 284"/>
                  <a:gd name="T43" fmla="*/ 10 h 160"/>
                  <a:gd name="T44" fmla="*/ 280 w 284"/>
                  <a:gd name="T45" fmla="*/ 6 h 160"/>
                  <a:gd name="T46" fmla="*/ 274 w 284"/>
                  <a:gd name="T47" fmla="*/ 2 h 160"/>
                  <a:gd name="T48" fmla="*/ 268 w 284"/>
                  <a:gd name="T49" fmla="*/ 0 h 160"/>
                  <a:gd name="T50" fmla="*/ 268 w 284"/>
                  <a:gd name="T51" fmla="*/ 0 h 160"/>
                  <a:gd name="T52" fmla="*/ 256 w 284"/>
                  <a:gd name="T53" fmla="*/ 136 h 160"/>
                  <a:gd name="T54" fmla="*/ 28 w 284"/>
                  <a:gd name="T55" fmla="*/ 136 h 160"/>
                  <a:gd name="T56" fmla="*/ 28 w 284"/>
                  <a:gd name="T57" fmla="*/ 26 h 160"/>
                  <a:gd name="T58" fmla="*/ 256 w 284"/>
                  <a:gd name="T59" fmla="*/ 26 h 160"/>
                  <a:gd name="T60" fmla="*/ 256 w 284"/>
                  <a:gd name="T61" fmla="*/ 136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84" h="160">
                    <a:moveTo>
                      <a:pt x="268" y="0"/>
                    </a:moveTo>
                    <a:lnTo>
                      <a:pt x="16" y="0"/>
                    </a:lnTo>
                    <a:lnTo>
                      <a:pt x="16" y="0"/>
                    </a:lnTo>
                    <a:lnTo>
                      <a:pt x="10" y="2"/>
                    </a:lnTo>
                    <a:lnTo>
                      <a:pt x="6" y="6"/>
                    </a:lnTo>
                    <a:lnTo>
                      <a:pt x="2" y="10"/>
                    </a:lnTo>
                    <a:lnTo>
                      <a:pt x="0" y="16"/>
                    </a:lnTo>
                    <a:lnTo>
                      <a:pt x="0" y="144"/>
                    </a:lnTo>
                    <a:lnTo>
                      <a:pt x="0" y="144"/>
                    </a:lnTo>
                    <a:lnTo>
                      <a:pt x="2" y="150"/>
                    </a:lnTo>
                    <a:lnTo>
                      <a:pt x="6" y="156"/>
                    </a:lnTo>
                    <a:lnTo>
                      <a:pt x="10" y="160"/>
                    </a:lnTo>
                    <a:lnTo>
                      <a:pt x="16" y="160"/>
                    </a:lnTo>
                    <a:lnTo>
                      <a:pt x="268" y="160"/>
                    </a:lnTo>
                    <a:lnTo>
                      <a:pt x="268" y="160"/>
                    </a:lnTo>
                    <a:lnTo>
                      <a:pt x="274" y="160"/>
                    </a:lnTo>
                    <a:lnTo>
                      <a:pt x="280" y="156"/>
                    </a:lnTo>
                    <a:lnTo>
                      <a:pt x="282" y="150"/>
                    </a:lnTo>
                    <a:lnTo>
                      <a:pt x="284" y="144"/>
                    </a:lnTo>
                    <a:lnTo>
                      <a:pt x="284" y="16"/>
                    </a:lnTo>
                    <a:lnTo>
                      <a:pt x="284" y="16"/>
                    </a:lnTo>
                    <a:lnTo>
                      <a:pt x="282" y="10"/>
                    </a:lnTo>
                    <a:lnTo>
                      <a:pt x="280" y="6"/>
                    </a:lnTo>
                    <a:lnTo>
                      <a:pt x="274" y="2"/>
                    </a:lnTo>
                    <a:lnTo>
                      <a:pt x="268" y="0"/>
                    </a:lnTo>
                    <a:lnTo>
                      <a:pt x="268" y="0"/>
                    </a:lnTo>
                    <a:close/>
                    <a:moveTo>
                      <a:pt x="256" y="136"/>
                    </a:moveTo>
                    <a:lnTo>
                      <a:pt x="28" y="136"/>
                    </a:lnTo>
                    <a:lnTo>
                      <a:pt x="28" y="26"/>
                    </a:lnTo>
                    <a:lnTo>
                      <a:pt x="256" y="26"/>
                    </a:lnTo>
                    <a:lnTo>
                      <a:pt x="256" y="136"/>
                    </a:lnTo>
                    <a:close/>
                  </a:path>
                </a:pathLst>
              </a:custGeom>
              <a:grpFill/>
              <a:ln>
                <a:noFill/>
              </a:ln>
              <a:extLst/>
            </p:spPr>
            <p:txBody>
              <a:bodyPr vert="horz" wrap="square" lIns="91440" tIns="45720" rIns="91440" bIns="45720" numCol="1" anchor="t" anchorCtr="0" compatLnSpc="1">
                <a:prstTxWarp prst="textNoShape">
                  <a:avLst/>
                </a:prstTxWarp>
              </a:bodyPr>
              <a:lstStyle/>
              <a:p>
                <a:pPr defTabSz="975477">
                  <a:defRPr/>
                </a:pPr>
                <a:endParaRPr lang="en-US" sz="1920" kern="0">
                  <a:solidFill>
                    <a:prstClr val="white"/>
                  </a:solidFill>
                </a:endParaRPr>
              </a:p>
            </p:txBody>
          </p:sp>
          <p:sp>
            <p:nvSpPr>
              <p:cNvPr id="89" name="Freeform 108"/>
              <p:cNvSpPr>
                <a:spLocks/>
              </p:cNvSpPr>
              <p:nvPr/>
            </p:nvSpPr>
            <p:spPr bwMode="auto">
              <a:xfrm>
                <a:off x="3570288" y="966788"/>
                <a:ext cx="76200" cy="117475"/>
              </a:xfrm>
              <a:custGeom>
                <a:avLst/>
                <a:gdLst>
                  <a:gd name="T0" fmla="*/ 0 w 48"/>
                  <a:gd name="T1" fmla="*/ 0 h 74"/>
                  <a:gd name="T2" fmla="*/ 0 w 48"/>
                  <a:gd name="T3" fmla="*/ 74 h 74"/>
                  <a:gd name="T4" fmla="*/ 48 w 48"/>
                  <a:gd name="T5" fmla="*/ 36 h 74"/>
                  <a:gd name="T6" fmla="*/ 0 w 48"/>
                  <a:gd name="T7" fmla="*/ 0 h 74"/>
                </a:gdLst>
                <a:ahLst/>
                <a:cxnLst>
                  <a:cxn ang="0">
                    <a:pos x="T0" y="T1"/>
                  </a:cxn>
                  <a:cxn ang="0">
                    <a:pos x="T2" y="T3"/>
                  </a:cxn>
                  <a:cxn ang="0">
                    <a:pos x="T4" y="T5"/>
                  </a:cxn>
                  <a:cxn ang="0">
                    <a:pos x="T6" y="T7"/>
                  </a:cxn>
                </a:cxnLst>
                <a:rect l="0" t="0" r="r" b="b"/>
                <a:pathLst>
                  <a:path w="48" h="74">
                    <a:moveTo>
                      <a:pt x="0" y="0"/>
                    </a:moveTo>
                    <a:lnTo>
                      <a:pt x="0" y="74"/>
                    </a:lnTo>
                    <a:lnTo>
                      <a:pt x="48" y="36"/>
                    </a:lnTo>
                    <a:lnTo>
                      <a:pt x="0" y="0"/>
                    </a:lnTo>
                    <a:close/>
                  </a:path>
                </a:pathLst>
              </a:custGeom>
              <a:grpFill/>
              <a:ln>
                <a:noFill/>
              </a:ln>
              <a:extLst/>
            </p:spPr>
            <p:txBody>
              <a:bodyPr vert="horz" wrap="square" lIns="91440" tIns="45720" rIns="91440" bIns="45720" numCol="1" anchor="t" anchorCtr="0" compatLnSpc="1">
                <a:prstTxWarp prst="textNoShape">
                  <a:avLst/>
                </a:prstTxWarp>
              </a:bodyPr>
              <a:lstStyle/>
              <a:p>
                <a:pPr defTabSz="975477">
                  <a:defRPr/>
                </a:pPr>
                <a:endParaRPr lang="en-US" sz="1920" kern="0">
                  <a:solidFill>
                    <a:prstClr val="white"/>
                  </a:solidFill>
                </a:endParaRPr>
              </a:p>
            </p:txBody>
          </p:sp>
        </p:grpSp>
        <p:grpSp>
          <p:nvGrpSpPr>
            <p:cNvPr id="61" name="Group 60"/>
            <p:cNvGrpSpPr>
              <a:grpSpLocks noChangeAspect="1"/>
            </p:cNvGrpSpPr>
            <p:nvPr/>
          </p:nvGrpSpPr>
          <p:grpSpPr>
            <a:xfrm>
              <a:off x="4173933" y="2731263"/>
              <a:ext cx="337455" cy="204957"/>
              <a:chOff x="4722813" y="836613"/>
              <a:chExt cx="517525" cy="314325"/>
            </a:xfrm>
            <a:solidFill>
              <a:srgbClr val="0072C6"/>
            </a:solidFill>
          </p:grpSpPr>
          <p:sp>
            <p:nvSpPr>
              <p:cNvPr id="85" name="Freeform 104"/>
              <p:cNvSpPr>
                <a:spLocks/>
              </p:cNvSpPr>
              <p:nvPr/>
            </p:nvSpPr>
            <p:spPr bwMode="auto">
              <a:xfrm>
                <a:off x="4792663" y="836613"/>
                <a:ext cx="447675" cy="254000"/>
              </a:xfrm>
              <a:custGeom>
                <a:avLst/>
                <a:gdLst>
                  <a:gd name="T0" fmla="*/ 266 w 282"/>
                  <a:gd name="T1" fmla="*/ 0 h 160"/>
                  <a:gd name="T2" fmla="*/ 14 w 282"/>
                  <a:gd name="T3" fmla="*/ 0 h 160"/>
                  <a:gd name="T4" fmla="*/ 14 w 282"/>
                  <a:gd name="T5" fmla="*/ 0 h 160"/>
                  <a:gd name="T6" fmla="*/ 8 w 282"/>
                  <a:gd name="T7" fmla="*/ 0 h 160"/>
                  <a:gd name="T8" fmla="*/ 4 w 282"/>
                  <a:gd name="T9" fmla="*/ 4 h 160"/>
                  <a:gd name="T10" fmla="*/ 0 w 282"/>
                  <a:gd name="T11" fmla="*/ 8 h 160"/>
                  <a:gd name="T12" fmla="*/ 0 w 282"/>
                  <a:gd name="T13" fmla="*/ 16 h 160"/>
                  <a:gd name="T14" fmla="*/ 0 w 282"/>
                  <a:gd name="T15" fmla="*/ 20 h 160"/>
                  <a:gd name="T16" fmla="*/ 242 w 282"/>
                  <a:gd name="T17" fmla="*/ 20 h 160"/>
                  <a:gd name="T18" fmla="*/ 242 w 282"/>
                  <a:gd name="T19" fmla="*/ 20 h 160"/>
                  <a:gd name="T20" fmla="*/ 248 w 282"/>
                  <a:gd name="T21" fmla="*/ 22 h 160"/>
                  <a:gd name="T22" fmla="*/ 254 w 282"/>
                  <a:gd name="T23" fmla="*/ 24 h 160"/>
                  <a:gd name="T24" fmla="*/ 258 w 282"/>
                  <a:gd name="T25" fmla="*/ 30 h 160"/>
                  <a:gd name="T26" fmla="*/ 258 w 282"/>
                  <a:gd name="T27" fmla="*/ 36 h 160"/>
                  <a:gd name="T28" fmla="*/ 258 w 282"/>
                  <a:gd name="T29" fmla="*/ 160 h 160"/>
                  <a:gd name="T30" fmla="*/ 266 w 282"/>
                  <a:gd name="T31" fmla="*/ 160 h 160"/>
                  <a:gd name="T32" fmla="*/ 266 w 282"/>
                  <a:gd name="T33" fmla="*/ 160 h 160"/>
                  <a:gd name="T34" fmla="*/ 272 w 282"/>
                  <a:gd name="T35" fmla="*/ 158 h 160"/>
                  <a:gd name="T36" fmla="*/ 278 w 282"/>
                  <a:gd name="T37" fmla="*/ 154 h 160"/>
                  <a:gd name="T38" fmla="*/ 282 w 282"/>
                  <a:gd name="T39" fmla="*/ 150 h 160"/>
                  <a:gd name="T40" fmla="*/ 282 w 282"/>
                  <a:gd name="T41" fmla="*/ 144 h 160"/>
                  <a:gd name="T42" fmla="*/ 282 w 282"/>
                  <a:gd name="T43" fmla="*/ 16 h 160"/>
                  <a:gd name="T44" fmla="*/ 282 w 282"/>
                  <a:gd name="T45" fmla="*/ 16 h 160"/>
                  <a:gd name="T46" fmla="*/ 282 w 282"/>
                  <a:gd name="T47" fmla="*/ 8 h 160"/>
                  <a:gd name="T48" fmla="*/ 278 w 282"/>
                  <a:gd name="T49" fmla="*/ 4 h 160"/>
                  <a:gd name="T50" fmla="*/ 272 w 282"/>
                  <a:gd name="T51" fmla="*/ 0 h 160"/>
                  <a:gd name="T52" fmla="*/ 266 w 282"/>
                  <a:gd name="T53" fmla="*/ 0 h 160"/>
                  <a:gd name="T54" fmla="*/ 266 w 282"/>
                  <a:gd name="T55" fmla="*/ 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82" h="160">
                    <a:moveTo>
                      <a:pt x="266" y="0"/>
                    </a:moveTo>
                    <a:lnTo>
                      <a:pt x="14" y="0"/>
                    </a:lnTo>
                    <a:lnTo>
                      <a:pt x="14" y="0"/>
                    </a:lnTo>
                    <a:lnTo>
                      <a:pt x="8" y="0"/>
                    </a:lnTo>
                    <a:lnTo>
                      <a:pt x="4" y="4"/>
                    </a:lnTo>
                    <a:lnTo>
                      <a:pt x="0" y="8"/>
                    </a:lnTo>
                    <a:lnTo>
                      <a:pt x="0" y="16"/>
                    </a:lnTo>
                    <a:lnTo>
                      <a:pt x="0" y="20"/>
                    </a:lnTo>
                    <a:lnTo>
                      <a:pt x="242" y="20"/>
                    </a:lnTo>
                    <a:lnTo>
                      <a:pt x="242" y="20"/>
                    </a:lnTo>
                    <a:lnTo>
                      <a:pt x="248" y="22"/>
                    </a:lnTo>
                    <a:lnTo>
                      <a:pt x="254" y="24"/>
                    </a:lnTo>
                    <a:lnTo>
                      <a:pt x="258" y="30"/>
                    </a:lnTo>
                    <a:lnTo>
                      <a:pt x="258" y="36"/>
                    </a:lnTo>
                    <a:lnTo>
                      <a:pt x="258" y="160"/>
                    </a:lnTo>
                    <a:lnTo>
                      <a:pt x="266" y="160"/>
                    </a:lnTo>
                    <a:lnTo>
                      <a:pt x="266" y="160"/>
                    </a:lnTo>
                    <a:lnTo>
                      <a:pt x="272" y="158"/>
                    </a:lnTo>
                    <a:lnTo>
                      <a:pt x="278" y="154"/>
                    </a:lnTo>
                    <a:lnTo>
                      <a:pt x="282" y="150"/>
                    </a:lnTo>
                    <a:lnTo>
                      <a:pt x="282" y="144"/>
                    </a:lnTo>
                    <a:lnTo>
                      <a:pt x="282" y="16"/>
                    </a:lnTo>
                    <a:lnTo>
                      <a:pt x="282" y="16"/>
                    </a:lnTo>
                    <a:lnTo>
                      <a:pt x="282" y="8"/>
                    </a:lnTo>
                    <a:lnTo>
                      <a:pt x="278" y="4"/>
                    </a:lnTo>
                    <a:lnTo>
                      <a:pt x="272" y="0"/>
                    </a:lnTo>
                    <a:lnTo>
                      <a:pt x="266" y="0"/>
                    </a:lnTo>
                    <a:lnTo>
                      <a:pt x="266" y="0"/>
                    </a:lnTo>
                    <a:close/>
                  </a:path>
                </a:pathLst>
              </a:custGeom>
              <a:grpFill/>
              <a:ln>
                <a:noFill/>
              </a:ln>
              <a:extLst/>
            </p:spPr>
            <p:txBody>
              <a:bodyPr vert="horz" wrap="square" lIns="91440" tIns="45720" rIns="91440" bIns="45720" numCol="1" anchor="t" anchorCtr="0" compatLnSpc="1">
                <a:prstTxWarp prst="textNoShape">
                  <a:avLst/>
                </a:prstTxWarp>
              </a:bodyPr>
              <a:lstStyle/>
              <a:p>
                <a:pPr defTabSz="975477">
                  <a:defRPr/>
                </a:pPr>
                <a:endParaRPr lang="en-US" sz="1920" kern="0">
                  <a:solidFill>
                    <a:prstClr val="white"/>
                  </a:solidFill>
                </a:endParaRPr>
              </a:p>
            </p:txBody>
          </p:sp>
          <p:sp>
            <p:nvSpPr>
              <p:cNvPr id="86" name="Freeform 105"/>
              <p:cNvSpPr>
                <a:spLocks noEditPoints="1"/>
              </p:cNvSpPr>
              <p:nvPr/>
            </p:nvSpPr>
            <p:spPr bwMode="auto">
              <a:xfrm>
                <a:off x="4722813" y="896938"/>
                <a:ext cx="447675" cy="254000"/>
              </a:xfrm>
              <a:custGeom>
                <a:avLst/>
                <a:gdLst>
                  <a:gd name="T0" fmla="*/ 266 w 282"/>
                  <a:gd name="T1" fmla="*/ 0 h 160"/>
                  <a:gd name="T2" fmla="*/ 14 w 282"/>
                  <a:gd name="T3" fmla="*/ 0 h 160"/>
                  <a:gd name="T4" fmla="*/ 14 w 282"/>
                  <a:gd name="T5" fmla="*/ 0 h 160"/>
                  <a:gd name="T6" fmla="*/ 8 w 282"/>
                  <a:gd name="T7" fmla="*/ 2 h 160"/>
                  <a:gd name="T8" fmla="*/ 4 w 282"/>
                  <a:gd name="T9" fmla="*/ 6 h 160"/>
                  <a:gd name="T10" fmla="*/ 0 w 282"/>
                  <a:gd name="T11" fmla="*/ 10 h 160"/>
                  <a:gd name="T12" fmla="*/ 0 w 282"/>
                  <a:gd name="T13" fmla="*/ 16 h 160"/>
                  <a:gd name="T14" fmla="*/ 0 w 282"/>
                  <a:gd name="T15" fmla="*/ 144 h 160"/>
                  <a:gd name="T16" fmla="*/ 0 w 282"/>
                  <a:gd name="T17" fmla="*/ 144 h 160"/>
                  <a:gd name="T18" fmla="*/ 0 w 282"/>
                  <a:gd name="T19" fmla="*/ 150 h 160"/>
                  <a:gd name="T20" fmla="*/ 4 w 282"/>
                  <a:gd name="T21" fmla="*/ 156 h 160"/>
                  <a:gd name="T22" fmla="*/ 8 w 282"/>
                  <a:gd name="T23" fmla="*/ 160 h 160"/>
                  <a:gd name="T24" fmla="*/ 14 w 282"/>
                  <a:gd name="T25" fmla="*/ 160 h 160"/>
                  <a:gd name="T26" fmla="*/ 266 w 282"/>
                  <a:gd name="T27" fmla="*/ 160 h 160"/>
                  <a:gd name="T28" fmla="*/ 266 w 282"/>
                  <a:gd name="T29" fmla="*/ 160 h 160"/>
                  <a:gd name="T30" fmla="*/ 272 w 282"/>
                  <a:gd name="T31" fmla="*/ 160 h 160"/>
                  <a:gd name="T32" fmla="*/ 278 w 282"/>
                  <a:gd name="T33" fmla="*/ 156 h 160"/>
                  <a:gd name="T34" fmla="*/ 282 w 282"/>
                  <a:gd name="T35" fmla="*/ 150 h 160"/>
                  <a:gd name="T36" fmla="*/ 282 w 282"/>
                  <a:gd name="T37" fmla="*/ 144 h 160"/>
                  <a:gd name="T38" fmla="*/ 282 w 282"/>
                  <a:gd name="T39" fmla="*/ 16 h 160"/>
                  <a:gd name="T40" fmla="*/ 282 w 282"/>
                  <a:gd name="T41" fmla="*/ 16 h 160"/>
                  <a:gd name="T42" fmla="*/ 282 w 282"/>
                  <a:gd name="T43" fmla="*/ 10 h 160"/>
                  <a:gd name="T44" fmla="*/ 278 w 282"/>
                  <a:gd name="T45" fmla="*/ 6 h 160"/>
                  <a:gd name="T46" fmla="*/ 272 w 282"/>
                  <a:gd name="T47" fmla="*/ 2 h 160"/>
                  <a:gd name="T48" fmla="*/ 266 w 282"/>
                  <a:gd name="T49" fmla="*/ 0 h 160"/>
                  <a:gd name="T50" fmla="*/ 266 w 282"/>
                  <a:gd name="T51" fmla="*/ 0 h 160"/>
                  <a:gd name="T52" fmla="*/ 254 w 282"/>
                  <a:gd name="T53" fmla="*/ 136 h 160"/>
                  <a:gd name="T54" fmla="*/ 28 w 282"/>
                  <a:gd name="T55" fmla="*/ 136 h 160"/>
                  <a:gd name="T56" fmla="*/ 28 w 282"/>
                  <a:gd name="T57" fmla="*/ 26 h 160"/>
                  <a:gd name="T58" fmla="*/ 254 w 282"/>
                  <a:gd name="T59" fmla="*/ 26 h 160"/>
                  <a:gd name="T60" fmla="*/ 254 w 282"/>
                  <a:gd name="T61" fmla="*/ 136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82" h="160">
                    <a:moveTo>
                      <a:pt x="266" y="0"/>
                    </a:moveTo>
                    <a:lnTo>
                      <a:pt x="14" y="0"/>
                    </a:lnTo>
                    <a:lnTo>
                      <a:pt x="14" y="0"/>
                    </a:lnTo>
                    <a:lnTo>
                      <a:pt x="8" y="2"/>
                    </a:lnTo>
                    <a:lnTo>
                      <a:pt x="4" y="6"/>
                    </a:lnTo>
                    <a:lnTo>
                      <a:pt x="0" y="10"/>
                    </a:lnTo>
                    <a:lnTo>
                      <a:pt x="0" y="16"/>
                    </a:lnTo>
                    <a:lnTo>
                      <a:pt x="0" y="144"/>
                    </a:lnTo>
                    <a:lnTo>
                      <a:pt x="0" y="144"/>
                    </a:lnTo>
                    <a:lnTo>
                      <a:pt x="0" y="150"/>
                    </a:lnTo>
                    <a:lnTo>
                      <a:pt x="4" y="156"/>
                    </a:lnTo>
                    <a:lnTo>
                      <a:pt x="8" y="160"/>
                    </a:lnTo>
                    <a:lnTo>
                      <a:pt x="14" y="160"/>
                    </a:lnTo>
                    <a:lnTo>
                      <a:pt x="266" y="160"/>
                    </a:lnTo>
                    <a:lnTo>
                      <a:pt x="266" y="160"/>
                    </a:lnTo>
                    <a:lnTo>
                      <a:pt x="272" y="160"/>
                    </a:lnTo>
                    <a:lnTo>
                      <a:pt x="278" y="156"/>
                    </a:lnTo>
                    <a:lnTo>
                      <a:pt x="282" y="150"/>
                    </a:lnTo>
                    <a:lnTo>
                      <a:pt x="282" y="144"/>
                    </a:lnTo>
                    <a:lnTo>
                      <a:pt x="282" y="16"/>
                    </a:lnTo>
                    <a:lnTo>
                      <a:pt x="282" y="16"/>
                    </a:lnTo>
                    <a:lnTo>
                      <a:pt x="282" y="10"/>
                    </a:lnTo>
                    <a:lnTo>
                      <a:pt x="278" y="6"/>
                    </a:lnTo>
                    <a:lnTo>
                      <a:pt x="272" y="2"/>
                    </a:lnTo>
                    <a:lnTo>
                      <a:pt x="266" y="0"/>
                    </a:lnTo>
                    <a:lnTo>
                      <a:pt x="266" y="0"/>
                    </a:lnTo>
                    <a:close/>
                    <a:moveTo>
                      <a:pt x="254" y="136"/>
                    </a:moveTo>
                    <a:lnTo>
                      <a:pt x="28" y="136"/>
                    </a:lnTo>
                    <a:lnTo>
                      <a:pt x="28" y="26"/>
                    </a:lnTo>
                    <a:lnTo>
                      <a:pt x="254" y="26"/>
                    </a:lnTo>
                    <a:lnTo>
                      <a:pt x="254" y="136"/>
                    </a:lnTo>
                    <a:close/>
                  </a:path>
                </a:pathLst>
              </a:custGeom>
              <a:grpFill/>
              <a:ln>
                <a:noFill/>
              </a:ln>
              <a:extLst/>
            </p:spPr>
            <p:txBody>
              <a:bodyPr vert="horz" wrap="square" lIns="91440" tIns="45720" rIns="91440" bIns="45720" numCol="1" anchor="t" anchorCtr="0" compatLnSpc="1">
                <a:prstTxWarp prst="textNoShape">
                  <a:avLst/>
                </a:prstTxWarp>
              </a:bodyPr>
              <a:lstStyle/>
              <a:p>
                <a:pPr defTabSz="975477">
                  <a:defRPr/>
                </a:pPr>
                <a:endParaRPr lang="en-US" sz="1920" kern="0">
                  <a:solidFill>
                    <a:prstClr val="white"/>
                  </a:solidFill>
                </a:endParaRPr>
              </a:p>
            </p:txBody>
          </p:sp>
          <p:sp>
            <p:nvSpPr>
              <p:cNvPr id="87" name="Freeform 106"/>
              <p:cNvSpPr>
                <a:spLocks/>
              </p:cNvSpPr>
              <p:nvPr/>
            </p:nvSpPr>
            <p:spPr bwMode="auto">
              <a:xfrm>
                <a:off x="4919663" y="966788"/>
                <a:ext cx="76200" cy="117475"/>
              </a:xfrm>
              <a:custGeom>
                <a:avLst/>
                <a:gdLst>
                  <a:gd name="T0" fmla="*/ 0 w 48"/>
                  <a:gd name="T1" fmla="*/ 0 h 74"/>
                  <a:gd name="T2" fmla="*/ 0 w 48"/>
                  <a:gd name="T3" fmla="*/ 74 h 74"/>
                  <a:gd name="T4" fmla="*/ 48 w 48"/>
                  <a:gd name="T5" fmla="*/ 36 h 74"/>
                  <a:gd name="T6" fmla="*/ 0 w 48"/>
                  <a:gd name="T7" fmla="*/ 0 h 74"/>
                </a:gdLst>
                <a:ahLst/>
                <a:cxnLst>
                  <a:cxn ang="0">
                    <a:pos x="T0" y="T1"/>
                  </a:cxn>
                  <a:cxn ang="0">
                    <a:pos x="T2" y="T3"/>
                  </a:cxn>
                  <a:cxn ang="0">
                    <a:pos x="T4" y="T5"/>
                  </a:cxn>
                  <a:cxn ang="0">
                    <a:pos x="T6" y="T7"/>
                  </a:cxn>
                </a:cxnLst>
                <a:rect l="0" t="0" r="r" b="b"/>
                <a:pathLst>
                  <a:path w="48" h="74">
                    <a:moveTo>
                      <a:pt x="0" y="0"/>
                    </a:moveTo>
                    <a:lnTo>
                      <a:pt x="0" y="74"/>
                    </a:lnTo>
                    <a:lnTo>
                      <a:pt x="48" y="36"/>
                    </a:lnTo>
                    <a:lnTo>
                      <a:pt x="0" y="0"/>
                    </a:lnTo>
                    <a:close/>
                  </a:path>
                </a:pathLst>
              </a:custGeom>
              <a:grpFill/>
              <a:ln>
                <a:noFill/>
              </a:ln>
              <a:extLst/>
            </p:spPr>
            <p:txBody>
              <a:bodyPr vert="horz" wrap="square" lIns="91440" tIns="45720" rIns="91440" bIns="45720" numCol="1" anchor="t" anchorCtr="0" compatLnSpc="1">
                <a:prstTxWarp prst="textNoShape">
                  <a:avLst/>
                </a:prstTxWarp>
              </a:bodyPr>
              <a:lstStyle/>
              <a:p>
                <a:pPr defTabSz="975477">
                  <a:defRPr/>
                </a:pPr>
                <a:endParaRPr lang="en-US" sz="1920" kern="0">
                  <a:solidFill>
                    <a:prstClr val="white"/>
                  </a:solidFill>
                </a:endParaRPr>
              </a:p>
            </p:txBody>
          </p:sp>
        </p:grpSp>
        <p:sp>
          <p:nvSpPr>
            <p:cNvPr id="62" name="Freeform 59"/>
            <p:cNvSpPr>
              <a:spLocks noChangeAspect="1" noEditPoints="1"/>
            </p:cNvSpPr>
            <p:nvPr/>
          </p:nvSpPr>
          <p:spPr bwMode="auto">
            <a:xfrm>
              <a:off x="6351773" y="2659837"/>
              <a:ext cx="279320" cy="337291"/>
            </a:xfrm>
            <a:custGeom>
              <a:avLst/>
              <a:gdLst>
                <a:gd name="T0" fmla="*/ 0 w 212"/>
                <a:gd name="T1" fmla="*/ 188 h 256"/>
                <a:gd name="T2" fmla="*/ 106 w 212"/>
                <a:gd name="T3" fmla="*/ 56 h 256"/>
                <a:gd name="T4" fmla="*/ 128 w 212"/>
                <a:gd name="T5" fmla="*/ 90 h 256"/>
                <a:gd name="T6" fmla="*/ 134 w 212"/>
                <a:gd name="T7" fmla="*/ 110 h 256"/>
                <a:gd name="T8" fmla="*/ 134 w 212"/>
                <a:gd name="T9" fmla="*/ 152 h 256"/>
                <a:gd name="T10" fmla="*/ 128 w 212"/>
                <a:gd name="T11" fmla="*/ 170 h 256"/>
                <a:gd name="T12" fmla="*/ 106 w 212"/>
                <a:gd name="T13" fmla="*/ 206 h 256"/>
                <a:gd name="T14" fmla="*/ 104 w 212"/>
                <a:gd name="T15" fmla="*/ 208 h 256"/>
                <a:gd name="T16" fmla="*/ 90 w 212"/>
                <a:gd name="T17" fmla="*/ 200 h 256"/>
                <a:gd name="T18" fmla="*/ 106 w 212"/>
                <a:gd name="T19" fmla="*/ 182 h 256"/>
                <a:gd name="T20" fmla="*/ 120 w 212"/>
                <a:gd name="T21" fmla="*/ 148 h 256"/>
                <a:gd name="T22" fmla="*/ 122 w 212"/>
                <a:gd name="T23" fmla="*/ 130 h 256"/>
                <a:gd name="T24" fmla="*/ 116 w 212"/>
                <a:gd name="T25" fmla="*/ 96 h 256"/>
                <a:gd name="T26" fmla="*/ 94 w 212"/>
                <a:gd name="T27" fmla="*/ 66 h 256"/>
                <a:gd name="T28" fmla="*/ 90 w 212"/>
                <a:gd name="T29" fmla="*/ 62 h 256"/>
                <a:gd name="T30" fmla="*/ 98 w 212"/>
                <a:gd name="T31" fmla="*/ 48 h 256"/>
                <a:gd name="T32" fmla="*/ 106 w 212"/>
                <a:gd name="T33" fmla="*/ 56 h 256"/>
                <a:gd name="T34" fmla="*/ 122 w 212"/>
                <a:gd name="T35" fmla="*/ 222 h 256"/>
                <a:gd name="T36" fmla="*/ 138 w 212"/>
                <a:gd name="T37" fmla="*/ 202 h 256"/>
                <a:gd name="T38" fmla="*/ 150 w 212"/>
                <a:gd name="T39" fmla="*/ 180 h 256"/>
                <a:gd name="T40" fmla="*/ 154 w 212"/>
                <a:gd name="T41" fmla="*/ 168 h 256"/>
                <a:gd name="T42" fmla="*/ 158 w 212"/>
                <a:gd name="T43" fmla="*/ 144 h 256"/>
                <a:gd name="T44" fmla="*/ 160 w 212"/>
                <a:gd name="T45" fmla="*/ 130 h 256"/>
                <a:gd name="T46" fmla="*/ 156 w 212"/>
                <a:gd name="T47" fmla="*/ 106 h 256"/>
                <a:gd name="T48" fmla="*/ 154 w 212"/>
                <a:gd name="T49" fmla="*/ 94 h 256"/>
                <a:gd name="T50" fmla="*/ 144 w 212"/>
                <a:gd name="T51" fmla="*/ 70 h 256"/>
                <a:gd name="T52" fmla="*/ 130 w 212"/>
                <a:gd name="T53" fmla="*/ 48 h 256"/>
                <a:gd name="T54" fmla="*/ 118 w 212"/>
                <a:gd name="T55" fmla="*/ 36 h 256"/>
                <a:gd name="T56" fmla="*/ 128 w 212"/>
                <a:gd name="T57" fmla="*/ 26 h 256"/>
                <a:gd name="T58" fmla="*/ 130 w 212"/>
                <a:gd name="T59" fmla="*/ 28 h 256"/>
                <a:gd name="T60" fmla="*/ 142 w 212"/>
                <a:gd name="T61" fmla="*/ 40 h 256"/>
                <a:gd name="T62" fmla="*/ 158 w 212"/>
                <a:gd name="T63" fmla="*/ 64 h 256"/>
                <a:gd name="T64" fmla="*/ 168 w 212"/>
                <a:gd name="T65" fmla="*/ 90 h 256"/>
                <a:gd name="T66" fmla="*/ 172 w 212"/>
                <a:gd name="T67" fmla="*/ 116 h 256"/>
                <a:gd name="T68" fmla="*/ 172 w 212"/>
                <a:gd name="T69" fmla="*/ 144 h 256"/>
                <a:gd name="T70" fmla="*/ 168 w 212"/>
                <a:gd name="T71" fmla="*/ 172 h 256"/>
                <a:gd name="T72" fmla="*/ 158 w 212"/>
                <a:gd name="T73" fmla="*/ 198 h 256"/>
                <a:gd name="T74" fmla="*/ 142 w 212"/>
                <a:gd name="T75" fmla="*/ 220 h 256"/>
                <a:gd name="T76" fmla="*/ 160 w 212"/>
                <a:gd name="T77" fmla="*/ 2 h 256"/>
                <a:gd name="T78" fmla="*/ 182 w 212"/>
                <a:gd name="T79" fmla="*/ 30 h 256"/>
                <a:gd name="T80" fmla="*/ 200 w 212"/>
                <a:gd name="T81" fmla="*/ 62 h 256"/>
                <a:gd name="T82" fmla="*/ 210 w 212"/>
                <a:gd name="T83" fmla="*/ 96 h 256"/>
                <a:gd name="T84" fmla="*/ 212 w 212"/>
                <a:gd name="T85" fmla="*/ 130 h 256"/>
                <a:gd name="T86" fmla="*/ 210 w 212"/>
                <a:gd name="T87" fmla="*/ 164 h 256"/>
                <a:gd name="T88" fmla="*/ 200 w 212"/>
                <a:gd name="T89" fmla="*/ 198 h 256"/>
                <a:gd name="T90" fmla="*/ 184 w 212"/>
                <a:gd name="T91" fmla="*/ 228 h 256"/>
                <a:gd name="T92" fmla="*/ 162 w 212"/>
                <a:gd name="T93" fmla="*/ 256 h 256"/>
                <a:gd name="T94" fmla="*/ 162 w 212"/>
                <a:gd name="T95" fmla="*/ 236 h 256"/>
                <a:gd name="T96" fmla="*/ 170 w 212"/>
                <a:gd name="T97" fmla="*/ 224 h 256"/>
                <a:gd name="T98" fmla="*/ 186 w 212"/>
                <a:gd name="T99" fmla="*/ 194 h 256"/>
                <a:gd name="T100" fmla="*/ 196 w 212"/>
                <a:gd name="T101" fmla="*/ 162 h 256"/>
                <a:gd name="T102" fmla="*/ 198 w 212"/>
                <a:gd name="T103" fmla="*/ 146 h 256"/>
                <a:gd name="T104" fmla="*/ 198 w 212"/>
                <a:gd name="T105" fmla="*/ 114 h 256"/>
                <a:gd name="T106" fmla="*/ 196 w 212"/>
                <a:gd name="T107" fmla="*/ 98 h 256"/>
                <a:gd name="T108" fmla="*/ 186 w 212"/>
                <a:gd name="T109" fmla="*/ 68 h 256"/>
                <a:gd name="T110" fmla="*/ 178 w 212"/>
                <a:gd name="T111" fmla="*/ 52 h 256"/>
                <a:gd name="T112" fmla="*/ 160 w 212"/>
                <a:gd name="T113" fmla="*/ 24 h 256"/>
                <a:gd name="T114" fmla="*/ 148 w 212"/>
                <a:gd name="T115" fmla="*/ 10 h 256"/>
                <a:gd name="T116" fmla="*/ 158 w 212"/>
                <a:gd name="T117" fmla="*/ 0 h 256"/>
                <a:gd name="T118" fmla="*/ 158 w 212"/>
                <a:gd name="T119" fmla="*/ 2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12" h="256">
                  <a:moveTo>
                    <a:pt x="0" y="74"/>
                  </a:moveTo>
                  <a:lnTo>
                    <a:pt x="74" y="130"/>
                  </a:lnTo>
                  <a:lnTo>
                    <a:pt x="0" y="188"/>
                  </a:lnTo>
                  <a:lnTo>
                    <a:pt x="0" y="74"/>
                  </a:lnTo>
                  <a:close/>
                  <a:moveTo>
                    <a:pt x="106" y="56"/>
                  </a:moveTo>
                  <a:lnTo>
                    <a:pt x="106" y="56"/>
                  </a:lnTo>
                  <a:lnTo>
                    <a:pt x="118" y="72"/>
                  </a:lnTo>
                  <a:lnTo>
                    <a:pt x="118" y="72"/>
                  </a:lnTo>
                  <a:lnTo>
                    <a:pt x="128" y="90"/>
                  </a:lnTo>
                  <a:lnTo>
                    <a:pt x="128" y="90"/>
                  </a:lnTo>
                  <a:lnTo>
                    <a:pt x="134" y="110"/>
                  </a:lnTo>
                  <a:lnTo>
                    <a:pt x="134" y="110"/>
                  </a:lnTo>
                  <a:lnTo>
                    <a:pt x="136" y="130"/>
                  </a:lnTo>
                  <a:lnTo>
                    <a:pt x="136" y="130"/>
                  </a:lnTo>
                  <a:lnTo>
                    <a:pt x="134" y="152"/>
                  </a:lnTo>
                  <a:lnTo>
                    <a:pt x="134" y="152"/>
                  </a:lnTo>
                  <a:lnTo>
                    <a:pt x="128" y="170"/>
                  </a:lnTo>
                  <a:lnTo>
                    <a:pt x="128" y="170"/>
                  </a:lnTo>
                  <a:lnTo>
                    <a:pt x="118" y="190"/>
                  </a:lnTo>
                  <a:lnTo>
                    <a:pt x="118" y="190"/>
                  </a:lnTo>
                  <a:lnTo>
                    <a:pt x="106" y="206"/>
                  </a:lnTo>
                  <a:lnTo>
                    <a:pt x="106" y="206"/>
                  </a:lnTo>
                  <a:lnTo>
                    <a:pt x="104" y="208"/>
                  </a:lnTo>
                  <a:lnTo>
                    <a:pt x="104" y="208"/>
                  </a:lnTo>
                  <a:lnTo>
                    <a:pt x="102" y="208"/>
                  </a:lnTo>
                  <a:lnTo>
                    <a:pt x="90" y="200"/>
                  </a:lnTo>
                  <a:lnTo>
                    <a:pt x="90" y="200"/>
                  </a:lnTo>
                  <a:lnTo>
                    <a:pt x="94" y="196"/>
                  </a:lnTo>
                  <a:lnTo>
                    <a:pt x="94" y="196"/>
                  </a:lnTo>
                  <a:lnTo>
                    <a:pt x="106" y="182"/>
                  </a:lnTo>
                  <a:lnTo>
                    <a:pt x="116" y="166"/>
                  </a:lnTo>
                  <a:lnTo>
                    <a:pt x="116" y="166"/>
                  </a:lnTo>
                  <a:lnTo>
                    <a:pt x="120" y="148"/>
                  </a:lnTo>
                  <a:lnTo>
                    <a:pt x="120" y="148"/>
                  </a:lnTo>
                  <a:lnTo>
                    <a:pt x="122" y="130"/>
                  </a:lnTo>
                  <a:lnTo>
                    <a:pt x="122" y="130"/>
                  </a:lnTo>
                  <a:lnTo>
                    <a:pt x="120" y="114"/>
                  </a:lnTo>
                  <a:lnTo>
                    <a:pt x="116" y="96"/>
                  </a:lnTo>
                  <a:lnTo>
                    <a:pt x="116" y="96"/>
                  </a:lnTo>
                  <a:lnTo>
                    <a:pt x="106" y="80"/>
                  </a:lnTo>
                  <a:lnTo>
                    <a:pt x="106" y="80"/>
                  </a:lnTo>
                  <a:lnTo>
                    <a:pt x="94" y="66"/>
                  </a:lnTo>
                  <a:lnTo>
                    <a:pt x="94" y="66"/>
                  </a:lnTo>
                  <a:lnTo>
                    <a:pt x="90" y="62"/>
                  </a:lnTo>
                  <a:lnTo>
                    <a:pt x="90" y="62"/>
                  </a:lnTo>
                  <a:lnTo>
                    <a:pt x="86" y="58"/>
                  </a:lnTo>
                  <a:lnTo>
                    <a:pt x="98" y="48"/>
                  </a:lnTo>
                  <a:lnTo>
                    <a:pt x="98" y="48"/>
                  </a:lnTo>
                  <a:lnTo>
                    <a:pt x="102" y="52"/>
                  </a:lnTo>
                  <a:lnTo>
                    <a:pt x="102" y="52"/>
                  </a:lnTo>
                  <a:lnTo>
                    <a:pt x="106" y="56"/>
                  </a:lnTo>
                  <a:lnTo>
                    <a:pt x="106" y="56"/>
                  </a:lnTo>
                  <a:close/>
                  <a:moveTo>
                    <a:pt x="120" y="222"/>
                  </a:moveTo>
                  <a:lnTo>
                    <a:pt x="122" y="222"/>
                  </a:lnTo>
                  <a:lnTo>
                    <a:pt x="122" y="222"/>
                  </a:lnTo>
                  <a:lnTo>
                    <a:pt x="130" y="212"/>
                  </a:lnTo>
                  <a:lnTo>
                    <a:pt x="138" y="202"/>
                  </a:lnTo>
                  <a:lnTo>
                    <a:pt x="138" y="202"/>
                  </a:lnTo>
                  <a:lnTo>
                    <a:pt x="144" y="192"/>
                  </a:lnTo>
                  <a:lnTo>
                    <a:pt x="150" y="180"/>
                  </a:lnTo>
                  <a:lnTo>
                    <a:pt x="150" y="180"/>
                  </a:lnTo>
                  <a:lnTo>
                    <a:pt x="154" y="168"/>
                  </a:lnTo>
                  <a:lnTo>
                    <a:pt x="154" y="168"/>
                  </a:lnTo>
                  <a:lnTo>
                    <a:pt x="156" y="156"/>
                  </a:lnTo>
                  <a:lnTo>
                    <a:pt x="156" y="156"/>
                  </a:lnTo>
                  <a:lnTo>
                    <a:pt x="158" y="144"/>
                  </a:lnTo>
                  <a:lnTo>
                    <a:pt x="158" y="144"/>
                  </a:lnTo>
                  <a:lnTo>
                    <a:pt x="160" y="130"/>
                  </a:lnTo>
                  <a:lnTo>
                    <a:pt x="160" y="130"/>
                  </a:lnTo>
                  <a:lnTo>
                    <a:pt x="158" y="118"/>
                  </a:lnTo>
                  <a:lnTo>
                    <a:pt x="158" y="118"/>
                  </a:lnTo>
                  <a:lnTo>
                    <a:pt x="156" y="106"/>
                  </a:lnTo>
                  <a:lnTo>
                    <a:pt x="156" y="106"/>
                  </a:lnTo>
                  <a:lnTo>
                    <a:pt x="154" y="94"/>
                  </a:lnTo>
                  <a:lnTo>
                    <a:pt x="154" y="94"/>
                  </a:lnTo>
                  <a:lnTo>
                    <a:pt x="150" y="82"/>
                  </a:lnTo>
                  <a:lnTo>
                    <a:pt x="150" y="82"/>
                  </a:lnTo>
                  <a:lnTo>
                    <a:pt x="144" y="70"/>
                  </a:lnTo>
                  <a:lnTo>
                    <a:pt x="138" y="60"/>
                  </a:lnTo>
                  <a:lnTo>
                    <a:pt x="138" y="60"/>
                  </a:lnTo>
                  <a:lnTo>
                    <a:pt x="130" y="48"/>
                  </a:lnTo>
                  <a:lnTo>
                    <a:pt x="122" y="40"/>
                  </a:lnTo>
                  <a:lnTo>
                    <a:pt x="122" y="40"/>
                  </a:lnTo>
                  <a:lnTo>
                    <a:pt x="118" y="36"/>
                  </a:lnTo>
                  <a:lnTo>
                    <a:pt x="118" y="36"/>
                  </a:lnTo>
                  <a:lnTo>
                    <a:pt x="116" y="34"/>
                  </a:lnTo>
                  <a:lnTo>
                    <a:pt x="128" y="26"/>
                  </a:lnTo>
                  <a:lnTo>
                    <a:pt x="128" y="26"/>
                  </a:lnTo>
                  <a:lnTo>
                    <a:pt x="130" y="28"/>
                  </a:lnTo>
                  <a:lnTo>
                    <a:pt x="130" y="28"/>
                  </a:lnTo>
                  <a:lnTo>
                    <a:pt x="132" y="30"/>
                  </a:lnTo>
                  <a:lnTo>
                    <a:pt x="132" y="30"/>
                  </a:lnTo>
                  <a:lnTo>
                    <a:pt x="142" y="40"/>
                  </a:lnTo>
                  <a:lnTo>
                    <a:pt x="150" y="52"/>
                  </a:lnTo>
                  <a:lnTo>
                    <a:pt x="150" y="52"/>
                  </a:lnTo>
                  <a:lnTo>
                    <a:pt x="158" y="64"/>
                  </a:lnTo>
                  <a:lnTo>
                    <a:pt x="164" y="76"/>
                  </a:lnTo>
                  <a:lnTo>
                    <a:pt x="164" y="76"/>
                  </a:lnTo>
                  <a:lnTo>
                    <a:pt x="168" y="90"/>
                  </a:lnTo>
                  <a:lnTo>
                    <a:pt x="170" y="104"/>
                  </a:lnTo>
                  <a:lnTo>
                    <a:pt x="170" y="104"/>
                  </a:lnTo>
                  <a:lnTo>
                    <a:pt x="172" y="116"/>
                  </a:lnTo>
                  <a:lnTo>
                    <a:pt x="174" y="130"/>
                  </a:lnTo>
                  <a:lnTo>
                    <a:pt x="174" y="130"/>
                  </a:lnTo>
                  <a:lnTo>
                    <a:pt x="172" y="144"/>
                  </a:lnTo>
                  <a:lnTo>
                    <a:pt x="170" y="158"/>
                  </a:lnTo>
                  <a:lnTo>
                    <a:pt x="170" y="158"/>
                  </a:lnTo>
                  <a:lnTo>
                    <a:pt x="168" y="172"/>
                  </a:lnTo>
                  <a:lnTo>
                    <a:pt x="164" y="184"/>
                  </a:lnTo>
                  <a:lnTo>
                    <a:pt x="164" y="184"/>
                  </a:lnTo>
                  <a:lnTo>
                    <a:pt x="158" y="198"/>
                  </a:lnTo>
                  <a:lnTo>
                    <a:pt x="150" y="210"/>
                  </a:lnTo>
                  <a:lnTo>
                    <a:pt x="150" y="210"/>
                  </a:lnTo>
                  <a:lnTo>
                    <a:pt x="142" y="220"/>
                  </a:lnTo>
                  <a:lnTo>
                    <a:pt x="132" y="232"/>
                  </a:lnTo>
                  <a:lnTo>
                    <a:pt x="120" y="222"/>
                  </a:lnTo>
                  <a:close/>
                  <a:moveTo>
                    <a:pt x="160" y="2"/>
                  </a:moveTo>
                  <a:lnTo>
                    <a:pt x="160" y="2"/>
                  </a:lnTo>
                  <a:lnTo>
                    <a:pt x="172" y="16"/>
                  </a:lnTo>
                  <a:lnTo>
                    <a:pt x="182" y="30"/>
                  </a:lnTo>
                  <a:lnTo>
                    <a:pt x="182" y="30"/>
                  </a:lnTo>
                  <a:lnTo>
                    <a:pt x="192" y="46"/>
                  </a:lnTo>
                  <a:lnTo>
                    <a:pt x="200" y="62"/>
                  </a:lnTo>
                  <a:lnTo>
                    <a:pt x="200" y="62"/>
                  </a:lnTo>
                  <a:lnTo>
                    <a:pt x="206" y="78"/>
                  </a:lnTo>
                  <a:lnTo>
                    <a:pt x="210" y="96"/>
                  </a:lnTo>
                  <a:lnTo>
                    <a:pt x="210" y="96"/>
                  </a:lnTo>
                  <a:lnTo>
                    <a:pt x="212" y="114"/>
                  </a:lnTo>
                  <a:lnTo>
                    <a:pt x="212" y="130"/>
                  </a:lnTo>
                  <a:lnTo>
                    <a:pt x="212" y="130"/>
                  </a:lnTo>
                  <a:lnTo>
                    <a:pt x="212" y="148"/>
                  </a:lnTo>
                  <a:lnTo>
                    <a:pt x="210" y="164"/>
                  </a:lnTo>
                  <a:lnTo>
                    <a:pt x="210" y="164"/>
                  </a:lnTo>
                  <a:lnTo>
                    <a:pt x="206" y="180"/>
                  </a:lnTo>
                  <a:lnTo>
                    <a:pt x="200" y="198"/>
                  </a:lnTo>
                  <a:lnTo>
                    <a:pt x="200" y="198"/>
                  </a:lnTo>
                  <a:lnTo>
                    <a:pt x="194" y="212"/>
                  </a:lnTo>
                  <a:lnTo>
                    <a:pt x="184" y="228"/>
                  </a:lnTo>
                  <a:lnTo>
                    <a:pt x="184" y="228"/>
                  </a:lnTo>
                  <a:lnTo>
                    <a:pt x="174" y="242"/>
                  </a:lnTo>
                  <a:lnTo>
                    <a:pt x="162" y="256"/>
                  </a:lnTo>
                  <a:lnTo>
                    <a:pt x="152" y="248"/>
                  </a:lnTo>
                  <a:lnTo>
                    <a:pt x="152" y="248"/>
                  </a:lnTo>
                  <a:lnTo>
                    <a:pt x="162" y="236"/>
                  </a:lnTo>
                  <a:lnTo>
                    <a:pt x="162" y="236"/>
                  </a:lnTo>
                  <a:lnTo>
                    <a:pt x="170" y="224"/>
                  </a:lnTo>
                  <a:lnTo>
                    <a:pt x="170" y="224"/>
                  </a:lnTo>
                  <a:lnTo>
                    <a:pt x="178" y="210"/>
                  </a:lnTo>
                  <a:lnTo>
                    <a:pt x="186" y="194"/>
                  </a:lnTo>
                  <a:lnTo>
                    <a:pt x="186" y="194"/>
                  </a:lnTo>
                  <a:lnTo>
                    <a:pt x="192" y="178"/>
                  </a:lnTo>
                  <a:lnTo>
                    <a:pt x="192" y="178"/>
                  </a:lnTo>
                  <a:lnTo>
                    <a:pt x="196" y="162"/>
                  </a:lnTo>
                  <a:lnTo>
                    <a:pt x="196" y="162"/>
                  </a:lnTo>
                  <a:lnTo>
                    <a:pt x="198" y="146"/>
                  </a:lnTo>
                  <a:lnTo>
                    <a:pt x="198" y="146"/>
                  </a:lnTo>
                  <a:lnTo>
                    <a:pt x="198" y="130"/>
                  </a:lnTo>
                  <a:lnTo>
                    <a:pt x="198" y="130"/>
                  </a:lnTo>
                  <a:lnTo>
                    <a:pt x="198" y="114"/>
                  </a:lnTo>
                  <a:lnTo>
                    <a:pt x="198" y="114"/>
                  </a:lnTo>
                  <a:lnTo>
                    <a:pt x="196" y="98"/>
                  </a:lnTo>
                  <a:lnTo>
                    <a:pt x="196" y="98"/>
                  </a:lnTo>
                  <a:lnTo>
                    <a:pt x="192" y="82"/>
                  </a:lnTo>
                  <a:lnTo>
                    <a:pt x="192" y="82"/>
                  </a:lnTo>
                  <a:lnTo>
                    <a:pt x="186" y="68"/>
                  </a:lnTo>
                  <a:lnTo>
                    <a:pt x="186" y="68"/>
                  </a:lnTo>
                  <a:lnTo>
                    <a:pt x="178" y="52"/>
                  </a:lnTo>
                  <a:lnTo>
                    <a:pt x="178" y="52"/>
                  </a:lnTo>
                  <a:lnTo>
                    <a:pt x="170" y="38"/>
                  </a:lnTo>
                  <a:lnTo>
                    <a:pt x="170" y="38"/>
                  </a:lnTo>
                  <a:lnTo>
                    <a:pt x="160" y="24"/>
                  </a:lnTo>
                  <a:lnTo>
                    <a:pt x="148" y="12"/>
                  </a:lnTo>
                  <a:lnTo>
                    <a:pt x="148" y="12"/>
                  </a:lnTo>
                  <a:lnTo>
                    <a:pt x="148" y="10"/>
                  </a:lnTo>
                  <a:lnTo>
                    <a:pt x="148" y="10"/>
                  </a:lnTo>
                  <a:lnTo>
                    <a:pt x="148" y="10"/>
                  </a:lnTo>
                  <a:lnTo>
                    <a:pt x="158" y="0"/>
                  </a:lnTo>
                  <a:lnTo>
                    <a:pt x="158" y="0"/>
                  </a:lnTo>
                  <a:lnTo>
                    <a:pt x="158" y="2"/>
                  </a:lnTo>
                  <a:lnTo>
                    <a:pt x="158" y="2"/>
                  </a:lnTo>
                  <a:lnTo>
                    <a:pt x="160" y="2"/>
                  </a:lnTo>
                  <a:lnTo>
                    <a:pt x="160" y="2"/>
                  </a:lnTo>
                  <a:close/>
                </a:path>
              </a:pathLst>
            </a:custGeom>
            <a:solidFill>
              <a:srgbClr val="0072C6"/>
            </a:solidFill>
            <a:ln>
              <a:noFill/>
            </a:ln>
          </p:spPr>
          <p:txBody>
            <a:bodyPr vert="horz" wrap="square" lIns="91440" tIns="45720" rIns="91440" bIns="45720" numCol="1" anchor="t" anchorCtr="0" compatLnSpc="1">
              <a:prstTxWarp prst="textNoShape">
                <a:avLst/>
              </a:prstTxWarp>
            </a:bodyPr>
            <a:lstStyle/>
            <a:p>
              <a:pPr defTabSz="975477">
                <a:defRPr/>
              </a:pPr>
              <a:endParaRPr lang="en-US" sz="1920" kern="0">
                <a:solidFill>
                  <a:prstClr val="white"/>
                </a:solidFill>
              </a:endParaRPr>
            </a:p>
          </p:txBody>
        </p:sp>
        <p:sp>
          <p:nvSpPr>
            <p:cNvPr id="63" name="Freeform 131"/>
            <p:cNvSpPr>
              <a:spLocks noChangeAspect="1" noEditPoints="1"/>
            </p:cNvSpPr>
            <p:nvPr/>
          </p:nvSpPr>
          <p:spPr bwMode="auto">
            <a:xfrm>
              <a:off x="4576419" y="3479171"/>
              <a:ext cx="340241" cy="267244"/>
            </a:xfrm>
            <a:custGeom>
              <a:avLst/>
              <a:gdLst>
                <a:gd name="T0" fmla="*/ 62 w 275"/>
                <a:gd name="T1" fmla="*/ 5 h 216"/>
                <a:gd name="T2" fmla="*/ 62 w 275"/>
                <a:gd name="T3" fmla="*/ 212 h 216"/>
                <a:gd name="T4" fmla="*/ 0 w 275"/>
                <a:gd name="T5" fmla="*/ 212 h 216"/>
                <a:gd name="T6" fmla="*/ 0 w 275"/>
                <a:gd name="T7" fmla="*/ 5 h 216"/>
                <a:gd name="T8" fmla="*/ 62 w 275"/>
                <a:gd name="T9" fmla="*/ 5 h 216"/>
                <a:gd name="T10" fmla="*/ 50 w 275"/>
                <a:gd name="T11" fmla="*/ 29 h 216"/>
                <a:gd name="T12" fmla="*/ 12 w 275"/>
                <a:gd name="T13" fmla="*/ 29 h 216"/>
                <a:gd name="T14" fmla="*/ 12 w 275"/>
                <a:gd name="T15" fmla="*/ 41 h 216"/>
                <a:gd name="T16" fmla="*/ 50 w 275"/>
                <a:gd name="T17" fmla="*/ 41 h 216"/>
                <a:gd name="T18" fmla="*/ 50 w 275"/>
                <a:gd name="T19" fmla="*/ 29 h 216"/>
                <a:gd name="T20" fmla="*/ 50 w 275"/>
                <a:gd name="T21" fmla="*/ 53 h 216"/>
                <a:gd name="T22" fmla="*/ 12 w 275"/>
                <a:gd name="T23" fmla="*/ 53 h 216"/>
                <a:gd name="T24" fmla="*/ 12 w 275"/>
                <a:gd name="T25" fmla="*/ 66 h 216"/>
                <a:gd name="T26" fmla="*/ 50 w 275"/>
                <a:gd name="T27" fmla="*/ 66 h 216"/>
                <a:gd name="T28" fmla="*/ 50 w 275"/>
                <a:gd name="T29" fmla="*/ 53 h 216"/>
                <a:gd name="T30" fmla="*/ 134 w 275"/>
                <a:gd name="T31" fmla="*/ 5 h 216"/>
                <a:gd name="T32" fmla="*/ 134 w 275"/>
                <a:gd name="T33" fmla="*/ 212 h 216"/>
                <a:gd name="T34" fmla="*/ 74 w 275"/>
                <a:gd name="T35" fmla="*/ 212 h 216"/>
                <a:gd name="T36" fmla="*/ 74 w 275"/>
                <a:gd name="T37" fmla="*/ 5 h 216"/>
                <a:gd name="T38" fmla="*/ 134 w 275"/>
                <a:gd name="T39" fmla="*/ 5 h 216"/>
                <a:gd name="T40" fmla="*/ 122 w 275"/>
                <a:gd name="T41" fmla="*/ 29 h 216"/>
                <a:gd name="T42" fmla="*/ 86 w 275"/>
                <a:gd name="T43" fmla="*/ 29 h 216"/>
                <a:gd name="T44" fmla="*/ 86 w 275"/>
                <a:gd name="T45" fmla="*/ 41 h 216"/>
                <a:gd name="T46" fmla="*/ 122 w 275"/>
                <a:gd name="T47" fmla="*/ 41 h 216"/>
                <a:gd name="T48" fmla="*/ 122 w 275"/>
                <a:gd name="T49" fmla="*/ 29 h 216"/>
                <a:gd name="T50" fmla="*/ 122 w 275"/>
                <a:gd name="T51" fmla="*/ 53 h 216"/>
                <a:gd name="T52" fmla="*/ 86 w 275"/>
                <a:gd name="T53" fmla="*/ 53 h 216"/>
                <a:gd name="T54" fmla="*/ 86 w 275"/>
                <a:gd name="T55" fmla="*/ 66 h 216"/>
                <a:gd name="T56" fmla="*/ 122 w 275"/>
                <a:gd name="T57" fmla="*/ 66 h 216"/>
                <a:gd name="T58" fmla="*/ 122 w 275"/>
                <a:gd name="T59" fmla="*/ 53 h 216"/>
                <a:gd name="T60" fmla="*/ 275 w 275"/>
                <a:gd name="T61" fmla="*/ 195 h 216"/>
                <a:gd name="T62" fmla="*/ 218 w 275"/>
                <a:gd name="T63" fmla="*/ 216 h 216"/>
                <a:gd name="T64" fmla="*/ 147 w 275"/>
                <a:gd name="T65" fmla="*/ 21 h 216"/>
                <a:gd name="T66" fmla="*/ 204 w 275"/>
                <a:gd name="T67" fmla="*/ 0 h 216"/>
                <a:gd name="T68" fmla="*/ 275 w 275"/>
                <a:gd name="T69" fmla="*/ 195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75" h="216">
                  <a:moveTo>
                    <a:pt x="62" y="5"/>
                  </a:moveTo>
                  <a:lnTo>
                    <a:pt x="62" y="212"/>
                  </a:lnTo>
                  <a:lnTo>
                    <a:pt x="0" y="212"/>
                  </a:lnTo>
                  <a:lnTo>
                    <a:pt x="0" y="5"/>
                  </a:lnTo>
                  <a:lnTo>
                    <a:pt x="62" y="5"/>
                  </a:lnTo>
                  <a:close/>
                  <a:moveTo>
                    <a:pt x="50" y="29"/>
                  </a:moveTo>
                  <a:lnTo>
                    <a:pt x="12" y="29"/>
                  </a:lnTo>
                  <a:lnTo>
                    <a:pt x="12" y="41"/>
                  </a:lnTo>
                  <a:lnTo>
                    <a:pt x="50" y="41"/>
                  </a:lnTo>
                  <a:lnTo>
                    <a:pt x="50" y="29"/>
                  </a:lnTo>
                  <a:close/>
                  <a:moveTo>
                    <a:pt x="50" y="53"/>
                  </a:moveTo>
                  <a:lnTo>
                    <a:pt x="12" y="53"/>
                  </a:lnTo>
                  <a:lnTo>
                    <a:pt x="12" y="66"/>
                  </a:lnTo>
                  <a:lnTo>
                    <a:pt x="50" y="66"/>
                  </a:lnTo>
                  <a:lnTo>
                    <a:pt x="50" y="53"/>
                  </a:lnTo>
                  <a:close/>
                  <a:moveTo>
                    <a:pt x="134" y="5"/>
                  </a:moveTo>
                  <a:lnTo>
                    <a:pt x="134" y="212"/>
                  </a:lnTo>
                  <a:lnTo>
                    <a:pt x="74" y="212"/>
                  </a:lnTo>
                  <a:lnTo>
                    <a:pt x="74" y="5"/>
                  </a:lnTo>
                  <a:lnTo>
                    <a:pt x="134" y="5"/>
                  </a:lnTo>
                  <a:close/>
                  <a:moveTo>
                    <a:pt x="122" y="29"/>
                  </a:moveTo>
                  <a:lnTo>
                    <a:pt x="86" y="29"/>
                  </a:lnTo>
                  <a:lnTo>
                    <a:pt x="86" y="41"/>
                  </a:lnTo>
                  <a:lnTo>
                    <a:pt x="122" y="41"/>
                  </a:lnTo>
                  <a:lnTo>
                    <a:pt x="122" y="29"/>
                  </a:lnTo>
                  <a:close/>
                  <a:moveTo>
                    <a:pt x="122" y="53"/>
                  </a:moveTo>
                  <a:lnTo>
                    <a:pt x="86" y="53"/>
                  </a:lnTo>
                  <a:lnTo>
                    <a:pt x="86" y="66"/>
                  </a:lnTo>
                  <a:lnTo>
                    <a:pt x="122" y="66"/>
                  </a:lnTo>
                  <a:lnTo>
                    <a:pt x="122" y="53"/>
                  </a:lnTo>
                  <a:close/>
                  <a:moveTo>
                    <a:pt x="275" y="195"/>
                  </a:moveTo>
                  <a:lnTo>
                    <a:pt x="218" y="216"/>
                  </a:lnTo>
                  <a:lnTo>
                    <a:pt x="147" y="21"/>
                  </a:lnTo>
                  <a:lnTo>
                    <a:pt x="204" y="0"/>
                  </a:lnTo>
                  <a:lnTo>
                    <a:pt x="275" y="195"/>
                  </a:lnTo>
                  <a:close/>
                </a:path>
              </a:pathLst>
            </a:custGeom>
            <a:solidFill>
              <a:srgbClr val="0072C6"/>
            </a:solidFill>
            <a:ln>
              <a:noFill/>
            </a:ln>
            <a:extLst/>
          </p:spPr>
          <p:txBody>
            <a:bodyPr vert="horz" wrap="square" lIns="91440" tIns="45720" rIns="91440" bIns="45720" numCol="1" anchor="t" anchorCtr="0" compatLnSpc="1">
              <a:prstTxWarp prst="textNoShape">
                <a:avLst/>
              </a:prstTxWarp>
            </a:bodyPr>
            <a:lstStyle/>
            <a:p>
              <a:pPr defTabSz="975477">
                <a:defRPr/>
              </a:pPr>
              <a:endParaRPr lang="en-US" sz="1920" kern="0">
                <a:solidFill>
                  <a:prstClr val="white"/>
                </a:solidFill>
              </a:endParaRPr>
            </a:p>
          </p:txBody>
        </p:sp>
        <p:grpSp>
          <p:nvGrpSpPr>
            <p:cNvPr id="64" name="Group 63"/>
            <p:cNvGrpSpPr/>
            <p:nvPr/>
          </p:nvGrpSpPr>
          <p:grpSpPr>
            <a:xfrm>
              <a:off x="5817717" y="1990739"/>
              <a:ext cx="256972" cy="381312"/>
              <a:chOff x="8785977" y="2372203"/>
              <a:chExt cx="482479" cy="715935"/>
            </a:xfrm>
            <a:solidFill>
              <a:srgbClr val="0072C6"/>
            </a:solidFill>
          </p:grpSpPr>
          <p:sp>
            <p:nvSpPr>
              <p:cNvPr id="83" name="Freeform 28"/>
              <p:cNvSpPr>
                <a:spLocks noEditPoints="1"/>
              </p:cNvSpPr>
              <p:nvPr/>
            </p:nvSpPr>
            <p:spPr bwMode="auto">
              <a:xfrm>
                <a:off x="8785977" y="2372203"/>
                <a:ext cx="482479" cy="715935"/>
              </a:xfrm>
              <a:custGeom>
                <a:avLst/>
                <a:gdLst>
                  <a:gd name="T0" fmla="*/ 90 w 93"/>
                  <a:gd name="T1" fmla="*/ 34 h 138"/>
                  <a:gd name="T2" fmla="*/ 86 w 93"/>
                  <a:gd name="T3" fmla="*/ 23 h 138"/>
                  <a:gd name="T4" fmla="*/ 79 w 93"/>
                  <a:gd name="T5" fmla="*/ 13 h 138"/>
                  <a:gd name="T6" fmla="*/ 69 w 93"/>
                  <a:gd name="T7" fmla="*/ 6 h 138"/>
                  <a:gd name="T8" fmla="*/ 58 w 93"/>
                  <a:gd name="T9" fmla="*/ 2 h 138"/>
                  <a:gd name="T10" fmla="*/ 46 w 93"/>
                  <a:gd name="T11" fmla="*/ 0 h 138"/>
                  <a:gd name="T12" fmla="*/ 35 w 93"/>
                  <a:gd name="T13" fmla="*/ 2 h 138"/>
                  <a:gd name="T14" fmla="*/ 24 w 93"/>
                  <a:gd name="T15" fmla="*/ 6 h 138"/>
                  <a:gd name="T16" fmla="*/ 14 w 93"/>
                  <a:gd name="T17" fmla="*/ 13 h 138"/>
                  <a:gd name="T18" fmla="*/ 7 w 93"/>
                  <a:gd name="T19" fmla="*/ 23 h 138"/>
                  <a:gd name="T20" fmla="*/ 2 w 93"/>
                  <a:gd name="T21" fmla="*/ 34 h 138"/>
                  <a:gd name="T22" fmla="*/ 0 w 93"/>
                  <a:gd name="T23" fmla="*/ 46 h 138"/>
                  <a:gd name="T24" fmla="*/ 2 w 93"/>
                  <a:gd name="T25" fmla="*/ 57 h 138"/>
                  <a:gd name="T26" fmla="*/ 7 w 93"/>
                  <a:gd name="T27" fmla="*/ 68 h 138"/>
                  <a:gd name="T28" fmla="*/ 14 w 93"/>
                  <a:gd name="T29" fmla="*/ 79 h 138"/>
                  <a:gd name="T30" fmla="*/ 21 w 93"/>
                  <a:gd name="T31" fmla="*/ 138 h 138"/>
                  <a:gd name="T32" fmla="*/ 71 w 93"/>
                  <a:gd name="T33" fmla="*/ 138 h 138"/>
                  <a:gd name="T34" fmla="*/ 79 w 93"/>
                  <a:gd name="T35" fmla="*/ 79 h 138"/>
                  <a:gd name="T36" fmla="*/ 86 w 93"/>
                  <a:gd name="T37" fmla="*/ 68 h 138"/>
                  <a:gd name="T38" fmla="*/ 90 w 93"/>
                  <a:gd name="T39" fmla="*/ 57 h 138"/>
                  <a:gd name="T40" fmla="*/ 93 w 93"/>
                  <a:gd name="T41" fmla="*/ 46 h 138"/>
                  <a:gd name="T42" fmla="*/ 46 w 93"/>
                  <a:gd name="T43" fmla="*/ 72 h 138"/>
                  <a:gd name="T44" fmla="*/ 41 w 93"/>
                  <a:gd name="T45" fmla="*/ 72 h 138"/>
                  <a:gd name="T46" fmla="*/ 32 w 93"/>
                  <a:gd name="T47" fmla="*/ 67 h 138"/>
                  <a:gd name="T48" fmla="*/ 25 w 93"/>
                  <a:gd name="T49" fmla="*/ 61 h 138"/>
                  <a:gd name="T50" fmla="*/ 21 w 93"/>
                  <a:gd name="T51" fmla="*/ 52 h 138"/>
                  <a:gd name="T52" fmla="*/ 20 w 93"/>
                  <a:gd name="T53" fmla="*/ 47 h 138"/>
                  <a:gd name="T54" fmla="*/ 23 w 93"/>
                  <a:gd name="T55" fmla="*/ 37 h 138"/>
                  <a:gd name="T56" fmla="*/ 28 w 93"/>
                  <a:gd name="T57" fmla="*/ 29 h 138"/>
                  <a:gd name="T58" fmla="*/ 36 w 93"/>
                  <a:gd name="T59" fmla="*/ 23 h 138"/>
                  <a:gd name="T60" fmla="*/ 46 w 93"/>
                  <a:gd name="T61" fmla="*/ 21 h 138"/>
                  <a:gd name="T62" fmla="*/ 52 w 93"/>
                  <a:gd name="T63" fmla="*/ 22 h 138"/>
                  <a:gd name="T64" fmla="*/ 61 w 93"/>
                  <a:gd name="T65" fmla="*/ 26 h 138"/>
                  <a:gd name="T66" fmla="*/ 68 w 93"/>
                  <a:gd name="T67" fmla="*/ 32 h 138"/>
                  <a:gd name="T68" fmla="*/ 71 w 93"/>
                  <a:gd name="T69" fmla="*/ 41 h 138"/>
                  <a:gd name="T70" fmla="*/ 72 w 93"/>
                  <a:gd name="T71" fmla="*/ 47 h 138"/>
                  <a:gd name="T72" fmla="*/ 70 w 93"/>
                  <a:gd name="T73" fmla="*/ 56 h 138"/>
                  <a:gd name="T74" fmla="*/ 64 w 93"/>
                  <a:gd name="T75" fmla="*/ 65 h 138"/>
                  <a:gd name="T76" fmla="*/ 56 w 93"/>
                  <a:gd name="T77" fmla="*/ 70 h 138"/>
                  <a:gd name="T78" fmla="*/ 46 w 93"/>
                  <a:gd name="T79" fmla="*/ 72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93" h="138">
                    <a:moveTo>
                      <a:pt x="80" y="41"/>
                    </a:moveTo>
                    <a:lnTo>
                      <a:pt x="90" y="34"/>
                    </a:lnTo>
                    <a:lnTo>
                      <a:pt x="78" y="32"/>
                    </a:lnTo>
                    <a:lnTo>
                      <a:pt x="86" y="23"/>
                    </a:lnTo>
                    <a:lnTo>
                      <a:pt x="73" y="24"/>
                    </a:lnTo>
                    <a:lnTo>
                      <a:pt x="79" y="13"/>
                    </a:lnTo>
                    <a:lnTo>
                      <a:pt x="68" y="19"/>
                    </a:lnTo>
                    <a:lnTo>
                      <a:pt x="69" y="6"/>
                    </a:lnTo>
                    <a:lnTo>
                      <a:pt x="60" y="14"/>
                    </a:lnTo>
                    <a:lnTo>
                      <a:pt x="58" y="2"/>
                    </a:lnTo>
                    <a:lnTo>
                      <a:pt x="51" y="12"/>
                    </a:lnTo>
                    <a:lnTo>
                      <a:pt x="46" y="0"/>
                    </a:lnTo>
                    <a:lnTo>
                      <a:pt x="42" y="12"/>
                    </a:lnTo>
                    <a:lnTo>
                      <a:pt x="35" y="2"/>
                    </a:lnTo>
                    <a:lnTo>
                      <a:pt x="33" y="14"/>
                    </a:lnTo>
                    <a:lnTo>
                      <a:pt x="24" y="6"/>
                    </a:lnTo>
                    <a:lnTo>
                      <a:pt x="25" y="19"/>
                    </a:lnTo>
                    <a:lnTo>
                      <a:pt x="14" y="13"/>
                    </a:lnTo>
                    <a:lnTo>
                      <a:pt x="19" y="24"/>
                    </a:lnTo>
                    <a:lnTo>
                      <a:pt x="7" y="23"/>
                    </a:lnTo>
                    <a:lnTo>
                      <a:pt x="15" y="32"/>
                    </a:lnTo>
                    <a:lnTo>
                      <a:pt x="2" y="34"/>
                    </a:lnTo>
                    <a:lnTo>
                      <a:pt x="12" y="41"/>
                    </a:lnTo>
                    <a:lnTo>
                      <a:pt x="0" y="46"/>
                    </a:lnTo>
                    <a:lnTo>
                      <a:pt x="12" y="50"/>
                    </a:lnTo>
                    <a:lnTo>
                      <a:pt x="2" y="57"/>
                    </a:lnTo>
                    <a:lnTo>
                      <a:pt x="15" y="59"/>
                    </a:lnTo>
                    <a:lnTo>
                      <a:pt x="7" y="68"/>
                    </a:lnTo>
                    <a:lnTo>
                      <a:pt x="19" y="67"/>
                    </a:lnTo>
                    <a:lnTo>
                      <a:pt x="14" y="79"/>
                    </a:lnTo>
                    <a:lnTo>
                      <a:pt x="21" y="75"/>
                    </a:lnTo>
                    <a:lnTo>
                      <a:pt x="21" y="138"/>
                    </a:lnTo>
                    <a:lnTo>
                      <a:pt x="46" y="113"/>
                    </a:lnTo>
                    <a:lnTo>
                      <a:pt x="71" y="138"/>
                    </a:lnTo>
                    <a:lnTo>
                      <a:pt x="71" y="75"/>
                    </a:lnTo>
                    <a:lnTo>
                      <a:pt x="79" y="79"/>
                    </a:lnTo>
                    <a:lnTo>
                      <a:pt x="73" y="67"/>
                    </a:lnTo>
                    <a:lnTo>
                      <a:pt x="86" y="68"/>
                    </a:lnTo>
                    <a:lnTo>
                      <a:pt x="78" y="59"/>
                    </a:lnTo>
                    <a:lnTo>
                      <a:pt x="90" y="57"/>
                    </a:lnTo>
                    <a:lnTo>
                      <a:pt x="80" y="50"/>
                    </a:lnTo>
                    <a:lnTo>
                      <a:pt x="93" y="46"/>
                    </a:lnTo>
                    <a:lnTo>
                      <a:pt x="80" y="41"/>
                    </a:lnTo>
                    <a:close/>
                    <a:moveTo>
                      <a:pt x="46" y="72"/>
                    </a:moveTo>
                    <a:lnTo>
                      <a:pt x="46" y="72"/>
                    </a:lnTo>
                    <a:lnTo>
                      <a:pt x="41" y="72"/>
                    </a:lnTo>
                    <a:lnTo>
                      <a:pt x="36" y="70"/>
                    </a:lnTo>
                    <a:lnTo>
                      <a:pt x="32" y="67"/>
                    </a:lnTo>
                    <a:lnTo>
                      <a:pt x="28" y="65"/>
                    </a:lnTo>
                    <a:lnTo>
                      <a:pt x="25" y="61"/>
                    </a:lnTo>
                    <a:lnTo>
                      <a:pt x="23" y="56"/>
                    </a:lnTo>
                    <a:lnTo>
                      <a:pt x="21" y="52"/>
                    </a:lnTo>
                    <a:lnTo>
                      <a:pt x="20" y="47"/>
                    </a:lnTo>
                    <a:lnTo>
                      <a:pt x="20" y="47"/>
                    </a:lnTo>
                    <a:lnTo>
                      <a:pt x="21" y="41"/>
                    </a:lnTo>
                    <a:lnTo>
                      <a:pt x="23" y="37"/>
                    </a:lnTo>
                    <a:lnTo>
                      <a:pt x="25" y="32"/>
                    </a:lnTo>
                    <a:lnTo>
                      <a:pt x="28" y="29"/>
                    </a:lnTo>
                    <a:lnTo>
                      <a:pt x="32" y="26"/>
                    </a:lnTo>
                    <a:lnTo>
                      <a:pt x="36" y="23"/>
                    </a:lnTo>
                    <a:lnTo>
                      <a:pt x="41" y="22"/>
                    </a:lnTo>
                    <a:lnTo>
                      <a:pt x="46" y="21"/>
                    </a:lnTo>
                    <a:lnTo>
                      <a:pt x="46" y="21"/>
                    </a:lnTo>
                    <a:lnTo>
                      <a:pt x="52" y="22"/>
                    </a:lnTo>
                    <a:lnTo>
                      <a:pt x="56" y="23"/>
                    </a:lnTo>
                    <a:lnTo>
                      <a:pt x="61" y="26"/>
                    </a:lnTo>
                    <a:lnTo>
                      <a:pt x="64" y="29"/>
                    </a:lnTo>
                    <a:lnTo>
                      <a:pt x="68" y="32"/>
                    </a:lnTo>
                    <a:lnTo>
                      <a:pt x="70" y="37"/>
                    </a:lnTo>
                    <a:lnTo>
                      <a:pt x="71" y="41"/>
                    </a:lnTo>
                    <a:lnTo>
                      <a:pt x="72" y="47"/>
                    </a:lnTo>
                    <a:lnTo>
                      <a:pt x="72" y="47"/>
                    </a:lnTo>
                    <a:lnTo>
                      <a:pt x="71" y="52"/>
                    </a:lnTo>
                    <a:lnTo>
                      <a:pt x="70" y="56"/>
                    </a:lnTo>
                    <a:lnTo>
                      <a:pt x="68" y="61"/>
                    </a:lnTo>
                    <a:lnTo>
                      <a:pt x="64" y="65"/>
                    </a:lnTo>
                    <a:lnTo>
                      <a:pt x="61" y="67"/>
                    </a:lnTo>
                    <a:lnTo>
                      <a:pt x="56" y="70"/>
                    </a:lnTo>
                    <a:lnTo>
                      <a:pt x="52" y="72"/>
                    </a:lnTo>
                    <a:lnTo>
                      <a:pt x="46" y="72"/>
                    </a:lnTo>
                    <a:lnTo>
                      <a:pt x="46"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75477">
                  <a:defRPr/>
                </a:pPr>
                <a:endParaRPr lang="en-US" sz="1920" kern="0">
                  <a:solidFill>
                    <a:prstClr val="white"/>
                  </a:solidFill>
                </a:endParaRPr>
              </a:p>
            </p:txBody>
          </p:sp>
          <p:sp>
            <p:nvSpPr>
              <p:cNvPr id="84" name="Freeform 29"/>
              <p:cNvSpPr>
                <a:spLocks/>
              </p:cNvSpPr>
              <p:nvPr/>
            </p:nvSpPr>
            <p:spPr bwMode="auto">
              <a:xfrm>
                <a:off x="8926053" y="2517465"/>
                <a:ext cx="197141" cy="197141"/>
              </a:xfrm>
              <a:custGeom>
                <a:avLst/>
                <a:gdLst>
                  <a:gd name="T0" fmla="*/ 19 w 38"/>
                  <a:gd name="T1" fmla="*/ 0 h 38"/>
                  <a:gd name="T2" fmla="*/ 19 w 38"/>
                  <a:gd name="T3" fmla="*/ 0 h 38"/>
                  <a:gd name="T4" fmla="*/ 16 w 38"/>
                  <a:gd name="T5" fmla="*/ 0 h 38"/>
                  <a:gd name="T6" fmla="*/ 11 w 38"/>
                  <a:gd name="T7" fmla="*/ 1 h 38"/>
                  <a:gd name="T8" fmla="*/ 9 w 38"/>
                  <a:gd name="T9" fmla="*/ 3 h 38"/>
                  <a:gd name="T10" fmla="*/ 6 w 38"/>
                  <a:gd name="T11" fmla="*/ 6 h 38"/>
                  <a:gd name="T12" fmla="*/ 4 w 38"/>
                  <a:gd name="T13" fmla="*/ 8 h 38"/>
                  <a:gd name="T14" fmla="*/ 1 w 38"/>
                  <a:gd name="T15" fmla="*/ 11 h 38"/>
                  <a:gd name="T16" fmla="*/ 0 w 38"/>
                  <a:gd name="T17" fmla="*/ 15 h 38"/>
                  <a:gd name="T18" fmla="*/ 0 w 38"/>
                  <a:gd name="T19" fmla="*/ 19 h 38"/>
                  <a:gd name="T20" fmla="*/ 0 w 38"/>
                  <a:gd name="T21" fmla="*/ 19 h 38"/>
                  <a:gd name="T22" fmla="*/ 0 w 38"/>
                  <a:gd name="T23" fmla="*/ 22 h 38"/>
                  <a:gd name="T24" fmla="*/ 1 w 38"/>
                  <a:gd name="T25" fmla="*/ 26 h 38"/>
                  <a:gd name="T26" fmla="*/ 4 w 38"/>
                  <a:gd name="T27" fmla="*/ 29 h 38"/>
                  <a:gd name="T28" fmla="*/ 6 w 38"/>
                  <a:gd name="T29" fmla="*/ 33 h 38"/>
                  <a:gd name="T30" fmla="*/ 9 w 38"/>
                  <a:gd name="T31" fmla="*/ 35 h 38"/>
                  <a:gd name="T32" fmla="*/ 11 w 38"/>
                  <a:gd name="T33" fmla="*/ 36 h 38"/>
                  <a:gd name="T34" fmla="*/ 16 w 38"/>
                  <a:gd name="T35" fmla="*/ 37 h 38"/>
                  <a:gd name="T36" fmla="*/ 19 w 38"/>
                  <a:gd name="T37" fmla="*/ 38 h 38"/>
                  <a:gd name="T38" fmla="*/ 19 w 38"/>
                  <a:gd name="T39" fmla="*/ 38 h 38"/>
                  <a:gd name="T40" fmla="*/ 23 w 38"/>
                  <a:gd name="T41" fmla="*/ 37 h 38"/>
                  <a:gd name="T42" fmla="*/ 27 w 38"/>
                  <a:gd name="T43" fmla="*/ 36 h 38"/>
                  <a:gd name="T44" fmla="*/ 29 w 38"/>
                  <a:gd name="T45" fmla="*/ 35 h 38"/>
                  <a:gd name="T46" fmla="*/ 33 w 38"/>
                  <a:gd name="T47" fmla="*/ 33 h 38"/>
                  <a:gd name="T48" fmla="*/ 35 w 38"/>
                  <a:gd name="T49" fmla="*/ 29 h 38"/>
                  <a:gd name="T50" fmla="*/ 37 w 38"/>
                  <a:gd name="T51" fmla="*/ 26 h 38"/>
                  <a:gd name="T52" fmla="*/ 38 w 38"/>
                  <a:gd name="T53" fmla="*/ 22 h 38"/>
                  <a:gd name="T54" fmla="*/ 38 w 38"/>
                  <a:gd name="T55" fmla="*/ 19 h 38"/>
                  <a:gd name="T56" fmla="*/ 38 w 38"/>
                  <a:gd name="T57" fmla="*/ 19 h 38"/>
                  <a:gd name="T58" fmla="*/ 38 w 38"/>
                  <a:gd name="T59" fmla="*/ 15 h 38"/>
                  <a:gd name="T60" fmla="*/ 37 w 38"/>
                  <a:gd name="T61" fmla="*/ 11 h 38"/>
                  <a:gd name="T62" fmla="*/ 35 w 38"/>
                  <a:gd name="T63" fmla="*/ 8 h 38"/>
                  <a:gd name="T64" fmla="*/ 33 w 38"/>
                  <a:gd name="T65" fmla="*/ 6 h 38"/>
                  <a:gd name="T66" fmla="*/ 29 w 38"/>
                  <a:gd name="T67" fmla="*/ 3 h 38"/>
                  <a:gd name="T68" fmla="*/ 27 w 38"/>
                  <a:gd name="T69" fmla="*/ 1 h 38"/>
                  <a:gd name="T70" fmla="*/ 23 w 38"/>
                  <a:gd name="T71" fmla="*/ 0 h 38"/>
                  <a:gd name="T72" fmla="*/ 19 w 38"/>
                  <a:gd name="T73" fmla="*/ 0 h 38"/>
                  <a:gd name="T74" fmla="*/ 19 w 38"/>
                  <a:gd name="T75"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8" h="38">
                    <a:moveTo>
                      <a:pt x="19" y="0"/>
                    </a:moveTo>
                    <a:lnTo>
                      <a:pt x="19" y="0"/>
                    </a:lnTo>
                    <a:lnTo>
                      <a:pt x="16" y="0"/>
                    </a:lnTo>
                    <a:lnTo>
                      <a:pt x="11" y="1"/>
                    </a:lnTo>
                    <a:lnTo>
                      <a:pt x="9" y="3"/>
                    </a:lnTo>
                    <a:lnTo>
                      <a:pt x="6" y="6"/>
                    </a:lnTo>
                    <a:lnTo>
                      <a:pt x="4" y="8"/>
                    </a:lnTo>
                    <a:lnTo>
                      <a:pt x="1" y="11"/>
                    </a:lnTo>
                    <a:lnTo>
                      <a:pt x="0" y="15"/>
                    </a:lnTo>
                    <a:lnTo>
                      <a:pt x="0" y="19"/>
                    </a:lnTo>
                    <a:lnTo>
                      <a:pt x="0" y="19"/>
                    </a:lnTo>
                    <a:lnTo>
                      <a:pt x="0" y="22"/>
                    </a:lnTo>
                    <a:lnTo>
                      <a:pt x="1" y="26"/>
                    </a:lnTo>
                    <a:lnTo>
                      <a:pt x="4" y="29"/>
                    </a:lnTo>
                    <a:lnTo>
                      <a:pt x="6" y="33"/>
                    </a:lnTo>
                    <a:lnTo>
                      <a:pt x="9" y="35"/>
                    </a:lnTo>
                    <a:lnTo>
                      <a:pt x="11" y="36"/>
                    </a:lnTo>
                    <a:lnTo>
                      <a:pt x="16" y="37"/>
                    </a:lnTo>
                    <a:lnTo>
                      <a:pt x="19" y="38"/>
                    </a:lnTo>
                    <a:lnTo>
                      <a:pt x="19" y="38"/>
                    </a:lnTo>
                    <a:lnTo>
                      <a:pt x="23" y="37"/>
                    </a:lnTo>
                    <a:lnTo>
                      <a:pt x="27" y="36"/>
                    </a:lnTo>
                    <a:lnTo>
                      <a:pt x="29" y="35"/>
                    </a:lnTo>
                    <a:lnTo>
                      <a:pt x="33" y="33"/>
                    </a:lnTo>
                    <a:lnTo>
                      <a:pt x="35" y="29"/>
                    </a:lnTo>
                    <a:lnTo>
                      <a:pt x="37" y="26"/>
                    </a:lnTo>
                    <a:lnTo>
                      <a:pt x="38" y="22"/>
                    </a:lnTo>
                    <a:lnTo>
                      <a:pt x="38" y="19"/>
                    </a:lnTo>
                    <a:lnTo>
                      <a:pt x="38" y="19"/>
                    </a:lnTo>
                    <a:lnTo>
                      <a:pt x="38" y="15"/>
                    </a:lnTo>
                    <a:lnTo>
                      <a:pt x="37" y="11"/>
                    </a:lnTo>
                    <a:lnTo>
                      <a:pt x="35" y="8"/>
                    </a:lnTo>
                    <a:lnTo>
                      <a:pt x="33" y="6"/>
                    </a:lnTo>
                    <a:lnTo>
                      <a:pt x="29" y="3"/>
                    </a:lnTo>
                    <a:lnTo>
                      <a:pt x="27" y="1"/>
                    </a:lnTo>
                    <a:lnTo>
                      <a:pt x="23" y="0"/>
                    </a:lnTo>
                    <a:lnTo>
                      <a:pt x="19" y="0"/>
                    </a:lnTo>
                    <a:lnTo>
                      <a:pt x="1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75477">
                  <a:defRPr/>
                </a:pPr>
                <a:endParaRPr lang="en-US" sz="1920" kern="0">
                  <a:solidFill>
                    <a:prstClr val="white"/>
                  </a:solidFill>
                </a:endParaRPr>
              </a:p>
            </p:txBody>
          </p:sp>
        </p:grpSp>
        <p:grpSp>
          <p:nvGrpSpPr>
            <p:cNvPr id="65" name="Group 64"/>
            <p:cNvGrpSpPr>
              <a:grpSpLocks noChangeAspect="1"/>
            </p:cNvGrpSpPr>
            <p:nvPr/>
          </p:nvGrpSpPr>
          <p:grpSpPr>
            <a:xfrm>
              <a:off x="5989763" y="3481970"/>
              <a:ext cx="359056" cy="244464"/>
              <a:chOff x="7554913" y="3697288"/>
              <a:chExt cx="596900" cy="406400"/>
            </a:xfrm>
            <a:solidFill>
              <a:srgbClr val="0072C6"/>
            </a:solidFill>
          </p:grpSpPr>
          <p:sp>
            <p:nvSpPr>
              <p:cNvPr id="78" name="Freeform 16"/>
              <p:cNvSpPr>
                <a:spLocks noEditPoints="1"/>
              </p:cNvSpPr>
              <p:nvPr/>
            </p:nvSpPr>
            <p:spPr bwMode="auto">
              <a:xfrm>
                <a:off x="7554913" y="3697288"/>
                <a:ext cx="596900" cy="406400"/>
              </a:xfrm>
              <a:custGeom>
                <a:avLst/>
                <a:gdLst>
                  <a:gd name="T0" fmla="*/ 358 w 376"/>
                  <a:gd name="T1" fmla="*/ 0 h 256"/>
                  <a:gd name="T2" fmla="*/ 18 w 376"/>
                  <a:gd name="T3" fmla="*/ 0 h 256"/>
                  <a:gd name="T4" fmla="*/ 18 w 376"/>
                  <a:gd name="T5" fmla="*/ 0 h 256"/>
                  <a:gd name="T6" fmla="*/ 10 w 376"/>
                  <a:gd name="T7" fmla="*/ 2 h 256"/>
                  <a:gd name="T8" fmla="*/ 4 w 376"/>
                  <a:gd name="T9" fmla="*/ 6 h 256"/>
                  <a:gd name="T10" fmla="*/ 0 w 376"/>
                  <a:gd name="T11" fmla="*/ 12 h 256"/>
                  <a:gd name="T12" fmla="*/ 0 w 376"/>
                  <a:gd name="T13" fmla="*/ 18 h 256"/>
                  <a:gd name="T14" fmla="*/ 0 w 376"/>
                  <a:gd name="T15" fmla="*/ 236 h 256"/>
                  <a:gd name="T16" fmla="*/ 0 w 376"/>
                  <a:gd name="T17" fmla="*/ 236 h 256"/>
                  <a:gd name="T18" fmla="*/ 0 w 376"/>
                  <a:gd name="T19" fmla="*/ 244 h 256"/>
                  <a:gd name="T20" fmla="*/ 4 w 376"/>
                  <a:gd name="T21" fmla="*/ 250 h 256"/>
                  <a:gd name="T22" fmla="*/ 10 w 376"/>
                  <a:gd name="T23" fmla="*/ 254 h 256"/>
                  <a:gd name="T24" fmla="*/ 18 w 376"/>
                  <a:gd name="T25" fmla="*/ 256 h 256"/>
                  <a:gd name="T26" fmla="*/ 358 w 376"/>
                  <a:gd name="T27" fmla="*/ 256 h 256"/>
                  <a:gd name="T28" fmla="*/ 358 w 376"/>
                  <a:gd name="T29" fmla="*/ 256 h 256"/>
                  <a:gd name="T30" fmla="*/ 364 w 376"/>
                  <a:gd name="T31" fmla="*/ 254 h 256"/>
                  <a:gd name="T32" fmla="*/ 370 w 376"/>
                  <a:gd name="T33" fmla="*/ 250 h 256"/>
                  <a:gd name="T34" fmla="*/ 376 w 376"/>
                  <a:gd name="T35" fmla="*/ 244 h 256"/>
                  <a:gd name="T36" fmla="*/ 376 w 376"/>
                  <a:gd name="T37" fmla="*/ 236 h 256"/>
                  <a:gd name="T38" fmla="*/ 376 w 376"/>
                  <a:gd name="T39" fmla="*/ 18 h 256"/>
                  <a:gd name="T40" fmla="*/ 376 w 376"/>
                  <a:gd name="T41" fmla="*/ 18 h 256"/>
                  <a:gd name="T42" fmla="*/ 376 w 376"/>
                  <a:gd name="T43" fmla="*/ 12 h 256"/>
                  <a:gd name="T44" fmla="*/ 370 w 376"/>
                  <a:gd name="T45" fmla="*/ 6 h 256"/>
                  <a:gd name="T46" fmla="*/ 364 w 376"/>
                  <a:gd name="T47" fmla="*/ 2 h 256"/>
                  <a:gd name="T48" fmla="*/ 358 w 376"/>
                  <a:gd name="T49" fmla="*/ 0 h 256"/>
                  <a:gd name="T50" fmla="*/ 358 w 376"/>
                  <a:gd name="T51" fmla="*/ 0 h 256"/>
                  <a:gd name="T52" fmla="*/ 342 w 376"/>
                  <a:gd name="T53" fmla="*/ 224 h 256"/>
                  <a:gd name="T54" fmla="*/ 34 w 376"/>
                  <a:gd name="T55" fmla="*/ 224 h 256"/>
                  <a:gd name="T56" fmla="*/ 34 w 376"/>
                  <a:gd name="T57" fmla="*/ 30 h 256"/>
                  <a:gd name="T58" fmla="*/ 342 w 376"/>
                  <a:gd name="T59" fmla="*/ 30 h 256"/>
                  <a:gd name="T60" fmla="*/ 342 w 376"/>
                  <a:gd name="T61" fmla="*/ 224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76" h="256">
                    <a:moveTo>
                      <a:pt x="358" y="0"/>
                    </a:moveTo>
                    <a:lnTo>
                      <a:pt x="18" y="0"/>
                    </a:lnTo>
                    <a:lnTo>
                      <a:pt x="18" y="0"/>
                    </a:lnTo>
                    <a:lnTo>
                      <a:pt x="10" y="2"/>
                    </a:lnTo>
                    <a:lnTo>
                      <a:pt x="4" y="6"/>
                    </a:lnTo>
                    <a:lnTo>
                      <a:pt x="0" y="12"/>
                    </a:lnTo>
                    <a:lnTo>
                      <a:pt x="0" y="18"/>
                    </a:lnTo>
                    <a:lnTo>
                      <a:pt x="0" y="236"/>
                    </a:lnTo>
                    <a:lnTo>
                      <a:pt x="0" y="236"/>
                    </a:lnTo>
                    <a:lnTo>
                      <a:pt x="0" y="244"/>
                    </a:lnTo>
                    <a:lnTo>
                      <a:pt x="4" y="250"/>
                    </a:lnTo>
                    <a:lnTo>
                      <a:pt x="10" y="254"/>
                    </a:lnTo>
                    <a:lnTo>
                      <a:pt x="18" y="256"/>
                    </a:lnTo>
                    <a:lnTo>
                      <a:pt x="358" y="256"/>
                    </a:lnTo>
                    <a:lnTo>
                      <a:pt x="358" y="256"/>
                    </a:lnTo>
                    <a:lnTo>
                      <a:pt x="364" y="254"/>
                    </a:lnTo>
                    <a:lnTo>
                      <a:pt x="370" y="250"/>
                    </a:lnTo>
                    <a:lnTo>
                      <a:pt x="376" y="244"/>
                    </a:lnTo>
                    <a:lnTo>
                      <a:pt x="376" y="236"/>
                    </a:lnTo>
                    <a:lnTo>
                      <a:pt x="376" y="18"/>
                    </a:lnTo>
                    <a:lnTo>
                      <a:pt x="376" y="18"/>
                    </a:lnTo>
                    <a:lnTo>
                      <a:pt x="376" y="12"/>
                    </a:lnTo>
                    <a:lnTo>
                      <a:pt x="370" y="6"/>
                    </a:lnTo>
                    <a:lnTo>
                      <a:pt x="364" y="2"/>
                    </a:lnTo>
                    <a:lnTo>
                      <a:pt x="358" y="0"/>
                    </a:lnTo>
                    <a:lnTo>
                      <a:pt x="358" y="0"/>
                    </a:lnTo>
                    <a:close/>
                    <a:moveTo>
                      <a:pt x="342" y="224"/>
                    </a:moveTo>
                    <a:lnTo>
                      <a:pt x="34" y="224"/>
                    </a:lnTo>
                    <a:lnTo>
                      <a:pt x="34" y="30"/>
                    </a:lnTo>
                    <a:lnTo>
                      <a:pt x="342" y="30"/>
                    </a:lnTo>
                    <a:lnTo>
                      <a:pt x="342" y="2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75477">
                  <a:defRPr/>
                </a:pPr>
                <a:endParaRPr lang="en-US" sz="1920" kern="0">
                  <a:solidFill>
                    <a:prstClr val="white"/>
                  </a:solidFill>
                </a:endParaRPr>
              </a:p>
            </p:txBody>
          </p:sp>
          <p:sp>
            <p:nvSpPr>
              <p:cNvPr id="79" name="Freeform 17"/>
              <p:cNvSpPr>
                <a:spLocks/>
              </p:cNvSpPr>
              <p:nvPr/>
            </p:nvSpPr>
            <p:spPr bwMode="auto">
              <a:xfrm>
                <a:off x="7910513" y="3805238"/>
                <a:ext cx="117475" cy="187325"/>
              </a:xfrm>
              <a:custGeom>
                <a:avLst/>
                <a:gdLst>
                  <a:gd name="T0" fmla="*/ 18 w 74"/>
                  <a:gd name="T1" fmla="*/ 70 h 118"/>
                  <a:gd name="T2" fmla="*/ 18 w 74"/>
                  <a:gd name="T3" fmla="*/ 118 h 118"/>
                  <a:gd name="T4" fmla="*/ 36 w 74"/>
                  <a:gd name="T5" fmla="*/ 100 h 118"/>
                  <a:gd name="T6" fmla="*/ 56 w 74"/>
                  <a:gd name="T7" fmla="*/ 118 h 118"/>
                  <a:gd name="T8" fmla="*/ 56 w 74"/>
                  <a:gd name="T9" fmla="*/ 70 h 118"/>
                  <a:gd name="T10" fmla="*/ 56 w 74"/>
                  <a:gd name="T11" fmla="*/ 70 h 118"/>
                  <a:gd name="T12" fmla="*/ 62 w 74"/>
                  <a:gd name="T13" fmla="*/ 64 h 118"/>
                  <a:gd name="T14" fmla="*/ 68 w 74"/>
                  <a:gd name="T15" fmla="*/ 56 h 118"/>
                  <a:gd name="T16" fmla="*/ 72 w 74"/>
                  <a:gd name="T17" fmla="*/ 48 h 118"/>
                  <a:gd name="T18" fmla="*/ 74 w 74"/>
                  <a:gd name="T19" fmla="*/ 38 h 118"/>
                  <a:gd name="T20" fmla="*/ 74 w 74"/>
                  <a:gd name="T21" fmla="*/ 38 h 118"/>
                  <a:gd name="T22" fmla="*/ 72 w 74"/>
                  <a:gd name="T23" fmla="*/ 30 h 118"/>
                  <a:gd name="T24" fmla="*/ 70 w 74"/>
                  <a:gd name="T25" fmla="*/ 22 h 118"/>
                  <a:gd name="T26" fmla="*/ 68 w 74"/>
                  <a:gd name="T27" fmla="*/ 16 h 118"/>
                  <a:gd name="T28" fmla="*/ 62 w 74"/>
                  <a:gd name="T29" fmla="*/ 10 h 118"/>
                  <a:gd name="T30" fmla="*/ 58 w 74"/>
                  <a:gd name="T31" fmla="*/ 6 h 118"/>
                  <a:gd name="T32" fmla="*/ 50 w 74"/>
                  <a:gd name="T33" fmla="*/ 2 h 118"/>
                  <a:gd name="T34" fmla="*/ 44 w 74"/>
                  <a:gd name="T35" fmla="*/ 0 h 118"/>
                  <a:gd name="T36" fmla="*/ 36 w 74"/>
                  <a:gd name="T37" fmla="*/ 0 h 118"/>
                  <a:gd name="T38" fmla="*/ 36 w 74"/>
                  <a:gd name="T39" fmla="*/ 0 h 118"/>
                  <a:gd name="T40" fmla="*/ 28 w 74"/>
                  <a:gd name="T41" fmla="*/ 0 h 118"/>
                  <a:gd name="T42" fmla="*/ 22 w 74"/>
                  <a:gd name="T43" fmla="*/ 2 h 118"/>
                  <a:gd name="T44" fmla="*/ 16 w 74"/>
                  <a:gd name="T45" fmla="*/ 6 h 118"/>
                  <a:gd name="T46" fmla="*/ 10 w 74"/>
                  <a:gd name="T47" fmla="*/ 10 h 118"/>
                  <a:gd name="T48" fmla="*/ 6 w 74"/>
                  <a:gd name="T49" fmla="*/ 16 h 118"/>
                  <a:gd name="T50" fmla="*/ 2 w 74"/>
                  <a:gd name="T51" fmla="*/ 22 h 118"/>
                  <a:gd name="T52" fmla="*/ 0 w 74"/>
                  <a:gd name="T53" fmla="*/ 30 h 118"/>
                  <a:gd name="T54" fmla="*/ 0 w 74"/>
                  <a:gd name="T55" fmla="*/ 38 h 118"/>
                  <a:gd name="T56" fmla="*/ 0 w 74"/>
                  <a:gd name="T57" fmla="*/ 38 h 118"/>
                  <a:gd name="T58" fmla="*/ 0 w 74"/>
                  <a:gd name="T59" fmla="*/ 48 h 118"/>
                  <a:gd name="T60" fmla="*/ 4 w 74"/>
                  <a:gd name="T61" fmla="*/ 56 h 118"/>
                  <a:gd name="T62" fmla="*/ 10 w 74"/>
                  <a:gd name="T63" fmla="*/ 64 h 118"/>
                  <a:gd name="T64" fmla="*/ 18 w 74"/>
                  <a:gd name="T65" fmla="*/ 70 h 118"/>
                  <a:gd name="T66" fmla="*/ 18 w 74"/>
                  <a:gd name="T67" fmla="*/ 7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74" h="118">
                    <a:moveTo>
                      <a:pt x="18" y="70"/>
                    </a:moveTo>
                    <a:lnTo>
                      <a:pt x="18" y="118"/>
                    </a:lnTo>
                    <a:lnTo>
                      <a:pt x="36" y="100"/>
                    </a:lnTo>
                    <a:lnTo>
                      <a:pt x="56" y="118"/>
                    </a:lnTo>
                    <a:lnTo>
                      <a:pt x="56" y="70"/>
                    </a:lnTo>
                    <a:lnTo>
                      <a:pt x="56" y="70"/>
                    </a:lnTo>
                    <a:lnTo>
                      <a:pt x="62" y="64"/>
                    </a:lnTo>
                    <a:lnTo>
                      <a:pt x="68" y="56"/>
                    </a:lnTo>
                    <a:lnTo>
                      <a:pt x="72" y="48"/>
                    </a:lnTo>
                    <a:lnTo>
                      <a:pt x="74" y="38"/>
                    </a:lnTo>
                    <a:lnTo>
                      <a:pt x="74" y="38"/>
                    </a:lnTo>
                    <a:lnTo>
                      <a:pt x="72" y="30"/>
                    </a:lnTo>
                    <a:lnTo>
                      <a:pt x="70" y="22"/>
                    </a:lnTo>
                    <a:lnTo>
                      <a:pt x="68" y="16"/>
                    </a:lnTo>
                    <a:lnTo>
                      <a:pt x="62" y="10"/>
                    </a:lnTo>
                    <a:lnTo>
                      <a:pt x="58" y="6"/>
                    </a:lnTo>
                    <a:lnTo>
                      <a:pt x="50" y="2"/>
                    </a:lnTo>
                    <a:lnTo>
                      <a:pt x="44" y="0"/>
                    </a:lnTo>
                    <a:lnTo>
                      <a:pt x="36" y="0"/>
                    </a:lnTo>
                    <a:lnTo>
                      <a:pt x="36" y="0"/>
                    </a:lnTo>
                    <a:lnTo>
                      <a:pt x="28" y="0"/>
                    </a:lnTo>
                    <a:lnTo>
                      <a:pt x="22" y="2"/>
                    </a:lnTo>
                    <a:lnTo>
                      <a:pt x="16" y="6"/>
                    </a:lnTo>
                    <a:lnTo>
                      <a:pt x="10" y="10"/>
                    </a:lnTo>
                    <a:lnTo>
                      <a:pt x="6" y="16"/>
                    </a:lnTo>
                    <a:lnTo>
                      <a:pt x="2" y="22"/>
                    </a:lnTo>
                    <a:lnTo>
                      <a:pt x="0" y="30"/>
                    </a:lnTo>
                    <a:lnTo>
                      <a:pt x="0" y="38"/>
                    </a:lnTo>
                    <a:lnTo>
                      <a:pt x="0" y="38"/>
                    </a:lnTo>
                    <a:lnTo>
                      <a:pt x="0" y="48"/>
                    </a:lnTo>
                    <a:lnTo>
                      <a:pt x="4" y="56"/>
                    </a:lnTo>
                    <a:lnTo>
                      <a:pt x="10" y="64"/>
                    </a:lnTo>
                    <a:lnTo>
                      <a:pt x="18" y="70"/>
                    </a:lnTo>
                    <a:lnTo>
                      <a:pt x="18"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75477">
                  <a:defRPr/>
                </a:pPr>
                <a:endParaRPr lang="en-US" sz="1920" kern="0">
                  <a:solidFill>
                    <a:prstClr val="white"/>
                  </a:solidFill>
                </a:endParaRPr>
              </a:p>
            </p:txBody>
          </p:sp>
          <p:sp>
            <p:nvSpPr>
              <p:cNvPr id="80" name="Rectangle 18"/>
              <p:cNvSpPr>
                <a:spLocks noChangeArrowheads="1"/>
              </p:cNvSpPr>
              <p:nvPr/>
            </p:nvSpPr>
            <p:spPr bwMode="auto">
              <a:xfrm>
                <a:off x="7694613" y="3808413"/>
                <a:ext cx="180975" cy="381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75477">
                  <a:defRPr/>
                </a:pPr>
                <a:endParaRPr lang="en-US" sz="1920" kern="0">
                  <a:solidFill>
                    <a:prstClr val="white"/>
                  </a:solidFill>
                </a:endParaRPr>
              </a:p>
            </p:txBody>
          </p:sp>
          <p:sp>
            <p:nvSpPr>
              <p:cNvPr id="81" name="Rectangle 19"/>
              <p:cNvSpPr>
                <a:spLocks noChangeArrowheads="1"/>
              </p:cNvSpPr>
              <p:nvPr/>
            </p:nvSpPr>
            <p:spPr bwMode="auto">
              <a:xfrm>
                <a:off x="7694613" y="3878263"/>
                <a:ext cx="180975" cy="381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75477">
                  <a:defRPr/>
                </a:pPr>
                <a:endParaRPr lang="en-US" sz="1920" kern="0">
                  <a:solidFill>
                    <a:prstClr val="white"/>
                  </a:solidFill>
                </a:endParaRPr>
              </a:p>
            </p:txBody>
          </p:sp>
          <p:sp>
            <p:nvSpPr>
              <p:cNvPr id="82" name="Rectangle 20"/>
              <p:cNvSpPr>
                <a:spLocks noChangeArrowheads="1"/>
              </p:cNvSpPr>
              <p:nvPr/>
            </p:nvSpPr>
            <p:spPr bwMode="auto">
              <a:xfrm>
                <a:off x="7694613" y="3951288"/>
                <a:ext cx="180975" cy="381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75477">
                  <a:defRPr/>
                </a:pPr>
                <a:endParaRPr lang="en-US" sz="1920" kern="0">
                  <a:solidFill>
                    <a:prstClr val="white"/>
                  </a:solidFill>
                </a:endParaRPr>
              </a:p>
            </p:txBody>
          </p:sp>
        </p:grpSp>
        <p:grpSp>
          <p:nvGrpSpPr>
            <p:cNvPr id="66" name="Group 65"/>
            <p:cNvGrpSpPr/>
            <p:nvPr/>
          </p:nvGrpSpPr>
          <p:grpSpPr>
            <a:xfrm>
              <a:off x="4576010" y="2578029"/>
              <a:ext cx="1719157" cy="1164284"/>
              <a:chOff x="8933043" y="3080582"/>
              <a:chExt cx="1940444" cy="1314148"/>
            </a:xfrm>
          </p:grpSpPr>
          <p:sp>
            <p:nvSpPr>
              <p:cNvPr id="67" name="Freeform 12"/>
              <p:cNvSpPr>
                <a:spLocks/>
              </p:cNvSpPr>
              <p:nvPr/>
            </p:nvSpPr>
            <p:spPr bwMode="auto">
              <a:xfrm>
                <a:off x="10739663" y="3286670"/>
                <a:ext cx="133824" cy="211441"/>
              </a:xfrm>
              <a:custGeom>
                <a:avLst/>
                <a:gdLst>
                  <a:gd name="T0" fmla="*/ 102 w 107"/>
                  <a:gd name="T1" fmla="*/ 60 h 169"/>
                  <a:gd name="T2" fmla="*/ 96 w 107"/>
                  <a:gd name="T3" fmla="*/ 60 h 169"/>
                  <a:gd name="T4" fmla="*/ 101 w 107"/>
                  <a:gd name="T5" fmla="*/ 47 h 169"/>
                  <a:gd name="T6" fmla="*/ 97 w 107"/>
                  <a:gd name="T7" fmla="*/ 37 h 169"/>
                  <a:gd name="T8" fmla="*/ 94 w 107"/>
                  <a:gd name="T9" fmla="*/ 37 h 169"/>
                  <a:gd name="T10" fmla="*/ 98 w 107"/>
                  <a:gd name="T11" fmla="*/ 26 h 169"/>
                  <a:gd name="T12" fmla="*/ 93 w 107"/>
                  <a:gd name="T13" fmla="*/ 14 h 169"/>
                  <a:gd name="T14" fmla="*/ 86 w 107"/>
                  <a:gd name="T15" fmla="*/ 15 h 169"/>
                  <a:gd name="T16" fmla="*/ 86 w 107"/>
                  <a:gd name="T17" fmla="*/ 13 h 169"/>
                  <a:gd name="T18" fmla="*/ 81 w 107"/>
                  <a:gd name="T19" fmla="*/ 1 h 169"/>
                  <a:gd name="T20" fmla="*/ 69 w 107"/>
                  <a:gd name="T21" fmla="*/ 7 h 169"/>
                  <a:gd name="T22" fmla="*/ 50 w 107"/>
                  <a:gd name="T23" fmla="*/ 56 h 169"/>
                  <a:gd name="T24" fmla="*/ 44 w 107"/>
                  <a:gd name="T25" fmla="*/ 49 h 169"/>
                  <a:gd name="T26" fmla="*/ 29 w 107"/>
                  <a:gd name="T27" fmla="*/ 55 h 169"/>
                  <a:gd name="T28" fmla="*/ 28 w 107"/>
                  <a:gd name="T29" fmla="*/ 58 h 169"/>
                  <a:gd name="T30" fmla="*/ 16 w 107"/>
                  <a:gd name="T31" fmla="*/ 89 h 169"/>
                  <a:gd name="T32" fmla="*/ 7 w 107"/>
                  <a:gd name="T33" fmla="*/ 112 h 169"/>
                  <a:gd name="T34" fmla="*/ 7 w 107"/>
                  <a:gd name="T35" fmla="*/ 112 h 169"/>
                  <a:gd name="T36" fmla="*/ 29 w 107"/>
                  <a:gd name="T37" fmla="*/ 161 h 169"/>
                  <a:gd name="T38" fmla="*/ 79 w 107"/>
                  <a:gd name="T39" fmla="*/ 139 h 169"/>
                  <a:gd name="T40" fmla="*/ 79 w 107"/>
                  <a:gd name="T41" fmla="*/ 139 h 169"/>
                  <a:gd name="T42" fmla="*/ 89 w 107"/>
                  <a:gd name="T43" fmla="*/ 114 h 169"/>
                  <a:gd name="T44" fmla="*/ 99 w 107"/>
                  <a:gd name="T45" fmla="*/ 86 h 169"/>
                  <a:gd name="T46" fmla="*/ 106 w 107"/>
                  <a:gd name="T47" fmla="*/ 69 h 169"/>
                  <a:gd name="T48" fmla="*/ 102 w 107"/>
                  <a:gd name="T49" fmla="*/ 60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7" h="169">
                    <a:moveTo>
                      <a:pt x="102" y="60"/>
                    </a:moveTo>
                    <a:cubicBezTo>
                      <a:pt x="100" y="59"/>
                      <a:pt x="98" y="59"/>
                      <a:pt x="96" y="60"/>
                    </a:cubicBezTo>
                    <a:cubicBezTo>
                      <a:pt x="99" y="53"/>
                      <a:pt x="101" y="47"/>
                      <a:pt x="101" y="47"/>
                    </a:cubicBezTo>
                    <a:cubicBezTo>
                      <a:pt x="102" y="43"/>
                      <a:pt x="101" y="39"/>
                      <a:pt x="97" y="37"/>
                    </a:cubicBezTo>
                    <a:cubicBezTo>
                      <a:pt x="96" y="37"/>
                      <a:pt x="95" y="37"/>
                      <a:pt x="94" y="37"/>
                    </a:cubicBezTo>
                    <a:cubicBezTo>
                      <a:pt x="96" y="31"/>
                      <a:pt x="98" y="27"/>
                      <a:pt x="98" y="26"/>
                    </a:cubicBezTo>
                    <a:cubicBezTo>
                      <a:pt x="100" y="21"/>
                      <a:pt x="98" y="16"/>
                      <a:pt x="93" y="14"/>
                    </a:cubicBezTo>
                    <a:cubicBezTo>
                      <a:pt x="90" y="13"/>
                      <a:pt x="88" y="13"/>
                      <a:pt x="86" y="15"/>
                    </a:cubicBezTo>
                    <a:cubicBezTo>
                      <a:pt x="86" y="14"/>
                      <a:pt x="86" y="13"/>
                      <a:pt x="86" y="13"/>
                    </a:cubicBezTo>
                    <a:cubicBezTo>
                      <a:pt x="88" y="8"/>
                      <a:pt x="86" y="3"/>
                      <a:pt x="81" y="1"/>
                    </a:cubicBezTo>
                    <a:cubicBezTo>
                      <a:pt x="76" y="0"/>
                      <a:pt x="71" y="2"/>
                      <a:pt x="69" y="7"/>
                    </a:cubicBezTo>
                    <a:cubicBezTo>
                      <a:pt x="68" y="9"/>
                      <a:pt x="56" y="41"/>
                      <a:pt x="50" y="56"/>
                    </a:cubicBezTo>
                    <a:cubicBezTo>
                      <a:pt x="49" y="53"/>
                      <a:pt x="47" y="50"/>
                      <a:pt x="44" y="49"/>
                    </a:cubicBezTo>
                    <a:cubicBezTo>
                      <a:pt x="38" y="46"/>
                      <a:pt x="31" y="49"/>
                      <a:pt x="29" y="55"/>
                    </a:cubicBezTo>
                    <a:cubicBezTo>
                      <a:pt x="29" y="56"/>
                      <a:pt x="28" y="57"/>
                      <a:pt x="28" y="58"/>
                    </a:cubicBezTo>
                    <a:cubicBezTo>
                      <a:pt x="25" y="67"/>
                      <a:pt x="17" y="86"/>
                      <a:pt x="16" y="89"/>
                    </a:cubicBezTo>
                    <a:cubicBezTo>
                      <a:pt x="7" y="112"/>
                      <a:pt x="7" y="112"/>
                      <a:pt x="7" y="112"/>
                    </a:cubicBezTo>
                    <a:cubicBezTo>
                      <a:pt x="7" y="112"/>
                      <a:pt x="7" y="112"/>
                      <a:pt x="7" y="112"/>
                    </a:cubicBezTo>
                    <a:cubicBezTo>
                      <a:pt x="0" y="132"/>
                      <a:pt x="10" y="154"/>
                      <a:pt x="29" y="161"/>
                    </a:cubicBezTo>
                    <a:cubicBezTo>
                      <a:pt x="49" y="169"/>
                      <a:pt x="71" y="159"/>
                      <a:pt x="79" y="139"/>
                    </a:cubicBezTo>
                    <a:cubicBezTo>
                      <a:pt x="79" y="139"/>
                      <a:pt x="79" y="139"/>
                      <a:pt x="79" y="139"/>
                    </a:cubicBezTo>
                    <a:cubicBezTo>
                      <a:pt x="89" y="114"/>
                      <a:pt x="89" y="114"/>
                      <a:pt x="89" y="114"/>
                    </a:cubicBezTo>
                    <a:cubicBezTo>
                      <a:pt x="89" y="113"/>
                      <a:pt x="95" y="98"/>
                      <a:pt x="99" y="86"/>
                    </a:cubicBezTo>
                    <a:cubicBezTo>
                      <a:pt x="103" y="77"/>
                      <a:pt x="106" y="70"/>
                      <a:pt x="106" y="69"/>
                    </a:cubicBezTo>
                    <a:cubicBezTo>
                      <a:pt x="107" y="65"/>
                      <a:pt x="105" y="61"/>
                      <a:pt x="102" y="60"/>
                    </a:cubicBez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75477">
                  <a:defRPr/>
                </a:pPr>
                <a:endParaRPr lang="en-US" sz="1920" kern="0">
                  <a:solidFill>
                    <a:prstClr val="white"/>
                  </a:solidFill>
                </a:endParaRPr>
              </a:p>
            </p:txBody>
          </p:sp>
          <p:sp>
            <p:nvSpPr>
              <p:cNvPr id="68" name="Freeform 13"/>
              <p:cNvSpPr>
                <a:spLocks/>
              </p:cNvSpPr>
              <p:nvPr/>
            </p:nvSpPr>
            <p:spPr bwMode="auto">
              <a:xfrm>
                <a:off x="8933043" y="3286670"/>
                <a:ext cx="136500" cy="211441"/>
              </a:xfrm>
              <a:custGeom>
                <a:avLst/>
                <a:gdLst>
                  <a:gd name="T0" fmla="*/ 5 w 107"/>
                  <a:gd name="T1" fmla="*/ 60 h 169"/>
                  <a:gd name="T2" fmla="*/ 11 w 107"/>
                  <a:gd name="T3" fmla="*/ 60 h 169"/>
                  <a:gd name="T4" fmla="*/ 6 w 107"/>
                  <a:gd name="T5" fmla="*/ 47 h 169"/>
                  <a:gd name="T6" fmla="*/ 10 w 107"/>
                  <a:gd name="T7" fmla="*/ 37 h 169"/>
                  <a:gd name="T8" fmla="*/ 13 w 107"/>
                  <a:gd name="T9" fmla="*/ 37 h 169"/>
                  <a:gd name="T10" fmla="*/ 9 w 107"/>
                  <a:gd name="T11" fmla="*/ 26 h 169"/>
                  <a:gd name="T12" fmla="*/ 14 w 107"/>
                  <a:gd name="T13" fmla="*/ 14 h 169"/>
                  <a:gd name="T14" fmla="*/ 21 w 107"/>
                  <a:gd name="T15" fmla="*/ 15 h 169"/>
                  <a:gd name="T16" fmla="*/ 21 w 107"/>
                  <a:gd name="T17" fmla="*/ 13 h 169"/>
                  <a:gd name="T18" fmla="*/ 26 w 107"/>
                  <a:gd name="T19" fmla="*/ 1 h 169"/>
                  <a:gd name="T20" fmla="*/ 38 w 107"/>
                  <a:gd name="T21" fmla="*/ 7 h 169"/>
                  <a:gd name="T22" fmla="*/ 57 w 107"/>
                  <a:gd name="T23" fmla="*/ 56 h 169"/>
                  <a:gd name="T24" fmla="*/ 63 w 107"/>
                  <a:gd name="T25" fmla="*/ 49 h 169"/>
                  <a:gd name="T26" fmla="*/ 78 w 107"/>
                  <a:gd name="T27" fmla="*/ 55 h 169"/>
                  <a:gd name="T28" fmla="*/ 79 w 107"/>
                  <a:gd name="T29" fmla="*/ 58 h 169"/>
                  <a:gd name="T30" fmla="*/ 91 w 107"/>
                  <a:gd name="T31" fmla="*/ 89 h 169"/>
                  <a:gd name="T32" fmla="*/ 100 w 107"/>
                  <a:gd name="T33" fmla="*/ 112 h 169"/>
                  <a:gd name="T34" fmla="*/ 100 w 107"/>
                  <a:gd name="T35" fmla="*/ 112 h 169"/>
                  <a:gd name="T36" fmla="*/ 78 w 107"/>
                  <a:gd name="T37" fmla="*/ 161 h 169"/>
                  <a:gd name="T38" fmla="*/ 28 w 107"/>
                  <a:gd name="T39" fmla="*/ 139 h 169"/>
                  <a:gd name="T40" fmla="*/ 28 w 107"/>
                  <a:gd name="T41" fmla="*/ 139 h 169"/>
                  <a:gd name="T42" fmla="*/ 18 w 107"/>
                  <a:gd name="T43" fmla="*/ 114 h 169"/>
                  <a:gd name="T44" fmla="*/ 8 w 107"/>
                  <a:gd name="T45" fmla="*/ 86 h 169"/>
                  <a:gd name="T46" fmla="*/ 1 w 107"/>
                  <a:gd name="T47" fmla="*/ 69 h 169"/>
                  <a:gd name="T48" fmla="*/ 5 w 107"/>
                  <a:gd name="T49" fmla="*/ 60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7" h="169">
                    <a:moveTo>
                      <a:pt x="5" y="60"/>
                    </a:moveTo>
                    <a:cubicBezTo>
                      <a:pt x="7" y="59"/>
                      <a:pt x="9" y="59"/>
                      <a:pt x="11" y="60"/>
                    </a:cubicBezTo>
                    <a:cubicBezTo>
                      <a:pt x="8" y="53"/>
                      <a:pt x="6" y="47"/>
                      <a:pt x="6" y="47"/>
                    </a:cubicBezTo>
                    <a:cubicBezTo>
                      <a:pt x="5" y="43"/>
                      <a:pt x="6" y="39"/>
                      <a:pt x="10" y="37"/>
                    </a:cubicBezTo>
                    <a:cubicBezTo>
                      <a:pt x="11" y="37"/>
                      <a:pt x="12" y="37"/>
                      <a:pt x="13" y="37"/>
                    </a:cubicBezTo>
                    <a:cubicBezTo>
                      <a:pt x="11" y="31"/>
                      <a:pt x="9" y="27"/>
                      <a:pt x="9" y="26"/>
                    </a:cubicBezTo>
                    <a:cubicBezTo>
                      <a:pt x="7" y="21"/>
                      <a:pt x="9" y="16"/>
                      <a:pt x="14" y="14"/>
                    </a:cubicBezTo>
                    <a:cubicBezTo>
                      <a:pt x="17" y="13"/>
                      <a:pt x="19" y="13"/>
                      <a:pt x="21" y="15"/>
                    </a:cubicBezTo>
                    <a:cubicBezTo>
                      <a:pt x="21" y="14"/>
                      <a:pt x="21" y="13"/>
                      <a:pt x="21" y="13"/>
                    </a:cubicBezTo>
                    <a:cubicBezTo>
                      <a:pt x="19" y="8"/>
                      <a:pt x="21" y="3"/>
                      <a:pt x="26" y="1"/>
                    </a:cubicBezTo>
                    <a:cubicBezTo>
                      <a:pt x="31" y="0"/>
                      <a:pt x="36" y="2"/>
                      <a:pt x="38" y="7"/>
                    </a:cubicBezTo>
                    <a:cubicBezTo>
                      <a:pt x="39" y="9"/>
                      <a:pt x="51" y="41"/>
                      <a:pt x="57" y="56"/>
                    </a:cubicBezTo>
                    <a:cubicBezTo>
                      <a:pt x="58" y="53"/>
                      <a:pt x="60" y="50"/>
                      <a:pt x="63" y="49"/>
                    </a:cubicBezTo>
                    <a:cubicBezTo>
                      <a:pt x="69" y="46"/>
                      <a:pt x="76" y="49"/>
                      <a:pt x="78" y="55"/>
                    </a:cubicBezTo>
                    <a:cubicBezTo>
                      <a:pt x="78" y="56"/>
                      <a:pt x="79" y="57"/>
                      <a:pt x="79" y="58"/>
                    </a:cubicBezTo>
                    <a:cubicBezTo>
                      <a:pt x="82" y="67"/>
                      <a:pt x="90" y="86"/>
                      <a:pt x="91" y="89"/>
                    </a:cubicBezTo>
                    <a:cubicBezTo>
                      <a:pt x="100" y="112"/>
                      <a:pt x="100" y="112"/>
                      <a:pt x="100" y="112"/>
                    </a:cubicBezTo>
                    <a:cubicBezTo>
                      <a:pt x="100" y="112"/>
                      <a:pt x="100" y="112"/>
                      <a:pt x="100" y="112"/>
                    </a:cubicBezTo>
                    <a:cubicBezTo>
                      <a:pt x="107" y="132"/>
                      <a:pt x="97" y="154"/>
                      <a:pt x="78" y="161"/>
                    </a:cubicBezTo>
                    <a:cubicBezTo>
                      <a:pt x="58" y="169"/>
                      <a:pt x="36" y="159"/>
                      <a:pt x="28" y="139"/>
                    </a:cubicBezTo>
                    <a:cubicBezTo>
                      <a:pt x="28" y="139"/>
                      <a:pt x="28" y="139"/>
                      <a:pt x="28" y="139"/>
                    </a:cubicBezTo>
                    <a:cubicBezTo>
                      <a:pt x="18" y="114"/>
                      <a:pt x="18" y="114"/>
                      <a:pt x="18" y="114"/>
                    </a:cubicBezTo>
                    <a:cubicBezTo>
                      <a:pt x="18" y="113"/>
                      <a:pt x="12" y="98"/>
                      <a:pt x="8" y="86"/>
                    </a:cubicBezTo>
                    <a:cubicBezTo>
                      <a:pt x="4" y="77"/>
                      <a:pt x="1" y="70"/>
                      <a:pt x="1" y="69"/>
                    </a:cubicBezTo>
                    <a:cubicBezTo>
                      <a:pt x="0" y="65"/>
                      <a:pt x="1" y="61"/>
                      <a:pt x="5" y="60"/>
                    </a:cubicBez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75477">
                  <a:defRPr/>
                </a:pPr>
                <a:endParaRPr lang="en-US" sz="1920" kern="0">
                  <a:solidFill>
                    <a:prstClr val="white"/>
                  </a:solidFill>
                </a:endParaRPr>
              </a:p>
            </p:txBody>
          </p:sp>
          <p:sp>
            <p:nvSpPr>
              <p:cNvPr id="69" name="Freeform 14"/>
              <p:cNvSpPr>
                <a:spLocks/>
              </p:cNvSpPr>
              <p:nvPr/>
            </p:nvSpPr>
            <p:spPr bwMode="auto">
              <a:xfrm>
                <a:off x="8973190" y="3436553"/>
                <a:ext cx="1862826" cy="958177"/>
              </a:xfrm>
              <a:custGeom>
                <a:avLst/>
                <a:gdLst>
                  <a:gd name="T0" fmla="*/ 1400 w 1478"/>
                  <a:gd name="T1" fmla="*/ 0 h 762"/>
                  <a:gd name="T2" fmla="*/ 1292 w 1478"/>
                  <a:gd name="T3" fmla="*/ 133 h 762"/>
                  <a:gd name="T4" fmla="*/ 1072 w 1478"/>
                  <a:gd name="T5" fmla="*/ 178 h 762"/>
                  <a:gd name="T6" fmla="*/ 898 w 1478"/>
                  <a:gd name="T7" fmla="*/ 72 h 762"/>
                  <a:gd name="T8" fmla="*/ 579 w 1478"/>
                  <a:gd name="T9" fmla="*/ 74 h 762"/>
                  <a:gd name="T10" fmla="*/ 406 w 1478"/>
                  <a:gd name="T11" fmla="*/ 178 h 762"/>
                  <a:gd name="T12" fmla="*/ 185 w 1478"/>
                  <a:gd name="T13" fmla="*/ 133 h 762"/>
                  <a:gd name="T14" fmla="*/ 78 w 1478"/>
                  <a:gd name="T15" fmla="*/ 0 h 762"/>
                  <a:gd name="T16" fmla="*/ 0 w 1478"/>
                  <a:gd name="T17" fmla="*/ 31 h 762"/>
                  <a:gd name="T18" fmla="*/ 139 w 1478"/>
                  <a:gd name="T19" fmla="*/ 203 h 762"/>
                  <a:gd name="T20" fmla="*/ 349 w 1478"/>
                  <a:gd name="T21" fmla="*/ 268 h 762"/>
                  <a:gd name="T22" fmla="*/ 422 w 1478"/>
                  <a:gd name="T23" fmla="*/ 261 h 762"/>
                  <a:gd name="T24" fmla="*/ 579 w 1478"/>
                  <a:gd name="T25" fmla="*/ 190 h 762"/>
                  <a:gd name="T26" fmla="*/ 579 w 1478"/>
                  <a:gd name="T27" fmla="*/ 762 h 762"/>
                  <a:gd name="T28" fmla="*/ 898 w 1478"/>
                  <a:gd name="T29" fmla="*/ 762 h 762"/>
                  <a:gd name="T30" fmla="*/ 898 w 1478"/>
                  <a:gd name="T31" fmla="*/ 189 h 762"/>
                  <a:gd name="T32" fmla="*/ 1128 w 1478"/>
                  <a:gd name="T33" fmla="*/ 267 h 762"/>
                  <a:gd name="T34" fmla="*/ 1339 w 1478"/>
                  <a:gd name="T35" fmla="*/ 203 h 762"/>
                  <a:gd name="T36" fmla="*/ 1478 w 1478"/>
                  <a:gd name="T37" fmla="*/ 31 h 762"/>
                  <a:gd name="T38" fmla="*/ 1400 w 1478"/>
                  <a:gd name="T39" fmla="*/ 0 h 7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78" h="762">
                    <a:moveTo>
                      <a:pt x="1400" y="0"/>
                    </a:moveTo>
                    <a:cubicBezTo>
                      <a:pt x="1378" y="54"/>
                      <a:pt x="1341" y="101"/>
                      <a:pt x="1292" y="133"/>
                    </a:cubicBezTo>
                    <a:cubicBezTo>
                      <a:pt x="1227" y="177"/>
                      <a:pt x="1149" y="193"/>
                      <a:pt x="1072" y="178"/>
                    </a:cubicBezTo>
                    <a:cubicBezTo>
                      <a:pt x="1002" y="165"/>
                      <a:pt x="941" y="127"/>
                      <a:pt x="898" y="72"/>
                    </a:cubicBezTo>
                    <a:cubicBezTo>
                      <a:pt x="579" y="74"/>
                      <a:pt x="579" y="74"/>
                      <a:pt x="579" y="74"/>
                    </a:cubicBezTo>
                    <a:cubicBezTo>
                      <a:pt x="535" y="128"/>
                      <a:pt x="475" y="165"/>
                      <a:pt x="406" y="178"/>
                    </a:cubicBezTo>
                    <a:cubicBezTo>
                      <a:pt x="329" y="193"/>
                      <a:pt x="250" y="177"/>
                      <a:pt x="185" y="133"/>
                    </a:cubicBezTo>
                    <a:cubicBezTo>
                      <a:pt x="137" y="101"/>
                      <a:pt x="99" y="54"/>
                      <a:pt x="78" y="0"/>
                    </a:cubicBezTo>
                    <a:cubicBezTo>
                      <a:pt x="0" y="31"/>
                      <a:pt x="0" y="31"/>
                      <a:pt x="0" y="31"/>
                    </a:cubicBezTo>
                    <a:cubicBezTo>
                      <a:pt x="28" y="101"/>
                      <a:pt x="76" y="161"/>
                      <a:pt x="139" y="203"/>
                    </a:cubicBezTo>
                    <a:cubicBezTo>
                      <a:pt x="202" y="246"/>
                      <a:pt x="274" y="268"/>
                      <a:pt x="349" y="268"/>
                    </a:cubicBezTo>
                    <a:cubicBezTo>
                      <a:pt x="373" y="268"/>
                      <a:pt x="397" y="265"/>
                      <a:pt x="422" y="261"/>
                    </a:cubicBezTo>
                    <a:cubicBezTo>
                      <a:pt x="480" y="249"/>
                      <a:pt x="533" y="225"/>
                      <a:pt x="579" y="190"/>
                    </a:cubicBezTo>
                    <a:cubicBezTo>
                      <a:pt x="579" y="762"/>
                      <a:pt x="579" y="762"/>
                      <a:pt x="579" y="762"/>
                    </a:cubicBezTo>
                    <a:cubicBezTo>
                      <a:pt x="898" y="762"/>
                      <a:pt x="898" y="762"/>
                      <a:pt x="898" y="762"/>
                    </a:cubicBezTo>
                    <a:cubicBezTo>
                      <a:pt x="898" y="189"/>
                      <a:pt x="898" y="189"/>
                      <a:pt x="898" y="189"/>
                    </a:cubicBezTo>
                    <a:cubicBezTo>
                      <a:pt x="964" y="241"/>
                      <a:pt x="1046" y="267"/>
                      <a:pt x="1128" y="267"/>
                    </a:cubicBezTo>
                    <a:cubicBezTo>
                      <a:pt x="1201" y="267"/>
                      <a:pt x="1274" y="247"/>
                      <a:pt x="1339" y="203"/>
                    </a:cubicBezTo>
                    <a:cubicBezTo>
                      <a:pt x="1402" y="161"/>
                      <a:pt x="1450" y="101"/>
                      <a:pt x="1478" y="31"/>
                    </a:cubicBezTo>
                    <a:lnTo>
                      <a:pt x="1400" y="0"/>
                    </a:lnTo>
                    <a:close/>
                  </a:path>
                </a:pathLst>
              </a:custGeom>
              <a:solidFill>
                <a:sysClr val="window" lastClr="FFFFFF">
                  <a:lumMod val="75000"/>
                </a:sysClr>
              </a:solidFill>
              <a:ln>
                <a:noFill/>
              </a:ln>
            </p:spPr>
            <p:txBody>
              <a:bodyPr vert="horz" wrap="square" lIns="91440" tIns="45720" rIns="91440" bIns="45720" numCol="1" anchor="t" anchorCtr="0" compatLnSpc="1">
                <a:prstTxWarp prst="textNoShape">
                  <a:avLst/>
                </a:prstTxWarp>
              </a:bodyPr>
              <a:lstStyle/>
              <a:p>
                <a:pPr defTabSz="975477">
                  <a:defRPr/>
                </a:pPr>
                <a:endParaRPr lang="en-US" sz="1920" kern="0">
                  <a:solidFill>
                    <a:prstClr val="white"/>
                  </a:solidFill>
                </a:endParaRPr>
              </a:p>
            </p:txBody>
          </p:sp>
          <p:sp>
            <p:nvSpPr>
              <p:cNvPr id="70" name="Freeform 15"/>
              <p:cNvSpPr>
                <a:spLocks/>
              </p:cNvSpPr>
              <p:nvPr/>
            </p:nvSpPr>
            <p:spPr bwMode="auto">
              <a:xfrm>
                <a:off x="8973190" y="3436552"/>
                <a:ext cx="1862827" cy="337236"/>
              </a:xfrm>
              <a:custGeom>
                <a:avLst/>
                <a:gdLst>
                  <a:gd name="T0" fmla="*/ 1128 w 1478"/>
                  <a:gd name="T1" fmla="*/ 267 h 268"/>
                  <a:gd name="T2" fmla="*/ 1339 w 1478"/>
                  <a:gd name="T3" fmla="*/ 203 h 268"/>
                  <a:gd name="T4" fmla="*/ 1478 w 1478"/>
                  <a:gd name="T5" fmla="*/ 31 h 268"/>
                  <a:gd name="T6" fmla="*/ 1400 w 1478"/>
                  <a:gd name="T7" fmla="*/ 0 h 268"/>
                  <a:gd name="T8" fmla="*/ 1292 w 1478"/>
                  <a:gd name="T9" fmla="*/ 133 h 268"/>
                  <a:gd name="T10" fmla="*/ 1072 w 1478"/>
                  <a:gd name="T11" fmla="*/ 178 h 268"/>
                  <a:gd name="T12" fmla="*/ 898 w 1478"/>
                  <a:gd name="T13" fmla="*/ 72 h 268"/>
                  <a:gd name="T14" fmla="*/ 579 w 1478"/>
                  <a:gd name="T15" fmla="*/ 74 h 268"/>
                  <a:gd name="T16" fmla="*/ 406 w 1478"/>
                  <a:gd name="T17" fmla="*/ 178 h 268"/>
                  <a:gd name="T18" fmla="*/ 185 w 1478"/>
                  <a:gd name="T19" fmla="*/ 133 h 268"/>
                  <a:gd name="T20" fmla="*/ 78 w 1478"/>
                  <a:gd name="T21" fmla="*/ 0 h 268"/>
                  <a:gd name="T22" fmla="*/ 0 w 1478"/>
                  <a:gd name="T23" fmla="*/ 31 h 268"/>
                  <a:gd name="T24" fmla="*/ 139 w 1478"/>
                  <a:gd name="T25" fmla="*/ 203 h 268"/>
                  <a:gd name="T26" fmla="*/ 349 w 1478"/>
                  <a:gd name="T27" fmla="*/ 268 h 268"/>
                  <a:gd name="T28" fmla="*/ 422 w 1478"/>
                  <a:gd name="T29" fmla="*/ 261 h 268"/>
                  <a:gd name="T30" fmla="*/ 579 w 1478"/>
                  <a:gd name="T31" fmla="*/ 190 h 268"/>
                  <a:gd name="T32" fmla="*/ 579 w 1478"/>
                  <a:gd name="T33" fmla="*/ 199 h 268"/>
                  <a:gd name="T34" fmla="*/ 613 w 1478"/>
                  <a:gd name="T35" fmla="*/ 85 h 268"/>
                  <a:gd name="T36" fmla="*/ 643 w 1478"/>
                  <a:gd name="T37" fmla="*/ 85 h 268"/>
                  <a:gd name="T38" fmla="*/ 713 w 1478"/>
                  <a:gd name="T39" fmla="*/ 135 h 268"/>
                  <a:gd name="T40" fmla="*/ 778 w 1478"/>
                  <a:gd name="T41" fmla="*/ 85 h 268"/>
                  <a:gd name="T42" fmla="*/ 835 w 1478"/>
                  <a:gd name="T43" fmla="*/ 85 h 268"/>
                  <a:gd name="T44" fmla="*/ 913 w 1478"/>
                  <a:gd name="T45" fmla="*/ 200 h 268"/>
                  <a:gd name="T46" fmla="*/ 1128 w 1478"/>
                  <a:gd name="T47" fmla="*/ 267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478" h="268">
                    <a:moveTo>
                      <a:pt x="1128" y="267"/>
                    </a:moveTo>
                    <a:cubicBezTo>
                      <a:pt x="1201" y="267"/>
                      <a:pt x="1274" y="247"/>
                      <a:pt x="1339" y="203"/>
                    </a:cubicBezTo>
                    <a:cubicBezTo>
                      <a:pt x="1402" y="161"/>
                      <a:pt x="1450" y="101"/>
                      <a:pt x="1478" y="31"/>
                    </a:cubicBezTo>
                    <a:cubicBezTo>
                      <a:pt x="1400" y="0"/>
                      <a:pt x="1400" y="0"/>
                      <a:pt x="1400" y="0"/>
                    </a:cubicBezTo>
                    <a:cubicBezTo>
                      <a:pt x="1378" y="54"/>
                      <a:pt x="1341" y="101"/>
                      <a:pt x="1292" y="133"/>
                    </a:cubicBezTo>
                    <a:cubicBezTo>
                      <a:pt x="1227" y="177"/>
                      <a:pt x="1149" y="193"/>
                      <a:pt x="1072" y="178"/>
                    </a:cubicBezTo>
                    <a:cubicBezTo>
                      <a:pt x="1002" y="165"/>
                      <a:pt x="941" y="127"/>
                      <a:pt x="898" y="72"/>
                    </a:cubicBezTo>
                    <a:cubicBezTo>
                      <a:pt x="579" y="74"/>
                      <a:pt x="579" y="74"/>
                      <a:pt x="579" y="74"/>
                    </a:cubicBezTo>
                    <a:cubicBezTo>
                      <a:pt x="535" y="128"/>
                      <a:pt x="475" y="165"/>
                      <a:pt x="406" y="178"/>
                    </a:cubicBezTo>
                    <a:cubicBezTo>
                      <a:pt x="329" y="193"/>
                      <a:pt x="250" y="177"/>
                      <a:pt x="185" y="133"/>
                    </a:cubicBezTo>
                    <a:cubicBezTo>
                      <a:pt x="137" y="101"/>
                      <a:pt x="99" y="54"/>
                      <a:pt x="78" y="0"/>
                    </a:cubicBezTo>
                    <a:cubicBezTo>
                      <a:pt x="0" y="31"/>
                      <a:pt x="0" y="31"/>
                      <a:pt x="0" y="31"/>
                    </a:cubicBezTo>
                    <a:cubicBezTo>
                      <a:pt x="28" y="101"/>
                      <a:pt x="76" y="161"/>
                      <a:pt x="139" y="203"/>
                    </a:cubicBezTo>
                    <a:cubicBezTo>
                      <a:pt x="202" y="246"/>
                      <a:pt x="274" y="268"/>
                      <a:pt x="349" y="268"/>
                    </a:cubicBezTo>
                    <a:cubicBezTo>
                      <a:pt x="373" y="268"/>
                      <a:pt x="397" y="265"/>
                      <a:pt x="422" y="261"/>
                    </a:cubicBezTo>
                    <a:cubicBezTo>
                      <a:pt x="480" y="249"/>
                      <a:pt x="533" y="225"/>
                      <a:pt x="579" y="190"/>
                    </a:cubicBezTo>
                    <a:cubicBezTo>
                      <a:pt x="579" y="199"/>
                      <a:pt x="579" y="199"/>
                      <a:pt x="579" y="199"/>
                    </a:cubicBezTo>
                    <a:cubicBezTo>
                      <a:pt x="613" y="85"/>
                      <a:pt x="613" y="85"/>
                      <a:pt x="613" y="85"/>
                    </a:cubicBezTo>
                    <a:cubicBezTo>
                      <a:pt x="643" y="85"/>
                      <a:pt x="643" y="85"/>
                      <a:pt x="643" y="85"/>
                    </a:cubicBezTo>
                    <a:cubicBezTo>
                      <a:pt x="713" y="135"/>
                      <a:pt x="713" y="135"/>
                      <a:pt x="713" y="135"/>
                    </a:cubicBezTo>
                    <a:cubicBezTo>
                      <a:pt x="778" y="85"/>
                      <a:pt x="778" y="85"/>
                      <a:pt x="778" y="85"/>
                    </a:cubicBezTo>
                    <a:cubicBezTo>
                      <a:pt x="835" y="85"/>
                      <a:pt x="835" y="85"/>
                      <a:pt x="835" y="85"/>
                    </a:cubicBezTo>
                    <a:cubicBezTo>
                      <a:pt x="913" y="200"/>
                      <a:pt x="913" y="200"/>
                      <a:pt x="913" y="200"/>
                    </a:cubicBezTo>
                    <a:cubicBezTo>
                      <a:pt x="976" y="244"/>
                      <a:pt x="1052" y="267"/>
                      <a:pt x="1128" y="267"/>
                    </a:cubicBezTo>
                    <a:close/>
                  </a:path>
                </a:pathLst>
              </a:custGeom>
              <a:solidFill>
                <a:srgbClr val="0072C6"/>
              </a:solidFill>
              <a:ln>
                <a:noFill/>
              </a:ln>
            </p:spPr>
            <p:txBody>
              <a:bodyPr vert="horz" wrap="square" lIns="91440" tIns="45720" rIns="91440" bIns="45720" numCol="1" anchor="t" anchorCtr="0" compatLnSpc="1">
                <a:prstTxWarp prst="textNoShape">
                  <a:avLst/>
                </a:prstTxWarp>
              </a:bodyPr>
              <a:lstStyle/>
              <a:p>
                <a:pPr defTabSz="975477">
                  <a:defRPr/>
                </a:pPr>
                <a:endParaRPr lang="en-US" sz="1920" kern="0">
                  <a:solidFill>
                    <a:prstClr val="white"/>
                  </a:solidFill>
                </a:endParaRPr>
              </a:p>
            </p:txBody>
          </p:sp>
          <p:sp>
            <p:nvSpPr>
              <p:cNvPr id="71" name="Freeform 35"/>
              <p:cNvSpPr>
                <a:spLocks/>
              </p:cNvSpPr>
              <p:nvPr/>
            </p:nvSpPr>
            <p:spPr bwMode="auto">
              <a:xfrm>
                <a:off x="9481720" y="3080582"/>
                <a:ext cx="291736" cy="291736"/>
              </a:xfrm>
              <a:custGeom>
                <a:avLst/>
                <a:gdLst>
                  <a:gd name="T0" fmla="*/ 92 w 232"/>
                  <a:gd name="T1" fmla="*/ 232 h 232"/>
                  <a:gd name="T2" fmla="*/ 139 w 232"/>
                  <a:gd name="T3" fmla="*/ 0 h 232"/>
                  <a:gd name="T4" fmla="*/ 92 w 232"/>
                  <a:gd name="T5" fmla="*/ 232 h 232"/>
                </a:gdLst>
                <a:ahLst/>
                <a:cxnLst>
                  <a:cxn ang="0">
                    <a:pos x="T0" y="T1"/>
                  </a:cxn>
                  <a:cxn ang="0">
                    <a:pos x="T2" y="T3"/>
                  </a:cxn>
                  <a:cxn ang="0">
                    <a:pos x="T4" y="T5"/>
                  </a:cxn>
                </a:cxnLst>
                <a:rect l="0" t="0" r="r" b="b"/>
                <a:pathLst>
                  <a:path w="232" h="232">
                    <a:moveTo>
                      <a:pt x="92" y="232"/>
                    </a:moveTo>
                    <a:cubicBezTo>
                      <a:pt x="92" y="232"/>
                      <a:pt x="0" y="92"/>
                      <a:pt x="139" y="0"/>
                    </a:cubicBezTo>
                    <a:cubicBezTo>
                      <a:pt x="139" y="0"/>
                      <a:pt x="232" y="139"/>
                      <a:pt x="92" y="232"/>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75477">
                  <a:defRPr/>
                </a:pPr>
                <a:endParaRPr lang="en-US" sz="1920" kern="0">
                  <a:solidFill>
                    <a:prstClr val="white"/>
                  </a:solidFill>
                </a:endParaRPr>
              </a:p>
            </p:txBody>
          </p:sp>
          <p:sp>
            <p:nvSpPr>
              <p:cNvPr id="72" name="Freeform 36"/>
              <p:cNvSpPr>
                <a:spLocks/>
              </p:cNvSpPr>
              <p:nvPr/>
            </p:nvSpPr>
            <p:spPr bwMode="auto">
              <a:xfrm>
                <a:off x="9444250" y="3152847"/>
                <a:ext cx="278353" cy="278353"/>
              </a:xfrm>
              <a:custGeom>
                <a:avLst/>
                <a:gdLst>
                  <a:gd name="T0" fmla="*/ 153 w 220"/>
                  <a:gd name="T1" fmla="*/ 221 h 221"/>
                  <a:gd name="T2" fmla="*/ 67 w 220"/>
                  <a:gd name="T3" fmla="*/ 0 h 221"/>
                  <a:gd name="T4" fmla="*/ 153 w 220"/>
                  <a:gd name="T5" fmla="*/ 221 h 221"/>
                </a:gdLst>
                <a:ahLst/>
                <a:cxnLst>
                  <a:cxn ang="0">
                    <a:pos x="T0" y="T1"/>
                  </a:cxn>
                  <a:cxn ang="0">
                    <a:pos x="T2" y="T3"/>
                  </a:cxn>
                  <a:cxn ang="0">
                    <a:pos x="T4" y="T5"/>
                  </a:cxn>
                </a:cxnLst>
                <a:rect l="0" t="0" r="r" b="b"/>
                <a:pathLst>
                  <a:path w="220" h="221">
                    <a:moveTo>
                      <a:pt x="153" y="221"/>
                    </a:moveTo>
                    <a:cubicBezTo>
                      <a:pt x="153" y="221"/>
                      <a:pt x="0" y="153"/>
                      <a:pt x="67" y="0"/>
                    </a:cubicBezTo>
                    <a:cubicBezTo>
                      <a:pt x="67" y="0"/>
                      <a:pt x="220" y="68"/>
                      <a:pt x="153" y="221"/>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75477">
                  <a:defRPr/>
                </a:pPr>
                <a:endParaRPr lang="en-US" sz="1920" kern="0">
                  <a:solidFill>
                    <a:prstClr val="white"/>
                  </a:solidFill>
                </a:endParaRPr>
              </a:p>
            </p:txBody>
          </p:sp>
          <p:sp>
            <p:nvSpPr>
              <p:cNvPr id="73" name="Freeform 37"/>
              <p:cNvSpPr>
                <a:spLocks/>
              </p:cNvSpPr>
              <p:nvPr/>
            </p:nvSpPr>
            <p:spPr bwMode="auto">
              <a:xfrm>
                <a:off x="9529897" y="3292023"/>
                <a:ext cx="270324" cy="283706"/>
              </a:xfrm>
              <a:custGeom>
                <a:avLst/>
                <a:gdLst>
                  <a:gd name="T0" fmla="*/ 216 w 216"/>
                  <a:gd name="T1" fmla="*/ 156 h 224"/>
                  <a:gd name="T2" fmla="*/ 0 w 216"/>
                  <a:gd name="T3" fmla="*/ 61 h 224"/>
                  <a:gd name="T4" fmla="*/ 216 w 216"/>
                  <a:gd name="T5" fmla="*/ 156 h 224"/>
                </a:gdLst>
                <a:ahLst/>
                <a:cxnLst>
                  <a:cxn ang="0">
                    <a:pos x="T0" y="T1"/>
                  </a:cxn>
                  <a:cxn ang="0">
                    <a:pos x="T2" y="T3"/>
                  </a:cxn>
                  <a:cxn ang="0">
                    <a:pos x="T4" y="T5"/>
                  </a:cxn>
                </a:cxnLst>
                <a:rect l="0" t="0" r="r" b="b"/>
                <a:pathLst>
                  <a:path w="216" h="224">
                    <a:moveTo>
                      <a:pt x="216" y="156"/>
                    </a:moveTo>
                    <a:cubicBezTo>
                      <a:pt x="206" y="160"/>
                      <a:pt x="63" y="224"/>
                      <a:pt x="0" y="61"/>
                    </a:cubicBezTo>
                    <a:cubicBezTo>
                      <a:pt x="0" y="61"/>
                      <a:pt x="156" y="0"/>
                      <a:pt x="216" y="156"/>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75477">
                  <a:defRPr/>
                </a:pPr>
                <a:endParaRPr lang="en-US" sz="1920" kern="0">
                  <a:solidFill>
                    <a:prstClr val="white"/>
                  </a:solidFill>
                </a:endParaRPr>
              </a:p>
            </p:txBody>
          </p:sp>
          <p:sp>
            <p:nvSpPr>
              <p:cNvPr id="74" name="Freeform 38"/>
              <p:cNvSpPr>
                <a:spLocks/>
              </p:cNvSpPr>
              <p:nvPr/>
            </p:nvSpPr>
            <p:spPr bwMode="auto">
              <a:xfrm>
                <a:off x="9596809" y="3281317"/>
                <a:ext cx="222147" cy="187353"/>
              </a:xfrm>
              <a:custGeom>
                <a:avLst/>
                <a:gdLst>
                  <a:gd name="T0" fmla="*/ 83 w 83"/>
                  <a:gd name="T1" fmla="*/ 31 h 70"/>
                  <a:gd name="T2" fmla="*/ 65 w 83"/>
                  <a:gd name="T3" fmla="*/ 70 h 70"/>
                  <a:gd name="T4" fmla="*/ 0 w 83"/>
                  <a:gd name="T5" fmla="*/ 39 h 70"/>
                  <a:gd name="T6" fmla="*/ 18 w 83"/>
                  <a:gd name="T7" fmla="*/ 0 h 70"/>
                  <a:gd name="T8" fmla="*/ 83 w 83"/>
                  <a:gd name="T9" fmla="*/ 31 h 70"/>
                </a:gdLst>
                <a:ahLst/>
                <a:cxnLst>
                  <a:cxn ang="0">
                    <a:pos x="T0" y="T1"/>
                  </a:cxn>
                  <a:cxn ang="0">
                    <a:pos x="T2" y="T3"/>
                  </a:cxn>
                  <a:cxn ang="0">
                    <a:pos x="T4" y="T5"/>
                  </a:cxn>
                  <a:cxn ang="0">
                    <a:pos x="T6" y="T7"/>
                  </a:cxn>
                  <a:cxn ang="0">
                    <a:pos x="T8" y="T9"/>
                  </a:cxn>
                </a:cxnLst>
                <a:rect l="0" t="0" r="r" b="b"/>
                <a:pathLst>
                  <a:path w="83" h="70">
                    <a:moveTo>
                      <a:pt x="83" y="31"/>
                    </a:moveTo>
                    <a:lnTo>
                      <a:pt x="65" y="70"/>
                    </a:lnTo>
                    <a:lnTo>
                      <a:pt x="0" y="39"/>
                    </a:lnTo>
                    <a:lnTo>
                      <a:pt x="18" y="0"/>
                    </a:lnTo>
                    <a:lnTo>
                      <a:pt x="83" y="31"/>
                    </a:ln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75477">
                  <a:defRPr/>
                </a:pPr>
                <a:endParaRPr lang="en-US" sz="1920" kern="0">
                  <a:solidFill>
                    <a:prstClr val="white"/>
                  </a:solidFill>
                </a:endParaRPr>
              </a:p>
            </p:txBody>
          </p:sp>
          <p:sp>
            <p:nvSpPr>
              <p:cNvPr id="75" name="Freeform 39"/>
              <p:cNvSpPr>
                <a:spLocks/>
              </p:cNvSpPr>
              <p:nvPr/>
            </p:nvSpPr>
            <p:spPr bwMode="auto">
              <a:xfrm>
                <a:off x="9626250" y="3171582"/>
                <a:ext cx="372030" cy="414853"/>
              </a:xfrm>
              <a:custGeom>
                <a:avLst/>
                <a:gdLst>
                  <a:gd name="T0" fmla="*/ 17 w 296"/>
                  <a:gd name="T1" fmla="*/ 0 h 330"/>
                  <a:gd name="T2" fmla="*/ 15 w 296"/>
                  <a:gd name="T3" fmla="*/ 73 h 330"/>
                  <a:gd name="T4" fmla="*/ 0 w 296"/>
                  <a:gd name="T5" fmla="*/ 90 h 330"/>
                  <a:gd name="T6" fmla="*/ 84 w 296"/>
                  <a:gd name="T7" fmla="*/ 125 h 330"/>
                  <a:gd name="T8" fmla="*/ 90 w 296"/>
                  <a:gd name="T9" fmla="*/ 129 h 330"/>
                  <a:gd name="T10" fmla="*/ 109 w 296"/>
                  <a:gd name="T11" fmla="*/ 146 h 330"/>
                  <a:gd name="T12" fmla="*/ 101 w 296"/>
                  <a:gd name="T13" fmla="*/ 163 h 330"/>
                  <a:gd name="T14" fmla="*/ 88 w 296"/>
                  <a:gd name="T15" fmla="*/ 155 h 330"/>
                  <a:gd name="T16" fmla="*/ 61 w 296"/>
                  <a:gd name="T17" fmla="*/ 161 h 330"/>
                  <a:gd name="T18" fmla="*/ 67 w 296"/>
                  <a:gd name="T19" fmla="*/ 189 h 330"/>
                  <a:gd name="T20" fmla="*/ 89 w 296"/>
                  <a:gd name="T21" fmla="*/ 203 h 330"/>
                  <a:gd name="T22" fmla="*/ 122 w 296"/>
                  <a:gd name="T23" fmla="*/ 223 h 330"/>
                  <a:gd name="T24" fmla="*/ 132 w 296"/>
                  <a:gd name="T25" fmla="*/ 291 h 330"/>
                  <a:gd name="T26" fmla="*/ 201 w 296"/>
                  <a:gd name="T27" fmla="*/ 330 h 330"/>
                  <a:gd name="T28" fmla="*/ 248 w 296"/>
                  <a:gd name="T29" fmla="*/ 205 h 330"/>
                  <a:gd name="T30" fmla="*/ 282 w 296"/>
                  <a:gd name="T31" fmla="*/ 176 h 330"/>
                  <a:gd name="T32" fmla="*/ 296 w 296"/>
                  <a:gd name="T33" fmla="*/ 153 h 330"/>
                  <a:gd name="T34" fmla="*/ 208 w 296"/>
                  <a:gd name="T35" fmla="*/ 89 h 330"/>
                  <a:gd name="T36" fmla="*/ 223 w 296"/>
                  <a:gd name="T37" fmla="*/ 64 h 330"/>
                  <a:gd name="T38" fmla="*/ 17 w 296"/>
                  <a:gd name="T39" fmla="*/ 0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96" h="330">
                    <a:moveTo>
                      <a:pt x="17" y="0"/>
                    </a:moveTo>
                    <a:cubicBezTo>
                      <a:pt x="30" y="20"/>
                      <a:pt x="30" y="48"/>
                      <a:pt x="15" y="73"/>
                    </a:cubicBezTo>
                    <a:cubicBezTo>
                      <a:pt x="10" y="79"/>
                      <a:pt x="6" y="85"/>
                      <a:pt x="0" y="90"/>
                    </a:cubicBezTo>
                    <a:cubicBezTo>
                      <a:pt x="27" y="95"/>
                      <a:pt x="56" y="107"/>
                      <a:pt x="84" y="125"/>
                    </a:cubicBezTo>
                    <a:cubicBezTo>
                      <a:pt x="86" y="126"/>
                      <a:pt x="88" y="127"/>
                      <a:pt x="90" y="129"/>
                    </a:cubicBezTo>
                    <a:cubicBezTo>
                      <a:pt x="101" y="139"/>
                      <a:pt x="109" y="146"/>
                      <a:pt x="109" y="146"/>
                    </a:cubicBezTo>
                    <a:cubicBezTo>
                      <a:pt x="106" y="152"/>
                      <a:pt x="104" y="158"/>
                      <a:pt x="101" y="163"/>
                    </a:cubicBezTo>
                    <a:cubicBezTo>
                      <a:pt x="96" y="160"/>
                      <a:pt x="91" y="156"/>
                      <a:pt x="88" y="155"/>
                    </a:cubicBezTo>
                    <a:cubicBezTo>
                      <a:pt x="79" y="149"/>
                      <a:pt x="67" y="152"/>
                      <a:pt x="61" y="161"/>
                    </a:cubicBezTo>
                    <a:cubicBezTo>
                      <a:pt x="55" y="171"/>
                      <a:pt x="58" y="183"/>
                      <a:pt x="67" y="189"/>
                    </a:cubicBezTo>
                    <a:cubicBezTo>
                      <a:pt x="71" y="191"/>
                      <a:pt x="85" y="200"/>
                      <a:pt x="89" y="203"/>
                    </a:cubicBezTo>
                    <a:cubicBezTo>
                      <a:pt x="90" y="203"/>
                      <a:pt x="122" y="223"/>
                      <a:pt x="122" y="223"/>
                    </a:cubicBezTo>
                    <a:cubicBezTo>
                      <a:pt x="122" y="239"/>
                      <a:pt x="132" y="291"/>
                      <a:pt x="132" y="291"/>
                    </a:cubicBezTo>
                    <a:cubicBezTo>
                      <a:pt x="201" y="330"/>
                      <a:pt x="201" y="330"/>
                      <a:pt x="201" y="330"/>
                    </a:cubicBezTo>
                    <a:cubicBezTo>
                      <a:pt x="248" y="205"/>
                      <a:pt x="248" y="205"/>
                      <a:pt x="248" y="205"/>
                    </a:cubicBezTo>
                    <a:cubicBezTo>
                      <a:pt x="260" y="195"/>
                      <a:pt x="273" y="191"/>
                      <a:pt x="282" y="176"/>
                    </a:cubicBezTo>
                    <a:cubicBezTo>
                      <a:pt x="287" y="168"/>
                      <a:pt x="293" y="162"/>
                      <a:pt x="296" y="153"/>
                    </a:cubicBezTo>
                    <a:cubicBezTo>
                      <a:pt x="208" y="89"/>
                      <a:pt x="208" y="89"/>
                      <a:pt x="208" y="89"/>
                    </a:cubicBezTo>
                    <a:cubicBezTo>
                      <a:pt x="223" y="64"/>
                      <a:pt x="223" y="64"/>
                      <a:pt x="223" y="64"/>
                    </a:cubicBezTo>
                    <a:lnTo>
                      <a:pt x="17" y="0"/>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75477">
                  <a:defRPr/>
                </a:pPr>
                <a:endParaRPr lang="en-US" sz="1920" kern="0">
                  <a:solidFill>
                    <a:prstClr val="white"/>
                  </a:solidFill>
                </a:endParaRPr>
              </a:p>
            </p:txBody>
          </p:sp>
          <p:sp>
            <p:nvSpPr>
              <p:cNvPr id="76" name="Freeform 40"/>
              <p:cNvSpPr>
                <a:spLocks/>
              </p:cNvSpPr>
              <p:nvPr/>
            </p:nvSpPr>
            <p:spPr bwMode="auto">
              <a:xfrm>
                <a:off x="9778809" y="3259906"/>
                <a:ext cx="18735" cy="18735"/>
              </a:xfrm>
              <a:custGeom>
                <a:avLst/>
                <a:gdLst>
                  <a:gd name="T0" fmla="*/ 11 w 15"/>
                  <a:gd name="T1" fmla="*/ 2 h 16"/>
                  <a:gd name="T2" fmla="*/ 13 w 15"/>
                  <a:gd name="T3" fmla="*/ 12 h 16"/>
                  <a:gd name="T4" fmla="*/ 4 w 15"/>
                  <a:gd name="T5" fmla="*/ 14 h 16"/>
                  <a:gd name="T6" fmla="*/ 2 w 15"/>
                  <a:gd name="T7" fmla="*/ 5 h 16"/>
                  <a:gd name="T8" fmla="*/ 11 w 15"/>
                  <a:gd name="T9" fmla="*/ 2 h 16"/>
                </a:gdLst>
                <a:ahLst/>
                <a:cxnLst>
                  <a:cxn ang="0">
                    <a:pos x="T0" y="T1"/>
                  </a:cxn>
                  <a:cxn ang="0">
                    <a:pos x="T2" y="T3"/>
                  </a:cxn>
                  <a:cxn ang="0">
                    <a:pos x="T4" y="T5"/>
                  </a:cxn>
                  <a:cxn ang="0">
                    <a:pos x="T6" y="T7"/>
                  </a:cxn>
                  <a:cxn ang="0">
                    <a:pos x="T8" y="T9"/>
                  </a:cxn>
                </a:cxnLst>
                <a:rect l="0" t="0" r="r" b="b"/>
                <a:pathLst>
                  <a:path w="15" h="16">
                    <a:moveTo>
                      <a:pt x="11" y="2"/>
                    </a:moveTo>
                    <a:cubicBezTo>
                      <a:pt x="14" y="4"/>
                      <a:pt x="15" y="9"/>
                      <a:pt x="13" y="12"/>
                    </a:cubicBezTo>
                    <a:cubicBezTo>
                      <a:pt x="11" y="15"/>
                      <a:pt x="7" y="16"/>
                      <a:pt x="4" y="14"/>
                    </a:cubicBezTo>
                    <a:cubicBezTo>
                      <a:pt x="1" y="12"/>
                      <a:pt x="0" y="8"/>
                      <a:pt x="2" y="5"/>
                    </a:cubicBezTo>
                    <a:cubicBezTo>
                      <a:pt x="4" y="1"/>
                      <a:pt x="8" y="0"/>
                      <a:pt x="11" y="2"/>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75477">
                  <a:defRPr/>
                </a:pPr>
                <a:endParaRPr lang="en-US" sz="1920" kern="0">
                  <a:solidFill>
                    <a:prstClr val="white"/>
                  </a:solidFill>
                </a:endParaRPr>
              </a:p>
            </p:txBody>
          </p:sp>
          <p:sp>
            <p:nvSpPr>
              <p:cNvPr id="77" name="Freeform 41"/>
              <p:cNvSpPr>
                <a:spLocks/>
              </p:cNvSpPr>
              <p:nvPr/>
            </p:nvSpPr>
            <p:spPr bwMode="auto">
              <a:xfrm>
                <a:off x="9816280" y="3356259"/>
                <a:ext cx="179324" cy="230177"/>
              </a:xfrm>
              <a:custGeom>
                <a:avLst/>
                <a:gdLst>
                  <a:gd name="T0" fmla="*/ 130 w 142"/>
                  <a:gd name="T1" fmla="*/ 0 h 184"/>
                  <a:gd name="T2" fmla="*/ 46 w 142"/>
                  <a:gd name="T3" fmla="*/ 69 h 184"/>
                  <a:gd name="T4" fmla="*/ 0 w 142"/>
                  <a:gd name="T5" fmla="*/ 59 h 184"/>
                  <a:gd name="T6" fmla="*/ 26 w 142"/>
                  <a:gd name="T7" fmla="*/ 171 h 184"/>
                  <a:gd name="T8" fmla="*/ 50 w 142"/>
                  <a:gd name="T9" fmla="*/ 184 h 184"/>
                  <a:gd name="T10" fmla="*/ 103 w 142"/>
                  <a:gd name="T11" fmla="*/ 137 h 184"/>
                  <a:gd name="T12" fmla="*/ 99 w 142"/>
                  <a:gd name="T13" fmla="*/ 75 h 184"/>
                  <a:gd name="T14" fmla="*/ 128 w 142"/>
                  <a:gd name="T15" fmla="*/ 38 h 184"/>
                  <a:gd name="T16" fmla="*/ 129 w 142"/>
                  <a:gd name="T17" fmla="*/ 33 h 184"/>
                  <a:gd name="T18" fmla="*/ 132 w 142"/>
                  <a:gd name="T19" fmla="*/ 31 h 184"/>
                  <a:gd name="T20" fmla="*/ 142 w 142"/>
                  <a:gd name="T21" fmla="*/ 7 h 184"/>
                  <a:gd name="T22" fmla="*/ 130 w 142"/>
                  <a:gd name="T23" fmla="*/ 0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2" h="184">
                    <a:moveTo>
                      <a:pt x="130" y="0"/>
                    </a:moveTo>
                    <a:cubicBezTo>
                      <a:pt x="46" y="69"/>
                      <a:pt x="46" y="69"/>
                      <a:pt x="46" y="69"/>
                    </a:cubicBezTo>
                    <a:cubicBezTo>
                      <a:pt x="0" y="59"/>
                      <a:pt x="0" y="59"/>
                      <a:pt x="0" y="59"/>
                    </a:cubicBezTo>
                    <a:cubicBezTo>
                      <a:pt x="26" y="171"/>
                      <a:pt x="26" y="171"/>
                      <a:pt x="26" y="171"/>
                    </a:cubicBezTo>
                    <a:cubicBezTo>
                      <a:pt x="50" y="184"/>
                      <a:pt x="50" y="184"/>
                      <a:pt x="50" y="184"/>
                    </a:cubicBezTo>
                    <a:cubicBezTo>
                      <a:pt x="103" y="137"/>
                      <a:pt x="103" y="137"/>
                      <a:pt x="103" y="137"/>
                    </a:cubicBezTo>
                    <a:cubicBezTo>
                      <a:pt x="99" y="75"/>
                      <a:pt x="99" y="75"/>
                      <a:pt x="99" y="75"/>
                    </a:cubicBezTo>
                    <a:cubicBezTo>
                      <a:pt x="110" y="64"/>
                      <a:pt x="120" y="52"/>
                      <a:pt x="128" y="38"/>
                    </a:cubicBezTo>
                    <a:cubicBezTo>
                      <a:pt x="128" y="36"/>
                      <a:pt x="128" y="35"/>
                      <a:pt x="129" y="33"/>
                    </a:cubicBezTo>
                    <a:cubicBezTo>
                      <a:pt x="130" y="32"/>
                      <a:pt x="131" y="32"/>
                      <a:pt x="132" y="31"/>
                    </a:cubicBezTo>
                    <a:cubicBezTo>
                      <a:pt x="136" y="23"/>
                      <a:pt x="139" y="15"/>
                      <a:pt x="142" y="7"/>
                    </a:cubicBezTo>
                    <a:lnTo>
                      <a:pt x="130" y="0"/>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75477">
                  <a:defRPr/>
                </a:pPr>
                <a:endParaRPr lang="en-US" sz="1920" kern="0">
                  <a:solidFill>
                    <a:prstClr val="white"/>
                  </a:solidFill>
                </a:endParaRPr>
              </a:p>
            </p:txBody>
          </p:sp>
        </p:grpSp>
      </p:grpSp>
    </p:spTree>
    <p:extLst>
      <p:ext uri="{BB962C8B-B14F-4D97-AF65-F5344CB8AC3E}">
        <p14:creationId xmlns:p14="http://schemas.microsoft.com/office/powerpoint/2010/main" val="293922317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10.xml><?xml version="1.0" encoding="utf-8"?>
<p:sldLayout xmlns:a="http://schemas.openxmlformats.org/drawingml/2006/main" xmlns:r="http://schemas.openxmlformats.org/officeDocument/2006/relationships" xmlns:p="http://schemas.openxmlformats.org/presentationml/2006/main">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72239" y="1309819"/>
            <a:ext cx="11888047" cy="2059025"/>
          </a:xfrm>
        </p:spPr>
        <p:txBody>
          <a:bodyPr/>
          <a:lstStyle>
            <a:lvl1pPr marL="0" indent="0">
              <a:buNone/>
              <a:defRPr>
                <a:gradFill>
                  <a:gsLst>
                    <a:gs pos="2920">
                      <a:schemeClr val="tx2"/>
                    </a:gs>
                    <a:gs pos="39000">
                      <a:schemeClr val="tx2"/>
                    </a:gs>
                  </a:gsLst>
                  <a:lin ang="5400000" scaled="0"/>
                </a:gradFill>
              </a:defRPr>
            </a:lvl1pPr>
            <a:lvl2pPr marL="28566" indent="0">
              <a:buNone/>
              <a:defRPr sz="2000"/>
            </a:lvl2pPr>
            <a:lvl3pPr marL="223773" indent="0">
              <a:buNone/>
              <a:defRPr sz="2000"/>
            </a:lvl3pPr>
            <a:lvl4pPr marL="476111" indent="0">
              <a:buNone/>
              <a:defRPr sz="1800"/>
            </a:lvl4pPr>
            <a:lvl5pPr marL="739558" indent="0">
              <a:buNone/>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Slide Number Placeholder 2"/>
          <p:cNvSpPr>
            <a:spLocks noGrp="1"/>
          </p:cNvSpPr>
          <p:nvPr>
            <p:ph type="sldNum" sz="quarter" idx="12"/>
          </p:nvPr>
        </p:nvSpPr>
        <p:spPr>
          <a:xfrm>
            <a:off x="11593621" y="6565902"/>
            <a:ext cx="566666" cy="136525"/>
          </a:xfrm>
        </p:spPr>
        <p:txBody>
          <a:bodyPr/>
          <a:lstStyle>
            <a:lvl1pPr defTabSz="931591" fontAlgn="base">
              <a:spcBef>
                <a:spcPct val="0"/>
              </a:spcBef>
              <a:spcAft>
                <a:spcPct val="0"/>
              </a:spcAft>
              <a:defRPr smtClean="0">
                <a:solidFill>
                  <a:srgbClr val="000000"/>
                </a:solidFill>
              </a:defRPr>
            </a:lvl1pPr>
          </a:lstStyle>
          <a:p>
            <a:pPr>
              <a:defRPr/>
            </a:pPr>
            <a:fld id="{F8A0AC42-AA1D-4944-8D96-660DE70C7E1B}" type="slidenum">
              <a:rPr/>
              <a:pPr>
                <a:defRPr/>
              </a:pPr>
              <a:t>‹#›</a:t>
            </a:fld>
            <a:endParaRPr dirty="0"/>
          </a:p>
        </p:txBody>
      </p:sp>
    </p:spTree>
    <p:extLst>
      <p:ext uri="{BB962C8B-B14F-4D97-AF65-F5344CB8AC3E}">
        <p14:creationId xmlns:p14="http://schemas.microsoft.com/office/powerpoint/2010/main" val="1278731476"/>
      </p:ext>
    </p:extLst>
  </p:cSld>
  <p:clrMapOvr>
    <a:masterClrMapping/>
  </p:clrMapOvr>
  <p:transition>
    <p:fade/>
  </p:transition>
</p:sldLayout>
</file>

<file path=ppt/slideLayouts/slideLayout211.xml><?xml version="1.0" encoding="utf-8"?>
<p:sldLayout xmlns:a="http://schemas.openxmlformats.org/drawingml/2006/main" xmlns:r="http://schemas.openxmlformats.org/officeDocument/2006/relationships" xmlns:p="http://schemas.openxmlformats.org/presentationml/2006/main">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Slide for Developer Code</a:t>
            </a:r>
          </a:p>
        </p:txBody>
      </p:sp>
      <p:sp>
        <p:nvSpPr>
          <p:cNvPr id="3" name="Rectangle 2"/>
          <p:cNvSpPr/>
          <p:nvPr/>
        </p:nvSpPr>
        <p:spPr bwMode="hidden">
          <a:xfrm>
            <a:off x="1" y="1178954"/>
            <a:ext cx="12434888" cy="5815573"/>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26" tIns="46626" rIns="46626" bIns="46626" numCol="1" spcCol="0" rtlCol="0" fromWordArt="0" anchor="ctr" anchorCtr="0" forceAA="0" compatLnSpc="1">
            <a:prstTxWarp prst="textNoShape">
              <a:avLst/>
            </a:prstTxWarp>
            <a:noAutofit/>
          </a:bodyPr>
          <a:lstStyle/>
          <a:p>
            <a:pPr algn="ctr" defTabSz="932200" fontAlgn="base">
              <a:spcBef>
                <a:spcPct val="0"/>
              </a:spcBef>
              <a:spcAft>
                <a:spcPct val="0"/>
              </a:spcAft>
            </a:pPr>
            <a:endParaRPr lang="en-US" sz="18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528783" y="1476626"/>
            <a:ext cx="11377324" cy="2131353"/>
          </a:xfrm>
        </p:spPr>
        <p:txBody>
          <a:bodyPr/>
          <a:lstStyle>
            <a:lvl1pPr marL="0" indent="0">
              <a:buNone/>
              <a:defRPr sz="3299">
                <a:gradFill>
                  <a:gsLst>
                    <a:gs pos="1250">
                      <a:srgbClr val="000000"/>
                    </a:gs>
                    <a:gs pos="100000">
                      <a:srgbClr val="000000"/>
                    </a:gs>
                  </a:gsLst>
                  <a:lin ang="5400000" scaled="0"/>
                </a:gradFill>
                <a:latin typeface="Consolas" pitchFamily="49" charset="0"/>
                <a:cs typeface="Consolas" pitchFamily="49" charset="0"/>
              </a:defRPr>
            </a:lvl1pPr>
            <a:lvl2pPr marL="346452" indent="0">
              <a:buNone/>
              <a:defRPr>
                <a:gradFill>
                  <a:gsLst>
                    <a:gs pos="1250">
                      <a:srgbClr val="000000"/>
                    </a:gs>
                    <a:gs pos="100000">
                      <a:srgbClr val="000000"/>
                    </a:gs>
                  </a:gsLst>
                  <a:lin ang="5400000" scaled="0"/>
                </a:gradFill>
                <a:latin typeface="Consolas" pitchFamily="49" charset="0"/>
                <a:cs typeface="Consolas" pitchFamily="49" charset="0"/>
              </a:defRPr>
            </a:lvl2pPr>
            <a:lvl3pPr marL="584436" indent="0">
              <a:buNone/>
              <a:defRPr>
                <a:gradFill>
                  <a:gsLst>
                    <a:gs pos="1250">
                      <a:srgbClr val="000000"/>
                    </a:gs>
                    <a:gs pos="100000">
                      <a:srgbClr val="000000"/>
                    </a:gs>
                  </a:gsLst>
                  <a:lin ang="5400000" scaled="0"/>
                </a:gradFill>
                <a:latin typeface="Consolas" pitchFamily="49" charset="0"/>
                <a:cs typeface="Consolas" pitchFamily="49" charset="0"/>
              </a:defRPr>
            </a:lvl3pPr>
            <a:lvl4pPr marL="814325" indent="0">
              <a:buNone/>
              <a:defRPr>
                <a:gradFill>
                  <a:gsLst>
                    <a:gs pos="1250">
                      <a:srgbClr val="000000"/>
                    </a:gs>
                    <a:gs pos="100000">
                      <a:srgbClr val="000000"/>
                    </a:gs>
                  </a:gsLst>
                  <a:lin ang="5400000" scaled="0"/>
                </a:gradFill>
                <a:latin typeface="Consolas" pitchFamily="49" charset="0"/>
                <a:cs typeface="Consolas" pitchFamily="49" charset="0"/>
              </a:defRPr>
            </a:lvl4pPr>
            <a:lvl5pPr marL="1050690" indent="0">
              <a:buNone/>
              <a:defRPr>
                <a:gradFill>
                  <a:gsLst>
                    <a:gs pos="1250">
                      <a:srgbClr val="000000"/>
                    </a:gs>
                    <a:gs pos="100000">
                      <a:srgbClr val="000000"/>
                    </a:gs>
                  </a:gsLst>
                  <a:lin ang="5400000" scaled="0"/>
                </a:gradFill>
                <a:latin typeface="Consolas" pitchFamily="49" charset="0"/>
                <a:cs typeface="Consolas"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2"/>
          <p:cNvSpPr>
            <a:spLocks noGrp="1"/>
          </p:cNvSpPr>
          <p:nvPr>
            <p:ph type="sldNum" sz="quarter" idx="12"/>
          </p:nvPr>
        </p:nvSpPr>
        <p:spPr>
          <a:xfrm>
            <a:off x="11593621" y="6565902"/>
            <a:ext cx="566666" cy="136525"/>
          </a:xfrm>
        </p:spPr>
        <p:txBody>
          <a:bodyPr/>
          <a:lstStyle>
            <a:lvl1pPr defTabSz="931591" fontAlgn="base">
              <a:spcBef>
                <a:spcPct val="0"/>
              </a:spcBef>
              <a:spcAft>
                <a:spcPct val="0"/>
              </a:spcAft>
              <a:defRPr smtClean="0">
                <a:solidFill>
                  <a:srgbClr val="000000"/>
                </a:solidFill>
              </a:defRPr>
            </a:lvl1pPr>
          </a:lstStyle>
          <a:p>
            <a:pPr>
              <a:defRPr/>
            </a:pPr>
            <a:fld id="{F8A0AC42-AA1D-4944-8D96-660DE70C7E1B}" type="slidenum">
              <a:rPr/>
              <a:pPr>
                <a:defRPr/>
              </a:pPr>
              <a:t>‹#›</a:t>
            </a:fld>
            <a:endParaRPr dirty="0"/>
          </a:p>
        </p:txBody>
      </p:sp>
    </p:spTree>
    <p:extLst>
      <p:ext uri="{BB962C8B-B14F-4D97-AF65-F5344CB8AC3E}">
        <p14:creationId xmlns:p14="http://schemas.microsoft.com/office/powerpoint/2010/main" val="2427269080"/>
      </p:ext>
    </p:extLst>
  </p:cSld>
  <p:clrMapOvr>
    <a:masterClrMapping/>
  </p:clrMapOvr>
  <p:transition>
    <p:fade/>
  </p:transition>
</p:sldLayout>
</file>

<file path=ppt/slideLayouts/slideLayout212.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21744" y="250962"/>
            <a:ext cx="11191400" cy="448490"/>
          </a:xfrm>
        </p:spPr>
        <p:txBody>
          <a:bodyPr/>
          <a:lstStyle/>
          <a:p>
            <a:r>
              <a:rPr lang="en-US"/>
              <a:t>Click to edit Master title style</a:t>
            </a:r>
          </a:p>
        </p:txBody>
      </p:sp>
      <p:sp>
        <p:nvSpPr>
          <p:cNvPr id="3" name="Content Placeholder 2"/>
          <p:cNvSpPr>
            <a:spLocks noGrp="1"/>
          </p:cNvSpPr>
          <p:nvPr>
            <p:ph idx="1"/>
          </p:nvPr>
        </p:nvSpPr>
        <p:spPr>
          <a:xfrm>
            <a:off x="621744" y="1532747"/>
            <a:ext cx="11191400" cy="2295501"/>
          </a:xfrm>
        </p:spPr>
        <p:txBody>
          <a:bodyPr/>
          <a:lstStyle>
            <a:lvl1pPr>
              <a:spcAft>
                <a:spcPts val="0"/>
              </a:spcAft>
              <a:defRPr/>
            </a:lvl1pPr>
            <a:lvl2pPr>
              <a:spcBef>
                <a:spcPts val="1122"/>
              </a:spcBef>
              <a:defRPr/>
            </a:lvl2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8"/>
          <p:cNvSpPr>
            <a:spLocks noGrp="1"/>
          </p:cNvSpPr>
          <p:nvPr>
            <p:ph type="body" sz="quarter" idx="13"/>
          </p:nvPr>
        </p:nvSpPr>
        <p:spPr>
          <a:xfrm>
            <a:off x="621744" y="640390"/>
            <a:ext cx="11191400" cy="318357"/>
          </a:xfrm>
        </p:spPr>
        <p:txBody>
          <a:bodyPr tIns="0"/>
          <a:lstStyle>
            <a:lvl1pPr>
              <a:spcAft>
                <a:spcPts val="0"/>
              </a:spcAft>
              <a:defRPr sz="1632">
                <a:solidFill>
                  <a:schemeClr val="bg1"/>
                </a:solidFill>
                <a:latin typeface="Segoe" pitchFamily="34" charset="0"/>
              </a:defRPr>
            </a:lvl1pPr>
          </a:lstStyle>
          <a:p>
            <a:pPr lvl="0"/>
            <a:r>
              <a:rPr lang="en-US"/>
              <a:t>Click to edit Master text styles</a:t>
            </a:r>
          </a:p>
        </p:txBody>
      </p:sp>
      <p:sp>
        <p:nvSpPr>
          <p:cNvPr id="5" name="Slide Number Placeholder 2"/>
          <p:cNvSpPr>
            <a:spLocks noGrp="1"/>
          </p:cNvSpPr>
          <p:nvPr>
            <p:ph type="sldNum" sz="quarter" idx="12"/>
          </p:nvPr>
        </p:nvSpPr>
        <p:spPr>
          <a:xfrm>
            <a:off x="11593621" y="6565902"/>
            <a:ext cx="566666" cy="136525"/>
          </a:xfrm>
        </p:spPr>
        <p:txBody>
          <a:bodyPr/>
          <a:lstStyle>
            <a:lvl1pPr defTabSz="931591" fontAlgn="base">
              <a:spcBef>
                <a:spcPct val="0"/>
              </a:spcBef>
              <a:spcAft>
                <a:spcPct val="0"/>
              </a:spcAft>
              <a:defRPr smtClean="0">
                <a:solidFill>
                  <a:srgbClr val="000000"/>
                </a:solidFill>
              </a:defRPr>
            </a:lvl1pPr>
          </a:lstStyle>
          <a:p>
            <a:pPr>
              <a:defRPr/>
            </a:pPr>
            <a:fld id="{F8A0AC42-AA1D-4944-8D96-660DE70C7E1B}" type="slidenum">
              <a:rPr/>
              <a:pPr>
                <a:defRPr/>
              </a:pPr>
              <a:t>‹#›</a:t>
            </a:fld>
            <a:endParaRPr dirty="0"/>
          </a:p>
        </p:txBody>
      </p:sp>
    </p:spTree>
    <p:extLst>
      <p:ext uri="{BB962C8B-B14F-4D97-AF65-F5344CB8AC3E}">
        <p14:creationId xmlns:p14="http://schemas.microsoft.com/office/powerpoint/2010/main" val="2110118563"/>
      </p:ext>
    </p:extLst>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1"/>
          </p:nvPr>
        </p:nvSpPr>
        <p:spPr>
          <a:xfrm>
            <a:off x="531211" y="1476625"/>
            <a:ext cx="5503872" cy="2674578"/>
          </a:xfrm>
        </p:spPr>
        <p:txBody>
          <a:bodyPr/>
          <a:lstStyle>
            <a:lvl1pPr marL="0" indent="0">
              <a:spcBef>
                <a:spcPts val="1224"/>
              </a:spcBef>
              <a:buNone/>
              <a:defRPr sz="4099">
                <a:gradFill>
                  <a:gsLst>
                    <a:gs pos="100000">
                      <a:schemeClr val="tx2"/>
                    </a:gs>
                    <a:gs pos="0">
                      <a:schemeClr val="tx2"/>
                    </a:gs>
                  </a:gsLst>
                  <a:lin ang="5400000" scaled="0"/>
                </a:gradFill>
                <a:latin typeface="+mj-lt"/>
              </a:defRPr>
            </a:lvl1pPr>
            <a:lvl2pPr marL="0" indent="0">
              <a:buNone/>
              <a:defRPr sz="2000"/>
            </a:lvl2pPr>
            <a:lvl3pPr marL="237984" indent="0">
              <a:buNone/>
              <a:defRPr sz="2000"/>
            </a:lvl3pPr>
            <a:lvl4pPr marL="466253" indent="0">
              <a:buNone/>
              <a:defRPr sz="2000"/>
            </a:lvl4pPr>
            <a:lvl5pPr marL="707475" indent="0">
              <a:buNone/>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Placeholder 8"/>
          <p:cNvSpPr>
            <a:spLocks noGrp="1"/>
          </p:cNvSpPr>
          <p:nvPr>
            <p:ph type="body" sz="quarter" idx="12"/>
          </p:nvPr>
        </p:nvSpPr>
        <p:spPr>
          <a:xfrm>
            <a:off x="6404662" y="1476625"/>
            <a:ext cx="5503872" cy="2674578"/>
          </a:xfrm>
        </p:spPr>
        <p:txBody>
          <a:bodyPr/>
          <a:lstStyle>
            <a:lvl1pPr marL="0" indent="0">
              <a:spcBef>
                <a:spcPts val="1224"/>
              </a:spcBef>
              <a:buNone/>
              <a:defRPr lang="en-US" sz="4099" kern="1200" spc="-71" baseline="0" dirty="0" smtClean="0">
                <a:gradFill>
                  <a:gsLst>
                    <a:gs pos="100000">
                      <a:schemeClr val="tx2"/>
                    </a:gs>
                    <a:gs pos="0">
                      <a:schemeClr val="tx2"/>
                    </a:gs>
                  </a:gsLst>
                  <a:lin ang="5400000" scaled="0"/>
                </a:gradFill>
                <a:latin typeface="+mj-lt"/>
                <a:ea typeface="+mn-ea"/>
                <a:cs typeface="+mn-cs"/>
              </a:defRPr>
            </a:lvl1pPr>
            <a:lvl2pPr marL="3238" marR="0" indent="0" algn="l" defTabSz="932470" rtl="0" eaLnBrk="1" fontAlgn="auto" latinLnBrk="0" hangingPunct="1">
              <a:lnSpc>
                <a:spcPct val="90000"/>
              </a:lnSpc>
              <a:spcBef>
                <a:spcPct val="20000"/>
              </a:spcBef>
              <a:spcAft>
                <a:spcPts val="0"/>
              </a:spcAft>
              <a:buClrTx/>
              <a:buSzPct val="90000"/>
              <a:buFont typeface="Arial" pitchFamily="34" charset="0"/>
              <a:buNone/>
              <a:tabLst/>
              <a:defRPr lang="en-US" sz="2000" kern="1200" spc="-71" baseline="0" dirty="0" smtClean="0">
                <a:gradFill>
                  <a:gsLst>
                    <a:gs pos="1250">
                      <a:schemeClr val="tx1"/>
                    </a:gs>
                    <a:gs pos="100000">
                      <a:schemeClr val="tx1"/>
                    </a:gs>
                  </a:gsLst>
                  <a:lin ang="5400000" scaled="0"/>
                </a:gradFill>
                <a:latin typeface="+mn-lt"/>
                <a:ea typeface="+mn-ea"/>
                <a:cs typeface="+mn-cs"/>
              </a:defRPr>
            </a:lvl2pPr>
            <a:lvl3pPr marL="237984" marR="0" indent="0" algn="l" defTabSz="932470" rtl="0" eaLnBrk="1" fontAlgn="auto" latinLnBrk="0" hangingPunct="1">
              <a:lnSpc>
                <a:spcPct val="90000"/>
              </a:lnSpc>
              <a:spcBef>
                <a:spcPct val="20000"/>
              </a:spcBef>
              <a:spcAft>
                <a:spcPts val="0"/>
              </a:spcAft>
              <a:buClrTx/>
              <a:buSzPct val="90000"/>
              <a:buFont typeface="Arial" pitchFamily="34" charset="0"/>
              <a:buNone/>
              <a:tabLst/>
              <a:defRPr lang="en-US" sz="2000" kern="1200" spc="-71" baseline="0" dirty="0" smtClean="0">
                <a:gradFill>
                  <a:gsLst>
                    <a:gs pos="1250">
                      <a:schemeClr val="tx1"/>
                    </a:gs>
                    <a:gs pos="100000">
                      <a:schemeClr val="tx1"/>
                    </a:gs>
                  </a:gsLst>
                  <a:lin ang="5400000" scaled="0"/>
                </a:gradFill>
                <a:latin typeface="+mn-lt"/>
                <a:ea typeface="+mn-ea"/>
                <a:cs typeface="+mn-cs"/>
              </a:defRPr>
            </a:lvl3pPr>
            <a:lvl4pPr marL="469492" marR="0" indent="0" algn="l" defTabSz="932470" rtl="0" eaLnBrk="1" fontAlgn="auto" latinLnBrk="0" hangingPunct="1">
              <a:lnSpc>
                <a:spcPct val="90000"/>
              </a:lnSpc>
              <a:spcBef>
                <a:spcPct val="20000"/>
              </a:spcBef>
              <a:spcAft>
                <a:spcPts val="0"/>
              </a:spcAft>
              <a:buClrTx/>
              <a:buSzPct val="90000"/>
              <a:buFont typeface="Arial" pitchFamily="34" charset="0"/>
              <a:buNone/>
              <a:tabLst/>
              <a:defRPr lang="en-US" sz="2000" kern="1200" spc="-71" baseline="0" dirty="0" smtClean="0">
                <a:gradFill>
                  <a:gsLst>
                    <a:gs pos="1250">
                      <a:schemeClr val="tx1"/>
                    </a:gs>
                    <a:gs pos="100000">
                      <a:schemeClr val="tx1"/>
                    </a:gs>
                  </a:gsLst>
                  <a:lin ang="5400000" scaled="0"/>
                </a:gradFill>
                <a:latin typeface="+mn-lt"/>
                <a:ea typeface="+mn-ea"/>
                <a:cs typeface="+mn-cs"/>
              </a:defRPr>
            </a:lvl4pPr>
            <a:lvl5pPr marL="700999" marR="0" indent="0" algn="l" defTabSz="932470" rtl="0" eaLnBrk="1" fontAlgn="auto" latinLnBrk="0" hangingPunct="1">
              <a:lnSpc>
                <a:spcPct val="90000"/>
              </a:lnSpc>
              <a:spcBef>
                <a:spcPct val="20000"/>
              </a:spcBef>
              <a:spcAft>
                <a:spcPts val="0"/>
              </a:spcAft>
              <a:buClrTx/>
              <a:buSzPct val="90000"/>
              <a:buFont typeface="Arial" pitchFamily="34" charset="0"/>
              <a:buNone/>
              <a:tabLst/>
              <a:defRPr lang="en-US" sz="2000" kern="1200" spc="-71" baseline="0" dirty="0">
                <a:gradFill>
                  <a:gsLst>
                    <a:gs pos="1250">
                      <a:schemeClr val="tx1"/>
                    </a:gs>
                    <a:gs pos="100000">
                      <a:schemeClr val="tx1"/>
                    </a:gs>
                  </a:gsLst>
                  <a:lin ang="5400000" scaled="0"/>
                </a:gradFill>
                <a:latin typeface="+mn-lt"/>
                <a:ea typeface="+mn-ea"/>
                <a:cs typeface="+mn-cs"/>
              </a:defRPr>
            </a:lvl5pPr>
          </a:lstStyle>
          <a:p>
            <a:pPr marL="0" marR="0" lvl="0" indent="0" algn="l" defTabSz="932470" rtl="0" eaLnBrk="1" fontAlgn="auto" latinLnBrk="0" hangingPunct="1">
              <a:lnSpc>
                <a:spcPct val="90000"/>
              </a:lnSpc>
              <a:spcBef>
                <a:spcPct val="20000"/>
              </a:spcBef>
              <a:spcAft>
                <a:spcPts val="0"/>
              </a:spcAft>
              <a:buClrTx/>
              <a:buSzPct val="90000"/>
              <a:buFont typeface="Arial" pitchFamily="34" charset="0"/>
              <a:buNone/>
              <a:tabLst/>
            </a:pPr>
            <a:r>
              <a:rPr lang="en-US"/>
              <a:t>Click to edit Master text styles</a:t>
            </a:r>
          </a:p>
          <a:p>
            <a:pPr marL="0" marR="0" lvl="1" indent="0" algn="l" defTabSz="932470" rtl="0" eaLnBrk="1" fontAlgn="auto" latinLnBrk="0" hangingPunct="1">
              <a:lnSpc>
                <a:spcPct val="90000"/>
              </a:lnSpc>
              <a:spcBef>
                <a:spcPct val="20000"/>
              </a:spcBef>
              <a:spcAft>
                <a:spcPts val="0"/>
              </a:spcAft>
              <a:buClrTx/>
              <a:buSzPct val="90000"/>
              <a:buFont typeface="Arial" pitchFamily="34" charset="0"/>
              <a:buNone/>
              <a:tabLst/>
            </a:pPr>
            <a:r>
              <a:rPr lang="en-US"/>
              <a:t>Second level</a:t>
            </a:r>
          </a:p>
          <a:p>
            <a:pPr marL="0" marR="0" lvl="2" indent="0" algn="l" defTabSz="932470" rtl="0" eaLnBrk="1" fontAlgn="auto" latinLnBrk="0" hangingPunct="1">
              <a:lnSpc>
                <a:spcPct val="90000"/>
              </a:lnSpc>
              <a:spcBef>
                <a:spcPct val="20000"/>
              </a:spcBef>
              <a:spcAft>
                <a:spcPts val="0"/>
              </a:spcAft>
              <a:buClrTx/>
              <a:buSzPct val="90000"/>
              <a:buFont typeface="Arial" pitchFamily="34" charset="0"/>
              <a:buNone/>
              <a:tabLst/>
            </a:pPr>
            <a:r>
              <a:rPr lang="en-US"/>
              <a:t>Third level</a:t>
            </a:r>
          </a:p>
          <a:p>
            <a:pPr marL="0" marR="0" lvl="3" indent="0" algn="l" defTabSz="932470" rtl="0" eaLnBrk="1" fontAlgn="auto" latinLnBrk="0" hangingPunct="1">
              <a:lnSpc>
                <a:spcPct val="90000"/>
              </a:lnSpc>
              <a:spcBef>
                <a:spcPct val="20000"/>
              </a:spcBef>
              <a:spcAft>
                <a:spcPts val="0"/>
              </a:spcAft>
              <a:buClrTx/>
              <a:buSzPct val="90000"/>
              <a:buFont typeface="Arial" pitchFamily="34" charset="0"/>
              <a:buNone/>
              <a:tabLst/>
            </a:pPr>
            <a:r>
              <a:rPr lang="en-US"/>
              <a:t>Fourth level</a:t>
            </a:r>
          </a:p>
          <a:p>
            <a:pPr marL="0" marR="0" lvl="4" indent="0" algn="l" defTabSz="932470" rtl="0" eaLnBrk="1" fontAlgn="auto" latinLnBrk="0" hangingPunct="1">
              <a:lnSpc>
                <a:spcPct val="90000"/>
              </a:lnSpc>
              <a:spcBef>
                <a:spcPct val="20000"/>
              </a:spcBef>
              <a:spcAft>
                <a:spcPts val="0"/>
              </a:spcAft>
              <a:buClrTx/>
              <a:buSzPct val="90000"/>
              <a:buFont typeface="Arial" pitchFamily="34" charset="0"/>
              <a:buNone/>
              <a:tabLst/>
            </a:pPr>
            <a:r>
              <a:rPr lang="en-US"/>
              <a:t>Fifth level</a:t>
            </a:r>
            <a:endParaRPr lang="en-US" dirty="0"/>
          </a:p>
        </p:txBody>
      </p:sp>
      <p:sp>
        <p:nvSpPr>
          <p:cNvPr id="5" name="TextBox 7"/>
          <p:cNvSpPr txBox="1"/>
          <p:nvPr/>
        </p:nvSpPr>
        <p:spPr>
          <a:xfrm>
            <a:off x="4300382" y="6723128"/>
            <a:ext cx="3834125" cy="172516"/>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99" spc="153" dirty="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43267150"/>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0072C6"/>
                </a:solidFill>
              </a:defRPr>
            </a:lvl1pPr>
          </a:lstStyle>
          <a:p>
            <a:r>
              <a:rPr lang="en-US"/>
              <a:t>Click to edit Master title style</a:t>
            </a:r>
          </a:p>
        </p:txBody>
      </p:sp>
      <p:pic>
        <p:nvPicPr>
          <p:cNvPr id="5" name="Picture 4"/>
          <p:cNvPicPr>
            <a:picLocks noChangeAspect="1"/>
          </p:cNvPicPr>
          <p:nvPr userDrawn="1"/>
        </p:nvPicPr>
        <p:blipFill>
          <a:blip r:embed="rId2"/>
          <a:stretch>
            <a:fillRect/>
          </a:stretch>
        </p:blipFill>
        <p:spPr>
          <a:xfrm>
            <a:off x="4702557" y="5897245"/>
            <a:ext cx="7196715" cy="1097280"/>
          </a:xfrm>
          <a:prstGeom prst="rect">
            <a:avLst/>
          </a:prstGeom>
        </p:spPr>
      </p:pic>
    </p:spTree>
    <p:extLst>
      <p:ext uri="{BB962C8B-B14F-4D97-AF65-F5344CB8AC3E}">
        <p14:creationId xmlns:p14="http://schemas.microsoft.com/office/powerpoint/2010/main" val="3046785218"/>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Blank Accent Color 1">
    <p:bg>
      <p:bgPr>
        <a:solidFill>
          <a:schemeClr val="accent1"/>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419013" y="6696086"/>
            <a:ext cx="3596863" cy="16466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49"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400732632"/>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1"/>
          </p:nvPr>
        </p:nvSpPr>
        <p:spPr>
          <a:xfrm>
            <a:off x="274604" y="1212850"/>
            <a:ext cx="11888047" cy="1979773"/>
          </a:xfrm>
        </p:spPr>
        <p:txBody>
          <a:bodyPr/>
          <a:lstStyle>
            <a:lvl1pPr marL="0" indent="0">
              <a:buNone/>
              <a:defRPr/>
            </a:lvl1pPr>
            <a:lvl2pPr marL="28569" indent="0">
              <a:buNone/>
              <a:defRPr sz="2000"/>
            </a:lvl2pPr>
            <a:lvl3pPr marL="223795" indent="0">
              <a:buNone/>
              <a:defRPr sz="2000"/>
            </a:lvl3pPr>
            <a:lvl4pPr marL="476159" indent="0">
              <a:buNone/>
              <a:defRPr sz="1800"/>
            </a:lvl4pPr>
            <a:lvl5pPr marL="739632" indent="0">
              <a:buNone/>
              <a:defRPr sz="18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Box 7"/>
          <p:cNvSpPr txBox="1"/>
          <p:nvPr userDrawn="1"/>
        </p:nvSpPr>
        <p:spPr bwMode="white">
          <a:xfrm>
            <a:off x="4419013" y="6696086"/>
            <a:ext cx="3596864" cy="16466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187" rtl="0" eaLnBrk="1" latinLnBrk="0" hangingPunct="1"/>
            <a:r>
              <a:rPr lang="en-US" sz="1049" b="0" kern="1200" spc="150" baseline="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1257944085"/>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Walkin">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3" cstate="screen">
            <a:extLst>
              <a:ext uri="{28A0092B-C50C-407E-A947-70E740481C1C}">
                <a14:useLocalDpi xmlns:a14="http://schemas.microsoft.com/office/drawing/2010/main"/>
              </a:ext>
            </a:extLst>
          </a:blip>
          <a:srcRect b="1380"/>
          <a:stretch/>
        </p:blipFill>
        <p:spPr bwMode="invGray">
          <a:xfrm>
            <a:off x="457142" y="479425"/>
            <a:ext cx="1449754" cy="306604"/>
          </a:xfrm>
          <a:prstGeom prst="rect">
            <a:avLst/>
          </a:prstGeom>
        </p:spPr>
      </p:pic>
      <p:pic>
        <p:nvPicPr>
          <p:cNvPr id="7" name="Picture 6"/>
          <p:cNvPicPr>
            <a:picLocks noChangeAspect="1"/>
          </p:cNvPicPr>
          <p:nvPr userDrawn="1"/>
        </p:nvPicPr>
        <p:blipFill>
          <a:blip r:embed="rId4"/>
          <a:stretch>
            <a:fillRect/>
          </a:stretch>
        </p:blipFill>
        <p:spPr>
          <a:xfrm>
            <a:off x="4828294" y="493939"/>
            <a:ext cx="7134380" cy="1325880"/>
          </a:xfrm>
          <a:prstGeom prst="rect">
            <a:avLst/>
          </a:prstGeom>
        </p:spPr>
      </p:pic>
    </p:spTree>
    <p:extLst>
      <p:ext uri="{BB962C8B-B14F-4D97-AF65-F5344CB8AC3E}">
        <p14:creationId xmlns:p14="http://schemas.microsoft.com/office/powerpoint/2010/main" val="1985663697"/>
      </p:ext>
    </p:extLst>
  </p:cSld>
  <p:clrMapOvr>
    <a:masterClrMapping/>
  </p:clrMapOvr>
  <p:transition>
    <p:fade/>
  </p:transition>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Title Slide - ANIMATED">
    <p:bg bwMode="auto">
      <p:bgPr>
        <a:solidFill>
          <a:schemeClr val="bg2"/>
        </a:solidFill>
        <a:effectLst/>
      </p:bgPr>
    </p:bg>
    <p:spTree>
      <p:nvGrpSpPr>
        <p:cNvPr id="1" name=""/>
        <p:cNvGrpSpPr/>
        <p:nvPr/>
      </p:nvGrpSpPr>
      <p:grpSpPr>
        <a:xfrm>
          <a:off x="0" y="0"/>
          <a:ext cx="0" cy="0"/>
          <a:chOff x="0" y="0"/>
          <a:chExt cx="0" cy="0"/>
        </a:xfrm>
      </p:grpSpPr>
      <p:sp>
        <p:nvSpPr>
          <p:cNvPr id="19" name="Rectangle 18"/>
          <p:cNvSpPr/>
          <p:nvPr userDrawn="1"/>
        </p:nvSpPr>
        <p:spPr bwMode="white">
          <a:xfrm>
            <a:off x="0" y="1"/>
            <a:ext cx="12434253" cy="6995160"/>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 name="Rectangle 5"/>
          <p:cNvSpPr>
            <a:spLocks noChangeArrowheads="1"/>
          </p:cNvSpPr>
          <p:nvPr userDrawn="1"/>
        </p:nvSpPr>
        <p:spPr bwMode="auto">
          <a:xfrm>
            <a:off x="3176" y="4395789"/>
            <a:ext cx="12431713" cy="2601913"/>
          </a:xfrm>
          <a:prstGeom prst="rect">
            <a:avLst/>
          </a:prstGeom>
          <a:solidFill>
            <a:srgbClr val="4DA0E2"/>
          </a:solidFill>
          <a:ln>
            <a:noFill/>
          </a:ln>
        </p:spPr>
        <p:txBody>
          <a:bodyPr vert="horz" wrap="square" lIns="91427" tIns="45713" rIns="91427" bIns="45713" numCol="1" anchor="t" anchorCtr="0" compatLnSpc="1">
            <a:prstTxWarp prst="textNoShape">
              <a:avLst/>
            </a:prstTxWarp>
          </a:bodyPr>
          <a:lstStyle/>
          <a:p>
            <a:endParaRPr lang="en-US" sz="1800"/>
          </a:p>
        </p:txBody>
      </p:sp>
      <p:sp>
        <p:nvSpPr>
          <p:cNvPr id="10" name="Rectangle 7"/>
          <p:cNvSpPr>
            <a:spLocks noChangeArrowheads="1"/>
          </p:cNvSpPr>
          <p:nvPr userDrawn="1"/>
        </p:nvSpPr>
        <p:spPr bwMode="auto">
          <a:xfrm>
            <a:off x="1" y="5843588"/>
            <a:ext cx="12431714" cy="1154113"/>
          </a:xfrm>
          <a:prstGeom prst="rect">
            <a:avLst/>
          </a:prstGeom>
          <a:solidFill>
            <a:srgbClr val="00188F"/>
          </a:solidFill>
          <a:ln>
            <a:noFill/>
          </a:ln>
          <a:extLst/>
        </p:spPr>
        <p:txBody>
          <a:bodyPr vert="horz" wrap="square" lIns="91427" tIns="45713" rIns="91427" bIns="45713" numCol="1" anchor="t" anchorCtr="0" compatLnSpc="1">
            <a:prstTxWarp prst="textNoShape">
              <a:avLst/>
            </a:prstTxWarp>
          </a:bodyPr>
          <a:lstStyle/>
          <a:p>
            <a:endParaRPr lang="en-US" sz="1800"/>
          </a:p>
        </p:txBody>
      </p:sp>
      <p:sp>
        <p:nvSpPr>
          <p:cNvPr id="11" name="Rectangle 8"/>
          <p:cNvSpPr>
            <a:spLocks noChangeArrowheads="1"/>
          </p:cNvSpPr>
          <p:nvPr userDrawn="1"/>
        </p:nvSpPr>
        <p:spPr bwMode="auto">
          <a:xfrm>
            <a:off x="3176" y="3409951"/>
            <a:ext cx="12428541" cy="282575"/>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sz="1800"/>
          </a:p>
        </p:txBody>
      </p:sp>
      <p:sp>
        <p:nvSpPr>
          <p:cNvPr id="13" name="Rectangle 12"/>
          <p:cNvSpPr/>
          <p:nvPr userDrawn="1"/>
        </p:nvSpPr>
        <p:spPr bwMode="white">
          <a:xfrm>
            <a:off x="0" y="1"/>
            <a:ext cx="12434253" cy="6995160"/>
          </a:xfrm>
          <a:prstGeom prst="rect">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6505" y="3551231"/>
            <a:ext cx="6398397" cy="1830388"/>
          </a:xfrm>
          <a:noFill/>
        </p:spPr>
        <p:txBody>
          <a:bodyPr lIns="146304" tIns="109728" rIns="146304" bIns="109728">
            <a:noAutofit/>
          </a:bodyPr>
          <a:lstStyle>
            <a:lvl1pPr marL="0" indent="0">
              <a:spcBef>
                <a:spcPts val="0"/>
              </a:spcBef>
              <a:buNone/>
              <a:defRPr sz="3599" spc="0" baseline="0">
                <a:gradFill>
                  <a:gsLst>
                    <a:gs pos="0">
                      <a:schemeClr val="tx1"/>
                    </a:gs>
                    <a:gs pos="100000">
                      <a:schemeClr val="tx1"/>
                    </a:gs>
                  </a:gsLst>
                  <a:lin ang="5400000" scaled="0"/>
                </a:gradFill>
                <a:latin typeface="+mj-lt"/>
              </a:defRPr>
            </a:lvl1pPr>
          </a:lstStyle>
          <a:p>
            <a:pPr lvl="0"/>
            <a:r>
              <a:rPr lang="en-US"/>
              <a:t>Speaker Name</a:t>
            </a:r>
          </a:p>
        </p:txBody>
      </p:sp>
      <p:sp>
        <p:nvSpPr>
          <p:cNvPr id="9" name="Title 1"/>
          <p:cNvSpPr>
            <a:spLocks noGrp="1"/>
          </p:cNvSpPr>
          <p:nvPr>
            <p:ph type="title" hasCustomPrompt="1"/>
          </p:nvPr>
        </p:nvSpPr>
        <p:spPr>
          <a:xfrm>
            <a:off x="274668" y="1713939"/>
            <a:ext cx="10057052" cy="1837298"/>
          </a:xfrm>
          <a:noFill/>
        </p:spPr>
        <p:txBody>
          <a:bodyPr lIns="146304" tIns="91440" rIns="146304" bIns="91440" anchor="t" anchorCtr="0"/>
          <a:lstStyle>
            <a:lvl1pPr>
              <a:defRPr sz="5999" spc="-100" baseline="0">
                <a:gradFill>
                  <a:gsLst>
                    <a:gs pos="3333">
                      <a:schemeClr val="tx1"/>
                    </a:gs>
                    <a:gs pos="39000">
                      <a:schemeClr val="tx1"/>
                    </a:gs>
                  </a:gsLst>
                  <a:lin ang="5400000" scaled="0"/>
                </a:gradFill>
              </a:defRPr>
            </a:lvl1pPr>
          </a:lstStyle>
          <a:p>
            <a:r>
              <a:rPr lang="en-US"/>
              <a:t>Presentation title</a:t>
            </a:r>
          </a:p>
        </p:txBody>
      </p:sp>
      <p:sp>
        <p:nvSpPr>
          <p:cNvPr id="8" name="Rectangle 6"/>
          <p:cNvSpPr>
            <a:spLocks noChangeArrowheads="1"/>
          </p:cNvSpPr>
          <p:nvPr userDrawn="1"/>
        </p:nvSpPr>
        <p:spPr bwMode="auto">
          <a:xfrm>
            <a:off x="3176" y="4395789"/>
            <a:ext cx="12431713" cy="2601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sz="1800"/>
          </a:p>
        </p:txBody>
      </p:sp>
      <p:sp>
        <p:nvSpPr>
          <p:cNvPr id="14" name="TextBox 7"/>
          <p:cNvSpPr txBox="1"/>
          <p:nvPr userDrawn="1"/>
        </p:nvSpPr>
        <p:spPr bwMode="white">
          <a:xfrm>
            <a:off x="4419013" y="6696086"/>
            <a:ext cx="3596863" cy="16466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49" b="0" spc="150" baseline="0">
                <a:gradFill>
                  <a:gsLst>
                    <a:gs pos="0">
                      <a:schemeClr val="tx1">
                        <a:alpha val="50000"/>
                      </a:schemeClr>
                    </a:gs>
                    <a:gs pos="86000">
                      <a:schemeClr val="tx1">
                        <a:alpha val="50000"/>
                      </a:schemeClr>
                    </a:gs>
                  </a:gsLst>
                  <a:lin ang="5400000" scaled="0"/>
                </a:gradFill>
                <a:latin typeface="+mn-lt"/>
              </a:rPr>
              <a:t>MICROSOFT CONFIDENTIAL – INTERNAL ONLY</a:t>
            </a:r>
          </a:p>
        </p:txBody>
      </p:sp>
      <p:sp>
        <p:nvSpPr>
          <p:cNvPr id="17" name="Text Placeholder 16"/>
          <p:cNvSpPr>
            <a:spLocks noGrp="1"/>
          </p:cNvSpPr>
          <p:nvPr>
            <p:ph type="body" sz="quarter" idx="13" hasCustomPrompt="1"/>
          </p:nvPr>
        </p:nvSpPr>
        <p:spPr>
          <a:xfrm>
            <a:off x="8480656" y="294305"/>
            <a:ext cx="3657133" cy="461665"/>
          </a:xfrm>
        </p:spPr>
        <p:txBody>
          <a:bodyPr/>
          <a:lstStyle>
            <a:lvl1pPr marL="0" indent="0" algn="r">
              <a:buNone/>
              <a:defRPr sz="2000">
                <a:latin typeface="+mn-lt"/>
              </a:defRPr>
            </a:lvl1pPr>
            <a:lvl2pPr marL="342834" indent="0">
              <a:buNone/>
              <a:defRPr sz="2000"/>
            </a:lvl2pPr>
            <a:lvl3pPr marL="571390" indent="0">
              <a:buNone/>
              <a:defRPr sz="2000"/>
            </a:lvl3pPr>
            <a:lvl4pPr marL="799946" indent="0">
              <a:buNone/>
              <a:defRPr sz="2000"/>
            </a:lvl4pPr>
            <a:lvl5pPr marL="1028503" indent="0">
              <a:buNone/>
              <a:defRPr sz="2000"/>
            </a:lvl5pPr>
          </a:lstStyle>
          <a:p>
            <a:pPr lvl="0"/>
            <a:r>
              <a:rPr lang="en-US"/>
              <a:t>Session Code</a:t>
            </a:r>
          </a:p>
        </p:txBody>
      </p:sp>
      <p:sp>
        <p:nvSpPr>
          <p:cNvPr id="15" name="Text Placeholder 16"/>
          <p:cNvSpPr>
            <a:spLocks noGrp="1"/>
          </p:cNvSpPr>
          <p:nvPr>
            <p:ph type="body" sz="quarter" idx="14" hasCustomPrompt="1"/>
          </p:nvPr>
        </p:nvSpPr>
        <p:spPr>
          <a:xfrm>
            <a:off x="274669" y="6026443"/>
            <a:ext cx="3657133" cy="461665"/>
          </a:xfrm>
        </p:spPr>
        <p:txBody>
          <a:bodyPr/>
          <a:lstStyle>
            <a:lvl1pPr marL="0" indent="0" algn="l">
              <a:buNone/>
              <a:defRPr sz="2000">
                <a:latin typeface="+mn-lt"/>
              </a:defRPr>
            </a:lvl1pPr>
            <a:lvl2pPr marL="342834" indent="0">
              <a:buNone/>
              <a:defRPr sz="2000"/>
            </a:lvl2pPr>
            <a:lvl3pPr marL="571390" indent="0">
              <a:buNone/>
              <a:defRPr sz="2000"/>
            </a:lvl3pPr>
            <a:lvl4pPr marL="799946" indent="0">
              <a:buNone/>
              <a:defRPr sz="2000"/>
            </a:lvl4pPr>
            <a:lvl5pPr marL="1028503" indent="0">
              <a:buNone/>
              <a:defRPr sz="2000"/>
            </a:lvl5pPr>
          </a:lstStyle>
          <a:p>
            <a:pPr lvl="0"/>
            <a:r>
              <a:rPr lang="en-US"/>
              <a:t>Yammer hashtag</a:t>
            </a:r>
          </a:p>
        </p:txBody>
      </p:sp>
      <p:pic>
        <p:nvPicPr>
          <p:cNvPr id="16" name="Picture 15"/>
          <p:cNvPicPr>
            <a:picLocks noChangeAspect="1"/>
          </p:cNvPicPr>
          <p:nvPr userDrawn="1"/>
        </p:nvPicPr>
        <p:blipFill rotWithShape="1">
          <a:blip r:embed="rId2" cstate="screen">
            <a:extLst>
              <a:ext uri="{28A0092B-C50C-407E-A947-70E740481C1C}">
                <a14:useLocalDpi xmlns:a14="http://schemas.microsoft.com/office/drawing/2010/main"/>
              </a:ext>
            </a:extLst>
          </a:blip>
          <a:srcRect b="1380"/>
          <a:stretch/>
        </p:blipFill>
        <p:spPr bwMode="invGray">
          <a:xfrm>
            <a:off x="457142" y="479425"/>
            <a:ext cx="1449754" cy="306604"/>
          </a:xfrm>
          <a:prstGeom prst="rect">
            <a:avLst/>
          </a:prstGeom>
        </p:spPr>
      </p:pic>
    </p:spTree>
    <p:extLst>
      <p:ext uri="{BB962C8B-B14F-4D97-AF65-F5344CB8AC3E}">
        <p14:creationId xmlns:p14="http://schemas.microsoft.com/office/powerpoint/2010/main" val="2268248789"/>
      </p:ext>
    </p:extLst>
  </p:cSld>
  <p:clrMapOvr>
    <a:overrideClrMapping bg1="dk1" tx1="lt1" bg2="dk2" tx2="lt2" accent1="accent1" accent2="accent2" accent3="accent3" accent4="accent4" accent5="accent5" accent6="accent6" hlink="hlink" folHlink="folHlink"/>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150"/>
                                  </p:stCondLst>
                                  <p:childTnLst>
                                    <p:animMotion origin="layout" path="M 0 0 L 1.00728 0 " pathEditMode="relative" rAng="0" ptsTypes="AA">
                                      <p:cBhvr>
                                        <p:cTn id="8" dur="750" fill="hold"/>
                                        <p:tgtEl>
                                          <p:spTgt spid="19"/>
                                        </p:tgtEl>
                                        <p:attrNameLst>
                                          <p:attrName>ppt_x</p:attrName>
                                          <p:attrName>ppt_y</p:attrName>
                                        </p:attrNameLst>
                                      </p:cBhvr>
                                      <p:rCtr x="50357" y="0"/>
                                    </p:animMotion>
                                  </p:childTnLst>
                                </p:cTn>
                              </p:par>
                              <p:par>
                                <p:cTn id="9" presetID="63" presetClass="path" presetSubtype="0" accel="24000" decel="76000" fill="hold" grpId="0" nodeType="withEffect">
                                  <p:stCondLst>
                                    <p:cond delay="250"/>
                                  </p:stCondLst>
                                  <p:childTnLst>
                                    <p:animMotion origin="layout" path="M 0 3.25011E-6 L 1.00728 3.25011E-6 " pathEditMode="relative" rAng="0" ptsTypes="AA">
                                      <p:cBhvr>
                                        <p:cTn id="10" dur="750" fill="hold"/>
                                        <p:tgtEl>
                                          <p:spTgt spid="12"/>
                                        </p:tgtEl>
                                        <p:attrNameLst>
                                          <p:attrName>ppt_x</p:attrName>
                                          <p:attrName>ppt_y</p:attrName>
                                        </p:attrNameLst>
                                      </p:cBhvr>
                                      <p:rCtr x="50357" y="0"/>
                                    </p:animMotion>
                                  </p:childTnLst>
                                </p:cTn>
                              </p:par>
                              <p:par>
                                <p:cTn id="11" presetID="63" presetClass="path" presetSubtype="0" accel="24000" decel="76000" fill="hold" grpId="0" nodeType="withEffect">
                                  <p:stCondLst>
                                    <p:cond delay="150"/>
                                  </p:stCondLst>
                                  <p:childTnLst>
                                    <p:animMotion origin="layout" path="M 0 3.25011E-6 L 1.00728 3.25011E-6 " pathEditMode="relative" rAng="0" ptsTypes="AA">
                                      <p:cBhvr>
                                        <p:cTn id="12" dur="750" fill="hold"/>
                                        <p:tgtEl>
                                          <p:spTgt spid="10"/>
                                        </p:tgtEl>
                                        <p:attrNameLst>
                                          <p:attrName>ppt_x</p:attrName>
                                          <p:attrName>ppt_y</p:attrName>
                                        </p:attrNameLst>
                                      </p:cBhvr>
                                      <p:rCtr x="50357" y="0"/>
                                    </p:animMotion>
                                  </p:childTnLst>
                                </p:cTn>
                              </p:par>
                              <p:par>
                                <p:cTn id="13" presetID="1" presetClass="entr" presetSubtype="0" fill="hold" grpId="0" nodeType="withEffect">
                                  <p:stCondLst>
                                    <p:cond delay="1000"/>
                                  </p:stCondLst>
                                  <p:childTnLst>
                                    <p:set>
                                      <p:cBhvr>
                                        <p:cTn id="14" dur="1" fill="hold">
                                          <p:stCondLst>
                                            <p:cond delay="0"/>
                                          </p:stCondLst>
                                        </p:cTn>
                                        <p:tgtEl>
                                          <p:spTgt spid="13"/>
                                        </p:tgtEl>
                                        <p:attrNameLst>
                                          <p:attrName>style.visibility</p:attrName>
                                        </p:attrNameLst>
                                      </p:cBhvr>
                                      <p:to>
                                        <p:strVal val="visible"/>
                                      </p:to>
                                    </p:set>
                                  </p:childTnLst>
                                </p:cTn>
                              </p:par>
                              <p:par>
                                <p:cTn id="15" presetID="10" presetClass="entr" presetSubtype="0" fill="hold" grpId="0" nodeType="withEffect">
                                  <p:stCondLst>
                                    <p:cond delay="750"/>
                                  </p:stCondLst>
                                  <p:childTnLst>
                                    <p:set>
                                      <p:cBhvr>
                                        <p:cTn id="16" dur="1" fill="hold">
                                          <p:stCondLst>
                                            <p:cond delay="0"/>
                                          </p:stCondLst>
                                        </p:cTn>
                                        <p:tgtEl>
                                          <p:spTgt spid="9"/>
                                        </p:tgtEl>
                                        <p:attrNameLst>
                                          <p:attrName>style.visibility</p:attrName>
                                        </p:attrNameLst>
                                      </p:cBhvr>
                                      <p:to>
                                        <p:strVal val="visible"/>
                                      </p:to>
                                    </p:set>
                                    <p:animEffect transition="in" filter="fade">
                                      <p:cBhvr>
                                        <p:cTn id="17" dur="950"/>
                                        <p:tgtEl>
                                          <p:spTgt spid="9"/>
                                        </p:tgtEl>
                                      </p:cBhvr>
                                    </p:animEffect>
                                  </p:childTnLst>
                                </p:cTn>
                              </p:par>
                              <p:par>
                                <p:cTn id="18" presetID="63" presetClass="path" presetSubtype="0" decel="100000" fill="hold" grpId="1" nodeType="withEffect">
                                  <p:stCondLst>
                                    <p:cond delay="750"/>
                                  </p:stCondLst>
                                  <p:childTnLst>
                                    <p:animMotion origin="layout" path="M -0.01455 4.96142E-6 L -4.34261E-6 4.96142E-6 " pathEditMode="relative" rAng="0" ptsTypes="AA">
                                      <p:cBhvr>
                                        <p:cTn id="19" dur="950" fill="hold"/>
                                        <p:tgtEl>
                                          <p:spTgt spid="9"/>
                                        </p:tgtEl>
                                        <p:attrNameLst>
                                          <p:attrName>ppt_x</p:attrName>
                                          <p:attrName>ppt_y</p:attrName>
                                        </p:attrNameLst>
                                      </p:cBhvr>
                                      <p:rCtr x="728" y="0"/>
                                    </p:animMotion>
                                  </p:childTnLst>
                                </p:cTn>
                              </p:par>
                              <p:par>
                                <p:cTn id="20" presetID="6" presetClass="emph" presetSubtype="0" accel="100000" autoRev="1" fill="hold" grpId="2" nodeType="withEffect">
                                  <p:stCondLst>
                                    <p:cond delay="50"/>
                                  </p:stCondLst>
                                  <p:childTnLst>
                                    <p:animScale>
                                      <p:cBhvr>
                                        <p:cTn id="21" dur="500" fill="hold"/>
                                        <p:tgtEl>
                                          <p:spTgt spid="9"/>
                                        </p:tgtEl>
                                      </p:cBhvr>
                                      <p:by x="95000" y="95000"/>
                                    </p:animScale>
                                  </p:childTnLst>
                                </p:cTn>
                              </p:par>
                              <p:par>
                                <p:cTn id="22" presetID="10" presetClass="entr" presetSubtype="0" fill="hold" grpId="0" nodeType="withEffect">
                                  <p:stCondLst>
                                    <p:cond delay="800"/>
                                  </p:stCondLst>
                                  <p:childTnLst>
                                    <p:set>
                                      <p:cBhvr>
                                        <p:cTn id="23" dur="1" fill="hold">
                                          <p:stCondLst>
                                            <p:cond delay="0"/>
                                          </p:stCondLst>
                                        </p:cTn>
                                        <p:tgtEl>
                                          <p:spTgt spid="5"/>
                                        </p:tgtEl>
                                        <p:attrNameLst>
                                          <p:attrName>style.visibility</p:attrName>
                                        </p:attrNameLst>
                                      </p:cBhvr>
                                      <p:to>
                                        <p:strVal val="visible"/>
                                      </p:to>
                                    </p:set>
                                    <p:animEffect transition="in" filter="fade">
                                      <p:cBhvr>
                                        <p:cTn id="24" dur="950"/>
                                        <p:tgtEl>
                                          <p:spTgt spid="5"/>
                                        </p:tgtEl>
                                      </p:cBhvr>
                                    </p:animEffect>
                                  </p:childTnLst>
                                </p:cTn>
                              </p:par>
                              <p:par>
                                <p:cTn id="25" presetID="63" presetClass="path" presetSubtype="0" decel="100000" fill="hold" grpId="1" nodeType="withEffect">
                                  <p:stCondLst>
                                    <p:cond delay="800"/>
                                  </p:stCondLst>
                                  <p:childTnLst>
                                    <p:animMotion origin="layout" path="M -0.01455 2.42851E-6 L -3.02783E-6 2.42851E-6 " pathEditMode="relative" rAng="0" ptsTypes="AA">
                                      <p:cBhvr>
                                        <p:cTn id="26" dur="950" fill="hold"/>
                                        <p:tgtEl>
                                          <p:spTgt spid="5"/>
                                        </p:tgtEl>
                                        <p:attrNameLst>
                                          <p:attrName>ppt_x</p:attrName>
                                          <p:attrName>ppt_y</p:attrName>
                                        </p:attrNameLst>
                                      </p:cBhvr>
                                      <p:rCtr x="728" y="0"/>
                                    </p:animMotion>
                                  </p:childTnLst>
                                </p:cTn>
                              </p:par>
                              <p:par>
                                <p:cTn id="27" presetID="6" presetClass="emph" presetSubtype="0" accel="100000" autoRev="1" fill="hold" grpId="2" nodeType="withEffect">
                                  <p:stCondLst>
                                    <p:cond delay="100"/>
                                  </p:stCondLst>
                                  <p:childTnLst>
                                    <p:animScale>
                                      <p:cBhvr>
                                        <p:cTn id="28" dur="500" fill="hold"/>
                                        <p:tgtEl>
                                          <p:spTgt spid="5"/>
                                        </p:tgtEl>
                                      </p:cBhvr>
                                      <p:by x="95000" y="95000"/>
                                    </p:animScale>
                                  </p:childTnLst>
                                </p:cTn>
                              </p:par>
                              <p:par>
                                <p:cTn id="29" presetID="10" presetClass="entr" presetSubtype="0" fill="hold" nodeType="withEffect">
                                  <p:stCondLst>
                                    <p:cond delay="900"/>
                                  </p:stCondLst>
                                  <p:childTnLst>
                                    <p:set>
                                      <p:cBhvr>
                                        <p:cTn id="30" dur="1" fill="hold">
                                          <p:stCondLst>
                                            <p:cond delay="0"/>
                                          </p:stCondLst>
                                        </p:cTn>
                                        <p:tgtEl>
                                          <p:spTgt spid="16"/>
                                        </p:tgtEl>
                                        <p:attrNameLst>
                                          <p:attrName>style.visibility</p:attrName>
                                        </p:attrNameLst>
                                      </p:cBhvr>
                                      <p:to>
                                        <p:strVal val="visible"/>
                                      </p:to>
                                    </p:set>
                                    <p:animEffect transition="in" filter="fade">
                                      <p:cBhvr>
                                        <p:cTn id="31" dur="950"/>
                                        <p:tgtEl>
                                          <p:spTgt spid="16"/>
                                        </p:tgtEl>
                                      </p:cBhvr>
                                    </p:animEffect>
                                  </p:childTnLst>
                                </p:cTn>
                              </p:par>
                              <p:par>
                                <p:cTn id="32" presetID="63" presetClass="path" presetSubtype="0" decel="100000" fill="hold" nodeType="withEffect">
                                  <p:stCondLst>
                                    <p:cond delay="900"/>
                                  </p:stCondLst>
                                  <p:childTnLst>
                                    <p:animMotion origin="layout" path="M -0.01455 -1.34362E-6 L -3.90605E-7 -1.34362E-6 " pathEditMode="relative" rAng="0" ptsTypes="AA">
                                      <p:cBhvr>
                                        <p:cTn id="33" dur="950" fill="hold"/>
                                        <p:tgtEl>
                                          <p:spTgt spid="16"/>
                                        </p:tgtEl>
                                        <p:attrNameLst>
                                          <p:attrName>ppt_x</p:attrName>
                                          <p:attrName>ppt_y</p:attrName>
                                        </p:attrNameLst>
                                      </p:cBhvr>
                                      <p:rCtr x="728" y="0"/>
                                    </p:animMotion>
                                  </p:childTnLst>
                                </p:cTn>
                              </p:par>
                              <p:par>
                                <p:cTn id="34" presetID="6" presetClass="emph" presetSubtype="0" accel="100000" autoRev="1" fill="hold" nodeType="withEffect">
                                  <p:stCondLst>
                                    <p:cond delay="200"/>
                                  </p:stCondLst>
                                  <p:childTnLst>
                                    <p:animScale>
                                      <p:cBhvr>
                                        <p:cTn id="35" dur="500" fill="hold"/>
                                        <p:tgtEl>
                                          <p:spTgt spid="16"/>
                                        </p:tgtEl>
                                      </p:cBhvr>
                                      <p:by x="95000" y="95000"/>
                                    </p:animScale>
                                  </p:childTnLst>
                                </p:cTn>
                              </p:par>
                              <p:par>
                                <p:cTn id="36" presetID="10" presetClass="entr" presetSubtype="0" fill="hold" grpId="0" nodeType="withEffect">
                                  <p:stCondLst>
                                    <p:cond delay="1000"/>
                                  </p:stCondLst>
                                  <p:childTnLst>
                                    <p:set>
                                      <p:cBhvr>
                                        <p:cTn id="37" dur="1" fill="hold">
                                          <p:stCondLst>
                                            <p:cond delay="0"/>
                                          </p:stCondLst>
                                        </p:cTn>
                                        <p:tgtEl>
                                          <p:spTgt spid="14"/>
                                        </p:tgtEl>
                                        <p:attrNameLst>
                                          <p:attrName>style.visibility</p:attrName>
                                        </p:attrNameLst>
                                      </p:cBhvr>
                                      <p:to>
                                        <p:strVal val="visible"/>
                                      </p:to>
                                    </p:set>
                                    <p:animEffect transition="in" filter="fade">
                                      <p:cBhvr>
                                        <p:cTn id="38" dur="950"/>
                                        <p:tgtEl>
                                          <p:spTgt spid="14"/>
                                        </p:tgtEl>
                                      </p:cBhvr>
                                    </p:animEffect>
                                  </p:childTnLst>
                                </p:cTn>
                              </p:par>
                              <p:par>
                                <p:cTn id="39" presetID="63" presetClass="path" presetSubtype="0" decel="100000" fill="hold" grpId="1" nodeType="withEffect">
                                  <p:stCondLst>
                                    <p:cond delay="1000"/>
                                  </p:stCondLst>
                                  <p:childTnLst>
                                    <p:animMotion origin="layout" path="M -0.01455 -1.34362E-6 L -3.90605E-7 -1.34362E-6 " pathEditMode="relative" rAng="0" ptsTypes="AA">
                                      <p:cBhvr>
                                        <p:cTn id="40" dur="950" fill="hold"/>
                                        <p:tgtEl>
                                          <p:spTgt spid="14"/>
                                        </p:tgtEl>
                                        <p:attrNameLst>
                                          <p:attrName>ppt_x</p:attrName>
                                          <p:attrName>ppt_y</p:attrName>
                                        </p:attrNameLst>
                                      </p:cBhvr>
                                      <p:rCtr x="728" y="0"/>
                                    </p:animMotion>
                                  </p:childTnLst>
                                </p:cTn>
                              </p:par>
                              <p:par>
                                <p:cTn id="41" presetID="6" presetClass="emph" presetSubtype="0" accel="100000" autoRev="1" fill="hold" grpId="2" nodeType="withEffect">
                                  <p:stCondLst>
                                    <p:cond delay="300"/>
                                  </p:stCondLst>
                                  <p:childTnLst>
                                    <p:animScale>
                                      <p:cBhvr>
                                        <p:cTn id="42" dur="500" fill="hold"/>
                                        <p:tgtEl>
                                          <p:spTgt spid="14"/>
                                        </p:tgtEl>
                                      </p:cBhvr>
                                      <p:by x="95000" y="95000"/>
                                    </p:animScale>
                                  </p:childTnLst>
                                </p:cTn>
                              </p:par>
                              <p:par>
                                <p:cTn id="43" presetID="10" presetClass="entr" presetSubtype="0" fill="hold" grpId="0" nodeType="withEffect">
                                  <p:stCondLst>
                                    <p:cond delay="700"/>
                                  </p:stCondLst>
                                  <p:childTnLst>
                                    <p:set>
                                      <p:cBhvr>
                                        <p:cTn id="44" dur="1" fill="hold">
                                          <p:stCondLst>
                                            <p:cond delay="0"/>
                                          </p:stCondLst>
                                        </p:cTn>
                                        <p:tgtEl>
                                          <p:spTgt spid="17"/>
                                        </p:tgtEl>
                                        <p:attrNameLst>
                                          <p:attrName>style.visibility</p:attrName>
                                        </p:attrNameLst>
                                      </p:cBhvr>
                                      <p:to>
                                        <p:strVal val="visible"/>
                                      </p:to>
                                    </p:set>
                                    <p:animEffect transition="in" filter="fade">
                                      <p:cBhvr>
                                        <p:cTn id="45" dur="950"/>
                                        <p:tgtEl>
                                          <p:spTgt spid="17"/>
                                        </p:tgtEl>
                                      </p:cBhvr>
                                    </p:animEffect>
                                  </p:childTnLst>
                                </p:cTn>
                              </p:par>
                              <p:par>
                                <p:cTn id="46" presetID="63" presetClass="path" presetSubtype="0" decel="100000" fill="hold" grpId="1" nodeType="withEffect">
                                  <p:stCondLst>
                                    <p:cond delay="700"/>
                                  </p:stCondLst>
                                  <p:childTnLst>
                                    <p:animMotion origin="layout" path="M -0.01455 2.13345E-6 L 1.62369E-6 2.13345E-6 " pathEditMode="relative" rAng="0" ptsTypes="AA">
                                      <p:cBhvr>
                                        <p:cTn id="47" dur="950" fill="hold"/>
                                        <p:tgtEl>
                                          <p:spTgt spid="17"/>
                                        </p:tgtEl>
                                        <p:attrNameLst>
                                          <p:attrName>ppt_x</p:attrName>
                                          <p:attrName>ppt_y</p:attrName>
                                        </p:attrNameLst>
                                      </p:cBhvr>
                                      <p:rCtr x="728" y="0"/>
                                    </p:animMotion>
                                  </p:childTnLst>
                                </p:cTn>
                              </p:par>
                              <p:par>
                                <p:cTn id="48" presetID="6" presetClass="emph" presetSubtype="0" accel="100000" autoRev="1" fill="hold" grpId="2" nodeType="withEffect">
                                  <p:stCondLst>
                                    <p:cond delay="0"/>
                                  </p:stCondLst>
                                  <p:childTnLst>
                                    <p:animScale>
                                      <p:cBhvr>
                                        <p:cTn id="49" dur="500" fill="hold"/>
                                        <p:tgtEl>
                                          <p:spTgt spid="17"/>
                                        </p:tgtEl>
                                      </p:cBhvr>
                                      <p:by x="95000" y="95000"/>
                                    </p:animScale>
                                  </p:childTnLst>
                                </p:cTn>
                              </p:par>
                              <p:par>
                                <p:cTn id="50" presetID="10" presetClass="entr" presetSubtype="0" fill="hold" grpId="0" nodeType="withEffect">
                                  <p:stCondLst>
                                    <p:cond delay="700"/>
                                  </p:stCondLst>
                                  <p:childTnLst>
                                    <p:set>
                                      <p:cBhvr>
                                        <p:cTn id="51" dur="1" fill="hold">
                                          <p:stCondLst>
                                            <p:cond delay="0"/>
                                          </p:stCondLst>
                                        </p:cTn>
                                        <p:tgtEl>
                                          <p:spTgt spid="15"/>
                                        </p:tgtEl>
                                        <p:attrNameLst>
                                          <p:attrName>style.visibility</p:attrName>
                                        </p:attrNameLst>
                                      </p:cBhvr>
                                      <p:to>
                                        <p:strVal val="visible"/>
                                      </p:to>
                                    </p:set>
                                    <p:animEffect transition="in" filter="fade">
                                      <p:cBhvr>
                                        <p:cTn id="52" dur="950"/>
                                        <p:tgtEl>
                                          <p:spTgt spid="15"/>
                                        </p:tgtEl>
                                      </p:cBhvr>
                                    </p:animEffect>
                                  </p:childTnLst>
                                </p:cTn>
                              </p:par>
                              <p:par>
                                <p:cTn id="53" presetID="63" presetClass="path" presetSubtype="0" decel="100000" fill="hold" grpId="1" nodeType="withEffect">
                                  <p:stCondLst>
                                    <p:cond delay="700"/>
                                  </p:stCondLst>
                                  <p:childTnLst>
                                    <p:animMotion origin="layout" path="M -0.01455 -2.09714E-6 L -4.54174E-6 -2.09714E-6 " pathEditMode="relative" rAng="0" ptsTypes="AA">
                                      <p:cBhvr>
                                        <p:cTn id="54" dur="950" fill="hold"/>
                                        <p:tgtEl>
                                          <p:spTgt spid="15"/>
                                        </p:tgtEl>
                                        <p:attrNameLst>
                                          <p:attrName>ppt_x</p:attrName>
                                          <p:attrName>ppt_y</p:attrName>
                                        </p:attrNameLst>
                                      </p:cBhvr>
                                      <p:rCtr x="728" y="0"/>
                                    </p:animMotion>
                                  </p:childTnLst>
                                </p:cTn>
                              </p:par>
                              <p:par>
                                <p:cTn id="55" presetID="6" presetClass="emph" presetSubtype="0" accel="100000" autoRev="1" fill="hold" grpId="2" nodeType="withEffect">
                                  <p:stCondLst>
                                    <p:cond delay="0"/>
                                  </p:stCondLst>
                                  <p:childTnLst>
                                    <p:animScale>
                                      <p:cBhvr>
                                        <p:cTn id="56" dur="500" fill="hold"/>
                                        <p:tgtEl>
                                          <p:spTgt spid="15"/>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animBg="1"/>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2.42851E-6 L -3.02783E-6 2.42851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P spid="14" grpId="0"/>
      <p:bldP spid="14" grpId="1"/>
      <p:bldP spid="14" grpId="2"/>
      <p:bldP spid="17" grpId="0">
        <p:tmplLst>
          <p:tmpl>
            <p:tnLst>
              <p:par>
                <p:cTn presetID="10" presetClass="entr" presetSubtype="0" fill="hold" nodeType="withEffect">
                  <p:stCondLst>
                    <p:cond delay="700"/>
                  </p:stCondLst>
                  <p:childTnLst>
                    <p:set>
                      <p:cBhvr>
                        <p:cTn dur="1" fill="hold">
                          <p:stCondLst>
                            <p:cond delay="0"/>
                          </p:stCondLst>
                        </p:cTn>
                        <p:tgtEl>
                          <p:spTgt spid="17"/>
                        </p:tgtEl>
                        <p:attrNameLst>
                          <p:attrName>style.visibility</p:attrName>
                        </p:attrNameLst>
                      </p:cBhvr>
                      <p:to>
                        <p:strVal val="visible"/>
                      </p:to>
                    </p:set>
                    <p:animEffect transition="in" filter="fade">
                      <p:cBhvr>
                        <p:cTn dur="950"/>
                        <p:tgtEl>
                          <p:spTgt spid="17"/>
                        </p:tgtEl>
                      </p:cBhvr>
                    </p:animEffect>
                  </p:childTnLst>
                </p:cTn>
              </p:par>
            </p:tnLst>
          </p:tmpl>
        </p:tmplLst>
      </p:bldP>
      <p:bldP spid="17" grpId="1">
        <p:tmplLst>
          <p:tmpl>
            <p:tnLst>
              <p:par>
                <p:cTn presetID="63" presetClass="path" presetSubtype="0" decel="100000" fill="hold" nodeType="withEffect">
                  <p:stCondLst>
                    <p:cond delay="700"/>
                  </p:stCondLst>
                  <p:childTnLst>
                    <p:animMotion origin="layout" path="M -0.01455 2.13345E-6 L 1.62369E-6 2.13345E-6 " pathEditMode="relative" rAng="0" ptsTypes="AA">
                      <p:cBhvr>
                        <p:cTn dur="950" fill="hold"/>
                        <p:tgtEl>
                          <p:spTgt spid="17"/>
                        </p:tgtEl>
                        <p:attrNameLst>
                          <p:attrName>ppt_x</p:attrName>
                          <p:attrName>ppt_y</p:attrName>
                        </p:attrNameLst>
                      </p:cBhvr>
                      <p:rCtr x="728" y="0"/>
                    </p:animMotion>
                  </p:childTnLst>
                </p:cTn>
              </p:par>
            </p:tnLst>
          </p:tmpl>
        </p:tmplLst>
      </p:bldP>
      <p:bldP spid="17" grpId="2"/>
      <p:bldP spid="15" grpId="0">
        <p:tmplLst>
          <p:tmpl>
            <p:tnLst>
              <p:par>
                <p:cTn presetID="10" presetClass="entr" presetSubtype="0" fill="hold" nodeType="withEffect">
                  <p:stCondLst>
                    <p:cond delay="700"/>
                  </p:stCondLst>
                  <p:childTnLst>
                    <p:set>
                      <p:cBhvr>
                        <p:cTn dur="1" fill="hold">
                          <p:stCondLst>
                            <p:cond delay="0"/>
                          </p:stCondLst>
                        </p:cTn>
                        <p:tgtEl>
                          <p:spTgt spid="15"/>
                        </p:tgtEl>
                        <p:attrNameLst>
                          <p:attrName>style.visibility</p:attrName>
                        </p:attrNameLst>
                      </p:cBhvr>
                      <p:to>
                        <p:strVal val="visible"/>
                      </p:to>
                    </p:set>
                    <p:animEffect transition="in" filter="fade">
                      <p:cBhvr>
                        <p:cTn dur="950"/>
                        <p:tgtEl>
                          <p:spTgt spid="15"/>
                        </p:tgtEl>
                      </p:cBhvr>
                    </p:animEffect>
                  </p:childTnLst>
                </p:cTn>
              </p:par>
            </p:tnLst>
          </p:tmpl>
        </p:tmplLst>
      </p:bldP>
      <p:bldP spid="15" grpId="1">
        <p:tmplLst>
          <p:tmpl>
            <p:tnLst>
              <p:par>
                <p:cTn presetID="63" presetClass="path" presetSubtype="0" decel="100000" fill="hold" nodeType="withEffect">
                  <p:stCondLst>
                    <p:cond delay="700"/>
                  </p:stCondLst>
                  <p:childTnLst>
                    <p:animMotion origin="layout" path="M -0.01455 -2.09714E-6 L -4.54174E-6 -2.09714E-6 " pathEditMode="relative" rAng="0" ptsTypes="AA">
                      <p:cBhvr>
                        <p:cTn dur="950" fill="hold"/>
                        <p:tgtEl>
                          <p:spTgt spid="15"/>
                        </p:tgtEl>
                        <p:attrNameLst>
                          <p:attrName>ppt_x</p:attrName>
                          <p:attrName>ppt_y</p:attrName>
                        </p:attrNameLst>
                      </p:cBhvr>
                      <p:rCtr x="728" y="0"/>
                    </p:animMotion>
                  </p:childTnLst>
                </p:cTn>
              </p:par>
            </p:tnLst>
          </p:tmpl>
        </p:tmplLst>
      </p:bldP>
      <p:bldP spid="15" grpId="2"/>
    </p:bld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Confidentiality Slide">
    <p:bg bwMode="gray">
      <p:bgPr>
        <a:blipFill dpi="0" rotWithShape="1">
          <a:blip r:embed="rId2">
            <a:lum/>
          </a:blip>
          <a:srcRect/>
          <a:stretch>
            <a:fillRect t="-1000" b="-1000"/>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p>
            <a:r>
              <a:rPr lang="en-US"/>
              <a:t>Click to edit Master title style</a:t>
            </a:r>
          </a:p>
        </p:txBody>
      </p:sp>
    </p:spTree>
    <p:extLst>
      <p:ext uri="{BB962C8B-B14F-4D97-AF65-F5344CB8AC3E}">
        <p14:creationId xmlns:p14="http://schemas.microsoft.com/office/powerpoint/2010/main" val="428861107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Closing logo slide_color">
    <p:bg>
      <p:bgPr>
        <a:solidFill>
          <a:schemeClr val="accent2"/>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03" y="6294477"/>
            <a:ext cx="11885682" cy="403187"/>
          </a:xfrm>
          <a:prstGeom prst="rect">
            <a:avLst/>
          </a:prstGeom>
          <a:noFill/>
          <a:ln w="12700">
            <a:noFill/>
            <a:miter lim="800000"/>
            <a:headEnd type="none" w="sm" len="sm"/>
            <a:tailEnd type="none" w="sm" len="sm"/>
          </a:ln>
          <a:effectLst/>
        </p:spPr>
        <p:txBody>
          <a:bodyPr vert="horz" wrap="square" lIns="182854" tIns="146283" rIns="182854" bIns="146283" numCol="1" anchor="t" anchorCtr="0" compatLnSpc="1">
            <a:prstTxWarp prst="textNoShape">
              <a:avLst/>
            </a:prstTxWarp>
            <a:spAutoFit/>
          </a:bodyPr>
          <a:lstStyle/>
          <a:p>
            <a:pPr defTabSz="932111" eaLnBrk="0" hangingPunct="0"/>
            <a:r>
              <a:rPr lang="en-US" sz="700">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userDrawn="1"/>
        </p:nvPicPr>
        <p:blipFill rotWithShape="1">
          <a:blip r:embed="rId2" cstate="screen">
            <a:extLst>
              <a:ext uri="{28A0092B-C50C-407E-A947-70E740481C1C}">
                <a14:useLocalDpi xmlns:a14="http://schemas.microsoft.com/office/drawing/2010/main"/>
              </a:ext>
            </a:extLst>
          </a:blip>
          <a:srcRect b="1380"/>
          <a:stretch/>
        </p:blipFill>
        <p:spPr bwMode="invGray">
          <a:xfrm>
            <a:off x="457142" y="479425"/>
            <a:ext cx="1449754" cy="306604"/>
          </a:xfrm>
          <a:prstGeom prst="rect">
            <a:avLst/>
          </a:prstGeom>
        </p:spPr>
      </p:pic>
    </p:spTree>
    <p:extLst>
      <p:ext uri="{BB962C8B-B14F-4D97-AF65-F5344CB8AC3E}">
        <p14:creationId xmlns:p14="http://schemas.microsoft.com/office/powerpoint/2010/main" val="312698548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04" y="1212851"/>
            <a:ext cx="11885684" cy="2228302"/>
          </a:xfrm>
        </p:spPr>
        <p:txBody>
          <a:bodyPr>
            <a:spAutoFit/>
          </a:bodyPr>
          <a:lstStyle>
            <a:lvl1pPr>
              <a:defRPr>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0097663"/>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66168" y="1212851"/>
            <a:ext cx="11702553" cy="1935915"/>
          </a:xfrm>
        </p:spPr>
        <p:txBody>
          <a:bodyPr wrap="square">
            <a:spAutoFit/>
          </a:bodyPr>
          <a:lstStyle>
            <a:lvl1pPr>
              <a:defRPr sz="3600">
                <a:gradFill>
                  <a:gsLst>
                    <a:gs pos="1250">
                      <a:schemeClr val="tx2"/>
                    </a:gs>
                    <a:gs pos="99000">
                      <a:schemeClr val="tx2"/>
                    </a:gs>
                  </a:gsLst>
                  <a:lin ang="5400000" scaled="0"/>
                </a:gradFill>
              </a:defRPr>
            </a:lvl1pPr>
            <a:lvl2pPr>
              <a:defRPr sz="2000"/>
            </a:lvl2pPr>
            <a:lvl3pPr>
              <a:defRPr sz="1800"/>
            </a:lvl3pPr>
            <a:lvl4pPr>
              <a:defRPr sz="1600"/>
            </a:lvl4pPr>
            <a:lvl5pPr>
              <a:defRPr sz="16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lvl1pPr>
              <a:defRPr sz="4800"/>
            </a:lvl1pPr>
          </a:lstStyle>
          <a:p>
            <a:r>
              <a:rPr lang="en-US" dirty="0"/>
              <a:t>Click to edit Master title style</a:t>
            </a:r>
          </a:p>
        </p:txBody>
      </p:sp>
    </p:spTree>
    <p:extLst>
      <p:ext uri="{BB962C8B-B14F-4D97-AF65-F5344CB8AC3E}">
        <p14:creationId xmlns:p14="http://schemas.microsoft.com/office/powerpoint/2010/main" val="2229941979"/>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Walkin">
    <p:bg>
      <p:bgRef idx="1001">
        <a:schemeClr val="bg2"/>
      </p:bgRef>
    </p:bg>
    <p:spTree>
      <p:nvGrpSpPr>
        <p:cNvPr id="1" name=""/>
        <p:cNvGrpSpPr/>
        <p:nvPr/>
      </p:nvGrpSpPr>
      <p:grpSpPr>
        <a:xfrm>
          <a:off x="0" y="0"/>
          <a:ext cx="0" cy="0"/>
          <a:chOff x="0" y="0"/>
          <a:chExt cx="0" cy="0"/>
        </a:xfrm>
      </p:grpSpPr>
      <p:sp>
        <p:nvSpPr>
          <p:cNvPr id="87" name="Freeform 16"/>
          <p:cNvSpPr>
            <a:spLocks/>
          </p:cNvSpPr>
          <p:nvPr userDrawn="1"/>
        </p:nvSpPr>
        <p:spPr bwMode="auto">
          <a:xfrm>
            <a:off x="0" y="4032252"/>
            <a:ext cx="5658716" cy="2962275"/>
          </a:xfrm>
          <a:custGeom>
            <a:avLst/>
            <a:gdLst>
              <a:gd name="T0" fmla="*/ 128 w 3565"/>
              <a:gd name="T1" fmla="*/ 957 h 1866"/>
              <a:gd name="T2" fmla="*/ 187 w 3565"/>
              <a:gd name="T3" fmla="*/ 982 h 1866"/>
              <a:gd name="T4" fmla="*/ 246 w 3565"/>
              <a:gd name="T5" fmla="*/ 909 h 1866"/>
              <a:gd name="T6" fmla="*/ 463 w 3565"/>
              <a:gd name="T7" fmla="*/ 816 h 1866"/>
              <a:gd name="T8" fmla="*/ 501 w 3565"/>
              <a:gd name="T9" fmla="*/ 874 h 1866"/>
              <a:gd name="T10" fmla="*/ 543 w 3565"/>
              <a:gd name="T11" fmla="*/ 926 h 1866"/>
              <a:gd name="T12" fmla="*/ 632 w 3565"/>
              <a:gd name="T13" fmla="*/ 677 h 1866"/>
              <a:gd name="T14" fmla="*/ 774 w 3565"/>
              <a:gd name="T15" fmla="*/ 719 h 1866"/>
              <a:gd name="T16" fmla="*/ 822 w 3565"/>
              <a:gd name="T17" fmla="*/ 771 h 1866"/>
              <a:gd name="T18" fmla="*/ 1040 w 3565"/>
              <a:gd name="T19" fmla="*/ 691 h 1866"/>
              <a:gd name="T20" fmla="*/ 1151 w 3565"/>
              <a:gd name="T21" fmla="*/ 823 h 1866"/>
              <a:gd name="T22" fmla="*/ 1209 w 3565"/>
              <a:gd name="T23" fmla="*/ 608 h 1866"/>
              <a:gd name="T24" fmla="*/ 1251 w 3565"/>
              <a:gd name="T25" fmla="*/ 543 h 1866"/>
              <a:gd name="T26" fmla="*/ 1372 w 3565"/>
              <a:gd name="T27" fmla="*/ 608 h 1866"/>
              <a:gd name="T28" fmla="*/ 1413 w 3565"/>
              <a:gd name="T29" fmla="*/ 567 h 1866"/>
              <a:gd name="T30" fmla="*/ 1458 w 3565"/>
              <a:gd name="T31" fmla="*/ 629 h 1866"/>
              <a:gd name="T32" fmla="*/ 1510 w 3565"/>
              <a:gd name="T33" fmla="*/ 871 h 1866"/>
              <a:gd name="T34" fmla="*/ 1548 w 3565"/>
              <a:gd name="T35" fmla="*/ 608 h 1866"/>
              <a:gd name="T36" fmla="*/ 1600 w 3565"/>
              <a:gd name="T37" fmla="*/ 563 h 1866"/>
              <a:gd name="T38" fmla="*/ 1627 w 3565"/>
              <a:gd name="T39" fmla="*/ 619 h 1866"/>
              <a:gd name="T40" fmla="*/ 1648 w 3565"/>
              <a:gd name="T41" fmla="*/ 764 h 1866"/>
              <a:gd name="T42" fmla="*/ 1683 w 3565"/>
              <a:gd name="T43" fmla="*/ 950 h 1866"/>
              <a:gd name="T44" fmla="*/ 1721 w 3565"/>
              <a:gd name="T45" fmla="*/ 847 h 1866"/>
              <a:gd name="T46" fmla="*/ 1752 w 3565"/>
              <a:gd name="T47" fmla="*/ 536 h 1866"/>
              <a:gd name="T48" fmla="*/ 2038 w 3565"/>
              <a:gd name="T49" fmla="*/ 456 h 1866"/>
              <a:gd name="T50" fmla="*/ 2059 w 3565"/>
              <a:gd name="T51" fmla="*/ 539 h 1866"/>
              <a:gd name="T52" fmla="*/ 2173 w 3565"/>
              <a:gd name="T53" fmla="*/ 246 h 1866"/>
              <a:gd name="T54" fmla="*/ 2252 w 3565"/>
              <a:gd name="T55" fmla="*/ 201 h 1866"/>
              <a:gd name="T56" fmla="*/ 2287 w 3565"/>
              <a:gd name="T57" fmla="*/ 259 h 1866"/>
              <a:gd name="T58" fmla="*/ 2356 w 3565"/>
              <a:gd name="T59" fmla="*/ 843 h 1866"/>
              <a:gd name="T60" fmla="*/ 2384 w 3565"/>
              <a:gd name="T61" fmla="*/ 612 h 1866"/>
              <a:gd name="T62" fmla="*/ 2398 w 3565"/>
              <a:gd name="T63" fmla="*/ 432 h 1866"/>
              <a:gd name="T64" fmla="*/ 2436 w 3565"/>
              <a:gd name="T65" fmla="*/ 139 h 1866"/>
              <a:gd name="T66" fmla="*/ 2567 w 3565"/>
              <a:gd name="T67" fmla="*/ 0 h 1866"/>
              <a:gd name="T68" fmla="*/ 2598 w 3565"/>
              <a:gd name="T69" fmla="*/ 121 h 1866"/>
              <a:gd name="T70" fmla="*/ 2629 w 3565"/>
              <a:gd name="T71" fmla="*/ 173 h 1866"/>
              <a:gd name="T72" fmla="*/ 2670 w 3565"/>
              <a:gd name="T73" fmla="*/ 491 h 1866"/>
              <a:gd name="T74" fmla="*/ 2988 w 3565"/>
              <a:gd name="T75" fmla="*/ 346 h 1866"/>
              <a:gd name="T76" fmla="*/ 3071 w 3565"/>
              <a:gd name="T77" fmla="*/ 532 h 1866"/>
              <a:gd name="T78" fmla="*/ 3126 w 3565"/>
              <a:gd name="T79" fmla="*/ 498 h 1866"/>
              <a:gd name="T80" fmla="*/ 3233 w 3565"/>
              <a:gd name="T81" fmla="*/ 550 h 1866"/>
              <a:gd name="T82" fmla="*/ 3320 w 3565"/>
              <a:gd name="T83" fmla="*/ 463 h 1866"/>
              <a:gd name="T84" fmla="*/ 3382 w 3565"/>
              <a:gd name="T85" fmla="*/ 398 h 1866"/>
              <a:gd name="T86" fmla="*/ 3565 w 3565"/>
              <a:gd name="T87" fmla="*/ 446 h 1866"/>
              <a:gd name="T88" fmla="*/ 3565 w 3565"/>
              <a:gd name="T89" fmla="*/ 1866 h 1866"/>
              <a:gd name="T90" fmla="*/ 0 w 3565"/>
              <a:gd name="T91" fmla="*/ 957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565" h="1866">
                <a:moveTo>
                  <a:pt x="0" y="957"/>
                </a:moveTo>
                <a:lnTo>
                  <a:pt x="128" y="957"/>
                </a:lnTo>
                <a:lnTo>
                  <a:pt x="128" y="982"/>
                </a:lnTo>
                <a:lnTo>
                  <a:pt x="187" y="982"/>
                </a:lnTo>
                <a:lnTo>
                  <a:pt x="187" y="909"/>
                </a:lnTo>
                <a:lnTo>
                  <a:pt x="246" y="909"/>
                </a:lnTo>
                <a:lnTo>
                  <a:pt x="246" y="816"/>
                </a:lnTo>
                <a:lnTo>
                  <a:pt x="463" y="816"/>
                </a:lnTo>
                <a:lnTo>
                  <a:pt x="463" y="874"/>
                </a:lnTo>
                <a:lnTo>
                  <a:pt x="501" y="874"/>
                </a:lnTo>
                <a:lnTo>
                  <a:pt x="501" y="926"/>
                </a:lnTo>
                <a:lnTo>
                  <a:pt x="543" y="926"/>
                </a:lnTo>
                <a:lnTo>
                  <a:pt x="543" y="677"/>
                </a:lnTo>
                <a:lnTo>
                  <a:pt x="632" y="677"/>
                </a:lnTo>
                <a:lnTo>
                  <a:pt x="632" y="719"/>
                </a:lnTo>
                <a:lnTo>
                  <a:pt x="774" y="719"/>
                </a:lnTo>
                <a:lnTo>
                  <a:pt x="774" y="771"/>
                </a:lnTo>
                <a:lnTo>
                  <a:pt x="822" y="771"/>
                </a:lnTo>
                <a:lnTo>
                  <a:pt x="822" y="691"/>
                </a:lnTo>
                <a:lnTo>
                  <a:pt x="1040" y="691"/>
                </a:lnTo>
                <a:lnTo>
                  <a:pt x="1040" y="823"/>
                </a:lnTo>
                <a:lnTo>
                  <a:pt x="1151" y="823"/>
                </a:lnTo>
                <a:lnTo>
                  <a:pt x="1151" y="608"/>
                </a:lnTo>
                <a:lnTo>
                  <a:pt x="1209" y="608"/>
                </a:lnTo>
                <a:lnTo>
                  <a:pt x="1209" y="543"/>
                </a:lnTo>
                <a:lnTo>
                  <a:pt x="1251" y="543"/>
                </a:lnTo>
                <a:lnTo>
                  <a:pt x="1251" y="608"/>
                </a:lnTo>
                <a:lnTo>
                  <a:pt x="1372" y="608"/>
                </a:lnTo>
                <a:lnTo>
                  <a:pt x="1372" y="567"/>
                </a:lnTo>
                <a:lnTo>
                  <a:pt x="1413" y="567"/>
                </a:lnTo>
                <a:lnTo>
                  <a:pt x="1413" y="629"/>
                </a:lnTo>
                <a:lnTo>
                  <a:pt x="1458" y="629"/>
                </a:lnTo>
                <a:lnTo>
                  <a:pt x="1458" y="871"/>
                </a:lnTo>
                <a:lnTo>
                  <a:pt x="1510" y="871"/>
                </a:lnTo>
                <a:lnTo>
                  <a:pt x="1510" y="608"/>
                </a:lnTo>
                <a:lnTo>
                  <a:pt x="1548" y="608"/>
                </a:lnTo>
                <a:lnTo>
                  <a:pt x="1548" y="563"/>
                </a:lnTo>
                <a:lnTo>
                  <a:pt x="1600" y="563"/>
                </a:lnTo>
                <a:lnTo>
                  <a:pt x="1600" y="619"/>
                </a:lnTo>
                <a:lnTo>
                  <a:pt x="1627" y="619"/>
                </a:lnTo>
                <a:lnTo>
                  <a:pt x="1627" y="764"/>
                </a:lnTo>
                <a:lnTo>
                  <a:pt x="1648" y="764"/>
                </a:lnTo>
                <a:lnTo>
                  <a:pt x="1648" y="950"/>
                </a:lnTo>
                <a:lnTo>
                  <a:pt x="1683" y="950"/>
                </a:lnTo>
                <a:lnTo>
                  <a:pt x="1683" y="847"/>
                </a:lnTo>
                <a:lnTo>
                  <a:pt x="1721" y="847"/>
                </a:lnTo>
                <a:lnTo>
                  <a:pt x="1721" y="536"/>
                </a:lnTo>
                <a:lnTo>
                  <a:pt x="1752" y="536"/>
                </a:lnTo>
                <a:lnTo>
                  <a:pt x="1752" y="456"/>
                </a:lnTo>
                <a:lnTo>
                  <a:pt x="2038" y="456"/>
                </a:lnTo>
                <a:lnTo>
                  <a:pt x="2038" y="539"/>
                </a:lnTo>
                <a:lnTo>
                  <a:pt x="2059" y="539"/>
                </a:lnTo>
                <a:lnTo>
                  <a:pt x="2059" y="246"/>
                </a:lnTo>
                <a:lnTo>
                  <a:pt x="2173" y="246"/>
                </a:lnTo>
                <a:lnTo>
                  <a:pt x="2173" y="201"/>
                </a:lnTo>
                <a:lnTo>
                  <a:pt x="2252" y="201"/>
                </a:lnTo>
                <a:lnTo>
                  <a:pt x="2252" y="259"/>
                </a:lnTo>
                <a:lnTo>
                  <a:pt x="2287" y="259"/>
                </a:lnTo>
                <a:lnTo>
                  <a:pt x="2287" y="843"/>
                </a:lnTo>
                <a:lnTo>
                  <a:pt x="2356" y="843"/>
                </a:lnTo>
                <a:lnTo>
                  <a:pt x="2356" y="612"/>
                </a:lnTo>
                <a:lnTo>
                  <a:pt x="2384" y="612"/>
                </a:lnTo>
                <a:lnTo>
                  <a:pt x="2384" y="449"/>
                </a:lnTo>
                <a:lnTo>
                  <a:pt x="2398" y="432"/>
                </a:lnTo>
                <a:lnTo>
                  <a:pt x="2398" y="139"/>
                </a:lnTo>
                <a:lnTo>
                  <a:pt x="2436" y="139"/>
                </a:lnTo>
                <a:lnTo>
                  <a:pt x="2436" y="0"/>
                </a:lnTo>
                <a:lnTo>
                  <a:pt x="2567" y="0"/>
                </a:lnTo>
                <a:lnTo>
                  <a:pt x="2567" y="121"/>
                </a:lnTo>
                <a:lnTo>
                  <a:pt x="2598" y="121"/>
                </a:lnTo>
                <a:lnTo>
                  <a:pt x="2598" y="173"/>
                </a:lnTo>
                <a:lnTo>
                  <a:pt x="2629" y="173"/>
                </a:lnTo>
                <a:lnTo>
                  <a:pt x="2629" y="491"/>
                </a:lnTo>
                <a:lnTo>
                  <a:pt x="2670" y="491"/>
                </a:lnTo>
                <a:lnTo>
                  <a:pt x="2670" y="346"/>
                </a:lnTo>
                <a:lnTo>
                  <a:pt x="2988" y="346"/>
                </a:lnTo>
                <a:lnTo>
                  <a:pt x="2988" y="532"/>
                </a:lnTo>
                <a:lnTo>
                  <a:pt x="3071" y="532"/>
                </a:lnTo>
                <a:lnTo>
                  <a:pt x="3071" y="498"/>
                </a:lnTo>
                <a:lnTo>
                  <a:pt x="3126" y="498"/>
                </a:lnTo>
                <a:lnTo>
                  <a:pt x="3126" y="550"/>
                </a:lnTo>
                <a:lnTo>
                  <a:pt x="3233" y="550"/>
                </a:lnTo>
                <a:lnTo>
                  <a:pt x="3233" y="463"/>
                </a:lnTo>
                <a:lnTo>
                  <a:pt x="3320" y="463"/>
                </a:lnTo>
                <a:lnTo>
                  <a:pt x="3320" y="398"/>
                </a:lnTo>
                <a:lnTo>
                  <a:pt x="3382" y="398"/>
                </a:lnTo>
                <a:lnTo>
                  <a:pt x="3382" y="446"/>
                </a:lnTo>
                <a:lnTo>
                  <a:pt x="3565" y="446"/>
                </a:lnTo>
                <a:lnTo>
                  <a:pt x="3565" y="1040"/>
                </a:lnTo>
                <a:lnTo>
                  <a:pt x="3565" y="1866"/>
                </a:lnTo>
                <a:lnTo>
                  <a:pt x="0" y="1866"/>
                </a:lnTo>
                <a:lnTo>
                  <a:pt x="0" y="957"/>
                </a:lnTo>
                <a:close/>
              </a:path>
            </a:pathLst>
          </a:custGeom>
          <a:solidFill>
            <a:schemeClr val="accent2"/>
          </a:solidFill>
          <a:ln>
            <a:noFill/>
          </a:ln>
        </p:spPr>
        <p:txBody>
          <a:bodyPr vert="horz" wrap="square" lIns="91415" tIns="45707" rIns="91415" bIns="45707" numCol="1" anchor="t" anchorCtr="0" compatLnSpc="1">
            <a:prstTxWarp prst="textNoShape">
              <a:avLst/>
            </a:prstTxWarp>
          </a:bodyPr>
          <a:lstStyle/>
          <a:p>
            <a:endParaRPr lang="en-US" sz="1800"/>
          </a:p>
        </p:txBody>
      </p:sp>
      <p:sp>
        <p:nvSpPr>
          <p:cNvPr id="88" name="Freeform 17"/>
          <p:cNvSpPr>
            <a:spLocks/>
          </p:cNvSpPr>
          <p:nvPr userDrawn="1"/>
        </p:nvSpPr>
        <p:spPr bwMode="auto">
          <a:xfrm>
            <a:off x="5503162" y="4559301"/>
            <a:ext cx="3146023" cy="2435225"/>
          </a:xfrm>
          <a:custGeom>
            <a:avLst/>
            <a:gdLst>
              <a:gd name="T0" fmla="*/ 1882 w 1982"/>
              <a:gd name="T1" fmla="*/ 456 h 1534"/>
              <a:gd name="T2" fmla="*/ 1882 w 1982"/>
              <a:gd name="T3" fmla="*/ 546 h 1534"/>
              <a:gd name="T4" fmla="*/ 1830 w 1982"/>
              <a:gd name="T5" fmla="*/ 546 h 1534"/>
              <a:gd name="T6" fmla="*/ 1830 w 1982"/>
              <a:gd name="T7" fmla="*/ 629 h 1534"/>
              <a:gd name="T8" fmla="*/ 1699 w 1982"/>
              <a:gd name="T9" fmla="*/ 629 h 1534"/>
              <a:gd name="T10" fmla="*/ 1699 w 1982"/>
              <a:gd name="T11" fmla="*/ 822 h 1534"/>
              <a:gd name="T12" fmla="*/ 1668 w 1982"/>
              <a:gd name="T13" fmla="*/ 822 h 1534"/>
              <a:gd name="T14" fmla="*/ 1668 w 1982"/>
              <a:gd name="T15" fmla="*/ 59 h 1534"/>
              <a:gd name="T16" fmla="*/ 1388 w 1982"/>
              <a:gd name="T17" fmla="*/ 59 h 1534"/>
              <a:gd name="T18" fmla="*/ 1388 w 1982"/>
              <a:gd name="T19" fmla="*/ 200 h 1534"/>
              <a:gd name="T20" fmla="*/ 1226 w 1982"/>
              <a:gd name="T21" fmla="*/ 200 h 1534"/>
              <a:gd name="T22" fmla="*/ 1226 w 1982"/>
              <a:gd name="T23" fmla="*/ 688 h 1534"/>
              <a:gd name="T24" fmla="*/ 1119 w 1982"/>
              <a:gd name="T25" fmla="*/ 688 h 1534"/>
              <a:gd name="T26" fmla="*/ 1119 w 1982"/>
              <a:gd name="T27" fmla="*/ 629 h 1534"/>
              <a:gd name="T28" fmla="*/ 1043 w 1982"/>
              <a:gd name="T29" fmla="*/ 629 h 1534"/>
              <a:gd name="T30" fmla="*/ 1043 w 1982"/>
              <a:gd name="T31" fmla="*/ 542 h 1534"/>
              <a:gd name="T32" fmla="*/ 839 w 1982"/>
              <a:gd name="T33" fmla="*/ 542 h 1534"/>
              <a:gd name="T34" fmla="*/ 839 w 1982"/>
              <a:gd name="T35" fmla="*/ 629 h 1534"/>
              <a:gd name="T36" fmla="*/ 736 w 1982"/>
              <a:gd name="T37" fmla="*/ 629 h 1534"/>
              <a:gd name="T38" fmla="*/ 736 w 1982"/>
              <a:gd name="T39" fmla="*/ 698 h 1534"/>
              <a:gd name="T40" fmla="*/ 694 w 1982"/>
              <a:gd name="T41" fmla="*/ 698 h 1534"/>
              <a:gd name="T42" fmla="*/ 694 w 1982"/>
              <a:gd name="T43" fmla="*/ 0 h 1534"/>
              <a:gd name="T44" fmla="*/ 331 w 1982"/>
              <a:gd name="T45" fmla="*/ 0 h 1534"/>
              <a:gd name="T46" fmla="*/ 331 w 1982"/>
              <a:gd name="T47" fmla="*/ 663 h 1534"/>
              <a:gd name="T48" fmla="*/ 245 w 1982"/>
              <a:gd name="T49" fmla="*/ 663 h 1534"/>
              <a:gd name="T50" fmla="*/ 245 w 1982"/>
              <a:gd name="T51" fmla="*/ 456 h 1534"/>
              <a:gd name="T52" fmla="*/ 93 w 1982"/>
              <a:gd name="T53" fmla="*/ 456 h 1534"/>
              <a:gd name="T54" fmla="*/ 93 w 1982"/>
              <a:gd name="T55" fmla="*/ 826 h 1534"/>
              <a:gd name="T56" fmla="*/ 0 w 1982"/>
              <a:gd name="T57" fmla="*/ 826 h 1534"/>
              <a:gd name="T58" fmla="*/ 0 w 1982"/>
              <a:gd name="T59" fmla="*/ 1534 h 1534"/>
              <a:gd name="T60" fmla="*/ 1982 w 1982"/>
              <a:gd name="T61" fmla="*/ 1534 h 1534"/>
              <a:gd name="T62" fmla="*/ 1982 w 1982"/>
              <a:gd name="T63" fmla="*/ 456 h 1534"/>
              <a:gd name="T64" fmla="*/ 1882 w 1982"/>
              <a:gd name="T65" fmla="*/ 456 h 15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982" h="1534">
                <a:moveTo>
                  <a:pt x="1882" y="456"/>
                </a:moveTo>
                <a:lnTo>
                  <a:pt x="1882" y="546"/>
                </a:lnTo>
                <a:lnTo>
                  <a:pt x="1830" y="546"/>
                </a:lnTo>
                <a:lnTo>
                  <a:pt x="1830" y="629"/>
                </a:lnTo>
                <a:lnTo>
                  <a:pt x="1699" y="629"/>
                </a:lnTo>
                <a:lnTo>
                  <a:pt x="1699" y="822"/>
                </a:lnTo>
                <a:lnTo>
                  <a:pt x="1668" y="822"/>
                </a:lnTo>
                <a:lnTo>
                  <a:pt x="1668" y="59"/>
                </a:lnTo>
                <a:lnTo>
                  <a:pt x="1388" y="59"/>
                </a:lnTo>
                <a:lnTo>
                  <a:pt x="1388" y="200"/>
                </a:lnTo>
                <a:lnTo>
                  <a:pt x="1226" y="200"/>
                </a:lnTo>
                <a:lnTo>
                  <a:pt x="1226" y="688"/>
                </a:lnTo>
                <a:lnTo>
                  <a:pt x="1119" y="688"/>
                </a:lnTo>
                <a:lnTo>
                  <a:pt x="1119" y="629"/>
                </a:lnTo>
                <a:lnTo>
                  <a:pt x="1043" y="629"/>
                </a:lnTo>
                <a:lnTo>
                  <a:pt x="1043" y="542"/>
                </a:lnTo>
                <a:lnTo>
                  <a:pt x="839" y="542"/>
                </a:lnTo>
                <a:lnTo>
                  <a:pt x="839" y="629"/>
                </a:lnTo>
                <a:lnTo>
                  <a:pt x="736" y="629"/>
                </a:lnTo>
                <a:lnTo>
                  <a:pt x="736" y="698"/>
                </a:lnTo>
                <a:lnTo>
                  <a:pt x="694" y="698"/>
                </a:lnTo>
                <a:lnTo>
                  <a:pt x="694" y="0"/>
                </a:lnTo>
                <a:lnTo>
                  <a:pt x="331" y="0"/>
                </a:lnTo>
                <a:lnTo>
                  <a:pt x="331" y="663"/>
                </a:lnTo>
                <a:lnTo>
                  <a:pt x="245" y="663"/>
                </a:lnTo>
                <a:lnTo>
                  <a:pt x="245" y="456"/>
                </a:lnTo>
                <a:lnTo>
                  <a:pt x="93" y="456"/>
                </a:lnTo>
                <a:lnTo>
                  <a:pt x="93" y="826"/>
                </a:lnTo>
                <a:lnTo>
                  <a:pt x="0" y="826"/>
                </a:lnTo>
                <a:lnTo>
                  <a:pt x="0" y="1534"/>
                </a:lnTo>
                <a:lnTo>
                  <a:pt x="1982" y="1534"/>
                </a:lnTo>
                <a:lnTo>
                  <a:pt x="1982" y="456"/>
                </a:lnTo>
                <a:lnTo>
                  <a:pt x="1882" y="456"/>
                </a:lnTo>
                <a:close/>
              </a:path>
            </a:pathLst>
          </a:custGeom>
          <a:solidFill>
            <a:schemeClr val="accent2"/>
          </a:solidFill>
          <a:ln>
            <a:noFill/>
          </a:ln>
        </p:spPr>
        <p:txBody>
          <a:bodyPr vert="horz" wrap="square" lIns="91415" tIns="45707" rIns="91415" bIns="45707" numCol="1" anchor="t" anchorCtr="0" compatLnSpc="1">
            <a:prstTxWarp prst="textNoShape">
              <a:avLst/>
            </a:prstTxWarp>
          </a:bodyPr>
          <a:lstStyle/>
          <a:p>
            <a:endParaRPr lang="en-US" sz="1800"/>
          </a:p>
        </p:txBody>
      </p:sp>
      <p:sp>
        <p:nvSpPr>
          <p:cNvPr id="89" name="Freeform 18"/>
          <p:cNvSpPr>
            <a:spLocks/>
          </p:cNvSpPr>
          <p:nvPr userDrawn="1"/>
        </p:nvSpPr>
        <p:spPr bwMode="auto">
          <a:xfrm flipH="1">
            <a:off x="8634899" y="3024188"/>
            <a:ext cx="3799990" cy="3970338"/>
          </a:xfrm>
          <a:custGeom>
            <a:avLst/>
            <a:gdLst>
              <a:gd name="T0" fmla="*/ 2308 w 2394"/>
              <a:gd name="T1" fmla="*/ 1385 h 2501"/>
              <a:gd name="T2" fmla="*/ 2270 w 2394"/>
              <a:gd name="T3" fmla="*/ 1420 h 2501"/>
              <a:gd name="T4" fmla="*/ 2228 w 2394"/>
              <a:gd name="T5" fmla="*/ 1323 h 2501"/>
              <a:gd name="T6" fmla="*/ 2083 w 2394"/>
              <a:gd name="T7" fmla="*/ 1202 h 2501"/>
              <a:gd name="T8" fmla="*/ 2055 w 2394"/>
              <a:gd name="T9" fmla="*/ 1278 h 2501"/>
              <a:gd name="T10" fmla="*/ 2031 w 2394"/>
              <a:gd name="T11" fmla="*/ 1344 h 2501"/>
              <a:gd name="T12" fmla="*/ 1969 w 2394"/>
              <a:gd name="T13" fmla="*/ 1019 h 2501"/>
              <a:gd name="T14" fmla="*/ 1872 w 2394"/>
              <a:gd name="T15" fmla="*/ 1071 h 2501"/>
              <a:gd name="T16" fmla="*/ 1845 w 2394"/>
              <a:gd name="T17" fmla="*/ 1140 h 2501"/>
              <a:gd name="T18" fmla="*/ 1696 w 2394"/>
              <a:gd name="T19" fmla="*/ 1036 h 2501"/>
              <a:gd name="T20" fmla="*/ 1620 w 2394"/>
              <a:gd name="T21" fmla="*/ 1209 h 2501"/>
              <a:gd name="T22" fmla="*/ 1582 w 2394"/>
              <a:gd name="T23" fmla="*/ 929 h 2501"/>
              <a:gd name="T24" fmla="*/ 1555 w 2394"/>
              <a:gd name="T25" fmla="*/ 843 h 2501"/>
              <a:gd name="T26" fmla="*/ 1472 w 2394"/>
              <a:gd name="T27" fmla="*/ 929 h 2501"/>
              <a:gd name="T28" fmla="*/ 1447 w 2394"/>
              <a:gd name="T29" fmla="*/ 874 h 2501"/>
              <a:gd name="T30" fmla="*/ 1416 w 2394"/>
              <a:gd name="T31" fmla="*/ 953 h 2501"/>
              <a:gd name="T32" fmla="*/ 1382 w 2394"/>
              <a:gd name="T33" fmla="*/ 1274 h 2501"/>
              <a:gd name="T34" fmla="*/ 1354 w 2394"/>
              <a:gd name="T35" fmla="*/ 929 h 2501"/>
              <a:gd name="T36" fmla="*/ 1320 w 2394"/>
              <a:gd name="T37" fmla="*/ 867 h 2501"/>
              <a:gd name="T38" fmla="*/ 1302 w 2394"/>
              <a:gd name="T39" fmla="*/ 939 h 2501"/>
              <a:gd name="T40" fmla="*/ 1285 w 2394"/>
              <a:gd name="T41" fmla="*/ 1133 h 2501"/>
              <a:gd name="T42" fmla="*/ 1264 w 2394"/>
              <a:gd name="T43" fmla="*/ 1378 h 2501"/>
              <a:gd name="T44" fmla="*/ 1240 w 2394"/>
              <a:gd name="T45" fmla="*/ 1243 h 2501"/>
              <a:gd name="T46" fmla="*/ 1216 w 2394"/>
              <a:gd name="T47" fmla="*/ 701 h 2501"/>
              <a:gd name="T48" fmla="*/ 1026 w 2394"/>
              <a:gd name="T49" fmla="*/ 597 h 2501"/>
              <a:gd name="T50" fmla="*/ 1009 w 2394"/>
              <a:gd name="T51" fmla="*/ 708 h 2501"/>
              <a:gd name="T52" fmla="*/ 933 w 2394"/>
              <a:gd name="T53" fmla="*/ 324 h 2501"/>
              <a:gd name="T54" fmla="*/ 881 w 2394"/>
              <a:gd name="T55" fmla="*/ 262 h 2501"/>
              <a:gd name="T56" fmla="*/ 857 w 2394"/>
              <a:gd name="T57" fmla="*/ 338 h 2501"/>
              <a:gd name="T58" fmla="*/ 812 w 2394"/>
              <a:gd name="T59" fmla="*/ 1243 h 2501"/>
              <a:gd name="T60" fmla="*/ 795 w 2394"/>
              <a:gd name="T61" fmla="*/ 939 h 2501"/>
              <a:gd name="T62" fmla="*/ 784 w 2394"/>
              <a:gd name="T63" fmla="*/ 566 h 2501"/>
              <a:gd name="T64" fmla="*/ 757 w 2394"/>
              <a:gd name="T65" fmla="*/ 183 h 2501"/>
              <a:gd name="T66" fmla="*/ 670 w 2394"/>
              <a:gd name="T67" fmla="*/ 0 h 2501"/>
              <a:gd name="T68" fmla="*/ 646 w 2394"/>
              <a:gd name="T69" fmla="*/ 155 h 2501"/>
              <a:gd name="T70" fmla="*/ 629 w 2394"/>
              <a:gd name="T71" fmla="*/ 228 h 2501"/>
              <a:gd name="T72" fmla="*/ 598 w 2394"/>
              <a:gd name="T73" fmla="*/ 642 h 2501"/>
              <a:gd name="T74" fmla="*/ 387 w 2394"/>
              <a:gd name="T75" fmla="*/ 456 h 2501"/>
              <a:gd name="T76" fmla="*/ 332 w 2394"/>
              <a:gd name="T77" fmla="*/ 698 h 2501"/>
              <a:gd name="T78" fmla="*/ 294 w 2394"/>
              <a:gd name="T79" fmla="*/ 653 h 2501"/>
              <a:gd name="T80" fmla="*/ 221 w 2394"/>
              <a:gd name="T81" fmla="*/ 722 h 2501"/>
              <a:gd name="T82" fmla="*/ 163 w 2394"/>
              <a:gd name="T83" fmla="*/ 604 h 2501"/>
              <a:gd name="T84" fmla="*/ 121 w 2394"/>
              <a:gd name="T85" fmla="*/ 521 h 2501"/>
              <a:gd name="T86" fmla="*/ 0 w 2394"/>
              <a:gd name="T87" fmla="*/ 587 h 2501"/>
              <a:gd name="T88" fmla="*/ 0 w 2394"/>
              <a:gd name="T89" fmla="*/ 2501 h 2501"/>
              <a:gd name="T90" fmla="*/ 2394 w 2394"/>
              <a:gd name="T91" fmla="*/ 1385 h 25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394" h="2501">
                <a:moveTo>
                  <a:pt x="2394" y="1385"/>
                </a:moveTo>
                <a:lnTo>
                  <a:pt x="2308" y="1385"/>
                </a:lnTo>
                <a:lnTo>
                  <a:pt x="2308" y="1420"/>
                </a:lnTo>
                <a:lnTo>
                  <a:pt x="2270" y="1420"/>
                </a:lnTo>
                <a:lnTo>
                  <a:pt x="2270" y="1323"/>
                </a:lnTo>
                <a:lnTo>
                  <a:pt x="2228" y="1323"/>
                </a:lnTo>
                <a:lnTo>
                  <a:pt x="2228" y="1202"/>
                </a:lnTo>
                <a:lnTo>
                  <a:pt x="2083" y="1202"/>
                </a:lnTo>
                <a:lnTo>
                  <a:pt x="2083" y="1278"/>
                </a:lnTo>
                <a:lnTo>
                  <a:pt x="2055" y="1278"/>
                </a:lnTo>
                <a:lnTo>
                  <a:pt x="2055" y="1344"/>
                </a:lnTo>
                <a:lnTo>
                  <a:pt x="2031" y="1344"/>
                </a:lnTo>
                <a:lnTo>
                  <a:pt x="2031" y="1019"/>
                </a:lnTo>
                <a:lnTo>
                  <a:pt x="1969" y="1019"/>
                </a:lnTo>
                <a:lnTo>
                  <a:pt x="1969" y="1071"/>
                </a:lnTo>
                <a:lnTo>
                  <a:pt x="1872" y="1071"/>
                </a:lnTo>
                <a:lnTo>
                  <a:pt x="1872" y="1140"/>
                </a:lnTo>
                <a:lnTo>
                  <a:pt x="1845" y="1140"/>
                </a:lnTo>
                <a:lnTo>
                  <a:pt x="1845" y="1036"/>
                </a:lnTo>
                <a:lnTo>
                  <a:pt x="1696" y="1036"/>
                </a:lnTo>
                <a:lnTo>
                  <a:pt x="1696" y="1209"/>
                </a:lnTo>
                <a:lnTo>
                  <a:pt x="1620" y="1209"/>
                </a:lnTo>
                <a:lnTo>
                  <a:pt x="1620" y="929"/>
                </a:lnTo>
                <a:lnTo>
                  <a:pt x="1582" y="929"/>
                </a:lnTo>
                <a:lnTo>
                  <a:pt x="1582" y="843"/>
                </a:lnTo>
                <a:lnTo>
                  <a:pt x="1555" y="843"/>
                </a:lnTo>
                <a:lnTo>
                  <a:pt x="1555" y="929"/>
                </a:lnTo>
                <a:lnTo>
                  <a:pt x="1472" y="929"/>
                </a:lnTo>
                <a:lnTo>
                  <a:pt x="1472" y="874"/>
                </a:lnTo>
                <a:lnTo>
                  <a:pt x="1447" y="874"/>
                </a:lnTo>
                <a:lnTo>
                  <a:pt x="1447" y="953"/>
                </a:lnTo>
                <a:lnTo>
                  <a:pt x="1416" y="953"/>
                </a:lnTo>
                <a:lnTo>
                  <a:pt x="1416" y="1274"/>
                </a:lnTo>
                <a:lnTo>
                  <a:pt x="1382" y="1274"/>
                </a:lnTo>
                <a:lnTo>
                  <a:pt x="1382" y="929"/>
                </a:lnTo>
                <a:lnTo>
                  <a:pt x="1354" y="929"/>
                </a:lnTo>
                <a:lnTo>
                  <a:pt x="1354" y="867"/>
                </a:lnTo>
                <a:lnTo>
                  <a:pt x="1320" y="867"/>
                </a:lnTo>
                <a:lnTo>
                  <a:pt x="1320" y="939"/>
                </a:lnTo>
                <a:lnTo>
                  <a:pt x="1302" y="939"/>
                </a:lnTo>
                <a:lnTo>
                  <a:pt x="1302" y="1133"/>
                </a:lnTo>
                <a:lnTo>
                  <a:pt x="1285" y="1133"/>
                </a:lnTo>
                <a:lnTo>
                  <a:pt x="1285" y="1378"/>
                </a:lnTo>
                <a:lnTo>
                  <a:pt x="1264" y="1378"/>
                </a:lnTo>
                <a:lnTo>
                  <a:pt x="1264" y="1243"/>
                </a:lnTo>
                <a:lnTo>
                  <a:pt x="1240" y="1243"/>
                </a:lnTo>
                <a:lnTo>
                  <a:pt x="1240" y="701"/>
                </a:lnTo>
                <a:lnTo>
                  <a:pt x="1216" y="701"/>
                </a:lnTo>
                <a:lnTo>
                  <a:pt x="1216" y="597"/>
                </a:lnTo>
                <a:lnTo>
                  <a:pt x="1026" y="597"/>
                </a:lnTo>
                <a:lnTo>
                  <a:pt x="1026" y="708"/>
                </a:lnTo>
                <a:lnTo>
                  <a:pt x="1009" y="708"/>
                </a:lnTo>
                <a:lnTo>
                  <a:pt x="1009" y="324"/>
                </a:lnTo>
                <a:lnTo>
                  <a:pt x="933" y="324"/>
                </a:lnTo>
                <a:lnTo>
                  <a:pt x="933" y="262"/>
                </a:lnTo>
                <a:lnTo>
                  <a:pt x="881" y="262"/>
                </a:lnTo>
                <a:lnTo>
                  <a:pt x="881" y="338"/>
                </a:lnTo>
                <a:lnTo>
                  <a:pt x="857" y="338"/>
                </a:lnTo>
                <a:lnTo>
                  <a:pt x="857" y="1243"/>
                </a:lnTo>
                <a:lnTo>
                  <a:pt x="812" y="1243"/>
                </a:lnTo>
                <a:lnTo>
                  <a:pt x="812" y="939"/>
                </a:lnTo>
                <a:lnTo>
                  <a:pt x="795" y="939"/>
                </a:lnTo>
                <a:lnTo>
                  <a:pt x="795" y="590"/>
                </a:lnTo>
                <a:lnTo>
                  <a:pt x="784" y="566"/>
                </a:lnTo>
                <a:lnTo>
                  <a:pt x="784" y="183"/>
                </a:lnTo>
                <a:lnTo>
                  <a:pt x="757" y="183"/>
                </a:lnTo>
                <a:lnTo>
                  <a:pt x="757" y="0"/>
                </a:lnTo>
                <a:lnTo>
                  <a:pt x="670" y="0"/>
                </a:lnTo>
                <a:lnTo>
                  <a:pt x="670" y="155"/>
                </a:lnTo>
                <a:lnTo>
                  <a:pt x="646" y="155"/>
                </a:lnTo>
                <a:lnTo>
                  <a:pt x="646" y="228"/>
                </a:lnTo>
                <a:lnTo>
                  <a:pt x="629" y="228"/>
                </a:lnTo>
                <a:lnTo>
                  <a:pt x="629" y="642"/>
                </a:lnTo>
                <a:lnTo>
                  <a:pt x="598" y="642"/>
                </a:lnTo>
                <a:lnTo>
                  <a:pt x="598" y="456"/>
                </a:lnTo>
                <a:lnTo>
                  <a:pt x="387" y="456"/>
                </a:lnTo>
                <a:lnTo>
                  <a:pt x="387" y="698"/>
                </a:lnTo>
                <a:lnTo>
                  <a:pt x="332" y="698"/>
                </a:lnTo>
                <a:lnTo>
                  <a:pt x="332" y="653"/>
                </a:lnTo>
                <a:lnTo>
                  <a:pt x="294" y="653"/>
                </a:lnTo>
                <a:lnTo>
                  <a:pt x="294" y="722"/>
                </a:lnTo>
                <a:lnTo>
                  <a:pt x="221" y="722"/>
                </a:lnTo>
                <a:lnTo>
                  <a:pt x="221" y="604"/>
                </a:lnTo>
                <a:lnTo>
                  <a:pt x="163" y="604"/>
                </a:lnTo>
                <a:lnTo>
                  <a:pt x="163" y="521"/>
                </a:lnTo>
                <a:lnTo>
                  <a:pt x="121" y="521"/>
                </a:lnTo>
                <a:lnTo>
                  <a:pt x="121" y="587"/>
                </a:lnTo>
                <a:lnTo>
                  <a:pt x="0" y="587"/>
                </a:lnTo>
                <a:lnTo>
                  <a:pt x="0" y="1503"/>
                </a:lnTo>
                <a:lnTo>
                  <a:pt x="0" y="2501"/>
                </a:lnTo>
                <a:lnTo>
                  <a:pt x="2394" y="2501"/>
                </a:lnTo>
                <a:lnTo>
                  <a:pt x="2394" y="1385"/>
                </a:lnTo>
                <a:close/>
              </a:path>
            </a:pathLst>
          </a:custGeom>
          <a:solidFill>
            <a:schemeClr val="accent2"/>
          </a:solidFill>
          <a:ln>
            <a:noFill/>
          </a:ln>
        </p:spPr>
        <p:txBody>
          <a:bodyPr vert="horz" wrap="square" lIns="91415" tIns="45707" rIns="91415" bIns="45707" numCol="1" anchor="t" anchorCtr="0" compatLnSpc="1">
            <a:prstTxWarp prst="textNoShape">
              <a:avLst/>
            </a:prstTxWarp>
          </a:bodyPr>
          <a:lstStyle/>
          <a:p>
            <a:pPr lvl="0"/>
            <a:endParaRPr lang="en-US" sz="1800"/>
          </a:p>
        </p:txBody>
      </p:sp>
      <p:sp>
        <p:nvSpPr>
          <p:cNvPr id="91" name="Freeform 20"/>
          <p:cNvSpPr>
            <a:spLocks noEditPoints="1"/>
          </p:cNvSpPr>
          <p:nvPr userDrawn="1"/>
        </p:nvSpPr>
        <p:spPr bwMode="auto">
          <a:xfrm>
            <a:off x="8266940" y="309234"/>
            <a:ext cx="546030" cy="5896513"/>
          </a:xfrm>
          <a:custGeom>
            <a:avLst/>
            <a:gdLst>
              <a:gd name="T0" fmla="*/ 51 w 93"/>
              <a:gd name="T1" fmla="*/ 1003 h 1003"/>
              <a:gd name="T2" fmla="*/ 51 w 93"/>
              <a:gd name="T3" fmla="*/ 1002 h 1003"/>
              <a:gd name="T4" fmla="*/ 42 w 93"/>
              <a:gd name="T5" fmla="*/ 1002 h 1003"/>
              <a:gd name="T6" fmla="*/ 42 w 93"/>
              <a:gd name="T7" fmla="*/ 1003 h 1003"/>
              <a:gd name="T8" fmla="*/ 0 w 93"/>
              <a:gd name="T9" fmla="*/ 1003 h 1003"/>
              <a:gd name="T10" fmla="*/ 34 w 93"/>
              <a:gd name="T11" fmla="*/ 384 h 1003"/>
              <a:gd name="T12" fmla="*/ 4 w 93"/>
              <a:gd name="T13" fmla="*/ 370 h 1003"/>
              <a:gd name="T14" fmla="*/ 13 w 93"/>
              <a:gd name="T15" fmla="*/ 360 h 1003"/>
              <a:gd name="T16" fmla="*/ 3 w 93"/>
              <a:gd name="T17" fmla="*/ 344 h 1003"/>
              <a:gd name="T18" fmla="*/ 15 w 93"/>
              <a:gd name="T19" fmla="*/ 325 h 1003"/>
              <a:gd name="T20" fmla="*/ 15 w 93"/>
              <a:gd name="T21" fmla="*/ 324 h 1003"/>
              <a:gd name="T22" fmla="*/ 29 w 93"/>
              <a:gd name="T23" fmla="*/ 309 h 1003"/>
              <a:gd name="T24" fmla="*/ 35 w 93"/>
              <a:gd name="T25" fmla="*/ 309 h 1003"/>
              <a:gd name="T26" fmla="*/ 35 w 93"/>
              <a:gd name="T27" fmla="*/ 300 h 1003"/>
              <a:gd name="T28" fmla="*/ 35 w 93"/>
              <a:gd name="T29" fmla="*/ 300 h 1003"/>
              <a:gd name="T30" fmla="*/ 29 w 93"/>
              <a:gd name="T31" fmla="*/ 294 h 1003"/>
              <a:gd name="T32" fmla="*/ 35 w 93"/>
              <a:gd name="T33" fmla="*/ 288 h 1003"/>
              <a:gd name="T34" fmla="*/ 35 w 93"/>
              <a:gd name="T35" fmla="*/ 288 h 1003"/>
              <a:gd name="T36" fmla="*/ 35 w 93"/>
              <a:gd name="T37" fmla="*/ 178 h 1003"/>
              <a:gd name="T38" fmla="*/ 58 w 93"/>
              <a:gd name="T39" fmla="*/ 178 h 1003"/>
              <a:gd name="T40" fmla="*/ 58 w 93"/>
              <a:gd name="T41" fmla="*/ 288 h 1003"/>
              <a:gd name="T42" fmla="*/ 58 w 93"/>
              <a:gd name="T43" fmla="*/ 288 h 1003"/>
              <a:gd name="T44" fmla="*/ 64 w 93"/>
              <a:gd name="T45" fmla="*/ 294 h 1003"/>
              <a:gd name="T46" fmla="*/ 58 w 93"/>
              <a:gd name="T47" fmla="*/ 300 h 1003"/>
              <a:gd name="T48" fmla="*/ 58 w 93"/>
              <a:gd name="T49" fmla="*/ 300 h 1003"/>
              <a:gd name="T50" fmla="*/ 58 w 93"/>
              <a:gd name="T51" fmla="*/ 309 h 1003"/>
              <a:gd name="T52" fmla="*/ 63 w 93"/>
              <a:gd name="T53" fmla="*/ 309 h 1003"/>
              <a:gd name="T54" fmla="*/ 78 w 93"/>
              <a:gd name="T55" fmla="*/ 324 h 1003"/>
              <a:gd name="T56" fmla="*/ 78 w 93"/>
              <a:gd name="T57" fmla="*/ 325 h 1003"/>
              <a:gd name="T58" fmla="*/ 90 w 93"/>
              <a:gd name="T59" fmla="*/ 344 h 1003"/>
              <a:gd name="T60" fmla="*/ 80 w 93"/>
              <a:gd name="T61" fmla="*/ 360 h 1003"/>
              <a:gd name="T62" fmla="*/ 89 w 93"/>
              <a:gd name="T63" fmla="*/ 370 h 1003"/>
              <a:gd name="T64" fmla="*/ 59 w 93"/>
              <a:gd name="T65" fmla="*/ 384 h 1003"/>
              <a:gd name="T66" fmla="*/ 93 w 93"/>
              <a:gd name="T67" fmla="*/ 1003 h 1003"/>
              <a:gd name="T68" fmla="*/ 51 w 93"/>
              <a:gd name="T69" fmla="*/ 1003 h 1003"/>
              <a:gd name="T70" fmla="*/ 63 w 93"/>
              <a:gd name="T71" fmla="*/ 177 h 1003"/>
              <a:gd name="T72" fmla="*/ 53 w 93"/>
              <a:gd name="T73" fmla="*/ 165 h 1003"/>
              <a:gd name="T74" fmla="*/ 53 w 93"/>
              <a:gd name="T75" fmla="*/ 94 h 1003"/>
              <a:gd name="T76" fmla="*/ 51 w 93"/>
              <a:gd name="T77" fmla="*/ 94 h 1003"/>
              <a:gd name="T78" fmla="*/ 51 w 93"/>
              <a:gd name="T79" fmla="*/ 66 h 1003"/>
              <a:gd name="T80" fmla="*/ 50 w 93"/>
              <a:gd name="T81" fmla="*/ 66 h 1003"/>
              <a:gd name="T82" fmla="*/ 50 w 93"/>
              <a:gd name="T83" fmla="*/ 35 h 1003"/>
              <a:gd name="T84" fmla="*/ 49 w 93"/>
              <a:gd name="T85" fmla="*/ 35 h 1003"/>
              <a:gd name="T86" fmla="*/ 49 w 93"/>
              <a:gd name="T87" fmla="*/ 0 h 1003"/>
              <a:gd name="T88" fmla="*/ 44 w 93"/>
              <a:gd name="T89" fmla="*/ 0 h 1003"/>
              <a:gd name="T90" fmla="*/ 44 w 93"/>
              <a:gd name="T91" fmla="*/ 35 h 1003"/>
              <a:gd name="T92" fmla="*/ 43 w 93"/>
              <a:gd name="T93" fmla="*/ 35 h 1003"/>
              <a:gd name="T94" fmla="*/ 43 w 93"/>
              <a:gd name="T95" fmla="*/ 66 h 1003"/>
              <a:gd name="T96" fmla="*/ 42 w 93"/>
              <a:gd name="T97" fmla="*/ 66 h 1003"/>
              <a:gd name="T98" fmla="*/ 42 w 93"/>
              <a:gd name="T99" fmla="*/ 94 h 1003"/>
              <a:gd name="T100" fmla="*/ 40 w 93"/>
              <a:gd name="T101" fmla="*/ 94 h 1003"/>
              <a:gd name="T102" fmla="*/ 40 w 93"/>
              <a:gd name="T103" fmla="*/ 165 h 1003"/>
              <a:gd name="T104" fmla="*/ 29 w 93"/>
              <a:gd name="T105" fmla="*/ 177 h 1003"/>
              <a:gd name="T106" fmla="*/ 29 w 93"/>
              <a:gd name="T107" fmla="*/ 177 h 1003"/>
              <a:gd name="T108" fmla="*/ 63 w 93"/>
              <a:gd name="T109" fmla="*/ 177 h 1003"/>
              <a:gd name="T110" fmla="*/ 63 w 93"/>
              <a:gd name="T111" fmla="*/ 177 h 10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93" h="1003">
                <a:moveTo>
                  <a:pt x="51" y="1003"/>
                </a:moveTo>
                <a:cubicBezTo>
                  <a:pt x="51" y="1002"/>
                  <a:pt x="51" y="1002"/>
                  <a:pt x="51" y="1002"/>
                </a:cubicBezTo>
                <a:cubicBezTo>
                  <a:pt x="42" y="1002"/>
                  <a:pt x="42" y="1002"/>
                  <a:pt x="42" y="1002"/>
                </a:cubicBezTo>
                <a:cubicBezTo>
                  <a:pt x="42" y="1003"/>
                  <a:pt x="42" y="1003"/>
                  <a:pt x="42" y="1003"/>
                </a:cubicBezTo>
                <a:cubicBezTo>
                  <a:pt x="0" y="1003"/>
                  <a:pt x="0" y="1003"/>
                  <a:pt x="0" y="1003"/>
                </a:cubicBezTo>
                <a:cubicBezTo>
                  <a:pt x="0" y="1003"/>
                  <a:pt x="25" y="599"/>
                  <a:pt x="34" y="384"/>
                </a:cubicBezTo>
                <a:cubicBezTo>
                  <a:pt x="17" y="382"/>
                  <a:pt x="4" y="377"/>
                  <a:pt x="4" y="370"/>
                </a:cubicBezTo>
                <a:cubicBezTo>
                  <a:pt x="4" y="366"/>
                  <a:pt x="8" y="363"/>
                  <a:pt x="13" y="360"/>
                </a:cubicBezTo>
                <a:cubicBezTo>
                  <a:pt x="7" y="356"/>
                  <a:pt x="3" y="350"/>
                  <a:pt x="3" y="344"/>
                </a:cubicBezTo>
                <a:cubicBezTo>
                  <a:pt x="3" y="336"/>
                  <a:pt x="8" y="330"/>
                  <a:pt x="15" y="325"/>
                </a:cubicBezTo>
                <a:cubicBezTo>
                  <a:pt x="15" y="324"/>
                  <a:pt x="15" y="324"/>
                  <a:pt x="15" y="324"/>
                </a:cubicBezTo>
                <a:cubicBezTo>
                  <a:pt x="15" y="316"/>
                  <a:pt x="22" y="309"/>
                  <a:pt x="29" y="309"/>
                </a:cubicBezTo>
                <a:cubicBezTo>
                  <a:pt x="35" y="309"/>
                  <a:pt x="35" y="309"/>
                  <a:pt x="35" y="309"/>
                </a:cubicBezTo>
                <a:cubicBezTo>
                  <a:pt x="35" y="300"/>
                  <a:pt x="35" y="300"/>
                  <a:pt x="35" y="300"/>
                </a:cubicBezTo>
                <a:cubicBezTo>
                  <a:pt x="35" y="300"/>
                  <a:pt x="35" y="300"/>
                  <a:pt x="35" y="300"/>
                </a:cubicBezTo>
                <a:cubicBezTo>
                  <a:pt x="31" y="300"/>
                  <a:pt x="29" y="297"/>
                  <a:pt x="29" y="294"/>
                </a:cubicBezTo>
                <a:cubicBezTo>
                  <a:pt x="29" y="291"/>
                  <a:pt x="31" y="288"/>
                  <a:pt x="35" y="288"/>
                </a:cubicBezTo>
                <a:cubicBezTo>
                  <a:pt x="35" y="288"/>
                  <a:pt x="35" y="288"/>
                  <a:pt x="35" y="288"/>
                </a:cubicBezTo>
                <a:cubicBezTo>
                  <a:pt x="35" y="178"/>
                  <a:pt x="35" y="178"/>
                  <a:pt x="35" y="178"/>
                </a:cubicBezTo>
                <a:cubicBezTo>
                  <a:pt x="58" y="178"/>
                  <a:pt x="58" y="178"/>
                  <a:pt x="58" y="178"/>
                </a:cubicBezTo>
                <a:cubicBezTo>
                  <a:pt x="58" y="288"/>
                  <a:pt x="58" y="288"/>
                  <a:pt x="58" y="288"/>
                </a:cubicBezTo>
                <a:cubicBezTo>
                  <a:pt x="58" y="288"/>
                  <a:pt x="58" y="288"/>
                  <a:pt x="58" y="288"/>
                </a:cubicBezTo>
                <a:cubicBezTo>
                  <a:pt x="62" y="288"/>
                  <a:pt x="64" y="291"/>
                  <a:pt x="64" y="294"/>
                </a:cubicBezTo>
                <a:cubicBezTo>
                  <a:pt x="64" y="297"/>
                  <a:pt x="62" y="300"/>
                  <a:pt x="58" y="300"/>
                </a:cubicBezTo>
                <a:cubicBezTo>
                  <a:pt x="58" y="300"/>
                  <a:pt x="58" y="300"/>
                  <a:pt x="58" y="300"/>
                </a:cubicBezTo>
                <a:cubicBezTo>
                  <a:pt x="58" y="309"/>
                  <a:pt x="58" y="309"/>
                  <a:pt x="58" y="309"/>
                </a:cubicBezTo>
                <a:cubicBezTo>
                  <a:pt x="63" y="309"/>
                  <a:pt x="63" y="309"/>
                  <a:pt x="63" y="309"/>
                </a:cubicBezTo>
                <a:cubicBezTo>
                  <a:pt x="71" y="309"/>
                  <a:pt x="78" y="316"/>
                  <a:pt x="78" y="324"/>
                </a:cubicBezTo>
                <a:cubicBezTo>
                  <a:pt x="78" y="325"/>
                  <a:pt x="78" y="325"/>
                  <a:pt x="78" y="325"/>
                </a:cubicBezTo>
                <a:cubicBezTo>
                  <a:pt x="85" y="330"/>
                  <a:pt x="90" y="336"/>
                  <a:pt x="90" y="344"/>
                </a:cubicBezTo>
                <a:cubicBezTo>
                  <a:pt x="90" y="350"/>
                  <a:pt x="86" y="356"/>
                  <a:pt x="80" y="360"/>
                </a:cubicBezTo>
                <a:cubicBezTo>
                  <a:pt x="85" y="363"/>
                  <a:pt x="89" y="366"/>
                  <a:pt x="89" y="370"/>
                </a:cubicBezTo>
                <a:cubicBezTo>
                  <a:pt x="89" y="377"/>
                  <a:pt x="76" y="382"/>
                  <a:pt x="59" y="384"/>
                </a:cubicBezTo>
                <a:cubicBezTo>
                  <a:pt x="68" y="599"/>
                  <a:pt x="93" y="1003"/>
                  <a:pt x="93" y="1003"/>
                </a:cubicBezTo>
                <a:lnTo>
                  <a:pt x="51" y="1003"/>
                </a:lnTo>
                <a:close/>
                <a:moveTo>
                  <a:pt x="63" y="177"/>
                </a:moveTo>
                <a:cubicBezTo>
                  <a:pt x="63" y="171"/>
                  <a:pt x="59" y="167"/>
                  <a:pt x="53" y="165"/>
                </a:cubicBezTo>
                <a:cubicBezTo>
                  <a:pt x="53" y="94"/>
                  <a:pt x="53" y="94"/>
                  <a:pt x="53" y="94"/>
                </a:cubicBezTo>
                <a:cubicBezTo>
                  <a:pt x="51" y="94"/>
                  <a:pt x="51" y="94"/>
                  <a:pt x="51" y="94"/>
                </a:cubicBezTo>
                <a:cubicBezTo>
                  <a:pt x="51" y="66"/>
                  <a:pt x="51" y="66"/>
                  <a:pt x="51" y="66"/>
                </a:cubicBezTo>
                <a:cubicBezTo>
                  <a:pt x="50" y="66"/>
                  <a:pt x="50" y="66"/>
                  <a:pt x="50" y="66"/>
                </a:cubicBezTo>
                <a:cubicBezTo>
                  <a:pt x="50" y="35"/>
                  <a:pt x="50" y="35"/>
                  <a:pt x="50" y="35"/>
                </a:cubicBezTo>
                <a:cubicBezTo>
                  <a:pt x="49" y="35"/>
                  <a:pt x="49" y="35"/>
                  <a:pt x="49" y="35"/>
                </a:cubicBezTo>
                <a:cubicBezTo>
                  <a:pt x="49" y="0"/>
                  <a:pt x="49" y="0"/>
                  <a:pt x="49" y="0"/>
                </a:cubicBezTo>
                <a:cubicBezTo>
                  <a:pt x="44" y="0"/>
                  <a:pt x="44" y="0"/>
                  <a:pt x="44" y="0"/>
                </a:cubicBezTo>
                <a:cubicBezTo>
                  <a:pt x="44" y="35"/>
                  <a:pt x="44" y="35"/>
                  <a:pt x="44" y="35"/>
                </a:cubicBezTo>
                <a:cubicBezTo>
                  <a:pt x="43" y="35"/>
                  <a:pt x="43" y="35"/>
                  <a:pt x="43" y="35"/>
                </a:cubicBezTo>
                <a:cubicBezTo>
                  <a:pt x="43" y="66"/>
                  <a:pt x="43" y="66"/>
                  <a:pt x="43" y="66"/>
                </a:cubicBezTo>
                <a:cubicBezTo>
                  <a:pt x="42" y="66"/>
                  <a:pt x="42" y="66"/>
                  <a:pt x="42" y="66"/>
                </a:cubicBezTo>
                <a:cubicBezTo>
                  <a:pt x="42" y="94"/>
                  <a:pt x="42" y="94"/>
                  <a:pt x="42" y="94"/>
                </a:cubicBezTo>
                <a:cubicBezTo>
                  <a:pt x="40" y="94"/>
                  <a:pt x="40" y="94"/>
                  <a:pt x="40" y="94"/>
                </a:cubicBezTo>
                <a:cubicBezTo>
                  <a:pt x="40" y="165"/>
                  <a:pt x="40" y="165"/>
                  <a:pt x="40" y="165"/>
                </a:cubicBezTo>
                <a:cubicBezTo>
                  <a:pt x="34" y="167"/>
                  <a:pt x="29" y="171"/>
                  <a:pt x="29" y="177"/>
                </a:cubicBezTo>
                <a:cubicBezTo>
                  <a:pt x="29" y="177"/>
                  <a:pt x="29" y="177"/>
                  <a:pt x="29" y="177"/>
                </a:cubicBezTo>
                <a:cubicBezTo>
                  <a:pt x="63" y="177"/>
                  <a:pt x="63" y="177"/>
                  <a:pt x="63" y="177"/>
                </a:cubicBezTo>
                <a:cubicBezTo>
                  <a:pt x="63" y="177"/>
                  <a:pt x="63" y="177"/>
                  <a:pt x="63" y="177"/>
                </a:cubicBezTo>
                <a:close/>
              </a:path>
            </a:pathLst>
          </a:custGeom>
          <a:solidFill>
            <a:schemeClr val="accent4">
              <a:lumMod val="50000"/>
            </a:schemeClr>
          </a:solidFill>
          <a:ln>
            <a:noFill/>
          </a:ln>
        </p:spPr>
        <p:txBody>
          <a:bodyPr vert="horz" wrap="square" lIns="91415" tIns="45707" rIns="91415" bIns="45707" numCol="1" anchor="t" anchorCtr="0" compatLnSpc="1">
            <a:prstTxWarp prst="textNoShape">
              <a:avLst/>
            </a:prstTxWarp>
          </a:bodyPr>
          <a:lstStyle/>
          <a:p>
            <a:endParaRPr lang="en-US" sz="1800"/>
          </a:p>
        </p:txBody>
      </p:sp>
      <p:pic>
        <p:nvPicPr>
          <p:cNvPr id="19" name="Picture 18"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59172" y="6240964"/>
            <a:ext cx="1278347" cy="274137"/>
          </a:xfrm>
          <a:prstGeom prst="rect">
            <a:avLst/>
          </a:prstGeom>
        </p:spPr>
      </p:pic>
      <p:pic>
        <p:nvPicPr>
          <p:cNvPr id="8" name="Picture 7"/>
          <p:cNvPicPr>
            <a:picLocks noChangeAspect="1"/>
          </p:cNvPicPr>
          <p:nvPr userDrawn="1"/>
        </p:nvPicPr>
        <p:blipFill rotWithShape="1">
          <a:blip r:embed="rId3" cstate="screen">
            <a:extLst>
              <a:ext uri="{28A0092B-C50C-407E-A947-70E740481C1C}">
                <a14:useLocalDpi xmlns:a14="http://schemas.microsoft.com/office/drawing/2010/main"/>
              </a:ext>
            </a:extLst>
          </a:blip>
          <a:srcRect b="1380"/>
          <a:stretch/>
        </p:blipFill>
        <p:spPr bwMode="invGray">
          <a:xfrm>
            <a:off x="457142" y="479425"/>
            <a:ext cx="1449754" cy="306604"/>
          </a:xfrm>
          <a:prstGeom prst="rect">
            <a:avLst/>
          </a:prstGeom>
        </p:spPr>
      </p:pic>
      <p:grpSp>
        <p:nvGrpSpPr>
          <p:cNvPr id="6" name="Group 4"/>
          <p:cNvGrpSpPr>
            <a:grpSpLocks noChangeAspect="1"/>
          </p:cNvGrpSpPr>
          <p:nvPr userDrawn="1"/>
        </p:nvGrpSpPr>
        <p:grpSpPr bwMode="auto">
          <a:xfrm>
            <a:off x="394393" y="1325248"/>
            <a:ext cx="2592325" cy="2967353"/>
            <a:chOff x="1343" y="-743"/>
            <a:chExt cx="5148" cy="5892"/>
          </a:xfrm>
          <a:solidFill>
            <a:schemeClr val="tx1"/>
          </a:solidFill>
        </p:grpSpPr>
        <p:sp>
          <p:nvSpPr>
            <p:cNvPr id="11" name="Freeform 5"/>
            <p:cNvSpPr>
              <a:spLocks/>
            </p:cNvSpPr>
            <p:nvPr userDrawn="1"/>
          </p:nvSpPr>
          <p:spPr bwMode="auto">
            <a:xfrm>
              <a:off x="1426" y="-689"/>
              <a:ext cx="745" cy="743"/>
            </a:xfrm>
            <a:custGeom>
              <a:avLst/>
              <a:gdLst>
                <a:gd name="T0" fmla="*/ 315 w 315"/>
                <a:gd name="T1" fmla="*/ 314 h 314"/>
                <a:gd name="T2" fmla="*/ 279 w 315"/>
                <a:gd name="T3" fmla="*/ 314 h 314"/>
                <a:gd name="T4" fmla="*/ 279 w 315"/>
                <a:gd name="T5" fmla="*/ 103 h 314"/>
                <a:gd name="T6" fmla="*/ 282 w 315"/>
                <a:gd name="T7" fmla="*/ 42 h 314"/>
                <a:gd name="T8" fmla="*/ 281 w 315"/>
                <a:gd name="T9" fmla="*/ 42 h 314"/>
                <a:gd name="T10" fmla="*/ 272 w 315"/>
                <a:gd name="T11" fmla="*/ 72 h 314"/>
                <a:gd name="T12" fmla="*/ 166 w 315"/>
                <a:gd name="T13" fmla="*/ 314 h 314"/>
                <a:gd name="T14" fmla="*/ 149 w 315"/>
                <a:gd name="T15" fmla="*/ 314 h 314"/>
                <a:gd name="T16" fmla="*/ 43 w 315"/>
                <a:gd name="T17" fmla="*/ 74 h 314"/>
                <a:gd name="T18" fmla="*/ 34 w 315"/>
                <a:gd name="T19" fmla="*/ 42 h 314"/>
                <a:gd name="T20" fmla="*/ 33 w 315"/>
                <a:gd name="T21" fmla="*/ 42 h 314"/>
                <a:gd name="T22" fmla="*/ 35 w 315"/>
                <a:gd name="T23" fmla="*/ 103 h 314"/>
                <a:gd name="T24" fmla="*/ 35 w 315"/>
                <a:gd name="T25" fmla="*/ 314 h 314"/>
                <a:gd name="T26" fmla="*/ 0 w 315"/>
                <a:gd name="T27" fmla="*/ 314 h 314"/>
                <a:gd name="T28" fmla="*/ 0 w 315"/>
                <a:gd name="T29" fmla="*/ 0 h 314"/>
                <a:gd name="T30" fmla="*/ 48 w 315"/>
                <a:gd name="T31" fmla="*/ 0 h 314"/>
                <a:gd name="T32" fmla="*/ 142 w 315"/>
                <a:gd name="T33" fmla="*/ 219 h 314"/>
                <a:gd name="T34" fmla="*/ 156 w 315"/>
                <a:gd name="T35" fmla="*/ 256 h 314"/>
                <a:gd name="T36" fmla="*/ 158 w 315"/>
                <a:gd name="T37" fmla="*/ 256 h 314"/>
                <a:gd name="T38" fmla="*/ 173 w 315"/>
                <a:gd name="T39" fmla="*/ 218 h 314"/>
                <a:gd name="T40" fmla="*/ 270 w 315"/>
                <a:gd name="T41" fmla="*/ 0 h 314"/>
                <a:gd name="T42" fmla="*/ 315 w 315"/>
                <a:gd name="T43" fmla="*/ 0 h 314"/>
                <a:gd name="T44" fmla="*/ 315 w 315"/>
                <a:gd name="T45" fmla="*/ 314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5" h="314">
                  <a:moveTo>
                    <a:pt x="315" y="314"/>
                  </a:moveTo>
                  <a:cubicBezTo>
                    <a:pt x="279" y="314"/>
                    <a:pt x="279" y="314"/>
                    <a:pt x="279" y="314"/>
                  </a:cubicBezTo>
                  <a:cubicBezTo>
                    <a:pt x="279" y="103"/>
                    <a:pt x="279" y="103"/>
                    <a:pt x="279" y="103"/>
                  </a:cubicBezTo>
                  <a:cubicBezTo>
                    <a:pt x="279" y="86"/>
                    <a:pt x="280" y="66"/>
                    <a:pt x="282" y="42"/>
                  </a:cubicBezTo>
                  <a:cubicBezTo>
                    <a:pt x="281" y="42"/>
                    <a:pt x="281" y="42"/>
                    <a:pt x="281" y="42"/>
                  </a:cubicBezTo>
                  <a:cubicBezTo>
                    <a:pt x="277" y="56"/>
                    <a:pt x="274" y="66"/>
                    <a:pt x="272" y="72"/>
                  </a:cubicBezTo>
                  <a:cubicBezTo>
                    <a:pt x="166" y="314"/>
                    <a:pt x="166" y="314"/>
                    <a:pt x="166" y="314"/>
                  </a:cubicBezTo>
                  <a:cubicBezTo>
                    <a:pt x="149" y="314"/>
                    <a:pt x="149" y="314"/>
                    <a:pt x="149" y="314"/>
                  </a:cubicBezTo>
                  <a:cubicBezTo>
                    <a:pt x="43" y="74"/>
                    <a:pt x="43" y="74"/>
                    <a:pt x="43" y="74"/>
                  </a:cubicBezTo>
                  <a:cubicBezTo>
                    <a:pt x="40" y="68"/>
                    <a:pt x="37" y="57"/>
                    <a:pt x="34" y="42"/>
                  </a:cubicBezTo>
                  <a:cubicBezTo>
                    <a:pt x="33" y="42"/>
                    <a:pt x="33" y="42"/>
                    <a:pt x="33" y="42"/>
                  </a:cubicBezTo>
                  <a:cubicBezTo>
                    <a:pt x="34" y="54"/>
                    <a:pt x="35" y="75"/>
                    <a:pt x="35" y="103"/>
                  </a:cubicBezTo>
                  <a:cubicBezTo>
                    <a:pt x="35" y="314"/>
                    <a:pt x="35" y="314"/>
                    <a:pt x="35" y="314"/>
                  </a:cubicBezTo>
                  <a:cubicBezTo>
                    <a:pt x="0" y="314"/>
                    <a:pt x="0" y="314"/>
                    <a:pt x="0" y="314"/>
                  </a:cubicBezTo>
                  <a:cubicBezTo>
                    <a:pt x="0" y="0"/>
                    <a:pt x="0" y="0"/>
                    <a:pt x="0" y="0"/>
                  </a:cubicBezTo>
                  <a:cubicBezTo>
                    <a:pt x="48" y="0"/>
                    <a:pt x="48" y="0"/>
                    <a:pt x="48" y="0"/>
                  </a:cubicBezTo>
                  <a:cubicBezTo>
                    <a:pt x="142" y="219"/>
                    <a:pt x="142" y="219"/>
                    <a:pt x="142" y="219"/>
                  </a:cubicBezTo>
                  <a:cubicBezTo>
                    <a:pt x="150" y="235"/>
                    <a:pt x="154" y="248"/>
                    <a:pt x="156" y="256"/>
                  </a:cubicBezTo>
                  <a:cubicBezTo>
                    <a:pt x="158" y="256"/>
                    <a:pt x="158" y="256"/>
                    <a:pt x="158" y="256"/>
                  </a:cubicBezTo>
                  <a:cubicBezTo>
                    <a:pt x="165" y="236"/>
                    <a:pt x="170" y="223"/>
                    <a:pt x="173" y="218"/>
                  </a:cubicBezTo>
                  <a:cubicBezTo>
                    <a:pt x="270" y="0"/>
                    <a:pt x="270" y="0"/>
                    <a:pt x="270" y="0"/>
                  </a:cubicBezTo>
                  <a:cubicBezTo>
                    <a:pt x="315" y="0"/>
                    <a:pt x="315" y="0"/>
                    <a:pt x="315" y="0"/>
                  </a:cubicBezTo>
                  <a:lnTo>
                    <a:pt x="315" y="3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2" name="Freeform 6"/>
            <p:cNvSpPr>
              <a:spLocks noEditPoints="1"/>
            </p:cNvSpPr>
            <p:nvPr userDrawn="1"/>
          </p:nvSpPr>
          <p:spPr bwMode="auto">
            <a:xfrm>
              <a:off x="2339" y="-722"/>
              <a:ext cx="111" cy="776"/>
            </a:xfrm>
            <a:custGeom>
              <a:avLst/>
              <a:gdLst>
                <a:gd name="T0" fmla="*/ 47 w 47"/>
                <a:gd name="T1" fmla="*/ 23 h 328"/>
                <a:gd name="T2" fmla="*/ 40 w 47"/>
                <a:gd name="T3" fmla="*/ 40 h 328"/>
                <a:gd name="T4" fmla="*/ 23 w 47"/>
                <a:gd name="T5" fmla="*/ 46 h 328"/>
                <a:gd name="T6" fmla="*/ 7 w 47"/>
                <a:gd name="T7" fmla="*/ 40 h 328"/>
                <a:gd name="T8" fmla="*/ 0 w 47"/>
                <a:gd name="T9" fmla="*/ 23 h 328"/>
                <a:gd name="T10" fmla="*/ 7 w 47"/>
                <a:gd name="T11" fmla="*/ 7 h 328"/>
                <a:gd name="T12" fmla="*/ 23 w 47"/>
                <a:gd name="T13" fmla="*/ 0 h 328"/>
                <a:gd name="T14" fmla="*/ 40 w 47"/>
                <a:gd name="T15" fmla="*/ 7 h 328"/>
                <a:gd name="T16" fmla="*/ 47 w 47"/>
                <a:gd name="T17" fmla="*/ 23 h 328"/>
                <a:gd name="T18" fmla="*/ 41 w 47"/>
                <a:gd name="T19" fmla="*/ 328 h 328"/>
                <a:gd name="T20" fmla="*/ 5 w 47"/>
                <a:gd name="T21" fmla="*/ 328 h 328"/>
                <a:gd name="T22" fmla="*/ 5 w 47"/>
                <a:gd name="T23" fmla="*/ 103 h 328"/>
                <a:gd name="T24" fmla="*/ 41 w 47"/>
                <a:gd name="T25" fmla="*/ 103 h 328"/>
                <a:gd name="T26" fmla="*/ 41 w 47"/>
                <a:gd name="T27" fmla="*/ 328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7" h="328">
                  <a:moveTo>
                    <a:pt x="47" y="23"/>
                  </a:moveTo>
                  <a:cubicBezTo>
                    <a:pt x="47" y="30"/>
                    <a:pt x="44" y="35"/>
                    <a:pt x="40" y="40"/>
                  </a:cubicBezTo>
                  <a:cubicBezTo>
                    <a:pt x="35" y="44"/>
                    <a:pt x="30" y="46"/>
                    <a:pt x="23" y="46"/>
                  </a:cubicBezTo>
                  <a:cubicBezTo>
                    <a:pt x="17" y="46"/>
                    <a:pt x="11" y="44"/>
                    <a:pt x="7" y="40"/>
                  </a:cubicBezTo>
                  <a:cubicBezTo>
                    <a:pt x="3" y="36"/>
                    <a:pt x="0" y="30"/>
                    <a:pt x="0" y="23"/>
                  </a:cubicBezTo>
                  <a:cubicBezTo>
                    <a:pt x="0" y="17"/>
                    <a:pt x="2" y="11"/>
                    <a:pt x="7" y="7"/>
                  </a:cubicBezTo>
                  <a:cubicBezTo>
                    <a:pt x="11" y="2"/>
                    <a:pt x="17" y="0"/>
                    <a:pt x="23" y="0"/>
                  </a:cubicBezTo>
                  <a:cubicBezTo>
                    <a:pt x="30" y="0"/>
                    <a:pt x="35" y="2"/>
                    <a:pt x="40" y="7"/>
                  </a:cubicBezTo>
                  <a:cubicBezTo>
                    <a:pt x="44" y="11"/>
                    <a:pt x="47" y="17"/>
                    <a:pt x="47" y="23"/>
                  </a:cubicBezTo>
                  <a:close/>
                  <a:moveTo>
                    <a:pt x="41" y="328"/>
                  </a:moveTo>
                  <a:cubicBezTo>
                    <a:pt x="5" y="328"/>
                    <a:pt x="5" y="328"/>
                    <a:pt x="5" y="328"/>
                  </a:cubicBezTo>
                  <a:cubicBezTo>
                    <a:pt x="5" y="103"/>
                    <a:pt x="5" y="103"/>
                    <a:pt x="5" y="103"/>
                  </a:cubicBezTo>
                  <a:cubicBezTo>
                    <a:pt x="41" y="103"/>
                    <a:pt x="41" y="103"/>
                    <a:pt x="41" y="103"/>
                  </a:cubicBezTo>
                  <a:lnTo>
                    <a:pt x="41" y="3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4" name="Freeform 7"/>
            <p:cNvSpPr>
              <a:spLocks/>
            </p:cNvSpPr>
            <p:nvPr userDrawn="1"/>
          </p:nvSpPr>
          <p:spPr bwMode="auto">
            <a:xfrm>
              <a:off x="2564" y="-490"/>
              <a:ext cx="393" cy="555"/>
            </a:xfrm>
            <a:custGeom>
              <a:avLst/>
              <a:gdLst>
                <a:gd name="T0" fmla="*/ 166 w 166"/>
                <a:gd name="T1" fmla="*/ 219 h 235"/>
                <a:gd name="T2" fmla="*/ 105 w 166"/>
                <a:gd name="T3" fmla="*/ 235 h 235"/>
                <a:gd name="T4" fmla="*/ 51 w 166"/>
                <a:gd name="T5" fmla="*/ 221 h 235"/>
                <a:gd name="T6" fmla="*/ 14 w 166"/>
                <a:gd name="T7" fmla="*/ 181 h 235"/>
                <a:gd name="T8" fmla="*/ 0 w 166"/>
                <a:gd name="T9" fmla="*/ 123 h 235"/>
                <a:gd name="T10" fmla="*/ 32 w 166"/>
                <a:gd name="T11" fmla="*/ 34 h 235"/>
                <a:gd name="T12" fmla="*/ 115 w 166"/>
                <a:gd name="T13" fmla="*/ 0 h 235"/>
                <a:gd name="T14" fmla="*/ 166 w 166"/>
                <a:gd name="T15" fmla="*/ 11 h 235"/>
                <a:gd name="T16" fmla="*/ 166 w 166"/>
                <a:gd name="T17" fmla="*/ 48 h 235"/>
                <a:gd name="T18" fmla="*/ 114 w 166"/>
                <a:gd name="T19" fmla="*/ 31 h 235"/>
                <a:gd name="T20" fmla="*/ 58 w 166"/>
                <a:gd name="T21" fmla="*/ 55 h 235"/>
                <a:gd name="T22" fmla="*/ 37 w 166"/>
                <a:gd name="T23" fmla="*/ 120 h 235"/>
                <a:gd name="T24" fmla="*/ 57 w 166"/>
                <a:gd name="T25" fmla="*/ 182 h 235"/>
                <a:gd name="T26" fmla="*/ 111 w 166"/>
                <a:gd name="T27" fmla="*/ 204 h 235"/>
                <a:gd name="T28" fmla="*/ 166 w 166"/>
                <a:gd name="T29" fmla="*/ 185 h 235"/>
                <a:gd name="T30" fmla="*/ 166 w 166"/>
                <a:gd name="T31" fmla="*/ 219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66" h="235">
                  <a:moveTo>
                    <a:pt x="166" y="219"/>
                  </a:moveTo>
                  <a:cubicBezTo>
                    <a:pt x="149" y="230"/>
                    <a:pt x="129" y="235"/>
                    <a:pt x="105" y="235"/>
                  </a:cubicBezTo>
                  <a:cubicBezTo>
                    <a:pt x="85" y="235"/>
                    <a:pt x="67" y="230"/>
                    <a:pt x="51" y="221"/>
                  </a:cubicBezTo>
                  <a:cubicBezTo>
                    <a:pt x="35" y="212"/>
                    <a:pt x="23" y="198"/>
                    <a:pt x="14" y="181"/>
                  </a:cubicBezTo>
                  <a:cubicBezTo>
                    <a:pt x="5" y="164"/>
                    <a:pt x="0" y="144"/>
                    <a:pt x="0" y="123"/>
                  </a:cubicBezTo>
                  <a:cubicBezTo>
                    <a:pt x="0" y="86"/>
                    <a:pt x="11" y="56"/>
                    <a:pt x="32" y="34"/>
                  </a:cubicBezTo>
                  <a:cubicBezTo>
                    <a:pt x="53" y="11"/>
                    <a:pt x="80" y="0"/>
                    <a:pt x="115" y="0"/>
                  </a:cubicBezTo>
                  <a:cubicBezTo>
                    <a:pt x="134" y="0"/>
                    <a:pt x="151" y="4"/>
                    <a:pt x="166" y="11"/>
                  </a:cubicBezTo>
                  <a:cubicBezTo>
                    <a:pt x="166" y="48"/>
                    <a:pt x="166" y="48"/>
                    <a:pt x="166" y="48"/>
                  </a:cubicBezTo>
                  <a:cubicBezTo>
                    <a:pt x="150" y="36"/>
                    <a:pt x="132" y="31"/>
                    <a:pt x="114" y="31"/>
                  </a:cubicBezTo>
                  <a:cubicBezTo>
                    <a:pt x="91" y="31"/>
                    <a:pt x="72" y="39"/>
                    <a:pt x="58" y="55"/>
                  </a:cubicBezTo>
                  <a:cubicBezTo>
                    <a:pt x="44" y="72"/>
                    <a:pt x="37" y="93"/>
                    <a:pt x="37" y="120"/>
                  </a:cubicBezTo>
                  <a:cubicBezTo>
                    <a:pt x="37" y="146"/>
                    <a:pt x="43" y="166"/>
                    <a:pt x="57" y="182"/>
                  </a:cubicBezTo>
                  <a:cubicBezTo>
                    <a:pt x="70" y="197"/>
                    <a:pt x="89" y="204"/>
                    <a:pt x="111" y="204"/>
                  </a:cubicBezTo>
                  <a:cubicBezTo>
                    <a:pt x="131" y="204"/>
                    <a:pt x="149" y="198"/>
                    <a:pt x="166" y="185"/>
                  </a:cubicBezTo>
                  <a:lnTo>
                    <a:pt x="166" y="2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5" name="Freeform 8"/>
            <p:cNvSpPr>
              <a:spLocks/>
            </p:cNvSpPr>
            <p:nvPr userDrawn="1"/>
          </p:nvSpPr>
          <p:spPr bwMode="auto">
            <a:xfrm>
              <a:off x="3082" y="-488"/>
              <a:ext cx="272" cy="542"/>
            </a:xfrm>
            <a:custGeom>
              <a:avLst/>
              <a:gdLst>
                <a:gd name="T0" fmla="*/ 115 w 115"/>
                <a:gd name="T1" fmla="*/ 41 h 229"/>
                <a:gd name="T2" fmla="*/ 88 w 115"/>
                <a:gd name="T3" fmla="*/ 33 h 229"/>
                <a:gd name="T4" fmla="*/ 50 w 115"/>
                <a:gd name="T5" fmla="*/ 56 h 229"/>
                <a:gd name="T6" fmla="*/ 36 w 115"/>
                <a:gd name="T7" fmla="*/ 114 h 229"/>
                <a:gd name="T8" fmla="*/ 36 w 115"/>
                <a:gd name="T9" fmla="*/ 229 h 229"/>
                <a:gd name="T10" fmla="*/ 0 w 115"/>
                <a:gd name="T11" fmla="*/ 229 h 229"/>
                <a:gd name="T12" fmla="*/ 0 w 115"/>
                <a:gd name="T13" fmla="*/ 4 h 229"/>
                <a:gd name="T14" fmla="*/ 36 w 115"/>
                <a:gd name="T15" fmla="*/ 4 h 229"/>
                <a:gd name="T16" fmla="*/ 36 w 115"/>
                <a:gd name="T17" fmla="*/ 51 h 229"/>
                <a:gd name="T18" fmla="*/ 36 w 115"/>
                <a:gd name="T19" fmla="*/ 51 h 229"/>
                <a:gd name="T20" fmla="*/ 59 w 115"/>
                <a:gd name="T21" fmla="*/ 14 h 229"/>
                <a:gd name="T22" fmla="*/ 94 w 115"/>
                <a:gd name="T23" fmla="*/ 0 h 229"/>
                <a:gd name="T24" fmla="*/ 115 w 115"/>
                <a:gd name="T25" fmla="*/ 3 h 229"/>
                <a:gd name="T26" fmla="*/ 115 w 115"/>
                <a:gd name="T27" fmla="*/ 41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5" h="229">
                  <a:moveTo>
                    <a:pt x="115" y="41"/>
                  </a:moveTo>
                  <a:cubicBezTo>
                    <a:pt x="109" y="36"/>
                    <a:pt x="100" y="33"/>
                    <a:pt x="88" y="33"/>
                  </a:cubicBezTo>
                  <a:cubicBezTo>
                    <a:pt x="73" y="33"/>
                    <a:pt x="60" y="41"/>
                    <a:pt x="50" y="56"/>
                  </a:cubicBezTo>
                  <a:cubicBezTo>
                    <a:pt x="40" y="71"/>
                    <a:pt x="36" y="90"/>
                    <a:pt x="36" y="114"/>
                  </a:cubicBezTo>
                  <a:cubicBezTo>
                    <a:pt x="36" y="229"/>
                    <a:pt x="36" y="229"/>
                    <a:pt x="36" y="229"/>
                  </a:cubicBezTo>
                  <a:cubicBezTo>
                    <a:pt x="0" y="229"/>
                    <a:pt x="0" y="229"/>
                    <a:pt x="0" y="229"/>
                  </a:cubicBezTo>
                  <a:cubicBezTo>
                    <a:pt x="0" y="4"/>
                    <a:pt x="0" y="4"/>
                    <a:pt x="0" y="4"/>
                  </a:cubicBezTo>
                  <a:cubicBezTo>
                    <a:pt x="36" y="4"/>
                    <a:pt x="36" y="4"/>
                    <a:pt x="36" y="4"/>
                  </a:cubicBezTo>
                  <a:cubicBezTo>
                    <a:pt x="36" y="51"/>
                    <a:pt x="36" y="51"/>
                    <a:pt x="36" y="51"/>
                  </a:cubicBezTo>
                  <a:cubicBezTo>
                    <a:pt x="36" y="51"/>
                    <a:pt x="36" y="51"/>
                    <a:pt x="36" y="51"/>
                  </a:cubicBezTo>
                  <a:cubicBezTo>
                    <a:pt x="41" y="35"/>
                    <a:pt x="49" y="23"/>
                    <a:pt x="59" y="14"/>
                  </a:cubicBezTo>
                  <a:cubicBezTo>
                    <a:pt x="69" y="5"/>
                    <a:pt x="81" y="0"/>
                    <a:pt x="94" y="0"/>
                  </a:cubicBezTo>
                  <a:cubicBezTo>
                    <a:pt x="103" y="0"/>
                    <a:pt x="110" y="1"/>
                    <a:pt x="115" y="3"/>
                  </a:cubicBezTo>
                  <a:lnTo>
                    <a:pt x="115" y="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6" name="Freeform 9"/>
            <p:cNvSpPr>
              <a:spLocks noEditPoints="1"/>
            </p:cNvSpPr>
            <p:nvPr userDrawn="1"/>
          </p:nvSpPr>
          <p:spPr bwMode="auto">
            <a:xfrm>
              <a:off x="3392" y="-490"/>
              <a:ext cx="513" cy="555"/>
            </a:xfrm>
            <a:custGeom>
              <a:avLst/>
              <a:gdLst>
                <a:gd name="T0" fmla="*/ 217 w 217"/>
                <a:gd name="T1" fmla="*/ 117 h 235"/>
                <a:gd name="T2" fmla="*/ 188 w 217"/>
                <a:gd name="T3" fmla="*/ 203 h 235"/>
                <a:gd name="T4" fmla="*/ 108 w 217"/>
                <a:gd name="T5" fmla="*/ 235 h 235"/>
                <a:gd name="T6" fmla="*/ 29 w 217"/>
                <a:gd name="T7" fmla="*/ 203 h 235"/>
                <a:gd name="T8" fmla="*/ 0 w 217"/>
                <a:gd name="T9" fmla="*/ 120 h 235"/>
                <a:gd name="T10" fmla="*/ 30 w 217"/>
                <a:gd name="T11" fmla="*/ 32 h 235"/>
                <a:gd name="T12" fmla="*/ 113 w 217"/>
                <a:gd name="T13" fmla="*/ 0 h 235"/>
                <a:gd name="T14" fmla="*/ 190 w 217"/>
                <a:gd name="T15" fmla="*/ 31 h 235"/>
                <a:gd name="T16" fmla="*/ 217 w 217"/>
                <a:gd name="T17" fmla="*/ 117 h 235"/>
                <a:gd name="T18" fmla="*/ 181 w 217"/>
                <a:gd name="T19" fmla="*/ 118 h 235"/>
                <a:gd name="T20" fmla="*/ 163 w 217"/>
                <a:gd name="T21" fmla="*/ 53 h 235"/>
                <a:gd name="T22" fmla="*/ 110 w 217"/>
                <a:gd name="T23" fmla="*/ 31 h 235"/>
                <a:gd name="T24" fmla="*/ 56 w 217"/>
                <a:gd name="T25" fmla="*/ 54 h 235"/>
                <a:gd name="T26" fmla="*/ 36 w 217"/>
                <a:gd name="T27" fmla="*/ 119 h 235"/>
                <a:gd name="T28" fmla="*/ 56 w 217"/>
                <a:gd name="T29" fmla="*/ 182 h 235"/>
                <a:gd name="T30" fmla="*/ 110 w 217"/>
                <a:gd name="T31" fmla="*/ 204 h 235"/>
                <a:gd name="T32" fmla="*/ 163 w 217"/>
                <a:gd name="T33" fmla="*/ 182 h 235"/>
                <a:gd name="T34" fmla="*/ 181 w 217"/>
                <a:gd name="T35" fmla="*/ 118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17" h="235">
                  <a:moveTo>
                    <a:pt x="217" y="117"/>
                  </a:moveTo>
                  <a:cubicBezTo>
                    <a:pt x="217" y="152"/>
                    <a:pt x="207" y="181"/>
                    <a:pt x="188" y="203"/>
                  </a:cubicBezTo>
                  <a:cubicBezTo>
                    <a:pt x="168" y="224"/>
                    <a:pt x="141" y="235"/>
                    <a:pt x="108" y="235"/>
                  </a:cubicBezTo>
                  <a:cubicBezTo>
                    <a:pt x="75" y="235"/>
                    <a:pt x="49" y="225"/>
                    <a:pt x="29" y="203"/>
                  </a:cubicBezTo>
                  <a:cubicBezTo>
                    <a:pt x="10" y="182"/>
                    <a:pt x="0" y="155"/>
                    <a:pt x="0" y="120"/>
                  </a:cubicBezTo>
                  <a:cubicBezTo>
                    <a:pt x="0" y="83"/>
                    <a:pt x="10" y="54"/>
                    <a:pt x="30" y="32"/>
                  </a:cubicBezTo>
                  <a:cubicBezTo>
                    <a:pt x="50" y="11"/>
                    <a:pt x="78" y="0"/>
                    <a:pt x="113" y="0"/>
                  </a:cubicBezTo>
                  <a:cubicBezTo>
                    <a:pt x="145" y="0"/>
                    <a:pt x="171" y="10"/>
                    <a:pt x="190" y="31"/>
                  </a:cubicBezTo>
                  <a:cubicBezTo>
                    <a:pt x="208" y="52"/>
                    <a:pt x="217" y="80"/>
                    <a:pt x="217" y="117"/>
                  </a:cubicBezTo>
                  <a:close/>
                  <a:moveTo>
                    <a:pt x="181" y="118"/>
                  </a:moveTo>
                  <a:cubicBezTo>
                    <a:pt x="181" y="90"/>
                    <a:pt x="175" y="68"/>
                    <a:pt x="163" y="53"/>
                  </a:cubicBezTo>
                  <a:cubicBezTo>
                    <a:pt x="151" y="38"/>
                    <a:pt x="133" y="31"/>
                    <a:pt x="110" y="31"/>
                  </a:cubicBezTo>
                  <a:cubicBezTo>
                    <a:pt x="87" y="31"/>
                    <a:pt x="69" y="38"/>
                    <a:pt x="56" y="54"/>
                  </a:cubicBezTo>
                  <a:cubicBezTo>
                    <a:pt x="43" y="69"/>
                    <a:pt x="36" y="91"/>
                    <a:pt x="36" y="119"/>
                  </a:cubicBezTo>
                  <a:cubicBezTo>
                    <a:pt x="36" y="146"/>
                    <a:pt x="43" y="167"/>
                    <a:pt x="56" y="182"/>
                  </a:cubicBezTo>
                  <a:cubicBezTo>
                    <a:pt x="70" y="197"/>
                    <a:pt x="88" y="204"/>
                    <a:pt x="110" y="204"/>
                  </a:cubicBezTo>
                  <a:cubicBezTo>
                    <a:pt x="133" y="204"/>
                    <a:pt x="151" y="197"/>
                    <a:pt x="163" y="182"/>
                  </a:cubicBezTo>
                  <a:cubicBezTo>
                    <a:pt x="175" y="167"/>
                    <a:pt x="181" y="146"/>
                    <a:pt x="181" y="1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7" name="Freeform 10"/>
            <p:cNvSpPr>
              <a:spLocks/>
            </p:cNvSpPr>
            <p:nvPr userDrawn="1"/>
          </p:nvSpPr>
          <p:spPr bwMode="auto">
            <a:xfrm>
              <a:off x="4000" y="-490"/>
              <a:ext cx="322" cy="555"/>
            </a:xfrm>
            <a:custGeom>
              <a:avLst/>
              <a:gdLst>
                <a:gd name="T0" fmla="*/ 136 w 136"/>
                <a:gd name="T1" fmla="*/ 170 h 235"/>
                <a:gd name="T2" fmla="*/ 113 w 136"/>
                <a:gd name="T3" fmla="*/ 217 h 235"/>
                <a:gd name="T4" fmla="*/ 55 w 136"/>
                <a:gd name="T5" fmla="*/ 235 h 235"/>
                <a:gd name="T6" fmla="*/ 0 w 136"/>
                <a:gd name="T7" fmla="*/ 222 h 235"/>
                <a:gd name="T8" fmla="*/ 0 w 136"/>
                <a:gd name="T9" fmla="*/ 183 h 235"/>
                <a:gd name="T10" fmla="*/ 57 w 136"/>
                <a:gd name="T11" fmla="*/ 204 h 235"/>
                <a:gd name="T12" fmla="*/ 99 w 136"/>
                <a:gd name="T13" fmla="*/ 173 h 235"/>
                <a:gd name="T14" fmla="*/ 91 w 136"/>
                <a:gd name="T15" fmla="*/ 152 h 235"/>
                <a:gd name="T16" fmla="*/ 54 w 136"/>
                <a:gd name="T17" fmla="*/ 131 h 235"/>
                <a:gd name="T18" fmla="*/ 13 w 136"/>
                <a:gd name="T19" fmla="*/ 104 h 235"/>
                <a:gd name="T20" fmla="*/ 0 w 136"/>
                <a:gd name="T21" fmla="*/ 65 h 235"/>
                <a:gd name="T22" fmla="*/ 22 w 136"/>
                <a:gd name="T23" fmla="*/ 18 h 235"/>
                <a:gd name="T24" fmla="*/ 78 w 136"/>
                <a:gd name="T25" fmla="*/ 0 h 235"/>
                <a:gd name="T26" fmla="*/ 125 w 136"/>
                <a:gd name="T27" fmla="*/ 10 h 235"/>
                <a:gd name="T28" fmla="*/ 125 w 136"/>
                <a:gd name="T29" fmla="*/ 47 h 235"/>
                <a:gd name="T30" fmla="*/ 75 w 136"/>
                <a:gd name="T31" fmla="*/ 31 h 235"/>
                <a:gd name="T32" fmla="*/ 47 w 136"/>
                <a:gd name="T33" fmla="*/ 39 h 235"/>
                <a:gd name="T34" fmla="*/ 37 w 136"/>
                <a:gd name="T35" fmla="*/ 62 h 235"/>
                <a:gd name="T36" fmla="*/ 45 w 136"/>
                <a:gd name="T37" fmla="*/ 85 h 235"/>
                <a:gd name="T38" fmla="*/ 79 w 136"/>
                <a:gd name="T39" fmla="*/ 104 h 235"/>
                <a:gd name="T40" fmla="*/ 123 w 136"/>
                <a:gd name="T41" fmla="*/ 132 h 235"/>
                <a:gd name="T42" fmla="*/ 136 w 136"/>
                <a:gd name="T43" fmla="*/ 170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36" h="235">
                  <a:moveTo>
                    <a:pt x="136" y="170"/>
                  </a:moveTo>
                  <a:cubicBezTo>
                    <a:pt x="136" y="189"/>
                    <a:pt x="128" y="205"/>
                    <a:pt x="113" y="217"/>
                  </a:cubicBezTo>
                  <a:cubicBezTo>
                    <a:pt x="99" y="229"/>
                    <a:pt x="79" y="235"/>
                    <a:pt x="55" y="235"/>
                  </a:cubicBezTo>
                  <a:cubicBezTo>
                    <a:pt x="34" y="235"/>
                    <a:pt x="16" y="231"/>
                    <a:pt x="0" y="222"/>
                  </a:cubicBezTo>
                  <a:cubicBezTo>
                    <a:pt x="0" y="183"/>
                    <a:pt x="0" y="183"/>
                    <a:pt x="0" y="183"/>
                  </a:cubicBezTo>
                  <a:cubicBezTo>
                    <a:pt x="17" y="197"/>
                    <a:pt x="37" y="204"/>
                    <a:pt x="57" y="204"/>
                  </a:cubicBezTo>
                  <a:cubicBezTo>
                    <a:pt x="85" y="204"/>
                    <a:pt x="99" y="194"/>
                    <a:pt x="99" y="173"/>
                  </a:cubicBezTo>
                  <a:cubicBezTo>
                    <a:pt x="99" y="165"/>
                    <a:pt x="97" y="158"/>
                    <a:pt x="91" y="152"/>
                  </a:cubicBezTo>
                  <a:cubicBezTo>
                    <a:pt x="86" y="147"/>
                    <a:pt x="73" y="140"/>
                    <a:pt x="54" y="131"/>
                  </a:cubicBezTo>
                  <a:cubicBezTo>
                    <a:pt x="34" y="122"/>
                    <a:pt x="21" y="113"/>
                    <a:pt x="13" y="104"/>
                  </a:cubicBezTo>
                  <a:cubicBezTo>
                    <a:pt x="5" y="94"/>
                    <a:pt x="0" y="81"/>
                    <a:pt x="0" y="65"/>
                  </a:cubicBezTo>
                  <a:cubicBezTo>
                    <a:pt x="0" y="46"/>
                    <a:pt x="8" y="31"/>
                    <a:pt x="22" y="18"/>
                  </a:cubicBezTo>
                  <a:cubicBezTo>
                    <a:pt x="37" y="6"/>
                    <a:pt x="56" y="0"/>
                    <a:pt x="78" y="0"/>
                  </a:cubicBezTo>
                  <a:cubicBezTo>
                    <a:pt x="96" y="0"/>
                    <a:pt x="111" y="3"/>
                    <a:pt x="125" y="10"/>
                  </a:cubicBezTo>
                  <a:cubicBezTo>
                    <a:pt x="125" y="47"/>
                    <a:pt x="125" y="47"/>
                    <a:pt x="125" y="47"/>
                  </a:cubicBezTo>
                  <a:cubicBezTo>
                    <a:pt x="111" y="36"/>
                    <a:pt x="94" y="31"/>
                    <a:pt x="75" y="31"/>
                  </a:cubicBezTo>
                  <a:cubicBezTo>
                    <a:pt x="64" y="31"/>
                    <a:pt x="54" y="33"/>
                    <a:pt x="47" y="39"/>
                  </a:cubicBezTo>
                  <a:cubicBezTo>
                    <a:pt x="40" y="45"/>
                    <a:pt x="37" y="53"/>
                    <a:pt x="37" y="62"/>
                  </a:cubicBezTo>
                  <a:cubicBezTo>
                    <a:pt x="37" y="72"/>
                    <a:pt x="39" y="79"/>
                    <a:pt x="45" y="85"/>
                  </a:cubicBezTo>
                  <a:cubicBezTo>
                    <a:pt x="50" y="90"/>
                    <a:pt x="62" y="96"/>
                    <a:pt x="79" y="104"/>
                  </a:cubicBezTo>
                  <a:cubicBezTo>
                    <a:pt x="100" y="113"/>
                    <a:pt x="114" y="122"/>
                    <a:pt x="123" y="132"/>
                  </a:cubicBezTo>
                  <a:cubicBezTo>
                    <a:pt x="131" y="142"/>
                    <a:pt x="136" y="155"/>
                    <a:pt x="136" y="1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8" name="Freeform 11"/>
            <p:cNvSpPr>
              <a:spLocks noEditPoints="1"/>
            </p:cNvSpPr>
            <p:nvPr userDrawn="1"/>
          </p:nvSpPr>
          <p:spPr bwMode="auto">
            <a:xfrm>
              <a:off x="4402" y="-490"/>
              <a:ext cx="516" cy="555"/>
            </a:xfrm>
            <a:custGeom>
              <a:avLst/>
              <a:gdLst>
                <a:gd name="T0" fmla="*/ 218 w 218"/>
                <a:gd name="T1" fmla="*/ 117 h 235"/>
                <a:gd name="T2" fmla="*/ 188 w 218"/>
                <a:gd name="T3" fmla="*/ 203 h 235"/>
                <a:gd name="T4" fmla="*/ 108 w 218"/>
                <a:gd name="T5" fmla="*/ 235 h 235"/>
                <a:gd name="T6" fmla="*/ 30 w 218"/>
                <a:gd name="T7" fmla="*/ 203 h 235"/>
                <a:gd name="T8" fmla="*/ 0 w 218"/>
                <a:gd name="T9" fmla="*/ 120 h 235"/>
                <a:gd name="T10" fmla="*/ 30 w 218"/>
                <a:gd name="T11" fmla="*/ 32 h 235"/>
                <a:gd name="T12" fmla="*/ 113 w 218"/>
                <a:gd name="T13" fmla="*/ 0 h 235"/>
                <a:gd name="T14" fmla="*/ 190 w 218"/>
                <a:gd name="T15" fmla="*/ 31 h 235"/>
                <a:gd name="T16" fmla="*/ 218 w 218"/>
                <a:gd name="T17" fmla="*/ 117 h 235"/>
                <a:gd name="T18" fmla="*/ 181 w 218"/>
                <a:gd name="T19" fmla="*/ 118 h 235"/>
                <a:gd name="T20" fmla="*/ 163 w 218"/>
                <a:gd name="T21" fmla="*/ 53 h 235"/>
                <a:gd name="T22" fmla="*/ 110 w 218"/>
                <a:gd name="T23" fmla="*/ 31 h 235"/>
                <a:gd name="T24" fmla="*/ 57 w 218"/>
                <a:gd name="T25" fmla="*/ 54 h 235"/>
                <a:gd name="T26" fmla="*/ 37 w 218"/>
                <a:gd name="T27" fmla="*/ 119 h 235"/>
                <a:gd name="T28" fmla="*/ 57 w 218"/>
                <a:gd name="T29" fmla="*/ 182 h 235"/>
                <a:gd name="T30" fmla="*/ 110 w 218"/>
                <a:gd name="T31" fmla="*/ 204 h 235"/>
                <a:gd name="T32" fmla="*/ 163 w 218"/>
                <a:gd name="T33" fmla="*/ 182 h 235"/>
                <a:gd name="T34" fmla="*/ 181 w 218"/>
                <a:gd name="T35" fmla="*/ 118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18" h="235">
                  <a:moveTo>
                    <a:pt x="218" y="117"/>
                  </a:moveTo>
                  <a:cubicBezTo>
                    <a:pt x="218" y="152"/>
                    <a:pt x="208" y="181"/>
                    <a:pt x="188" y="203"/>
                  </a:cubicBezTo>
                  <a:cubicBezTo>
                    <a:pt x="168" y="224"/>
                    <a:pt x="141" y="235"/>
                    <a:pt x="108" y="235"/>
                  </a:cubicBezTo>
                  <a:cubicBezTo>
                    <a:pt x="75" y="235"/>
                    <a:pt x="49" y="225"/>
                    <a:pt x="30" y="203"/>
                  </a:cubicBezTo>
                  <a:cubicBezTo>
                    <a:pt x="10" y="182"/>
                    <a:pt x="0" y="155"/>
                    <a:pt x="0" y="120"/>
                  </a:cubicBezTo>
                  <a:cubicBezTo>
                    <a:pt x="0" y="83"/>
                    <a:pt x="10" y="54"/>
                    <a:pt x="30" y="32"/>
                  </a:cubicBezTo>
                  <a:cubicBezTo>
                    <a:pt x="50" y="11"/>
                    <a:pt x="78" y="0"/>
                    <a:pt x="113" y="0"/>
                  </a:cubicBezTo>
                  <a:cubicBezTo>
                    <a:pt x="146" y="0"/>
                    <a:pt x="171" y="10"/>
                    <a:pt x="190" y="31"/>
                  </a:cubicBezTo>
                  <a:cubicBezTo>
                    <a:pt x="208" y="52"/>
                    <a:pt x="218" y="80"/>
                    <a:pt x="218" y="117"/>
                  </a:cubicBezTo>
                  <a:close/>
                  <a:moveTo>
                    <a:pt x="181" y="118"/>
                  </a:moveTo>
                  <a:cubicBezTo>
                    <a:pt x="181" y="90"/>
                    <a:pt x="175" y="68"/>
                    <a:pt x="163" y="53"/>
                  </a:cubicBezTo>
                  <a:cubicBezTo>
                    <a:pt x="151" y="38"/>
                    <a:pt x="133" y="31"/>
                    <a:pt x="110" y="31"/>
                  </a:cubicBezTo>
                  <a:cubicBezTo>
                    <a:pt x="88" y="31"/>
                    <a:pt x="70" y="38"/>
                    <a:pt x="57" y="54"/>
                  </a:cubicBezTo>
                  <a:cubicBezTo>
                    <a:pt x="43" y="69"/>
                    <a:pt x="37" y="91"/>
                    <a:pt x="37" y="119"/>
                  </a:cubicBezTo>
                  <a:cubicBezTo>
                    <a:pt x="37" y="146"/>
                    <a:pt x="43" y="167"/>
                    <a:pt x="57" y="182"/>
                  </a:cubicBezTo>
                  <a:cubicBezTo>
                    <a:pt x="70" y="197"/>
                    <a:pt x="88" y="204"/>
                    <a:pt x="110" y="204"/>
                  </a:cubicBezTo>
                  <a:cubicBezTo>
                    <a:pt x="133" y="204"/>
                    <a:pt x="151" y="197"/>
                    <a:pt x="163" y="182"/>
                  </a:cubicBezTo>
                  <a:cubicBezTo>
                    <a:pt x="175" y="167"/>
                    <a:pt x="181" y="146"/>
                    <a:pt x="181" y="1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0" name="Freeform 12"/>
            <p:cNvSpPr>
              <a:spLocks/>
            </p:cNvSpPr>
            <p:nvPr userDrawn="1"/>
          </p:nvSpPr>
          <p:spPr bwMode="auto">
            <a:xfrm>
              <a:off x="4970" y="-743"/>
              <a:ext cx="314" cy="797"/>
            </a:xfrm>
            <a:custGeom>
              <a:avLst/>
              <a:gdLst>
                <a:gd name="T0" fmla="*/ 133 w 133"/>
                <a:gd name="T1" fmla="*/ 36 h 337"/>
                <a:gd name="T2" fmla="*/ 110 w 133"/>
                <a:gd name="T3" fmla="*/ 30 h 337"/>
                <a:gd name="T4" fmla="*/ 73 w 133"/>
                <a:gd name="T5" fmla="*/ 78 h 337"/>
                <a:gd name="T6" fmla="*/ 73 w 133"/>
                <a:gd name="T7" fmla="*/ 112 h 337"/>
                <a:gd name="T8" fmla="*/ 125 w 133"/>
                <a:gd name="T9" fmla="*/ 112 h 337"/>
                <a:gd name="T10" fmla="*/ 125 w 133"/>
                <a:gd name="T11" fmla="*/ 143 h 337"/>
                <a:gd name="T12" fmla="*/ 73 w 133"/>
                <a:gd name="T13" fmla="*/ 143 h 337"/>
                <a:gd name="T14" fmla="*/ 73 w 133"/>
                <a:gd name="T15" fmla="*/ 337 h 337"/>
                <a:gd name="T16" fmla="*/ 38 w 133"/>
                <a:gd name="T17" fmla="*/ 337 h 337"/>
                <a:gd name="T18" fmla="*/ 38 w 133"/>
                <a:gd name="T19" fmla="*/ 143 h 337"/>
                <a:gd name="T20" fmla="*/ 0 w 133"/>
                <a:gd name="T21" fmla="*/ 143 h 337"/>
                <a:gd name="T22" fmla="*/ 0 w 133"/>
                <a:gd name="T23" fmla="*/ 112 h 337"/>
                <a:gd name="T24" fmla="*/ 38 w 133"/>
                <a:gd name="T25" fmla="*/ 112 h 337"/>
                <a:gd name="T26" fmla="*/ 38 w 133"/>
                <a:gd name="T27" fmla="*/ 76 h 337"/>
                <a:gd name="T28" fmla="*/ 57 w 133"/>
                <a:gd name="T29" fmla="*/ 21 h 337"/>
                <a:gd name="T30" fmla="*/ 108 w 133"/>
                <a:gd name="T31" fmla="*/ 0 h 337"/>
                <a:gd name="T32" fmla="*/ 133 w 133"/>
                <a:gd name="T33" fmla="*/ 4 h 337"/>
                <a:gd name="T34" fmla="*/ 133 w 133"/>
                <a:gd name="T35" fmla="*/ 36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3" h="337">
                  <a:moveTo>
                    <a:pt x="133" y="36"/>
                  </a:moveTo>
                  <a:cubicBezTo>
                    <a:pt x="127" y="32"/>
                    <a:pt x="119" y="30"/>
                    <a:pt x="110" y="30"/>
                  </a:cubicBezTo>
                  <a:cubicBezTo>
                    <a:pt x="85" y="30"/>
                    <a:pt x="73" y="46"/>
                    <a:pt x="73" y="78"/>
                  </a:cubicBezTo>
                  <a:cubicBezTo>
                    <a:pt x="73" y="112"/>
                    <a:pt x="73" y="112"/>
                    <a:pt x="73" y="112"/>
                  </a:cubicBezTo>
                  <a:cubicBezTo>
                    <a:pt x="125" y="112"/>
                    <a:pt x="125" y="112"/>
                    <a:pt x="125" y="112"/>
                  </a:cubicBezTo>
                  <a:cubicBezTo>
                    <a:pt x="125" y="143"/>
                    <a:pt x="125" y="143"/>
                    <a:pt x="125" y="143"/>
                  </a:cubicBezTo>
                  <a:cubicBezTo>
                    <a:pt x="73" y="143"/>
                    <a:pt x="73" y="143"/>
                    <a:pt x="73" y="143"/>
                  </a:cubicBezTo>
                  <a:cubicBezTo>
                    <a:pt x="73" y="337"/>
                    <a:pt x="73" y="337"/>
                    <a:pt x="73" y="337"/>
                  </a:cubicBezTo>
                  <a:cubicBezTo>
                    <a:pt x="38" y="337"/>
                    <a:pt x="38" y="337"/>
                    <a:pt x="38" y="337"/>
                  </a:cubicBezTo>
                  <a:cubicBezTo>
                    <a:pt x="38" y="143"/>
                    <a:pt x="38" y="143"/>
                    <a:pt x="38" y="143"/>
                  </a:cubicBezTo>
                  <a:cubicBezTo>
                    <a:pt x="0" y="143"/>
                    <a:pt x="0" y="143"/>
                    <a:pt x="0" y="143"/>
                  </a:cubicBezTo>
                  <a:cubicBezTo>
                    <a:pt x="0" y="112"/>
                    <a:pt x="0" y="112"/>
                    <a:pt x="0" y="112"/>
                  </a:cubicBezTo>
                  <a:cubicBezTo>
                    <a:pt x="38" y="112"/>
                    <a:pt x="38" y="112"/>
                    <a:pt x="38" y="112"/>
                  </a:cubicBezTo>
                  <a:cubicBezTo>
                    <a:pt x="38" y="76"/>
                    <a:pt x="38" y="76"/>
                    <a:pt x="38" y="76"/>
                  </a:cubicBezTo>
                  <a:cubicBezTo>
                    <a:pt x="38" y="53"/>
                    <a:pt x="44" y="35"/>
                    <a:pt x="57" y="21"/>
                  </a:cubicBezTo>
                  <a:cubicBezTo>
                    <a:pt x="71" y="7"/>
                    <a:pt x="87" y="0"/>
                    <a:pt x="108" y="0"/>
                  </a:cubicBezTo>
                  <a:cubicBezTo>
                    <a:pt x="119" y="0"/>
                    <a:pt x="127" y="1"/>
                    <a:pt x="133" y="4"/>
                  </a:cubicBezTo>
                  <a:lnTo>
                    <a:pt x="133" y="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1" name="Freeform 13"/>
            <p:cNvSpPr>
              <a:spLocks/>
            </p:cNvSpPr>
            <p:nvPr userDrawn="1"/>
          </p:nvSpPr>
          <p:spPr bwMode="auto">
            <a:xfrm>
              <a:off x="5310" y="-635"/>
              <a:ext cx="305" cy="700"/>
            </a:xfrm>
            <a:custGeom>
              <a:avLst/>
              <a:gdLst>
                <a:gd name="T0" fmla="*/ 129 w 129"/>
                <a:gd name="T1" fmla="*/ 288 h 296"/>
                <a:gd name="T2" fmla="*/ 96 w 129"/>
                <a:gd name="T3" fmla="*/ 296 h 296"/>
                <a:gd name="T4" fmla="*/ 38 w 129"/>
                <a:gd name="T5" fmla="*/ 230 h 296"/>
                <a:gd name="T6" fmla="*/ 38 w 129"/>
                <a:gd name="T7" fmla="*/ 97 h 296"/>
                <a:gd name="T8" fmla="*/ 0 w 129"/>
                <a:gd name="T9" fmla="*/ 97 h 296"/>
                <a:gd name="T10" fmla="*/ 0 w 129"/>
                <a:gd name="T11" fmla="*/ 66 h 296"/>
                <a:gd name="T12" fmla="*/ 38 w 129"/>
                <a:gd name="T13" fmla="*/ 66 h 296"/>
                <a:gd name="T14" fmla="*/ 38 w 129"/>
                <a:gd name="T15" fmla="*/ 12 h 296"/>
                <a:gd name="T16" fmla="*/ 73 w 129"/>
                <a:gd name="T17" fmla="*/ 0 h 296"/>
                <a:gd name="T18" fmla="*/ 73 w 129"/>
                <a:gd name="T19" fmla="*/ 66 h 296"/>
                <a:gd name="T20" fmla="*/ 129 w 129"/>
                <a:gd name="T21" fmla="*/ 66 h 296"/>
                <a:gd name="T22" fmla="*/ 129 w 129"/>
                <a:gd name="T23" fmla="*/ 97 h 296"/>
                <a:gd name="T24" fmla="*/ 73 w 129"/>
                <a:gd name="T25" fmla="*/ 97 h 296"/>
                <a:gd name="T26" fmla="*/ 73 w 129"/>
                <a:gd name="T27" fmla="*/ 223 h 296"/>
                <a:gd name="T28" fmla="*/ 81 w 129"/>
                <a:gd name="T29" fmla="*/ 255 h 296"/>
                <a:gd name="T30" fmla="*/ 106 w 129"/>
                <a:gd name="T31" fmla="*/ 265 h 296"/>
                <a:gd name="T32" fmla="*/ 129 w 129"/>
                <a:gd name="T33" fmla="*/ 258 h 296"/>
                <a:gd name="T34" fmla="*/ 129 w 129"/>
                <a:gd name="T35" fmla="*/ 288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9" h="296">
                  <a:moveTo>
                    <a:pt x="129" y="288"/>
                  </a:moveTo>
                  <a:cubicBezTo>
                    <a:pt x="120" y="293"/>
                    <a:pt x="109" y="296"/>
                    <a:pt x="96" y="296"/>
                  </a:cubicBezTo>
                  <a:cubicBezTo>
                    <a:pt x="57" y="296"/>
                    <a:pt x="38" y="274"/>
                    <a:pt x="38" y="230"/>
                  </a:cubicBezTo>
                  <a:cubicBezTo>
                    <a:pt x="38" y="97"/>
                    <a:pt x="38" y="97"/>
                    <a:pt x="38" y="97"/>
                  </a:cubicBezTo>
                  <a:cubicBezTo>
                    <a:pt x="0" y="97"/>
                    <a:pt x="0" y="97"/>
                    <a:pt x="0" y="97"/>
                  </a:cubicBezTo>
                  <a:cubicBezTo>
                    <a:pt x="0" y="66"/>
                    <a:pt x="0" y="66"/>
                    <a:pt x="0" y="66"/>
                  </a:cubicBezTo>
                  <a:cubicBezTo>
                    <a:pt x="38" y="66"/>
                    <a:pt x="38" y="66"/>
                    <a:pt x="38" y="66"/>
                  </a:cubicBezTo>
                  <a:cubicBezTo>
                    <a:pt x="38" y="12"/>
                    <a:pt x="38" y="12"/>
                    <a:pt x="38" y="12"/>
                  </a:cubicBezTo>
                  <a:cubicBezTo>
                    <a:pt x="73" y="0"/>
                    <a:pt x="73" y="0"/>
                    <a:pt x="73" y="0"/>
                  </a:cubicBezTo>
                  <a:cubicBezTo>
                    <a:pt x="73" y="66"/>
                    <a:pt x="73" y="66"/>
                    <a:pt x="73" y="66"/>
                  </a:cubicBezTo>
                  <a:cubicBezTo>
                    <a:pt x="129" y="66"/>
                    <a:pt x="129" y="66"/>
                    <a:pt x="129" y="66"/>
                  </a:cubicBezTo>
                  <a:cubicBezTo>
                    <a:pt x="129" y="97"/>
                    <a:pt x="129" y="97"/>
                    <a:pt x="129" y="97"/>
                  </a:cubicBezTo>
                  <a:cubicBezTo>
                    <a:pt x="73" y="97"/>
                    <a:pt x="73" y="97"/>
                    <a:pt x="73" y="97"/>
                  </a:cubicBezTo>
                  <a:cubicBezTo>
                    <a:pt x="73" y="223"/>
                    <a:pt x="73" y="223"/>
                    <a:pt x="73" y="223"/>
                  </a:cubicBezTo>
                  <a:cubicBezTo>
                    <a:pt x="73" y="238"/>
                    <a:pt x="76" y="249"/>
                    <a:pt x="81" y="255"/>
                  </a:cubicBezTo>
                  <a:cubicBezTo>
                    <a:pt x="86" y="262"/>
                    <a:pt x="94" y="265"/>
                    <a:pt x="106" y="265"/>
                  </a:cubicBezTo>
                  <a:cubicBezTo>
                    <a:pt x="115" y="265"/>
                    <a:pt x="122" y="263"/>
                    <a:pt x="129" y="258"/>
                  </a:cubicBezTo>
                  <a:lnTo>
                    <a:pt x="129" y="28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2" name="Freeform 14"/>
            <p:cNvSpPr>
              <a:spLocks/>
            </p:cNvSpPr>
            <p:nvPr userDrawn="1"/>
          </p:nvSpPr>
          <p:spPr bwMode="auto">
            <a:xfrm>
              <a:off x="1343" y="434"/>
              <a:ext cx="949" cy="743"/>
            </a:xfrm>
            <a:custGeom>
              <a:avLst/>
              <a:gdLst>
                <a:gd name="T0" fmla="*/ 401 w 401"/>
                <a:gd name="T1" fmla="*/ 0 h 314"/>
                <a:gd name="T2" fmla="*/ 314 w 401"/>
                <a:gd name="T3" fmla="*/ 314 h 314"/>
                <a:gd name="T4" fmla="*/ 271 w 401"/>
                <a:gd name="T5" fmla="*/ 314 h 314"/>
                <a:gd name="T6" fmla="*/ 208 w 401"/>
                <a:gd name="T7" fmla="*/ 84 h 314"/>
                <a:gd name="T8" fmla="*/ 203 w 401"/>
                <a:gd name="T9" fmla="*/ 52 h 314"/>
                <a:gd name="T10" fmla="*/ 202 w 401"/>
                <a:gd name="T11" fmla="*/ 52 h 314"/>
                <a:gd name="T12" fmla="*/ 196 w 401"/>
                <a:gd name="T13" fmla="*/ 83 h 314"/>
                <a:gd name="T14" fmla="*/ 132 w 401"/>
                <a:gd name="T15" fmla="*/ 314 h 314"/>
                <a:gd name="T16" fmla="*/ 90 w 401"/>
                <a:gd name="T17" fmla="*/ 314 h 314"/>
                <a:gd name="T18" fmla="*/ 0 w 401"/>
                <a:gd name="T19" fmla="*/ 0 h 314"/>
                <a:gd name="T20" fmla="*/ 40 w 401"/>
                <a:gd name="T21" fmla="*/ 0 h 314"/>
                <a:gd name="T22" fmla="*/ 105 w 401"/>
                <a:gd name="T23" fmla="*/ 240 h 314"/>
                <a:gd name="T24" fmla="*/ 111 w 401"/>
                <a:gd name="T25" fmla="*/ 272 h 314"/>
                <a:gd name="T26" fmla="*/ 112 w 401"/>
                <a:gd name="T27" fmla="*/ 272 h 314"/>
                <a:gd name="T28" fmla="*/ 118 w 401"/>
                <a:gd name="T29" fmla="*/ 240 h 314"/>
                <a:gd name="T30" fmla="*/ 187 w 401"/>
                <a:gd name="T31" fmla="*/ 0 h 314"/>
                <a:gd name="T32" fmla="*/ 222 w 401"/>
                <a:gd name="T33" fmla="*/ 0 h 314"/>
                <a:gd name="T34" fmla="*/ 287 w 401"/>
                <a:gd name="T35" fmla="*/ 242 h 314"/>
                <a:gd name="T36" fmla="*/ 292 w 401"/>
                <a:gd name="T37" fmla="*/ 271 h 314"/>
                <a:gd name="T38" fmla="*/ 293 w 401"/>
                <a:gd name="T39" fmla="*/ 271 h 314"/>
                <a:gd name="T40" fmla="*/ 299 w 401"/>
                <a:gd name="T41" fmla="*/ 241 h 314"/>
                <a:gd name="T42" fmla="*/ 362 w 401"/>
                <a:gd name="T43" fmla="*/ 0 h 314"/>
                <a:gd name="T44" fmla="*/ 401 w 401"/>
                <a:gd name="T45" fmla="*/ 0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01" h="314">
                  <a:moveTo>
                    <a:pt x="401" y="0"/>
                  </a:moveTo>
                  <a:cubicBezTo>
                    <a:pt x="314" y="314"/>
                    <a:pt x="314" y="314"/>
                    <a:pt x="314" y="314"/>
                  </a:cubicBezTo>
                  <a:cubicBezTo>
                    <a:pt x="271" y="314"/>
                    <a:pt x="271" y="314"/>
                    <a:pt x="271" y="314"/>
                  </a:cubicBezTo>
                  <a:cubicBezTo>
                    <a:pt x="208" y="84"/>
                    <a:pt x="208" y="84"/>
                    <a:pt x="208" y="84"/>
                  </a:cubicBezTo>
                  <a:cubicBezTo>
                    <a:pt x="205" y="75"/>
                    <a:pt x="204" y="65"/>
                    <a:pt x="203" y="52"/>
                  </a:cubicBezTo>
                  <a:cubicBezTo>
                    <a:pt x="202" y="52"/>
                    <a:pt x="202" y="52"/>
                    <a:pt x="202" y="52"/>
                  </a:cubicBezTo>
                  <a:cubicBezTo>
                    <a:pt x="201" y="63"/>
                    <a:pt x="199" y="73"/>
                    <a:pt x="196" y="83"/>
                  </a:cubicBezTo>
                  <a:cubicBezTo>
                    <a:pt x="132" y="314"/>
                    <a:pt x="132" y="314"/>
                    <a:pt x="132" y="314"/>
                  </a:cubicBezTo>
                  <a:cubicBezTo>
                    <a:pt x="90" y="314"/>
                    <a:pt x="90" y="314"/>
                    <a:pt x="90" y="314"/>
                  </a:cubicBezTo>
                  <a:cubicBezTo>
                    <a:pt x="0" y="0"/>
                    <a:pt x="0" y="0"/>
                    <a:pt x="0" y="0"/>
                  </a:cubicBezTo>
                  <a:cubicBezTo>
                    <a:pt x="40" y="0"/>
                    <a:pt x="40" y="0"/>
                    <a:pt x="40" y="0"/>
                  </a:cubicBezTo>
                  <a:cubicBezTo>
                    <a:pt x="105" y="240"/>
                    <a:pt x="105" y="240"/>
                    <a:pt x="105" y="240"/>
                  </a:cubicBezTo>
                  <a:cubicBezTo>
                    <a:pt x="108" y="251"/>
                    <a:pt x="110" y="262"/>
                    <a:pt x="111" y="272"/>
                  </a:cubicBezTo>
                  <a:cubicBezTo>
                    <a:pt x="112" y="272"/>
                    <a:pt x="112" y="272"/>
                    <a:pt x="112" y="272"/>
                  </a:cubicBezTo>
                  <a:cubicBezTo>
                    <a:pt x="112" y="263"/>
                    <a:pt x="115" y="253"/>
                    <a:pt x="118" y="240"/>
                  </a:cubicBezTo>
                  <a:cubicBezTo>
                    <a:pt x="187" y="0"/>
                    <a:pt x="187" y="0"/>
                    <a:pt x="187" y="0"/>
                  </a:cubicBezTo>
                  <a:cubicBezTo>
                    <a:pt x="222" y="0"/>
                    <a:pt x="222" y="0"/>
                    <a:pt x="222" y="0"/>
                  </a:cubicBezTo>
                  <a:cubicBezTo>
                    <a:pt x="287" y="242"/>
                    <a:pt x="287" y="242"/>
                    <a:pt x="287" y="242"/>
                  </a:cubicBezTo>
                  <a:cubicBezTo>
                    <a:pt x="289" y="251"/>
                    <a:pt x="291" y="261"/>
                    <a:pt x="292" y="271"/>
                  </a:cubicBezTo>
                  <a:cubicBezTo>
                    <a:pt x="293" y="271"/>
                    <a:pt x="293" y="271"/>
                    <a:pt x="293" y="271"/>
                  </a:cubicBezTo>
                  <a:cubicBezTo>
                    <a:pt x="294" y="264"/>
                    <a:pt x="296" y="254"/>
                    <a:pt x="299" y="241"/>
                  </a:cubicBezTo>
                  <a:cubicBezTo>
                    <a:pt x="362" y="0"/>
                    <a:pt x="362" y="0"/>
                    <a:pt x="362" y="0"/>
                  </a:cubicBezTo>
                  <a:lnTo>
                    <a:pt x="40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3" name="Freeform 15"/>
            <p:cNvSpPr>
              <a:spLocks noEditPoints="1"/>
            </p:cNvSpPr>
            <p:nvPr userDrawn="1"/>
          </p:nvSpPr>
          <p:spPr bwMode="auto">
            <a:xfrm>
              <a:off x="2325" y="633"/>
              <a:ext cx="513" cy="556"/>
            </a:xfrm>
            <a:custGeom>
              <a:avLst/>
              <a:gdLst>
                <a:gd name="T0" fmla="*/ 217 w 217"/>
                <a:gd name="T1" fmla="*/ 117 h 235"/>
                <a:gd name="T2" fmla="*/ 187 w 217"/>
                <a:gd name="T3" fmla="*/ 203 h 235"/>
                <a:gd name="T4" fmla="*/ 107 w 217"/>
                <a:gd name="T5" fmla="*/ 235 h 235"/>
                <a:gd name="T6" fmla="*/ 29 w 217"/>
                <a:gd name="T7" fmla="*/ 203 h 235"/>
                <a:gd name="T8" fmla="*/ 0 w 217"/>
                <a:gd name="T9" fmla="*/ 120 h 235"/>
                <a:gd name="T10" fmla="*/ 30 w 217"/>
                <a:gd name="T11" fmla="*/ 32 h 235"/>
                <a:gd name="T12" fmla="*/ 112 w 217"/>
                <a:gd name="T13" fmla="*/ 0 h 235"/>
                <a:gd name="T14" fmla="*/ 189 w 217"/>
                <a:gd name="T15" fmla="*/ 31 h 235"/>
                <a:gd name="T16" fmla="*/ 217 w 217"/>
                <a:gd name="T17" fmla="*/ 117 h 235"/>
                <a:gd name="T18" fmla="*/ 181 w 217"/>
                <a:gd name="T19" fmla="*/ 118 h 235"/>
                <a:gd name="T20" fmla="*/ 162 w 217"/>
                <a:gd name="T21" fmla="*/ 53 h 235"/>
                <a:gd name="T22" fmla="*/ 110 w 217"/>
                <a:gd name="T23" fmla="*/ 31 h 235"/>
                <a:gd name="T24" fmla="*/ 56 w 217"/>
                <a:gd name="T25" fmla="*/ 54 h 235"/>
                <a:gd name="T26" fmla="*/ 36 w 217"/>
                <a:gd name="T27" fmla="*/ 119 h 235"/>
                <a:gd name="T28" fmla="*/ 56 w 217"/>
                <a:gd name="T29" fmla="*/ 182 h 235"/>
                <a:gd name="T30" fmla="*/ 110 w 217"/>
                <a:gd name="T31" fmla="*/ 204 h 235"/>
                <a:gd name="T32" fmla="*/ 163 w 217"/>
                <a:gd name="T33" fmla="*/ 182 h 235"/>
                <a:gd name="T34" fmla="*/ 181 w 217"/>
                <a:gd name="T35" fmla="*/ 118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17" h="235">
                  <a:moveTo>
                    <a:pt x="217" y="117"/>
                  </a:moveTo>
                  <a:cubicBezTo>
                    <a:pt x="217" y="152"/>
                    <a:pt x="207" y="181"/>
                    <a:pt x="187" y="203"/>
                  </a:cubicBezTo>
                  <a:cubicBezTo>
                    <a:pt x="167" y="224"/>
                    <a:pt x="141" y="235"/>
                    <a:pt x="107" y="235"/>
                  </a:cubicBezTo>
                  <a:cubicBezTo>
                    <a:pt x="75" y="235"/>
                    <a:pt x="48" y="225"/>
                    <a:pt x="29" y="203"/>
                  </a:cubicBezTo>
                  <a:cubicBezTo>
                    <a:pt x="10" y="182"/>
                    <a:pt x="0" y="155"/>
                    <a:pt x="0" y="120"/>
                  </a:cubicBezTo>
                  <a:cubicBezTo>
                    <a:pt x="0" y="83"/>
                    <a:pt x="10" y="54"/>
                    <a:pt x="30" y="32"/>
                  </a:cubicBezTo>
                  <a:cubicBezTo>
                    <a:pt x="50" y="11"/>
                    <a:pt x="77" y="0"/>
                    <a:pt x="112" y="0"/>
                  </a:cubicBezTo>
                  <a:cubicBezTo>
                    <a:pt x="145" y="0"/>
                    <a:pt x="171" y="10"/>
                    <a:pt x="189" y="31"/>
                  </a:cubicBezTo>
                  <a:cubicBezTo>
                    <a:pt x="208" y="52"/>
                    <a:pt x="217" y="80"/>
                    <a:pt x="217" y="117"/>
                  </a:cubicBezTo>
                  <a:close/>
                  <a:moveTo>
                    <a:pt x="181" y="118"/>
                  </a:moveTo>
                  <a:cubicBezTo>
                    <a:pt x="181" y="90"/>
                    <a:pt x="175" y="68"/>
                    <a:pt x="162" y="53"/>
                  </a:cubicBezTo>
                  <a:cubicBezTo>
                    <a:pt x="150" y="38"/>
                    <a:pt x="133" y="31"/>
                    <a:pt x="110" y="31"/>
                  </a:cubicBezTo>
                  <a:cubicBezTo>
                    <a:pt x="87" y="31"/>
                    <a:pt x="69" y="38"/>
                    <a:pt x="56" y="54"/>
                  </a:cubicBezTo>
                  <a:cubicBezTo>
                    <a:pt x="43" y="69"/>
                    <a:pt x="36" y="91"/>
                    <a:pt x="36" y="119"/>
                  </a:cubicBezTo>
                  <a:cubicBezTo>
                    <a:pt x="36" y="146"/>
                    <a:pt x="43" y="167"/>
                    <a:pt x="56" y="182"/>
                  </a:cubicBezTo>
                  <a:cubicBezTo>
                    <a:pt x="69" y="197"/>
                    <a:pt x="87" y="204"/>
                    <a:pt x="110" y="204"/>
                  </a:cubicBezTo>
                  <a:cubicBezTo>
                    <a:pt x="133" y="204"/>
                    <a:pt x="150" y="197"/>
                    <a:pt x="163" y="182"/>
                  </a:cubicBezTo>
                  <a:cubicBezTo>
                    <a:pt x="175" y="167"/>
                    <a:pt x="181" y="146"/>
                    <a:pt x="181" y="1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4" name="Freeform 16"/>
            <p:cNvSpPr>
              <a:spLocks/>
            </p:cNvSpPr>
            <p:nvPr userDrawn="1"/>
          </p:nvSpPr>
          <p:spPr bwMode="auto">
            <a:xfrm>
              <a:off x="2968" y="635"/>
              <a:ext cx="272" cy="542"/>
            </a:xfrm>
            <a:custGeom>
              <a:avLst/>
              <a:gdLst>
                <a:gd name="T0" fmla="*/ 115 w 115"/>
                <a:gd name="T1" fmla="*/ 41 h 229"/>
                <a:gd name="T2" fmla="*/ 88 w 115"/>
                <a:gd name="T3" fmla="*/ 33 h 229"/>
                <a:gd name="T4" fmla="*/ 50 w 115"/>
                <a:gd name="T5" fmla="*/ 56 h 229"/>
                <a:gd name="T6" fmla="*/ 35 w 115"/>
                <a:gd name="T7" fmla="*/ 114 h 229"/>
                <a:gd name="T8" fmla="*/ 35 w 115"/>
                <a:gd name="T9" fmla="*/ 229 h 229"/>
                <a:gd name="T10" fmla="*/ 0 w 115"/>
                <a:gd name="T11" fmla="*/ 229 h 229"/>
                <a:gd name="T12" fmla="*/ 0 w 115"/>
                <a:gd name="T13" fmla="*/ 4 h 229"/>
                <a:gd name="T14" fmla="*/ 35 w 115"/>
                <a:gd name="T15" fmla="*/ 4 h 229"/>
                <a:gd name="T16" fmla="*/ 35 w 115"/>
                <a:gd name="T17" fmla="*/ 51 h 229"/>
                <a:gd name="T18" fmla="*/ 36 w 115"/>
                <a:gd name="T19" fmla="*/ 51 h 229"/>
                <a:gd name="T20" fmla="*/ 59 w 115"/>
                <a:gd name="T21" fmla="*/ 14 h 229"/>
                <a:gd name="T22" fmla="*/ 94 w 115"/>
                <a:gd name="T23" fmla="*/ 0 h 229"/>
                <a:gd name="T24" fmla="*/ 115 w 115"/>
                <a:gd name="T25" fmla="*/ 3 h 229"/>
                <a:gd name="T26" fmla="*/ 115 w 115"/>
                <a:gd name="T27" fmla="*/ 41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5" h="229">
                  <a:moveTo>
                    <a:pt x="115" y="41"/>
                  </a:moveTo>
                  <a:cubicBezTo>
                    <a:pt x="108" y="36"/>
                    <a:pt x="100" y="33"/>
                    <a:pt x="88" y="33"/>
                  </a:cubicBezTo>
                  <a:cubicBezTo>
                    <a:pt x="72" y="33"/>
                    <a:pt x="59" y="41"/>
                    <a:pt x="50" y="56"/>
                  </a:cubicBezTo>
                  <a:cubicBezTo>
                    <a:pt x="40" y="71"/>
                    <a:pt x="35" y="90"/>
                    <a:pt x="35" y="114"/>
                  </a:cubicBezTo>
                  <a:cubicBezTo>
                    <a:pt x="35" y="229"/>
                    <a:pt x="35" y="229"/>
                    <a:pt x="35" y="229"/>
                  </a:cubicBezTo>
                  <a:cubicBezTo>
                    <a:pt x="0" y="229"/>
                    <a:pt x="0" y="229"/>
                    <a:pt x="0" y="229"/>
                  </a:cubicBezTo>
                  <a:cubicBezTo>
                    <a:pt x="0" y="4"/>
                    <a:pt x="0" y="4"/>
                    <a:pt x="0" y="4"/>
                  </a:cubicBezTo>
                  <a:cubicBezTo>
                    <a:pt x="35" y="4"/>
                    <a:pt x="35" y="4"/>
                    <a:pt x="35" y="4"/>
                  </a:cubicBezTo>
                  <a:cubicBezTo>
                    <a:pt x="35" y="51"/>
                    <a:pt x="35" y="51"/>
                    <a:pt x="35" y="51"/>
                  </a:cubicBezTo>
                  <a:cubicBezTo>
                    <a:pt x="36" y="51"/>
                    <a:pt x="36" y="51"/>
                    <a:pt x="36" y="51"/>
                  </a:cubicBezTo>
                  <a:cubicBezTo>
                    <a:pt x="41" y="35"/>
                    <a:pt x="48" y="23"/>
                    <a:pt x="59" y="14"/>
                  </a:cubicBezTo>
                  <a:cubicBezTo>
                    <a:pt x="69" y="5"/>
                    <a:pt x="80" y="0"/>
                    <a:pt x="94" y="0"/>
                  </a:cubicBezTo>
                  <a:cubicBezTo>
                    <a:pt x="103" y="0"/>
                    <a:pt x="110" y="1"/>
                    <a:pt x="115" y="3"/>
                  </a:cubicBezTo>
                  <a:lnTo>
                    <a:pt x="115" y="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5" name="Rectangle 17"/>
            <p:cNvSpPr>
              <a:spLocks noChangeArrowheads="1"/>
            </p:cNvSpPr>
            <p:nvPr userDrawn="1"/>
          </p:nvSpPr>
          <p:spPr bwMode="auto">
            <a:xfrm>
              <a:off x="3330" y="392"/>
              <a:ext cx="86" cy="78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6" name="Freeform 18"/>
            <p:cNvSpPr>
              <a:spLocks noEditPoints="1"/>
            </p:cNvSpPr>
            <p:nvPr userDrawn="1"/>
          </p:nvSpPr>
          <p:spPr bwMode="auto">
            <a:xfrm>
              <a:off x="3543" y="392"/>
              <a:ext cx="483" cy="797"/>
            </a:xfrm>
            <a:custGeom>
              <a:avLst/>
              <a:gdLst>
                <a:gd name="T0" fmla="*/ 204 w 204"/>
                <a:gd name="T1" fmla="*/ 332 h 337"/>
                <a:gd name="T2" fmla="*/ 168 w 204"/>
                <a:gd name="T3" fmla="*/ 332 h 337"/>
                <a:gd name="T4" fmla="*/ 168 w 204"/>
                <a:gd name="T5" fmla="*/ 294 h 337"/>
                <a:gd name="T6" fmla="*/ 168 w 204"/>
                <a:gd name="T7" fmla="*/ 294 h 337"/>
                <a:gd name="T8" fmla="*/ 92 w 204"/>
                <a:gd name="T9" fmla="*/ 337 h 337"/>
                <a:gd name="T10" fmla="*/ 25 w 204"/>
                <a:gd name="T11" fmla="*/ 307 h 337"/>
                <a:gd name="T12" fmla="*/ 0 w 204"/>
                <a:gd name="T13" fmla="*/ 225 h 337"/>
                <a:gd name="T14" fmla="*/ 28 w 204"/>
                <a:gd name="T15" fmla="*/ 136 h 337"/>
                <a:gd name="T16" fmla="*/ 101 w 204"/>
                <a:gd name="T17" fmla="*/ 102 h 337"/>
                <a:gd name="T18" fmla="*/ 168 w 204"/>
                <a:gd name="T19" fmla="*/ 138 h 337"/>
                <a:gd name="T20" fmla="*/ 168 w 204"/>
                <a:gd name="T21" fmla="*/ 138 h 337"/>
                <a:gd name="T22" fmla="*/ 168 w 204"/>
                <a:gd name="T23" fmla="*/ 0 h 337"/>
                <a:gd name="T24" fmla="*/ 204 w 204"/>
                <a:gd name="T25" fmla="*/ 0 h 337"/>
                <a:gd name="T26" fmla="*/ 204 w 204"/>
                <a:gd name="T27" fmla="*/ 332 h 337"/>
                <a:gd name="T28" fmla="*/ 168 w 204"/>
                <a:gd name="T29" fmla="*/ 230 h 337"/>
                <a:gd name="T30" fmla="*/ 168 w 204"/>
                <a:gd name="T31" fmla="*/ 197 h 337"/>
                <a:gd name="T32" fmla="*/ 150 w 204"/>
                <a:gd name="T33" fmla="*/ 151 h 337"/>
                <a:gd name="T34" fmla="*/ 106 w 204"/>
                <a:gd name="T35" fmla="*/ 133 h 337"/>
                <a:gd name="T36" fmla="*/ 55 w 204"/>
                <a:gd name="T37" fmla="*/ 157 h 337"/>
                <a:gd name="T38" fmla="*/ 37 w 204"/>
                <a:gd name="T39" fmla="*/ 223 h 337"/>
                <a:gd name="T40" fmla="*/ 54 w 204"/>
                <a:gd name="T41" fmla="*/ 284 h 337"/>
                <a:gd name="T42" fmla="*/ 102 w 204"/>
                <a:gd name="T43" fmla="*/ 306 h 337"/>
                <a:gd name="T44" fmla="*/ 150 w 204"/>
                <a:gd name="T45" fmla="*/ 285 h 337"/>
                <a:gd name="T46" fmla="*/ 168 w 204"/>
                <a:gd name="T47" fmla="*/ 230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04" h="337">
                  <a:moveTo>
                    <a:pt x="204" y="332"/>
                  </a:moveTo>
                  <a:cubicBezTo>
                    <a:pt x="168" y="332"/>
                    <a:pt x="168" y="332"/>
                    <a:pt x="168" y="332"/>
                  </a:cubicBezTo>
                  <a:cubicBezTo>
                    <a:pt x="168" y="294"/>
                    <a:pt x="168" y="294"/>
                    <a:pt x="168" y="294"/>
                  </a:cubicBezTo>
                  <a:cubicBezTo>
                    <a:pt x="168" y="294"/>
                    <a:pt x="168" y="294"/>
                    <a:pt x="168" y="294"/>
                  </a:cubicBezTo>
                  <a:cubicBezTo>
                    <a:pt x="151" y="323"/>
                    <a:pt x="126" y="337"/>
                    <a:pt x="92" y="337"/>
                  </a:cubicBezTo>
                  <a:cubicBezTo>
                    <a:pt x="64" y="337"/>
                    <a:pt x="42" y="327"/>
                    <a:pt x="25" y="307"/>
                  </a:cubicBezTo>
                  <a:cubicBezTo>
                    <a:pt x="9" y="286"/>
                    <a:pt x="0" y="259"/>
                    <a:pt x="0" y="225"/>
                  </a:cubicBezTo>
                  <a:cubicBezTo>
                    <a:pt x="0" y="188"/>
                    <a:pt x="10" y="158"/>
                    <a:pt x="28" y="136"/>
                  </a:cubicBezTo>
                  <a:cubicBezTo>
                    <a:pt x="46" y="113"/>
                    <a:pt x="71" y="102"/>
                    <a:pt x="101" y="102"/>
                  </a:cubicBezTo>
                  <a:cubicBezTo>
                    <a:pt x="132" y="102"/>
                    <a:pt x="154" y="114"/>
                    <a:pt x="168" y="138"/>
                  </a:cubicBezTo>
                  <a:cubicBezTo>
                    <a:pt x="168" y="138"/>
                    <a:pt x="168" y="138"/>
                    <a:pt x="168" y="138"/>
                  </a:cubicBezTo>
                  <a:cubicBezTo>
                    <a:pt x="168" y="0"/>
                    <a:pt x="168" y="0"/>
                    <a:pt x="168" y="0"/>
                  </a:cubicBezTo>
                  <a:cubicBezTo>
                    <a:pt x="204" y="0"/>
                    <a:pt x="204" y="0"/>
                    <a:pt x="204" y="0"/>
                  </a:cubicBezTo>
                  <a:lnTo>
                    <a:pt x="204" y="332"/>
                  </a:lnTo>
                  <a:close/>
                  <a:moveTo>
                    <a:pt x="168" y="230"/>
                  </a:moveTo>
                  <a:cubicBezTo>
                    <a:pt x="168" y="197"/>
                    <a:pt x="168" y="197"/>
                    <a:pt x="168" y="197"/>
                  </a:cubicBezTo>
                  <a:cubicBezTo>
                    <a:pt x="168" y="179"/>
                    <a:pt x="162" y="163"/>
                    <a:pt x="150" y="151"/>
                  </a:cubicBezTo>
                  <a:cubicBezTo>
                    <a:pt x="138" y="139"/>
                    <a:pt x="123" y="133"/>
                    <a:pt x="106" y="133"/>
                  </a:cubicBezTo>
                  <a:cubicBezTo>
                    <a:pt x="85" y="133"/>
                    <a:pt x="68" y="141"/>
                    <a:pt x="55" y="157"/>
                  </a:cubicBezTo>
                  <a:cubicBezTo>
                    <a:pt x="43" y="173"/>
                    <a:pt x="37" y="195"/>
                    <a:pt x="37" y="223"/>
                  </a:cubicBezTo>
                  <a:cubicBezTo>
                    <a:pt x="37" y="249"/>
                    <a:pt x="43" y="269"/>
                    <a:pt x="54" y="284"/>
                  </a:cubicBezTo>
                  <a:cubicBezTo>
                    <a:pt x="66" y="299"/>
                    <a:pt x="82" y="306"/>
                    <a:pt x="102" y="306"/>
                  </a:cubicBezTo>
                  <a:cubicBezTo>
                    <a:pt x="121" y="306"/>
                    <a:pt x="137" y="299"/>
                    <a:pt x="150" y="285"/>
                  </a:cubicBezTo>
                  <a:cubicBezTo>
                    <a:pt x="162" y="271"/>
                    <a:pt x="168" y="252"/>
                    <a:pt x="168" y="2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7" name="Freeform 19"/>
            <p:cNvSpPr>
              <a:spLocks/>
            </p:cNvSpPr>
            <p:nvPr userDrawn="1"/>
          </p:nvSpPr>
          <p:spPr bwMode="auto">
            <a:xfrm>
              <a:off x="4123" y="645"/>
              <a:ext cx="728" cy="532"/>
            </a:xfrm>
            <a:custGeom>
              <a:avLst/>
              <a:gdLst>
                <a:gd name="T0" fmla="*/ 308 w 308"/>
                <a:gd name="T1" fmla="*/ 0 h 225"/>
                <a:gd name="T2" fmla="*/ 242 w 308"/>
                <a:gd name="T3" fmla="*/ 225 h 225"/>
                <a:gd name="T4" fmla="*/ 206 w 308"/>
                <a:gd name="T5" fmla="*/ 225 h 225"/>
                <a:gd name="T6" fmla="*/ 160 w 308"/>
                <a:gd name="T7" fmla="*/ 64 h 225"/>
                <a:gd name="T8" fmla="*/ 157 w 308"/>
                <a:gd name="T9" fmla="*/ 43 h 225"/>
                <a:gd name="T10" fmla="*/ 156 w 308"/>
                <a:gd name="T11" fmla="*/ 43 h 225"/>
                <a:gd name="T12" fmla="*/ 151 w 308"/>
                <a:gd name="T13" fmla="*/ 64 h 225"/>
                <a:gd name="T14" fmla="*/ 102 w 308"/>
                <a:gd name="T15" fmla="*/ 225 h 225"/>
                <a:gd name="T16" fmla="*/ 67 w 308"/>
                <a:gd name="T17" fmla="*/ 225 h 225"/>
                <a:gd name="T18" fmla="*/ 0 w 308"/>
                <a:gd name="T19" fmla="*/ 0 h 225"/>
                <a:gd name="T20" fmla="*/ 37 w 308"/>
                <a:gd name="T21" fmla="*/ 0 h 225"/>
                <a:gd name="T22" fmla="*/ 83 w 308"/>
                <a:gd name="T23" fmla="*/ 169 h 225"/>
                <a:gd name="T24" fmla="*/ 86 w 308"/>
                <a:gd name="T25" fmla="*/ 189 h 225"/>
                <a:gd name="T26" fmla="*/ 87 w 308"/>
                <a:gd name="T27" fmla="*/ 189 h 225"/>
                <a:gd name="T28" fmla="*/ 91 w 308"/>
                <a:gd name="T29" fmla="*/ 169 h 225"/>
                <a:gd name="T30" fmla="*/ 142 w 308"/>
                <a:gd name="T31" fmla="*/ 0 h 225"/>
                <a:gd name="T32" fmla="*/ 174 w 308"/>
                <a:gd name="T33" fmla="*/ 0 h 225"/>
                <a:gd name="T34" fmla="*/ 220 w 308"/>
                <a:gd name="T35" fmla="*/ 169 h 225"/>
                <a:gd name="T36" fmla="*/ 223 w 308"/>
                <a:gd name="T37" fmla="*/ 190 h 225"/>
                <a:gd name="T38" fmla="*/ 225 w 308"/>
                <a:gd name="T39" fmla="*/ 190 h 225"/>
                <a:gd name="T40" fmla="*/ 228 w 308"/>
                <a:gd name="T41" fmla="*/ 169 h 225"/>
                <a:gd name="T42" fmla="*/ 273 w 308"/>
                <a:gd name="T43" fmla="*/ 0 h 225"/>
                <a:gd name="T44" fmla="*/ 308 w 308"/>
                <a:gd name="T45" fmla="*/ 0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08" h="225">
                  <a:moveTo>
                    <a:pt x="308" y="0"/>
                  </a:moveTo>
                  <a:cubicBezTo>
                    <a:pt x="242" y="225"/>
                    <a:pt x="242" y="225"/>
                    <a:pt x="242" y="225"/>
                  </a:cubicBezTo>
                  <a:cubicBezTo>
                    <a:pt x="206" y="225"/>
                    <a:pt x="206" y="225"/>
                    <a:pt x="206" y="225"/>
                  </a:cubicBezTo>
                  <a:cubicBezTo>
                    <a:pt x="160" y="64"/>
                    <a:pt x="160" y="64"/>
                    <a:pt x="160" y="64"/>
                  </a:cubicBezTo>
                  <a:cubicBezTo>
                    <a:pt x="158" y="59"/>
                    <a:pt x="157" y="52"/>
                    <a:pt x="157" y="43"/>
                  </a:cubicBezTo>
                  <a:cubicBezTo>
                    <a:pt x="156" y="43"/>
                    <a:pt x="156" y="43"/>
                    <a:pt x="156" y="43"/>
                  </a:cubicBezTo>
                  <a:cubicBezTo>
                    <a:pt x="155" y="49"/>
                    <a:pt x="154" y="55"/>
                    <a:pt x="151" y="64"/>
                  </a:cubicBezTo>
                  <a:cubicBezTo>
                    <a:pt x="102" y="225"/>
                    <a:pt x="102" y="225"/>
                    <a:pt x="102" y="225"/>
                  </a:cubicBezTo>
                  <a:cubicBezTo>
                    <a:pt x="67" y="225"/>
                    <a:pt x="67" y="225"/>
                    <a:pt x="67" y="225"/>
                  </a:cubicBezTo>
                  <a:cubicBezTo>
                    <a:pt x="0" y="0"/>
                    <a:pt x="0" y="0"/>
                    <a:pt x="0" y="0"/>
                  </a:cubicBezTo>
                  <a:cubicBezTo>
                    <a:pt x="37" y="0"/>
                    <a:pt x="37" y="0"/>
                    <a:pt x="37" y="0"/>
                  </a:cubicBezTo>
                  <a:cubicBezTo>
                    <a:pt x="83" y="169"/>
                    <a:pt x="83" y="169"/>
                    <a:pt x="83" y="169"/>
                  </a:cubicBezTo>
                  <a:cubicBezTo>
                    <a:pt x="84" y="175"/>
                    <a:pt x="85" y="182"/>
                    <a:pt x="86" y="189"/>
                  </a:cubicBezTo>
                  <a:cubicBezTo>
                    <a:pt x="87" y="189"/>
                    <a:pt x="87" y="189"/>
                    <a:pt x="87" y="189"/>
                  </a:cubicBezTo>
                  <a:cubicBezTo>
                    <a:pt x="88" y="184"/>
                    <a:pt x="89" y="177"/>
                    <a:pt x="91" y="169"/>
                  </a:cubicBezTo>
                  <a:cubicBezTo>
                    <a:pt x="142" y="0"/>
                    <a:pt x="142" y="0"/>
                    <a:pt x="142" y="0"/>
                  </a:cubicBezTo>
                  <a:cubicBezTo>
                    <a:pt x="174" y="0"/>
                    <a:pt x="174" y="0"/>
                    <a:pt x="174" y="0"/>
                  </a:cubicBezTo>
                  <a:cubicBezTo>
                    <a:pt x="220" y="169"/>
                    <a:pt x="220" y="169"/>
                    <a:pt x="220" y="169"/>
                  </a:cubicBezTo>
                  <a:cubicBezTo>
                    <a:pt x="222" y="175"/>
                    <a:pt x="223" y="182"/>
                    <a:pt x="223" y="190"/>
                  </a:cubicBezTo>
                  <a:cubicBezTo>
                    <a:pt x="225" y="190"/>
                    <a:pt x="225" y="190"/>
                    <a:pt x="225" y="190"/>
                  </a:cubicBezTo>
                  <a:cubicBezTo>
                    <a:pt x="225" y="183"/>
                    <a:pt x="226" y="176"/>
                    <a:pt x="228" y="169"/>
                  </a:cubicBezTo>
                  <a:cubicBezTo>
                    <a:pt x="273" y="0"/>
                    <a:pt x="273" y="0"/>
                    <a:pt x="273" y="0"/>
                  </a:cubicBezTo>
                  <a:lnTo>
                    <a:pt x="30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8" name="Freeform 20"/>
            <p:cNvSpPr>
              <a:spLocks noEditPoints="1"/>
            </p:cNvSpPr>
            <p:nvPr userDrawn="1"/>
          </p:nvSpPr>
          <p:spPr bwMode="auto">
            <a:xfrm>
              <a:off x="4939" y="401"/>
              <a:ext cx="109" cy="776"/>
            </a:xfrm>
            <a:custGeom>
              <a:avLst/>
              <a:gdLst>
                <a:gd name="T0" fmla="*/ 46 w 46"/>
                <a:gd name="T1" fmla="*/ 23 h 328"/>
                <a:gd name="T2" fmla="*/ 39 w 46"/>
                <a:gd name="T3" fmla="*/ 40 h 328"/>
                <a:gd name="T4" fmla="*/ 23 w 46"/>
                <a:gd name="T5" fmla="*/ 46 h 328"/>
                <a:gd name="T6" fmla="*/ 6 w 46"/>
                <a:gd name="T7" fmla="*/ 40 h 328"/>
                <a:gd name="T8" fmla="*/ 0 w 46"/>
                <a:gd name="T9" fmla="*/ 23 h 328"/>
                <a:gd name="T10" fmla="*/ 6 w 46"/>
                <a:gd name="T11" fmla="*/ 7 h 328"/>
                <a:gd name="T12" fmla="*/ 23 w 46"/>
                <a:gd name="T13" fmla="*/ 0 h 328"/>
                <a:gd name="T14" fmla="*/ 39 w 46"/>
                <a:gd name="T15" fmla="*/ 7 h 328"/>
                <a:gd name="T16" fmla="*/ 46 w 46"/>
                <a:gd name="T17" fmla="*/ 23 h 328"/>
                <a:gd name="T18" fmla="*/ 40 w 46"/>
                <a:gd name="T19" fmla="*/ 328 h 328"/>
                <a:gd name="T20" fmla="*/ 4 w 46"/>
                <a:gd name="T21" fmla="*/ 328 h 328"/>
                <a:gd name="T22" fmla="*/ 4 w 46"/>
                <a:gd name="T23" fmla="*/ 103 h 328"/>
                <a:gd name="T24" fmla="*/ 40 w 46"/>
                <a:gd name="T25" fmla="*/ 103 h 328"/>
                <a:gd name="T26" fmla="*/ 40 w 46"/>
                <a:gd name="T27" fmla="*/ 328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6" h="328">
                  <a:moveTo>
                    <a:pt x="46" y="23"/>
                  </a:moveTo>
                  <a:cubicBezTo>
                    <a:pt x="46" y="30"/>
                    <a:pt x="44" y="35"/>
                    <a:pt x="39" y="40"/>
                  </a:cubicBezTo>
                  <a:cubicBezTo>
                    <a:pt x="34" y="44"/>
                    <a:pt x="29" y="46"/>
                    <a:pt x="23" y="46"/>
                  </a:cubicBezTo>
                  <a:cubicBezTo>
                    <a:pt x="16" y="46"/>
                    <a:pt x="11" y="44"/>
                    <a:pt x="6" y="40"/>
                  </a:cubicBezTo>
                  <a:cubicBezTo>
                    <a:pt x="2" y="36"/>
                    <a:pt x="0" y="30"/>
                    <a:pt x="0" y="23"/>
                  </a:cubicBezTo>
                  <a:cubicBezTo>
                    <a:pt x="0" y="17"/>
                    <a:pt x="2" y="11"/>
                    <a:pt x="6" y="7"/>
                  </a:cubicBezTo>
                  <a:cubicBezTo>
                    <a:pt x="10" y="2"/>
                    <a:pt x="16" y="0"/>
                    <a:pt x="23" y="0"/>
                  </a:cubicBezTo>
                  <a:cubicBezTo>
                    <a:pt x="29" y="0"/>
                    <a:pt x="35" y="2"/>
                    <a:pt x="39" y="7"/>
                  </a:cubicBezTo>
                  <a:cubicBezTo>
                    <a:pt x="44" y="11"/>
                    <a:pt x="46" y="17"/>
                    <a:pt x="46" y="23"/>
                  </a:cubicBezTo>
                  <a:close/>
                  <a:moveTo>
                    <a:pt x="40" y="328"/>
                  </a:moveTo>
                  <a:cubicBezTo>
                    <a:pt x="4" y="328"/>
                    <a:pt x="4" y="328"/>
                    <a:pt x="4" y="328"/>
                  </a:cubicBezTo>
                  <a:cubicBezTo>
                    <a:pt x="4" y="103"/>
                    <a:pt x="4" y="103"/>
                    <a:pt x="4" y="103"/>
                  </a:cubicBezTo>
                  <a:cubicBezTo>
                    <a:pt x="40" y="103"/>
                    <a:pt x="40" y="103"/>
                    <a:pt x="40" y="103"/>
                  </a:cubicBezTo>
                  <a:lnTo>
                    <a:pt x="40" y="3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9" name="Freeform 21"/>
            <p:cNvSpPr>
              <a:spLocks noEditPoints="1"/>
            </p:cNvSpPr>
            <p:nvPr userDrawn="1"/>
          </p:nvSpPr>
          <p:spPr bwMode="auto">
            <a:xfrm>
              <a:off x="5164" y="392"/>
              <a:ext cx="480" cy="797"/>
            </a:xfrm>
            <a:custGeom>
              <a:avLst/>
              <a:gdLst>
                <a:gd name="T0" fmla="*/ 203 w 203"/>
                <a:gd name="T1" fmla="*/ 332 h 337"/>
                <a:gd name="T2" fmla="*/ 168 w 203"/>
                <a:gd name="T3" fmla="*/ 332 h 337"/>
                <a:gd name="T4" fmla="*/ 168 w 203"/>
                <a:gd name="T5" fmla="*/ 294 h 337"/>
                <a:gd name="T6" fmla="*/ 167 w 203"/>
                <a:gd name="T7" fmla="*/ 294 h 337"/>
                <a:gd name="T8" fmla="*/ 91 w 203"/>
                <a:gd name="T9" fmla="*/ 337 h 337"/>
                <a:gd name="T10" fmla="*/ 24 w 203"/>
                <a:gd name="T11" fmla="*/ 307 h 337"/>
                <a:gd name="T12" fmla="*/ 0 w 203"/>
                <a:gd name="T13" fmla="*/ 225 h 337"/>
                <a:gd name="T14" fmla="*/ 27 w 203"/>
                <a:gd name="T15" fmla="*/ 136 h 337"/>
                <a:gd name="T16" fmla="*/ 101 w 203"/>
                <a:gd name="T17" fmla="*/ 102 h 337"/>
                <a:gd name="T18" fmla="*/ 167 w 203"/>
                <a:gd name="T19" fmla="*/ 138 h 337"/>
                <a:gd name="T20" fmla="*/ 168 w 203"/>
                <a:gd name="T21" fmla="*/ 138 h 337"/>
                <a:gd name="T22" fmla="*/ 168 w 203"/>
                <a:gd name="T23" fmla="*/ 0 h 337"/>
                <a:gd name="T24" fmla="*/ 203 w 203"/>
                <a:gd name="T25" fmla="*/ 0 h 337"/>
                <a:gd name="T26" fmla="*/ 203 w 203"/>
                <a:gd name="T27" fmla="*/ 332 h 337"/>
                <a:gd name="T28" fmla="*/ 168 w 203"/>
                <a:gd name="T29" fmla="*/ 230 h 337"/>
                <a:gd name="T30" fmla="*/ 168 w 203"/>
                <a:gd name="T31" fmla="*/ 197 h 337"/>
                <a:gd name="T32" fmla="*/ 149 w 203"/>
                <a:gd name="T33" fmla="*/ 151 h 337"/>
                <a:gd name="T34" fmla="*/ 105 w 203"/>
                <a:gd name="T35" fmla="*/ 133 h 337"/>
                <a:gd name="T36" fmla="*/ 54 w 203"/>
                <a:gd name="T37" fmla="*/ 157 h 337"/>
                <a:gd name="T38" fmla="*/ 36 w 203"/>
                <a:gd name="T39" fmla="*/ 223 h 337"/>
                <a:gd name="T40" fmla="*/ 53 w 203"/>
                <a:gd name="T41" fmla="*/ 284 h 337"/>
                <a:gd name="T42" fmla="*/ 101 w 203"/>
                <a:gd name="T43" fmla="*/ 306 h 337"/>
                <a:gd name="T44" fmla="*/ 149 w 203"/>
                <a:gd name="T45" fmla="*/ 285 h 337"/>
                <a:gd name="T46" fmla="*/ 168 w 203"/>
                <a:gd name="T47" fmla="*/ 230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03" h="337">
                  <a:moveTo>
                    <a:pt x="203" y="332"/>
                  </a:moveTo>
                  <a:cubicBezTo>
                    <a:pt x="168" y="332"/>
                    <a:pt x="168" y="332"/>
                    <a:pt x="168" y="332"/>
                  </a:cubicBezTo>
                  <a:cubicBezTo>
                    <a:pt x="168" y="294"/>
                    <a:pt x="168" y="294"/>
                    <a:pt x="168" y="294"/>
                  </a:cubicBezTo>
                  <a:cubicBezTo>
                    <a:pt x="167" y="294"/>
                    <a:pt x="167" y="294"/>
                    <a:pt x="167" y="294"/>
                  </a:cubicBezTo>
                  <a:cubicBezTo>
                    <a:pt x="150" y="323"/>
                    <a:pt x="125" y="337"/>
                    <a:pt x="91" y="337"/>
                  </a:cubicBezTo>
                  <a:cubicBezTo>
                    <a:pt x="63" y="337"/>
                    <a:pt x="41" y="327"/>
                    <a:pt x="24" y="307"/>
                  </a:cubicBezTo>
                  <a:cubicBezTo>
                    <a:pt x="8" y="286"/>
                    <a:pt x="0" y="259"/>
                    <a:pt x="0" y="225"/>
                  </a:cubicBezTo>
                  <a:cubicBezTo>
                    <a:pt x="0" y="188"/>
                    <a:pt x="9" y="158"/>
                    <a:pt x="27" y="136"/>
                  </a:cubicBezTo>
                  <a:cubicBezTo>
                    <a:pt x="45" y="113"/>
                    <a:pt x="70" y="102"/>
                    <a:pt x="101" y="102"/>
                  </a:cubicBezTo>
                  <a:cubicBezTo>
                    <a:pt x="131" y="102"/>
                    <a:pt x="153" y="114"/>
                    <a:pt x="167" y="138"/>
                  </a:cubicBezTo>
                  <a:cubicBezTo>
                    <a:pt x="168" y="138"/>
                    <a:pt x="168" y="138"/>
                    <a:pt x="168" y="138"/>
                  </a:cubicBezTo>
                  <a:cubicBezTo>
                    <a:pt x="168" y="0"/>
                    <a:pt x="168" y="0"/>
                    <a:pt x="168" y="0"/>
                  </a:cubicBezTo>
                  <a:cubicBezTo>
                    <a:pt x="203" y="0"/>
                    <a:pt x="203" y="0"/>
                    <a:pt x="203" y="0"/>
                  </a:cubicBezTo>
                  <a:lnTo>
                    <a:pt x="203" y="332"/>
                  </a:lnTo>
                  <a:close/>
                  <a:moveTo>
                    <a:pt x="168" y="230"/>
                  </a:moveTo>
                  <a:cubicBezTo>
                    <a:pt x="168" y="197"/>
                    <a:pt x="168" y="197"/>
                    <a:pt x="168" y="197"/>
                  </a:cubicBezTo>
                  <a:cubicBezTo>
                    <a:pt x="168" y="179"/>
                    <a:pt x="162" y="163"/>
                    <a:pt x="149" y="151"/>
                  </a:cubicBezTo>
                  <a:cubicBezTo>
                    <a:pt x="137" y="139"/>
                    <a:pt x="122" y="133"/>
                    <a:pt x="105" y="133"/>
                  </a:cubicBezTo>
                  <a:cubicBezTo>
                    <a:pt x="84" y="133"/>
                    <a:pt x="67" y="141"/>
                    <a:pt x="54" y="157"/>
                  </a:cubicBezTo>
                  <a:cubicBezTo>
                    <a:pt x="42" y="173"/>
                    <a:pt x="36" y="195"/>
                    <a:pt x="36" y="223"/>
                  </a:cubicBezTo>
                  <a:cubicBezTo>
                    <a:pt x="36" y="249"/>
                    <a:pt x="42" y="269"/>
                    <a:pt x="53" y="284"/>
                  </a:cubicBezTo>
                  <a:cubicBezTo>
                    <a:pt x="65" y="299"/>
                    <a:pt x="81" y="306"/>
                    <a:pt x="101" y="306"/>
                  </a:cubicBezTo>
                  <a:cubicBezTo>
                    <a:pt x="120" y="306"/>
                    <a:pt x="136" y="299"/>
                    <a:pt x="149" y="285"/>
                  </a:cubicBezTo>
                  <a:cubicBezTo>
                    <a:pt x="161" y="271"/>
                    <a:pt x="168" y="252"/>
                    <a:pt x="168" y="2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0" name="Freeform 22"/>
            <p:cNvSpPr>
              <a:spLocks noEditPoints="1"/>
            </p:cNvSpPr>
            <p:nvPr userDrawn="1"/>
          </p:nvSpPr>
          <p:spPr bwMode="auto">
            <a:xfrm>
              <a:off x="5774" y="633"/>
              <a:ext cx="454" cy="556"/>
            </a:xfrm>
            <a:custGeom>
              <a:avLst/>
              <a:gdLst>
                <a:gd name="T0" fmla="*/ 192 w 192"/>
                <a:gd name="T1" fmla="*/ 126 h 235"/>
                <a:gd name="T2" fmla="*/ 36 w 192"/>
                <a:gd name="T3" fmla="*/ 126 h 235"/>
                <a:gd name="T4" fmla="*/ 56 w 192"/>
                <a:gd name="T5" fmla="*/ 184 h 235"/>
                <a:gd name="T6" fmla="*/ 108 w 192"/>
                <a:gd name="T7" fmla="*/ 204 h 235"/>
                <a:gd name="T8" fmla="*/ 177 w 192"/>
                <a:gd name="T9" fmla="*/ 180 h 235"/>
                <a:gd name="T10" fmla="*/ 177 w 192"/>
                <a:gd name="T11" fmla="*/ 213 h 235"/>
                <a:gd name="T12" fmla="*/ 100 w 192"/>
                <a:gd name="T13" fmla="*/ 235 h 235"/>
                <a:gd name="T14" fmla="*/ 26 w 192"/>
                <a:gd name="T15" fmla="*/ 204 h 235"/>
                <a:gd name="T16" fmla="*/ 0 w 192"/>
                <a:gd name="T17" fmla="*/ 118 h 235"/>
                <a:gd name="T18" fmla="*/ 13 w 192"/>
                <a:gd name="T19" fmla="*/ 58 h 235"/>
                <a:gd name="T20" fmla="*/ 49 w 192"/>
                <a:gd name="T21" fmla="*/ 15 h 235"/>
                <a:gd name="T22" fmla="*/ 101 w 192"/>
                <a:gd name="T23" fmla="*/ 0 h 235"/>
                <a:gd name="T24" fmla="*/ 168 w 192"/>
                <a:gd name="T25" fmla="*/ 28 h 235"/>
                <a:gd name="T26" fmla="*/ 192 w 192"/>
                <a:gd name="T27" fmla="*/ 108 h 235"/>
                <a:gd name="T28" fmla="*/ 192 w 192"/>
                <a:gd name="T29" fmla="*/ 126 h 235"/>
                <a:gd name="T30" fmla="*/ 156 w 192"/>
                <a:gd name="T31" fmla="*/ 96 h 235"/>
                <a:gd name="T32" fmla="*/ 141 w 192"/>
                <a:gd name="T33" fmla="*/ 48 h 235"/>
                <a:gd name="T34" fmla="*/ 101 w 192"/>
                <a:gd name="T35" fmla="*/ 31 h 235"/>
                <a:gd name="T36" fmla="*/ 59 w 192"/>
                <a:gd name="T37" fmla="*/ 48 h 235"/>
                <a:gd name="T38" fmla="*/ 37 w 192"/>
                <a:gd name="T39" fmla="*/ 96 h 235"/>
                <a:gd name="T40" fmla="*/ 156 w 192"/>
                <a:gd name="T41" fmla="*/ 96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92" h="235">
                  <a:moveTo>
                    <a:pt x="192" y="126"/>
                  </a:moveTo>
                  <a:cubicBezTo>
                    <a:pt x="36" y="126"/>
                    <a:pt x="36" y="126"/>
                    <a:pt x="36" y="126"/>
                  </a:cubicBezTo>
                  <a:cubicBezTo>
                    <a:pt x="37" y="152"/>
                    <a:pt x="43" y="171"/>
                    <a:pt x="56" y="184"/>
                  </a:cubicBezTo>
                  <a:cubicBezTo>
                    <a:pt x="69" y="198"/>
                    <a:pt x="86" y="204"/>
                    <a:pt x="108" y="204"/>
                  </a:cubicBezTo>
                  <a:cubicBezTo>
                    <a:pt x="133" y="204"/>
                    <a:pt x="156" y="196"/>
                    <a:pt x="177" y="180"/>
                  </a:cubicBezTo>
                  <a:cubicBezTo>
                    <a:pt x="177" y="213"/>
                    <a:pt x="177" y="213"/>
                    <a:pt x="177" y="213"/>
                  </a:cubicBezTo>
                  <a:cubicBezTo>
                    <a:pt x="157" y="228"/>
                    <a:pt x="132" y="235"/>
                    <a:pt x="100" y="235"/>
                  </a:cubicBezTo>
                  <a:cubicBezTo>
                    <a:pt x="68" y="235"/>
                    <a:pt x="44" y="225"/>
                    <a:pt x="26" y="204"/>
                  </a:cubicBezTo>
                  <a:cubicBezTo>
                    <a:pt x="8" y="183"/>
                    <a:pt x="0" y="155"/>
                    <a:pt x="0" y="118"/>
                  </a:cubicBezTo>
                  <a:cubicBezTo>
                    <a:pt x="0" y="96"/>
                    <a:pt x="4" y="76"/>
                    <a:pt x="13" y="58"/>
                  </a:cubicBezTo>
                  <a:cubicBezTo>
                    <a:pt x="22" y="39"/>
                    <a:pt x="34" y="25"/>
                    <a:pt x="49" y="15"/>
                  </a:cubicBezTo>
                  <a:cubicBezTo>
                    <a:pt x="65" y="5"/>
                    <a:pt x="82" y="0"/>
                    <a:pt x="101" y="0"/>
                  </a:cubicBezTo>
                  <a:cubicBezTo>
                    <a:pt x="130" y="0"/>
                    <a:pt x="152" y="9"/>
                    <a:pt x="168" y="28"/>
                  </a:cubicBezTo>
                  <a:cubicBezTo>
                    <a:pt x="184" y="47"/>
                    <a:pt x="192" y="74"/>
                    <a:pt x="192" y="108"/>
                  </a:cubicBezTo>
                  <a:lnTo>
                    <a:pt x="192" y="126"/>
                  </a:lnTo>
                  <a:close/>
                  <a:moveTo>
                    <a:pt x="156" y="96"/>
                  </a:moveTo>
                  <a:cubicBezTo>
                    <a:pt x="156" y="75"/>
                    <a:pt x="151" y="59"/>
                    <a:pt x="141" y="48"/>
                  </a:cubicBezTo>
                  <a:cubicBezTo>
                    <a:pt x="132" y="36"/>
                    <a:pt x="118" y="31"/>
                    <a:pt x="101" y="31"/>
                  </a:cubicBezTo>
                  <a:cubicBezTo>
                    <a:pt x="84" y="31"/>
                    <a:pt x="70" y="37"/>
                    <a:pt x="59" y="48"/>
                  </a:cubicBezTo>
                  <a:cubicBezTo>
                    <a:pt x="47" y="60"/>
                    <a:pt x="40" y="76"/>
                    <a:pt x="37" y="96"/>
                  </a:cubicBezTo>
                  <a:lnTo>
                    <a:pt x="156" y="9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1" name="Freeform 23"/>
            <p:cNvSpPr>
              <a:spLocks noEditPoints="1"/>
            </p:cNvSpPr>
            <p:nvPr userDrawn="1"/>
          </p:nvSpPr>
          <p:spPr bwMode="auto">
            <a:xfrm>
              <a:off x="1426" y="1557"/>
              <a:ext cx="447" cy="743"/>
            </a:xfrm>
            <a:custGeom>
              <a:avLst/>
              <a:gdLst>
                <a:gd name="T0" fmla="*/ 189 w 189"/>
                <a:gd name="T1" fmla="*/ 93 h 314"/>
                <a:gd name="T2" fmla="*/ 158 w 189"/>
                <a:gd name="T3" fmla="*/ 167 h 314"/>
                <a:gd name="T4" fmla="*/ 77 w 189"/>
                <a:gd name="T5" fmla="*/ 195 h 314"/>
                <a:gd name="T6" fmla="*/ 36 w 189"/>
                <a:gd name="T7" fmla="*/ 195 h 314"/>
                <a:gd name="T8" fmla="*/ 36 w 189"/>
                <a:gd name="T9" fmla="*/ 314 h 314"/>
                <a:gd name="T10" fmla="*/ 0 w 189"/>
                <a:gd name="T11" fmla="*/ 314 h 314"/>
                <a:gd name="T12" fmla="*/ 0 w 189"/>
                <a:gd name="T13" fmla="*/ 0 h 314"/>
                <a:gd name="T14" fmla="*/ 85 w 189"/>
                <a:gd name="T15" fmla="*/ 0 h 314"/>
                <a:gd name="T16" fmla="*/ 161 w 189"/>
                <a:gd name="T17" fmla="*/ 24 h 314"/>
                <a:gd name="T18" fmla="*/ 189 w 189"/>
                <a:gd name="T19" fmla="*/ 93 h 314"/>
                <a:gd name="T20" fmla="*/ 151 w 189"/>
                <a:gd name="T21" fmla="*/ 95 h 314"/>
                <a:gd name="T22" fmla="*/ 78 w 189"/>
                <a:gd name="T23" fmla="*/ 33 h 314"/>
                <a:gd name="T24" fmla="*/ 36 w 189"/>
                <a:gd name="T25" fmla="*/ 33 h 314"/>
                <a:gd name="T26" fmla="*/ 36 w 189"/>
                <a:gd name="T27" fmla="*/ 162 h 314"/>
                <a:gd name="T28" fmla="*/ 74 w 189"/>
                <a:gd name="T29" fmla="*/ 162 h 314"/>
                <a:gd name="T30" fmla="*/ 131 w 189"/>
                <a:gd name="T31" fmla="*/ 144 h 314"/>
                <a:gd name="T32" fmla="*/ 151 w 189"/>
                <a:gd name="T33" fmla="*/ 9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89" h="314">
                  <a:moveTo>
                    <a:pt x="189" y="93"/>
                  </a:moveTo>
                  <a:cubicBezTo>
                    <a:pt x="189" y="124"/>
                    <a:pt x="178" y="148"/>
                    <a:pt x="158" y="167"/>
                  </a:cubicBezTo>
                  <a:cubicBezTo>
                    <a:pt x="137" y="185"/>
                    <a:pt x="110" y="195"/>
                    <a:pt x="77" y="195"/>
                  </a:cubicBezTo>
                  <a:cubicBezTo>
                    <a:pt x="36" y="195"/>
                    <a:pt x="36" y="195"/>
                    <a:pt x="36" y="195"/>
                  </a:cubicBezTo>
                  <a:cubicBezTo>
                    <a:pt x="36" y="314"/>
                    <a:pt x="36" y="314"/>
                    <a:pt x="36" y="314"/>
                  </a:cubicBezTo>
                  <a:cubicBezTo>
                    <a:pt x="0" y="314"/>
                    <a:pt x="0" y="314"/>
                    <a:pt x="0" y="314"/>
                  </a:cubicBezTo>
                  <a:cubicBezTo>
                    <a:pt x="0" y="0"/>
                    <a:pt x="0" y="0"/>
                    <a:pt x="0" y="0"/>
                  </a:cubicBezTo>
                  <a:cubicBezTo>
                    <a:pt x="85" y="0"/>
                    <a:pt x="85" y="0"/>
                    <a:pt x="85" y="0"/>
                  </a:cubicBezTo>
                  <a:cubicBezTo>
                    <a:pt x="118" y="0"/>
                    <a:pt x="143" y="8"/>
                    <a:pt x="161" y="24"/>
                  </a:cubicBezTo>
                  <a:cubicBezTo>
                    <a:pt x="180" y="41"/>
                    <a:pt x="189" y="64"/>
                    <a:pt x="189" y="93"/>
                  </a:cubicBezTo>
                  <a:close/>
                  <a:moveTo>
                    <a:pt x="151" y="95"/>
                  </a:moveTo>
                  <a:cubicBezTo>
                    <a:pt x="151" y="54"/>
                    <a:pt x="127" y="33"/>
                    <a:pt x="78" y="33"/>
                  </a:cubicBezTo>
                  <a:cubicBezTo>
                    <a:pt x="36" y="33"/>
                    <a:pt x="36" y="33"/>
                    <a:pt x="36" y="33"/>
                  </a:cubicBezTo>
                  <a:cubicBezTo>
                    <a:pt x="36" y="162"/>
                    <a:pt x="36" y="162"/>
                    <a:pt x="36" y="162"/>
                  </a:cubicBezTo>
                  <a:cubicBezTo>
                    <a:pt x="74" y="162"/>
                    <a:pt x="74" y="162"/>
                    <a:pt x="74" y="162"/>
                  </a:cubicBezTo>
                  <a:cubicBezTo>
                    <a:pt x="99" y="162"/>
                    <a:pt x="118" y="156"/>
                    <a:pt x="131" y="144"/>
                  </a:cubicBezTo>
                  <a:cubicBezTo>
                    <a:pt x="144" y="133"/>
                    <a:pt x="151" y="117"/>
                    <a:pt x="151" y="9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2" name="Freeform 24"/>
            <p:cNvSpPr>
              <a:spLocks noEditPoints="1"/>
            </p:cNvSpPr>
            <p:nvPr userDrawn="1"/>
          </p:nvSpPr>
          <p:spPr bwMode="auto">
            <a:xfrm>
              <a:off x="1923" y="1756"/>
              <a:ext cx="411" cy="556"/>
            </a:xfrm>
            <a:custGeom>
              <a:avLst/>
              <a:gdLst>
                <a:gd name="T0" fmla="*/ 174 w 174"/>
                <a:gd name="T1" fmla="*/ 230 h 235"/>
                <a:gd name="T2" fmla="*/ 139 w 174"/>
                <a:gd name="T3" fmla="*/ 230 h 235"/>
                <a:gd name="T4" fmla="*/ 139 w 174"/>
                <a:gd name="T5" fmla="*/ 195 h 235"/>
                <a:gd name="T6" fmla="*/ 138 w 174"/>
                <a:gd name="T7" fmla="*/ 195 h 235"/>
                <a:gd name="T8" fmla="*/ 70 w 174"/>
                <a:gd name="T9" fmla="*/ 235 h 235"/>
                <a:gd name="T10" fmla="*/ 19 w 174"/>
                <a:gd name="T11" fmla="*/ 218 h 235"/>
                <a:gd name="T12" fmla="*/ 0 w 174"/>
                <a:gd name="T13" fmla="*/ 170 h 235"/>
                <a:gd name="T14" fmla="*/ 73 w 174"/>
                <a:gd name="T15" fmla="*/ 97 h 235"/>
                <a:gd name="T16" fmla="*/ 139 w 174"/>
                <a:gd name="T17" fmla="*/ 87 h 235"/>
                <a:gd name="T18" fmla="*/ 93 w 174"/>
                <a:gd name="T19" fmla="*/ 31 h 235"/>
                <a:gd name="T20" fmla="*/ 21 w 174"/>
                <a:gd name="T21" fmla="*/ 58 h 235"/>
                <a:gd name="T22" fmla="*/ 21 w 174"/>
                <a:gd name="T23" fmla="*/ 21 h 235"/>
                <a:gd name="T24" fmla="*/ 55 w 174"/>
                <a:gd name="T25" fmla="*/ 7 h 235"/>
                <a:gd name="T26" fmla="*/ 96 w 174"/>
                <a:gd name="T27" fmla="*/ 0 h 235"/>
                <a:gd name="T28" fmla="*/ 174 w 174"/>
                <a:gd name="T29" fmla="*/ 84 h 235"/>
                <a:gd name="T30" fmla="*/ 174 w 174"/>
                <a:gd name="T31" fmla="*/ 230 h 235"/>
                <a:gd name="T32" fmla="*/ 139 w 174"/>
                <a:gd name="T33" fmla="*/ 116 h 235"/>
                <a:gd name="T34" fmla="*/ 85 w 174"/>
                <a:gd name="T35" fmla="*/ 124 h 235"/>
                <a:gd name="T36" fmla="*/ 47 w 174"/>
                <a:gd name="T37" fmla="*/ 137 h 235"/>
                <a:gd name="T38" fmla="*/ 36 w 174"/>
                <a:gd name="T39" fmla="*/ 167 h 235"/>
                <a:gd name="T40" fmla="*/ 48 w 174"/>
                <a:gd name="T41" fmla="*/ 194 h 235"/>
                <a:gd name="T42" fmla="*/ 78 w 174"/>
                <a:gd name="T43" fmla="*/ 204 h 235"/>
                <a:gd name="T44" fmla="*/ 122 w 174"/>
                <a:gd name="T45" fmla="*/ 186 h 235"/>
                <a:gd name="T46" fmla="*/ 139 w 174"/>
                <a:gd name="T47" fmla="*/ 139 h 235"/>
                <a:gd name="T48" fmla="*/ 139 w 174"/>
                <a:gd name="T49" fmla="*/ 116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74" h="235">
                  <a:moveTo>
                    <a:pt x="174" y="230"/>
                  </a:moveTo>
                  <a:cubicBezTo>
                    <a:pt x="139" y="230"/>
                    <a:pt x="139" y="230"/>
                    <a:pt x="139" y="230"/>
                  </a:cubicBezTo>
                  <a:cubicBezTo>
                    <a:pt x="139" y="195"/>
                    <a:pt x="139" y="195"/>
                    <a:pt x="139" y="195"/>
                  </a:cubicBezTo>
                  <a:cubicBezTo>
                    <a:pt x="138" y="195"/>
                    <a:pt x="138" y="195"/>
                    <a:pt x="138" y="195"/>
                  </a:cubicBezTo>
                  <a:cubicBezTo>
                    <a:pt x="123" y="222"/>
                    <a:pt x="100" y="235"/>
                    <a:pt x="70" y="235"/>
                  </a:cubicBezTo>
                  <a:cubicBezTo>
                    <a:pt x="49" y="235"/>
                    <a:pt x="32" y="229"/>
                    <a:pt x="19" y="218"/>
                  </a:cubicBezTo>
                  <a:cubicBezTo>
                    <a:pt x="6" y="206"/>
                    <a:pt x="0" y="190"/>
                    <a:pt x="0" y="170"/>
                  </a:cubicBezTo>
                  <a:cubicBezTo>
                    <a:pt x="0" y="128"/>
                    <a:pt x="24" y="104"/>
                    <a:pt x="73" y="97"/>
                  </a:cubicBezTo>
                  <a:cubicBezTo>
                    <a:pt x="139" y="87"/>
                    <a:pt x="139" y="87"/>
                    <a:pt x="139" y="87"/>
                  </a:cubicBezTo>
                  <a:cubicBezTo>
                    <a:pt x="139" y="50"/>
                    <a:pt x="124" y="31"/>
                    <a:pt x="93" y="31"/>
                  </a:cubicBezTo>
                  <a:cubicBezTo>
                    <a:pt x="67" y="31"/>
                    <a:pt x="43" y="40"/>
                    <a:pt x="21" y="58"/>
                  </a:cubicBezTo>
                  <a:cubicBezTo>
                    <a:pt x="21" y="21"/>
                    <a:pt x="21" y="21"/>
                    <a:pt x="21" y="21"/>
                  </a:cubicBezTo>
                  <a:cubicBezTo>
                    <a:pt x="28" y="16"/>
                    <a:pt x="39" y="11"/>
                    <a:pt x="55" y="7"/>
                  </a:cubicBezTo>
                  <a:cubicBezTo>
                    <a:pt x="70" y="2"/>
                    <a:pt x="84" y="0"/>
                    <a:pt x="96" y="0"/>
                  </a:cubicBezTo>
                  <a:cubicBezTo>
                    <a:pt x="148" y="0"/>
                    <a:pt x="174" y="28"/>
                    <a:pt x="174" y="84"/>
                  </a:cubicBezTo>
                  <a:lnTo>
                    <a:pt x="174" y="230"/>
                  </a:lnTo>
                  <a:close/>
                  <a:moveTo>
                    <a:pt x="139" y="116"/>
                  </a:moveTo>
                  <a:cubicBezTo>
                    <a:pt x="85" y="124"/>
                    <a:pt x="85" y="124"/>
                    <a:pt x="85" y="124"/>
                  </a:cubicBezTo>
                  <a:cubicBezTo>
                    <a:pt x="67" y="126"/>
                    <a:pt x="54" y="131"/>
                    <a:pt x="47" y="137"/>
                  </a:cubicBezTo>
                  <a:cubicBezTo>
                    <a:pt x="40" y="143"/>
                    <a:pt x="36" y="153"/>
                    <a:pt x="36" y="167"/>
                  </a:cubicBezTo>
                  <a:cubicBezTo>
                    <a:pt x="36" y="178"/>
                    <a:pt x="40" y="187"/>
                    <a:pt x="48" y="194"/>
                  </a:cubicBezTo>
                  <a:cubicBezTo>
                    <a:pt x="56" y="201"/>
                    <a:pt x="66" y="204"/>
                    <a:pt x="78" y="204"/>
                  </a:cubicBezTo>
                  <a:cubicBezTo>
                    <a:pt x="96" y="204"/>
                    <a:pt x="110" y="198"/>
                    <a:pt x="122" y="186"/>
                  </a:cubicBezTo>
                  <a:cubicBezTo>
                    <a:pt x="133" y="173"/>
                    <a:pt x="139" y="157"/>
                    <a:pt x="139" y="139"/>
                  </a:cubicBezTo>
                  <a:lnTo>
                    <a:pt x="139" y="1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3" name="Freeform 25"/>
            <p:cNvSpPr>
              <a:spLocks/>
            </p:cNvSpPr>
            <p:nvPr userDrawn="1"/>
          </p:nvSpPr>
          <p:spPr bwMode="auto">
            <a:xfrm>
              <a:off x="2493" y="1758"/>
              <a:ext cx="272" cy="542"/>
            </a:xfrm>
            <a:custGeom>
              <a:avLst/>
              <a:gdLst>
                <a:gd name="T0" fmla="*/ 115 w 115"/>
                <a:gd name="T1" fmla="*/ 41 h 229"/>
                <a:gd name="T2" fmla="*/ 88 w 115"/>
                <a:gd name="T3" fmla="*/ 33 h 229"/>
                <a:gd name="T4" fmla="*/ 50 w 115"/>
                <a:gd name="T5" fmla="*/ 56 h 229"/>
                <a:gd name="T6" fmla="*/ 35 w 115"/>
                <a:gd name="T7" fmla="*/ 114 h 229"/>
                <a:gd name="T8" fmla="*/ 35 w 115"/>
                <a:gd name="T9" fmla="*/ 229 h 229"/>
                <a:gd name="T10" fmla="*/ 0 w 115"/>
                <a:gd name="T11" fmla="*/ 229 h 229"/>
                <a:gd name="T12" fmla="*/ 0 w 115"/>
                <a:gd name="T13" fmla="*/ 4 h 229"/>
                <a:gd name="T14" fmla="*/ 35 w 115"/>
                <a:gd name="T15" fmla="*/ 4 h 229"/>
                <a:gd name="T16" fmla="*/ 35 w 115"/>
                <a:gd name="T17" fmla="*/ 51 h 229"/>
                <a:gd name="T18" fmla="*/ 36 w 115"/>
                <a:gd name="T19" fmla="*/ 51 h 229"/>
                <a:gd name="T20" fmla="*/ 59 w 115"/>
                <a:gd name="T21" fmla="*/ 14 h 229"/>
                <a:gd name="T22" fmla="*/ 94 w 115"/>
                <a:gd name="T23" fmla="*/ 0 h 229"/>
                <a:gd name="T24" fmla="*/ 115 w 115"/>
                <a:gd name="T25" fmla="*/ 3 h 229"/>
                <a:gd name="T26" fmla="*/ 115 w 115"/>
                <a:gd name="T27" fmla="*/ 41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5" h="229">
                  <a:moveTo>
                    <a:pt x="115" y="41"/>
                  </a:moveTo>
                  <a:cubicBezTo>
                    <a:pt x="108" y="36"/>
                    <a:pt x="99" y="33"/>
                    <a:pt x="88" y="33"/>
                  </a:cubicBezTo>
                  <a:cubicBezTo>
                    <a:pt x="72" y="33"/>
                    <a:pt x="59" y="41"/>
                    <a:pt x="50" y="56"/>
                  </a:cubicBezTo>
                  <a:cubicBezTo>
                    <a:pt x="40" y="71"/>
                    <a:pt x="35" y="90"/>
                    <a:pt x="35" y="114"/>
                  </a:cubicBezTo>
                  <a:cubicBezTo>
                    <a:pt x="35" y="229"/>
                    <a:pt x="35" y="229"/>
                    <a:pt x="35" y="229"/>
                  </a:cubicBezTo>
                  <a:cubicBezTo>
                    <a:pt x="0" y="229"/>
                    <a:pt x="0" y="229"/>
                    <a:pt x="0" y="229"/>
                  </a:cubicBezTo>
                  <a:cubicBezTo>
                    <a:pt x="0" y="4"/>
                    <a:pt x="0" y="4"/>
                    <a:pt x="0" y="4"/>
                  </a:cubicBezTo>
                  <a:cubicBezTo>
                    <a:pt x="35" y="4"/>
                    <a:pt x="35" y="4"/>
                    <a:pt x="35" y="4"/>
                  </a:cubicBezTo>
                  <a:cubicBezTo>
                    <a:pt x="35" y="51"/>
                    <a:pt x="35" y="51"/>
                    <a:pt x="35" y="51"/>
                  </a:cubicBezTo>
                  <a:cubicBezTo>
                    <a:pt x="36" y="51"/>
                    <a:pt x="36" y="51"/>
                    <a:pt x="36" y="51"/>
                  </a:cubicBezTo>
                  <a:cubicBezTo>
                    <a:pt x="41" y="35"/>
                    <a:pt x="48" y="23"/>
                    <a:pt x="59" y="14"/>
                  </a:cubicBezTo>
                  <a:cubicBezTo>
                    <a:pt x="69" y="5"/>
                    <a:pt x="80" y="0"/>
                    <a:pt x="94" y="0"/>
                  </a:cubicBezTo>
                  <a:cubicBezTo>
                    <a:pt x="103" y="0"/>
                    <a:pt x="110" y="1"/>
                    <a:pt x="115" y="3"/>
                  </a:cubicBezTo>
                  <a:lnTo>
                    <a:pt x="115" y="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4" name="Freeform 26"/>
            <p:cNvSpPr>
              <a:spLocks/>
            </p:cNvSpPr>
            <p:nvPr userDrawn="1"/>
          </p:nvSpPr>
          <p:spPr bwMode="auto">
            <a:xfrm>
              <a:off x="2824" y="1612"/>
              <a:ext cx="303" cy="700"/>
            </a:xfrm>
            <a:custGeom>
              <a:avLst/>
              <a:gdLst>
                <a:gd name="T0" fmla="*/ 128 w 128"/>
                <a:gd name="T1" fmla="*/ 288 h 296"/>
                <a:gd name="T2" fmla="*/ 95 w 128"/>
                <a:gd name="T3" fmla="*/ 296 h 296"/>
                <a:gd name="T4" fmla="*/ 37 w 128"/>
                <a:gd name="T5" fmla="*/ 230 h 296"/>
                <a:gd name="T6" fmla="*/ 37 w 128"/>
                <a:gd name="T7" fmla="*/ 97 h 296"/>
                <a:gd name="T8" fmla="*/ 0 w 128"/>
                <a:gd name="T9" fmla="*/ 97 h 296"/>
                <a:gd name="T10" fmla="*/ 0 w 128"/>
                <a:gd name="T11" fmla="*/ 66 h 296"/>
                <a:gd name="T12" fmla="*/ 37 w 128"/>
                <a:gd name="T13" fmla="*/ 66 h 296"/>
                <a:gd name="T14" fmla="*/ 37 w 128"/>
                <a:gd name="T15" fmla="*/ 12 h 296"/>
                <a:gd name="T16" fmla="*/ 73 w 128"/>
                <a:gd name="T17" fmla="*/ 0 h 296"/>
                <a:gd name="T18" fmla="*/ 73 w 128"/>
                <a:gd name="T19" fmla="*/ 66 h 296"/>
                <a:gd name="T20" fmla="*/ 128 w 128"/>
                <a:gd name="T21" fmla="*/ 66 h 296"/>
                <a:gd name="T22" fmla="*/ 128 w 128"/>
                <a:gd name="T23" fmla="*/ 97 h 296"/>
                <a:gd name="T24" fmla="*/ 73 w 128"/>
                <a:gd name="T25" fmla="*/ 97 h 296"/>
                <a:gd name="T26" fmla="*/ 73 w 128"/>
                <a:gd name="T27" fmla="*/ 223 h 296"/>
                <a:gd name="T28" fmla="*/ 80 w 128"/>
                <a:gd name="T29" fmla="*/ 256 h 296"/>
                <a:gd name="T30" fmla="*/ 106 w 128"/>
                <a:gd name="T31" fmla="*/ 265 h 296"/>
                <a:gd name="T32" fmla="*/ 128 w 128"/>
                <a:gd name="T33" fmla="*/ 258 h 296"/>
                <a:gd name="T34" fmla="*/ 128 w 128"/>
                <a:gd name="T35" fmla="*/ 288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8" h="296">
                  <a:moveTo>
                    <a:pt x="128" y="288"/>
                  </a:moveTo>
                  <a:cubicBezTo>
                    <a:pt x="120" y="293"/>
                    <a:pt x="109" y="296"/>
                    <a:pt x="95" y="296"/>
                  </a:cubicBezTo>
                  <a:cubicBezTo>
                    <a:pt x="57" y="296"/>
                    <a:pt x="37" y="274"/>
                    <a:pt x="37" y="230"/>
                  </a:cubicBezTo>
                  <a:cubicBezTo>
                    <a:pt x="37" y="97"/>
                    <a:pt x="37" y="97"/>
                    <a:pt x="37" y="97"/>
                  </a:cubicBezTo>
                  <a:cubicBezTo>
                    <a:pt x="0" y="97"/>
                    <a:pt x="0" y="97"/>
                    <a:pt x="0" y="97"/>
                  </a:cubicBezTo>
                  <a:cubicBezTo>
                    <a:pt x="0" y="66"/>
                    <a:pt x="0" y="66"/>
                    <a:pt x="0" y="66"/>
                  </a:cubicBezTo>
                  <a:cubicBezTo>
                    <a:pt x="37" y="66"/>
                    <a:pt x="37" y="66"/>
                    <a:pt x="37" y="66"/>
                  </a:cubicBezTo>
                  <a:cubicBezTo>
                    <a:pt x="37" y="12"/>
                    <a:pt x="37" y="12"/>
                    <a:pt x="37" y="12"/>
                  </a:cubicBezTo>
                  <a:cubicBezTo>
                    <a:pt x="73" y="0"/>
                    <a:pt x="73" y="0"/>
                    <a:pt x="73" y="0"/>
                  </a:cubicBezTo>
                  <a:cubicBezTo>
                    <a:pt x="73" y="66"/>
                    <a:pt x="73" y="66"/>
                    <a:pt x="73" y="66"/>
                  </a:cubicBezTo>
                  <a:cubicBezTo>
                    <a:pt x="128" y="66"/>
                    <a:pt x="128" y="66"/>
                    <a:pt x="128" y="66"/>
                  </a:cubicBezTo>
                  <a:cubicBezTo>
                    <a:pt x="128" y="97"/>
                    <a:pt x="128" y="97"/>
                    <a:pt x="128" y="97"/>
                  </a:cubicBezTo>
                  <a:cubicBezTo>
                    <a:pt x="73" y="97"/>
                    <a:pt x="73" y="97"/>
                    <a:pt x="73" y="97"/>
                  </a:cubicBezTo>
                  <a:cubicBezTo>
                    <a:pt x="73" y="223"/>
                    <a:pt x="73" y="223"/>
                    <a:pt x="73" y="223"/>
                  </a:cubicBezTo>
                  <a:cubicBezTo>
                    <a:pt x="73" y="238"/>
                    <a:pt x="75" y="249"/>
                    <a:pt x="80" y="256"/>
                  </a:cubicBezTo>
                  <a:cubicBezTo>
                    <a:pt x="85" y="262"/>
                    <a:pt x="94" y="265"/>
                    <a:pt x="106" y="265"/>
                  </a:cubicBezTo>
                  <a:cubicBezTo>
                    <a:pt x="114" y="265"/>
                    <a:pt x="122" y="263"/>
                    <a:pt x="128" y="258"/>
                  </a:cubicBezTo>
                  <a:lnTo>
                    <a:pt x="128" y="28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5" name="Freeform 27"/>
            <p:cNvSpPr>
              <a:spLocks/>
            </p:cNvSpPr>
            <p:nvPr userDrawn="1"/>
          </p:nvSpPr>
          <p:spPr bwMode="auto">
            <a:xfrm>
              <a:off x="3240" y="1756"/>
              <a:ext cx="433" cy="544"/>
            </a:xfrm>
            <a:custGeom>
              <a:avLst/>
              <a:gdLst>
                <a:gd name="T0" fmla="*/ 183 w 183"/>
                <a:gd name="T1" fmla="*/ 230 h 230"/>
                <a:gd name="T2" fmla="*/ 147 w 183"/>
                <a:gd name="T3" fmla="*/ 230 h 230"/>
                <a:gd name="T4" fmla="*/ 147 w 183"/>
                <a:gd name="T5" fmla="*/ 102 h 230"/>
                <a:gd name="T6" fmla="*/ 96 w 183"/>
                <a:gd name="T7" fmla="*/ 31 h 230"/>
                <a:gd name="T8" fmla="*/ 52 w 183"/>
                <a:gd name="T9" fmla="*/ 51 h 230"/>
                <a:gd name="T10" fmla="*/ 35 w 183"/>
                <a:gd name="T11" fmla="*/ 102 h 230"/>
                <a:gd name="T12" fmla="*/ 35 w 183"/>
                <a:gd name="T13" fmla="*/ 230 h 230"/>
                <a:gd name="T14" fmla="*/ 0 w 183"/>
                <a:gd name="T15" fmla="*/ 230 h 230"/>
                <a:gd name="T16" fmla="*/ 0 w 183"/>
                <a:gd name="T17" fmla="*/ 5 h 230"/>
                <a:gd name="T18" fmla="*/ 35 w 183"/>
                <a:gd name="T19" fmla="*/ 5 h 230"/>
                <a:gd name="T20" fmla="*/ 35 w 183"/>
                <a:gd name="T21" fmla="*/ 43 h 230"/>
                <a:gd name="T22" fmla="*/ 36 w 183"/>
                <a:gd name="T23" fmla="*/ 43 h 230"/>
                <a:gd name="T24" fmla="*/ 108 w 183"/>
                <a:gd name="T25" fmla="*/ 0 h 230"/>
                <a:gd name="T26" fmla="*/ 164 w 183"/>
                <a:gd name="T27" fmla="*/ 24 h 230"/>
                <a:gd name="T28" fmla="*/ 183 w 183"/>
                <a:gd name="T29" fmla="*/ 92 h 230"/>
                <a:gd name="T30" fmla="*/ 183 w 183"/>
                <a:gd name="T31" fmla="*/ 230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83" h="230">
                  <a:moveTo>
                    <a:pt x="183" y="230"/>
                  </a:moveTo>
                  <a:cubicBezTo>
                    <a:pt x="147" y="230"/>
                    <a:pt x="147" y="230"/>
                    <a:pt x="147" y="230"/>
                  </a:cubicBezTo>
                  <a:cubicBezTo>
                    <a:pt x="147" y="102"/>
                    <a:pt x="147" y="102"/>
                    <a:pt x="147" y="102"/>
                  </a:cubicBezTo>
                  <a:cubicBezTo>
                    <a:pt x="147" y="54"/>
                    <a:pt x="130" y="31"/>
                    <a:pt x="96" y="31"/>
                  </a:cubicBezTo>
                  <a:cubicBezTo>
                    <a:pt x="79" y="31"/>
                    <a:pt x="64" y="37"/>
                    <a:pt x="52" y="51"/>
                  </a:cubicBezTo>
                  <a:cubicBezTo>
                    <a:pt x="41" y="64"/>
                    <a:pt x="35" y="81"/>
                    <a:pt x="35" y="102"/>
                  </a:cubicBezTo>
                  <a:cubicBezTo>
                    <a:pt x="35" y="230"/>
                    <a:pt x="35" y="230"/>
                    <a:pt x="35" y="230"/>
                  </a:cubicBezTo>
                  <a:cubicBezTo>
                    <a:pt x="0" y="230"/>
                    <a:pt x="0" y="230"/>
                    <a:pt x="0" y="230"/>
                  </a:cubicBezTo>
                  <a:cubicBezTo>
                    <a:pt x="0" y="5"/>
                    <a:pt x="0" y="5"/>
                    <a:pt x="0" y="5"/>
                  </a:cubicBezTo>
                  <a:cubicBezTo>
                    <a:pt x="35" y="5"/>
                    <a:pt x="35" y="5"/>
                    <a:pt x="35" y="5"/>
                  </a:cubicBezTo>
                  <a:cubicBezTo>
                    <a:pt x="35" y="43"/>
                    <a:pt x="35" y="43"/>
                    <a:pt x="35" y="43"/>
                  </a:cubicBezTo>
                  <a:cubicBezTo>
                    <a:pt x="36" y="43"/>
                    <a:pt x="36" y="43"/>
                    <a:pt x="36" y="43"/>
                  </a:cubicBezTo>
                  <a:cubicBezTo>
                    <a:pt x="52" y="14"/>
                    <a:pt x="76" y="0"/>
                    <a:pt x="108" y="0"/>
                  </a:cubicBezTo>
                  <a:cubicBezTo>
                    <a:pt x="132" y="0"/>
                    <a:pt x="151" y="8"/>
                    <a:pt x="164" y="24"/>
                  </a:cubicBezTo>
                  <a:cubicBezTo>
                    <a:pt x="176" y="40"/>
                    <a:pt x="183" y="63"/>
                    <a:pt x="183" y="92"/>
                  </a:cubicBezTo>
                  <a:lnTo>
                    <a:pt x="183" y="2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6" name="Freeform 28"/>
            <p:cNvSpPr>
              <a:spLocks noEditPoints="1"/>
            </p:cNvSpPr>
            <p:nvPr userDrawn="1"/>
          </p:nvSpPr>
          <p:spPr bwMode="auto">
            <a:xfrm>
              <a:off x="3789" y="1756"/>
              <a:ext cx="457" cy="556"/>
            </a:xfrm>
            <a:custGeom>
              <a:avLst/>
              <a:gdLst>
                <a:gd name="T0" fmla="*/ 193 w 193"/>
                <a:gd name="T1" fmla="*/ 126 h 235"/>
                <a:gd name="T2" fmla="*/ 37 w 193"/>
                <a:gd name="T3" fmla="*/ 126 h 235"/>
                <a:gd name="T4" fmla="*/ 57 w 193"/>
                <a:gd name="T5" fmla="*/ 184 h 235"/>
                <a:gd name="T6" fmla="*/ 109 w 193"/>
                <a:gd name="T7" fmla="*/ 204 h 235"/>
                <a:gd name="T8" fmla="*/ 177 w 193"/>
                <a:gd name="T9" fmla="*/ 180 h 235"/>
                <a:gd name="T10" fmla="*/ 177 w 193"/>
                <a:gd name="T11" fmla="*/ 213 h 235"/>
                <a:gd name="T12" fmla="*/ 101 w 193"/>
                <a:gd name="T13" fmla="*/ 235 h 235"/>
                <a:gd name="T14" fmla="*/ 27 w 193"/>
                <a:gd name="T15" fmla="*/ 204 h 235"/>
                <a:gd name="T16" fmla="*/ 0 w 193"/>
                <a:gd name="T17" fmla="*/ 118 h 235"/>
                <a:gd name="T18" fmla="*/ 14 w 193"/>
                <a:gd name="T19" fmla="*/ 58 h 235"/>
                <a:gd name="T20" fmla="*/ 50 w 193"/>
                <a:gd name="T21" fmla="*/ 15 h 235"/>
                <a:gd name="T22" fmla="*/ 102 w 193"/>
                <a:gd name="T23" fmla="*/ 0 h 235"/>
                <a:gd name="T24" fmla="*/ 169 w 193"/>
                <a:gd name="T25" fmla="*/ 28 h 235"/>
                <a:gd name="T26" fmla="*/ 193 w 193"/>
                <a:gd name="T27" fmla="*/ 108 h 235"/>
                <a:gd name="T28" fmla="*/ 193 w 193"/>
                <a:gd name="T29" fmla="*/ 126 h 235"/>
                <a:gd name="T30" fmla="*/ 157 w 193"/>
                <a:gd name="T31" fmla="*/ 96 h 235"/>
                <a:gd name="T32" fmla="*/ 142 w 193"/>
                <a:gd name="T33" fmla="*/ 48 h 235"/>
                <a:gd name="T34" fmla="*/ 102 w 193"/>
                <a:gd name="T35" fmla="*/ 31 h 235"/>
                <a:gd name="T36" fmla="*/ 60 w 193"/>
                <a:gd name="T37" fmla="*/ 49 h 235"/>
                <a:gd name="T38" fmla="*/ 38 w 193"/>
                <a:gd name="T39" fmla="*/ 96 h 235"/>
                <a:gd name="T40" fmla="*/ 157 w 193"/>
                <a:gd name="T41" fmla="*/ 96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93" h="235">
                  <a:moveTo>
                    <a:pt x="193" y="126"/>
                  </a:moveTo>
                  <a:cubicBezTo>
                    <a:pt x="37" y="126"/>
                    <a:pt x="37" y="126"/>
                    <a:pt x="37" y="126"/>
                  </a:cubicBezTo>
                  <a:cubicBezTo>
                    <a:pt x="38" y="152"/>
                    <a:pt x="44" y="171"/>
                    <a:pt x="57" y="184"/>
                  </a:cubicBezTo>
                  <a:cubicBezTo>
                    <a:pt x="69" y="198"/>
                    <a:pt x="87" y="204"/>
                    <a:pt x="109" y="204"/>
                  </a:cubicBezTo>
                  <a:cubicBezTo>
                    <a:pt x="134" y="204"/>
                    <a:pt x="157" y="196"/>
                    <a:pt x="177" y="180"/>
                  </a:cubicBezTo>
                  <a:cubicBezTo>
                    <a:pt x="177" y="213"/>
                    <a:pt x="177" y="213"/>
                    <a:pt x="177" y="213"/>
                  </a:cubicBezTo>
                  <a:cubicBezTo>
                    <a:pt x="158" y="228"/>
                    <a:pt x="133" y="235"/>
                    <a:pt x="101" y="235"/>
                  </a:cubicBezTo>
                  <a:cubicBezTo>
                    <a:pt x="69" y="235"/>
                    <a:pt x="45" y="225"/>
                    <a:pt x="27" y="204"/>
                  </a:cubicBezTo>
                  <a:cubicBezTo>
                    <a:pt x="9" y="183"/>
                    <a:pt x="0" y="155"/>
                    <a:pt x="0" y="118"/>
                  </a:cubicBezTo>
                  <a:cubicBezTo>
                    <a:pt x="0" y="96"/>
                    <a:pt x="5" y="76"/>
                    <a:pt x="14" y="58"/>
                  </a:cubicBezTo>
                  <a:cubicBezTo>
                    <a:pt x="23" y="39"/>
                    <a:pt x="35" y="25"/>
                    <a:pt x="50" y="15"/>
                  </a:cubicBezTo>
                  <a:cubicBezTo>
                    <a:pt x="66" y="5"/>
                    <a:pt x="83" y="0"/>
                    <a:pt x="102" y="0"/>
                  </a:cubicBezTo>
                  <a:cubicBezTo>
                    <a:pt x="131" y="0"/>
                    <a:pt x="153" y="9"/>
                    <a:pt x="169" y="28"/>
                  </a:cubicBezTo>
                  <a:cubicBezTo>
                    <a:pt x="185" y="47"/>
                    <a:pt x="193" y="74"/>
                    <a:pt x="193" y="108"/>
                  </a:cubicBezTo>
                  <a:lnTo>
                    <a:pt x="193" y="126"/>
                  </a:lnTo>
                  <a:close/>
                  <a:moveTo>
                    <a:pt x="157" y="96"/>
                  </a:moveTo>
                  <a:cubicBezTo>
                    <a:pt x="156" y="75"/>
                    <a:pt x="152" y="59"/>
                    <a:pt x="142" y="48"/>
                  </a:cubicBezTo>
                  <a:cubicBezTo>
                    <a:pt x="132" y="36"/>
                    <a:pt x="119" y="31"/>
                    <a:pt x="102" y="31"/>
                  </a:cubicBezTo>
                  <a:cubicBezTo>
                    <a:pt x="85" y="31"/>
                    <a:pt x="71" y="37"/>
                    <a:pt x="60" y="49"/>
                  </a:cubicBezTo>
                  <a:cubicBezTo>
                    <a:pt x="48" y="60"/>
                    <a:pt x="41" y="76"/>
                    <a:pt x="38" y="96"/>
                  </a:cubicBezTo>
                  <a:lnTo>
                    <a:pt x="157" y="9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7" name="Freeform 29"/>
            <p:cNvSpPr>
              <a:spLocks/>
            </p:cNvSpPr>
            <p:nvPr userDrawn="1"/>
          </p:nvSpPr>
          <p:spPr bwMode="auto">
            <a:xfrm>
              <a:off x="4369" y="1758"/>
              <a:ext cx="272" cy="542"/>
            </a:xfrm>
            <a:custGeom>
              <a:avLst/>
              <a:gdLst>
                <a:gd name="T0" fmla="*/ 115 w 115"/>
                <a:gd name="T1" fmla="*/ 41 h 229"/>
                <a:gd name="T2" fmla="*/ 88 w 115"/>
                <a:gd name="T3" fmla="*/ 33 h 229"/>
                <a:gd name="T4" fmla="*/ 50 w 115"/>
                <a:gd name="T5" fmla="*/ 56 h 229"/>
                <a:gd name="T6" fmla="*/ 35 w 115"/>
                <a:gd name="T7" fmla="*/ 114 h 229"/>
                <a:gd name="T8" fmla="*/ 35 w 115"/>
                <a:gd name="T9" fmla="*/ 229 h 229"/>
                <a:gd name="T10" fmla="*/ 0 w 115"/>
                <a:gd name="T11" fmla="*/ 229 h 229"/>
                <a:gd name="T12" fmla="*/ 0 w 115"/>
                <a:gd name="T13" fmla="*/ 4 h 229"/>
                <a:gd name="T14" fmla="*/ 35 w 115"/>
                <a:gd name="T15" fmla="*/ 4 h 229"/>
                <a:gd name="T16" fmla="*/ 35 w 115"/>
                <a:gd name="T17" fmla="*/ 51 h 229"/>
                <a:gd name="T18" fmla="*/ 36 w 115"/>
                <a:gd name="T19" fmla="*/ 51 h 229"/>
                <a:gd name="T20" fmla="*/ 58 w 115"/>
                <a:gd name="T21" fmla="*/ 14 h 229"/>
                <a:gd name="T22" fmla="*/ 94 w 115"/>
                <a:gd name="T23" fmla="*/ 0 h 229"/>
                <a:gd name="T24" fmla="*/ 115 w 115"/>
                <a:gd name="T25" fmla="*/ 3 h 229"/>
                <a:gd name="T26" fmla="*/ 115 w 115"/>
                <a:gd name="T27" fmla="*/ 41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5" h="229">
                  <a:moveTo>
                    <a:pt x="115" y="41"/>
                  </a:moveTo>
                  <a:cubicBezTo>
                    <a:pt x="108" y="36"/>
                    <a:pt x="99" y="33"/>
                    <a:pt x="88" y="33"/>
                  </a:cubicBezTo>
                  <a:cubicBezTo>
                    <a:pt x="72" y="33"/>
                    <a:pt x="59" y="41"/>
                    <a:pt x="50" y="56"/>
                  </a:cubicBezTo>
                  <a:cubicBezTo>
                    <a:pt x="40" y="71"/>
                    <a:pt x="35" y="90"/>
                    <a:pt x="35" y="114"/>
                  </a:cubicBezTo>
                  <a:cubicBezTo>
                    <a:pt x="35" y="229"/>
                    <a:pt x="35" y="229"/>
                    <a:pt x="35" y="229"/>
                  </a:cubicBezTo>
                  <a:cubicBezTo>
                    <a:pt x="0" y="229"/>
                    <a:pt x="0" y="229"/>
                    <a:pt x="0" y="229"/>
                  </a:cubicBezTo>
                  <a:cubicBezTo>
                    <a:pt x="0" y="4"/>
                    <a:pt x="0" y="4"/>
                    <a:pt x="0" y="4"/>
                  </a:cubicBezTo>
                  <a:cubicBezTo>
                    <a:pt x="35" y="4"/>
                    <a:pt x="35" y="4"/>
                    <a:pt x="35" y="4"/>
                  </a:cubicBezTo>
                  <a:cubicBezTo>
                    <a:pt x="35" y="51"/>
                    <a:pt x="35" y="51"/>
                    <a:pt x="35" y="51"/>
                  </a:cubicBezTo>
                  <a:cubicBezTo>
                    <a:pt x="36" y="51"/>
                    <a:pt x="36" y="51"/>
                    <a:pt x="36" y="51"/>
                  </a:cubicBezTo>
                  <a:cubicBezTo>
                    <a:pt x="41" y="35"/>
                    <a:pt x="48" y="23"/>
                    <a:pt x="58" y="14"/>
                  </a:cubicBezTo>
                  <a:cubicBezTo>
                    <a:pt x="69" y="5"/>
                    <a:pt x="80" y="0"/>
                    <a:pt x="94" y="0"/>
                  </a:cubicBezTo>
                  <a:cubicBezTo>
                    <a:pt x="103" y="0"/>
                    <a:pt x="110" y="1"/>
                    <a:pt x="115" y="3"/>
                  </a:cubicBezTo>
                  <a:lnTo>
                    <a:pt x="115" y="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8" name="Freeform 30"/>
            <p:cNvSpPr>
              <a:spLocks/>
            </p:cNvSpPr>
            <p:nvPr userDrawn="1"/>
          </p:nvSpPr>
          <p:spPr bwMode="auto">
            <a:xfrm>
              <a:off x="1379" y="2666"/>
              <a:ext cx="544" cy="769"/>
            </a:xfrm>
            <a:custGeom>
              <a:avLst/>
              <a:gdLst>
                <a:gd name="T0" fmla="*/ 230 w 230"/>
                <a:gd name="T1" fmla="*/ 307 h 325"/>
                <a:gd name="T2" fmla="*/ 145 w 230"/>
                <a:gd name="T3" fmla="*/ 325 h 325"/>
                <a:gd name="T4" fmla="*/ 69 w 230"/>
                <a:gd name="T5" fmla="*/ 306 h 325"/>
                <a:gd name="T6" fmla="*/ 17 w 230"/>
                <a:gd name="T7" fmla="*/ 250 h 325"/>
                <a:gd name="T8" fmla="*/ 0 w 230"/>
                <a:gd name="T9" fmla="*/ 169 h 325"/>
                <a:gd name="T10" fmla="*/ 20 w 230"/>
                <a:gd name="T11" fmla="*/ 82 h 325"/>
                <a:gd name="T12" fmla="*/ 76 w 230"/>
                <a:gd name="T13" fmla="*/ 22 h 325"/>
                <a:gd name="T14" fmla="*/ 157 w 230"/>
                <a:gd name="T15" fmla="*/ 0 h 325"/>
                <a:gd name="T16" fmla="*/ 230 w 230"/>
                <a:gd name="T17" fmla="*/ 13 h 325"/>
                <a:gd name="T18" fmla="*/ 230 w 230"/>
                <a:gd name="T19" fmla="*/ 52 h 325"/>
                <a:gd name="T20" fmla="*/ 157 w 230"/>
                <a:gd name="T21" fmla="*/ 33 h 325"/>
                <a:gd name="T22" fmla="*/ 95 w 230"/>
                <a:gd name="T23" fmla="*/ 50 h 325"/>
                <a:gd name="T24" fmla="*/ 52 w 230"/>
                <a:gd name="T25" fmla="*/ 97 h 325"/>
                <a:gd name="T26" fmla="*/ 37 w 230"/>
                <a:gd name="T27" fmla="*/ 166 h 325"/>
                <a:gd name="T28" fmla="*/ 51 w 230"/>
                <a:gd name="T29" fmla="*/ 232 h 325"/>
                <a:gd name="T30" fmla="*/ 91 w 230"/>
                <a:gd name="T31" fmla="*/ 276 h 325"/>
                <a:gd name="T32" fmla="*/ 150 w 230"/>
                <a:gd name="T33" fmla="*/ 292 h 325"/>
                <a:gd name="T34" fmla="*/ 230 w 230"/>
                <a:gd name="T35" fmla="*/ 271 h 325"/>
                <a:gd name="T36" fmla="*/ 230 w 230"/>
                <a:gd name="T37" fmla="*/ 307 h 3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30" h="325">
                  <a:moveTo>
                    <a:pt x="230" y="307"/>
                  </a:moveTo>
                  <a:cubicBezTo>
                    <a:pt x="207" y="319"/>
                    <a:pt x="179" y="325"/>
                    <a:pt x="145" y="325"/>
                  </a:cubicBezTo>
                  <a:cubicBezTo>
                    <a:pt x="116" y="325"/>
                    <a:pt x="91" y="319"/>
                    <a:pt x="69" y="306"/>
                  </a:cubicBezTo>
                  <a:cubicBezTo>
                    <a:pt x="47" y="293"/>
                    <a:pt x="29" y="274"/>
                    <a:pt x="17" y="250"/>
                  </a:cubicBezTo>
                  <a:cubicBezTo>
                    <a:pt x="6" y="226"/>
                    <a:pt x="0" y="199"/>
                    <a:pt x="0" y="169"/>
                  </a:cubicBezTo>
                  <a:cubicBezTo>
                    <a:pt x="0" y="137"/>
                    <a:pt x="6" y="108"/>
                    <a:pt x="20" y="82"/>
                  </a:cubicBezTo>
                  <a:cubicBezTo>
                    <a:pt x="33" y="56"/>
                    <a:pt x="52" y="36"/>
                    <a:pt x="76" y="22"/>
                  </a:cubicBezTo>
                  <a:cubicBezTo>
                    <a:pt x="100" y="7"/>
                    <a:pt x="127" y="0"/>
                    <a:pt x="157" y="0"/>
                  </a:cubicBezTo>
                  <a:cubicBezTo>
                    <a:pt x="186" y="0"/>
                    <a:pt x="210" y="5"/>
                    <a:pt x="230" y="13"/>
                  </a:cubicBezTo>
                  <a:cubicBezTo>
                    <a:pt x="230" y="52"/>
                    <a:pt x="230" y="52"/>
                    <a:pt x="230" y="52"/>
                  </a:cubicBezTo>
                  <a:cubicBezTo>
                    <a:pt x="208" y="40"/>
                    <a:pt x="183" y="33"/>
                    <a:pt x="157" y="33"/>
                  </a:cubicBezTo>
                  <a:cubicBezTo>
                    <a:pt x="133" y="33"/>
                    <a:pt x="113" y="39"/>
                    <a:pt x="95" y="50"/>
                  </a:cubicBezTo>
                  <a:cubicBezTo>
                    <a:pt x="76" y="61"/>
                    <a:pt x="62" y="76"/>
                    <a:pt x="52" y="97"/>
                  </a:cubicBezTo>
                  <a:cubicBezTo>
                    <a:pt x="42" y="117"/>
                    <a:pt x="37" y="140"/>
                    <a:pt x="37" y="166"/>
                  </a:cubicBezTo>
                  <a:cubicBezTo>
                    <a:pt x="37" y="191"/>
                    <a:pt x="42" y="213"/>
                    <a:pt x="51" y="232"/>
                  </a:cubicBezTo>
                  <a:cubicBezTo>
                    <a:pt x="61" y="251"/>
                    <a:pt x="74" y="266"/>
                    <a:pt x="91" y="276"/>
                  </a:cubicBezTo>
                  <a:cubicBezTo>
                    <a:pt x="108" y="287"/>
                    <a:pt x="128" y="292"/>
                    <a:pt x="150" y="292"/>
                  </a:cubicBezTo>
                  <a:cubicBezTo>
                    <a:pt x="181" y="292"/>
                    <a:pt x="207" y="285"/>
                    <a:pt x="230" y="271"/>
                  </a:cubicBezTo>
                  <a:lnTo>
                    <a:pt x="230" y="30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9" name="Freeform 31"/>
            <p:cNvSpPr>
              <a:spLocks noEditPoints="1"/>
            </p:cNvSpPr>
            <p:nvPr userDrawn="1"/>
          </p:nvSpPr>
          <p:spPr bwMode="auto">
            <a:xfrm>
              <a:off x="2020" y="2879"/>
              <a:ext cx="516" cy="556"/>
            </a:xfrm>
            <a:custGeom>
              <a:avLst/>
              <a:gdLst>
                <a:gd name="T0" fmla="*/ 218 w 218"/>
                <a:gd name="T1" fmla="*/ 117 h 235"/>
                <a:gd name="T2" fmla="*/ 188 w 218"/>
                <a:gd name="T3" fmla="*/ 203 h 235"/>
                <a:gd name="T4" fmla="*/ 108 w 218"/>
                <a:gd name="T5" fmla="*/ 235 h 235"/>
                <a:gd name="T6" fmla="*/ 30 w 218"/>
                <a:gd name="T7" fmla="*/ 203 h 235"/>
                <a:gd name="T8" fmla="*/ 0 w 218"/>
                <a:gd name="T9" fmla="*/ 120 h 235"/>
                <a:gd name="T10" fmla="*/ 30 w 218"/>
                <a:gd name="T11" fmla="*/ 32 h 235"/>
                <a:gd name="T12" fmla="*/ 113 w 218"/>
                <a:gd name="T13" fmla="*/ 0 h 235"/>
                <a:gd name="T14" fmla="*/ 190 w 218"/>
                <a:gd name="T15" fmla="*/ 31 h 235"/>
                <a:gd name="T16" fmla="*/ 218 w 218"/>
                <a:gd name="T17" fmla="*/ 117 h 235"/>
                <a:gd name="T18" fmla="*/ 181 w 218"/>
                <a:gd name="T19" fmla="*/ 118 h 235"/>
                <a:gd name="T20" fmla="*/ 163 w 218"/>
                <a:gd name="T21" fmla="*/ 53 h 235"/>
                <a:gd name="T22" fmla="*/ 110 w 218"/>
                <a:gd name="T23" fmla="*/ 31 h 235"/>
                <a:gd name="T24" fmla="*/ 56 w 218"/>
                <a:gd name="T25" fmla="*/ 54 h 235"/>
                <a:gd name="T26" fmla="*/ 37 w 218"/>
                <a:gd name="T27" fmla="*/ 119 h 235"/>
                <a:gd name="T28" fmla="*/ 57 w 218"/>
                <a:gd name="T29" fmla="*/ 182 h 235"/>
                <a:gd name="T30" fmla="*/ 110 w 218"/>
                <a:gd name="T31" fmla="*/ 204 h 235"/>
                <a:gd name="T32" fmla="*/ 163 w 218"/>
                <a:gd name="T33" fmla="*/ 182 h 235"/>
                <a:gd name="T34" fmla="*/ 181 w 218"/>
                <a:gd name="T35" fmla="*/ 118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18" h="235">
                  <a:moveTo>
                    <a:pt x="218" y="117"/>
                  </a:moveTo>
                  <a:cubicBezTo>
                    <a:pt x="218" y="152"/>
                    <a:pt x="208" y="181"/>
                    <a:pt x="188" y="203"/>
                  </a:cubicBezTo>
                  <a:cubicBezTo>
                    <a:pt x="168" y="224"/>
                    <a:pt x="141" y="235"/>
                    <a:pt x="108" y="235"/>
                  </a:cubicBezTo>
                  <a:cubicBezTo>
                    <a:pt x="75" y="235"/>
                    <a:pt x="49" y="225"/>
                    <a:pt x="30" y="203"/>
                  </a:cubicBezTo>
                  <a:cubicBezTo>
                    <a:pt x="10" y="182"/>
                    <a:pt x="0" y="155"/>
                    <a:pt x="0" y="120"/>
                  </a:cubicBezTo>
                  <a:cubicBezTo>
                    <a:pt x="0" y="83"/>
                    <a:pt x="10" y="54"/>
                    <a:pt x="30" y="32"/>
                  </a:cubicBezTo>
                  <a:cubicBezTo>
                    <a:pt x="50" y="11"/>
                    <a:pt x="78" y="0"/>
                    <a:pt x="113" y="0"/>
                  </a:cubicBezTo>
                  <a:cubicBezTo>
                    <a:pt x="146" y="0"/>
                    <a:pt x="171" y="10"/>
                    <a:pt x="190" y="31"/>
                  </a:cubicBezTo>
                  <a:cubicBezTo>
                    <a:pt x="208" y="52"/>
                    <a:pt x="218" y="80"/>
                    <a:pt x="218" y="117"/>
                  </a:cubicBezTo>
                  <a:close/>
                  <a:moveTo>
                    <a:pt x="181" y="118"/>
                  </a:moveTo>
                  <a:cubicBezTo>
                    <a:pt x="181" y="90"/>
                    <a:pt x="175" y="68"/>
                    <a:pt x="163" y="53"/>
                  </a:cubicBezTo>
                  <a:cubicBezTo>
                    <a:pt x="151" y="38"/>
                    <a:pt x="133" y="31"/>
                    <a:pt x="110" y="31"/>
                  </a:cubicBezTo>
                  <a:cubicBezTo>
                    <a:pt x="88" y="31"/>
                    <a:pt x="70" y="38"/>
                    <a:pt x="56" y="54"/>
                  </a:cubicBezTo>
                  <a:cubicBezTo>
                    <a:pt x="43" y="69"/>
                    <a:pt x="37" y="91"/>
                    <a:pt x="37" y="119"/>
                  </a:cubicBezTo>
                  <a:cubicBezTo>
                    <a:pt x="37" y="146"/>
                    <a:pt x="43" y="167"/>
                    <a:pt x="57" y="182"/>
                  </a:cubicBezTo>
                  <a:cubicBezTo>
                    <a:pt x="70" y="197"/>
                    <a:pt x="88" y="204"/>
                    <a:pt x="110" y="204"/>
                  </a:cubicBezTo>
                  <a:cubicBezTo>
                    <a:pt x="133" y="204"/>
                    <a:pt x="151" y="197"/>
                    <a:pt x="163" y="182"/>
                  </a:cubicBezTo>
                  <a:cubicBezTo>
                    <a:pt x="175" y="167"/>
                    <a:pt x="181" y="146"/>
                    <a:pt x="181" y="1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0" name="Freeform 32"/>
            <p:cNvSpPr>
              <a:spLocks/>
            </p:cNvSpPr>
            <p:nvPr userDrawn="1"/>
          </p:nvSpPr>
          <p:spPr bwMode="auto">
            <a:xfrm>
              <a:off x="2663" y="2879"/>
              <a:ext cx="433" cy="544"/>
            </a:xfrm>
            <a:custGeom>
              <a:avLst/>
              <a:gdLst>
                <a:gd name="T0" fmla="*/ 183 w 183"/>
                <a:gd name="T1" fmla="*/ 230 h 230"/>
                <a:gd name="T2" fmla="*/ 148 w 183"/>
                <a:gd name="T3" fmla="*/ 230 h 230"/>
                <a:gd name="T4" fmla="*/ 148 w 183"/>
                <a:gd name="T5" fmla="*/ 102 h 230"/>
                <a:gd name="T6" fmla="*/ 97 w 183"/>
                <a:gd name="T7" fmla="*/ 31 h 230"/>
                <a:gd name="T8" fmla="*/ 53 w 183"/>
                <a:gd name="T9" fmla="*/ 51 h 230"/>
                <a:gd name="T10" fmla="*/ 36 w 183"/>
                <a:gd name="T11" fmla="*/ 102 h 230"/>
                <a:gd name="T12" fmla="*/ 36 w 183"/>
                <a:gd name="T13" fmla="*/ 230 h 230"/>
                <a:gd name="T14" fmla="*/ 0 w 183"/>
                <a:gd name="T15" fmla="*/ 230 h 230"/>
                <a:gd name="T16" fmla="*/ 0 w 183"/>
                <a:gd name="T17" fmla="*/ 5 h 230"/>
                <a:gd name="T18" fmla="*/ 36 w 183"/>
                <a:gd name="T19" fmla="*/ 5 h 230"/>
                <a:gd name="T20" fmla="*/ 36 w 183"/>
                <a:gd name="T21" fmla="*/ 43 h 230"/>
                <a:gd name="T22" fmla="*/ 37 w 183"/>
                <a:gd name="T23" fmla="*/ 43 h 230"/>
                <a:gd name="T24" fmla="*/ 109 w 183"/>
                <a:gd name="T25" fmla="*/ 0 h 230"/>
                <a:gd name="T26" fmla="*/ 164 w 183"/>
                <a:gd name="T27" fmla="*/ 24 h 230"/>
                <a:gd name="T28" fmla="*/ 183 w 183"/>
                <a:gd name="T29" fmla="*/ 92 h 230"/>
                <a:gd name="T30" fmla="*/ 183 w 183"/>
                <a:gd name="T31" fmla="*/ 230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83" h="230">
                  <a:moveTo>
                    <a:pt x="183" y="230"/>
                  </a:moveTo>
                  <a:cubicBezTo>
                    <a:pt x="148" y="230"/>
                    <a:pt x="148" y="230"/>
                    <a:pt x="148" y="230"/>
                  </a:cubicBezTo>
                  <a:cubicBezTo>
                    <a:pt x="148" y="102"/>
                    <a:pt x="148" y="102"/>
                    <a:pt x="148" y="102"/>
                  </a:cubicBezTo>
                  <a:cubicBezTo>
                    <a:pt x="148" y="54"/>
                    <a:pt x="131" y="31"/>
                    <a:pt x="97" y="31"/>
                  </a:cubicBezTo>
                  <a:cubicBezTo>
                    <a:pt x="79" y="31"/>
                    <a:pt x="65" y="37"/>
                    <a:pt x="53" y="51"/>
                  </a:cubicBezTo>
                  <a:cubicBezTo>
                    <a:pt x="42" y="64"/>
                    <a:pt x="36" y="81"/>
                    <a:pt x="36" y="102"/>
                  </a:cubicBezTo>
                  <a:cubicBezTo>
                    <a:pt x="36" y="230"/>
                    <a:pt x="36" y="230"/>
                    <a:pt x="36" y="230"/>
                  </a:cubicBezTo>
                  <a:cubicBezTo>
                    <a:pt x="0" y="230"/>
                    <a:pt x="0" y="230"/>
                    <a:pt x="0" y="230"/>
                  </a:cubicBezTo>
                  <a:cubicBezTo>
                    <a:pt x="0" y="5"/>
                    <a:pt x="0" y="5"/>
                    <a:pt x="0" y="5"/>
                  </a:cubicBezTo>
                  <a:cubicBezTo>
                    <a:pt x="36" y="5"/>
                    <a:pt x="36" y="5"/>
                    <a:pt x="36" y="5"/>
                  </a:cubicBezTo>
                  <a:cubicBezTo>
                    <a:pt x="36" y="43"/>
                    <a:pt x="36" y="43"/>
                    <a:pt x="36" y="43"/>
                  </a:cubicBezTo>
                  <a:cubicBezTo>
                    <a:pt x="37" y="43"/>
                    <a:pt x="37" y="43"/>
                    <a:pt x="37" y="43"/>
                  </a:cubicBezTo>
                  <a:cubicBezTo>
                    <a:pt x="53" y="14"/>
                    <a:pt x="77" y="0"/>
                    <a:pt x="109" y="0"/>
                  </a:cubicBezTo>
                  <a:cubicBezTo>
                    <a:pt x="133" y="0"/>
                    <a:pt x="152" y="8"/>
                    <a:pt x="164" y="24"/>
                  </a:cubicBezTo>
                  <a:cubicBezTo>
                    <a:pt x="177" y="40"/>
                    <a:pt x="183" y="63"/>
                    <a:pt x="183" y="92"/>
                  </a:cubicBezTo>
                  <a:lnTo>
                    <a:pt x="183" y="2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1" name="Freeform 33"/>
            <p:cNvSpPr>
              <a:spLocks/>
            </p:cNvSpPr>
            <p:nvPr userDrawn="1"/>
          </p:nvSpPr>
          <p:spPr bwMode="auto">
            <a:xfrm>
              <a:off x="3198" y="2626"/>
              <a:ext cx="315" cy="797"/>
            </a:xfrm>
            <a:custGeom>
              <a:avLst/>
              <a:gdLst>
                <a:gd name="T0" fmla="*/ 133 w 133"/>
                <a:gd name="T1" fmla="*/ 36 h 337"/>
                <a:gd name="T2" fmla="*/ 110 w 133"/>
                <a:gd name="T3" fmla="*/ 30 h 337"/>
                <a:gd name="T4" fmla="*/ 73 w 133"/>
                <a:gd name="T5" fmla="*/ 78 h 337"/>
                <a:gd name="T6" fmla="*/ 73 w 133"/>
                <a:gd name="T7" fmla="*/ 112 h 337"/>
                <a:gd name="T8" fmla="*/ 124 w 133"/>
                <a:gd name="T9" fmla="*/ 112 h 337"/>
                <a:gd name="T10" fmla="*/ 124 w 133"/>
                <a:gd name="T11" fmla="*/ 143 h 337"/>
                <a:gd name="T12" fmla="*/ 73 w 133"/>
                <a:gd name="T13" fmla="*/ 143 h 337"/>
                <a:gd name="T14" fmla="*/ 73 w 133"/>
                <a:gd name="T15" fmla="*/ 337 h 337"/>
                <a:gd name="T16" fmla="*/ 37 w 133"/>
                <a:gd name="T17" fmla="*/ 337 h 337"/>
                <a:gd name="T18" fmla="*/ 37 w 133"/>
                <a:gd name="T19" fmla="*/ 143 h 337"/>
                <a:gd name="T20" fmla="*/ 0 w 133"/>
                <a:gd name="T21" fmla="*/ 143 h 337"/>
                <a:gd name="T22" fmla="*/ 0 w 133"/>
                <a:gd name="T23" fmla="*/ 112 h 337"/>
                <a:gd name="T24" fmla="*/ 37 w 133"/>
                <a:gd name="T25" fmla="*/ 112 h 337"/>
                <a:gd name="T26" fmla="*/ 37 w 133"/>
                <a:gd name="T27" fmla="*/ 76 h 337"/>
                <a:gd name="T28" fmla="*/ 57 w 133"/>
                <a:gd name="T29" fmla="*/ 21 h 337"/>
                <a:gd name="T30" fmla="*/ 107 w 133"/>
                <a:gd name="T31" fmla="*/ 0 h 337"/>
                <a:gd name="T32" fmla="*/ 133 w 133"/>
                <a:gd name="T33" fmla="*/ 4 h 337"/>
                <a:gd name="T34" fmla="*/ 133 w 133"/>
                <a:gd name="T35" fmla="*/ 36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3" h="337">
                  <a:moveTo>
                    <a:pt x="133" y="36"/>
                  </a:moveTo>
                  <a:cubicBezTo>
                    <a:pt x="126" y="32"/>
                    <a:pt x="118" y="30"/>
                    <a:pt x="110" y="30"/>
                  </a:cubicBezTo>
                  <a:cubicBezTo>
                    <a:pt x="85" y="30"/>
                    <a:pt x="73" y="46"/>
                    <a:pt x="73" y="78"/>
                  </a:cubicBezTo>
                  <a:cubicBezTo>
                    <a:pt x="73" y="112"/>
                    <a:pt x="73" y="112"/>
                    <a:pt x="73" y="112"/>
                  </a:cubicBezTo>
                  <a:cubicBezTo>
                    <a:pt x="124" y="112"/>
                    <a:pt x="124" y="112"/>
                    <a:pt x="124" y="112"/>
                  </a:cubicBezTo>
                  <a:cubicBezTo>
                    <a:pt x="124" y="143"/>
                    <a:pt x="124" y="143"/>
                    <a:pt x="124" y="143"/>
                  </a:cubicBezTo>
                  <a:cubicBezTo>
                    <a:pt x="73" y="143"/>
                    <a:pt x="73" y="143"/>
                    <a:pt x="73" y="143"/>
                  </a:cubicBezTo>
                  <a:cubicBezTo>
                    <a:pt x="73" y="337"/>
                    <a:pt x="73" y="337"/>
                    <a:pt x="73" y="337"/>
                  </a:cubicBezTo>
                  <a:cubicBezTo>
                    <a:pt x="37" y="337"/>
                    <a:pt x="37" y="337"/>
                    <a:pt x="37" y="337"/>
                  </a:cubicBezTo>
                  <a:cubicBezTo>
                    <a:pt x="37" y="143"/>
                    <a:pt x="37" y="143"/>
                    <a:pt x="37" y="143"/>
                  </a:cubicBezTo>
                  <a:cubicBezTo>
                    <a:pt x="0" y="143"/>
                    <a:pt x="0" y="143"/>
                    <a:pt x="0" y="143"/>
                  </a:cubicBezTo>
                  <a:cubicBezTo>
                    <a:pt x="0" y="112"/>
                    <a:pt x="0" y="112"/>
                    <a:pt x="0" y="112"/>
                  </a:cubicBezTo>
                  <a:cubicBezTo>
                    <a:pt x="37" y="112"/>
                    <a:pt x="37" y="112"/>
                    <a:pt x="37" y="112"/>
                  </a:cubicBezTo>
                  <a:cubicBezTo>
                    <a:pt x="37" y="76"/>
                    <a:pt x="37" y="76"/>
                    <a:pt x="37" y="76"/>
                  </a:cubicBezTo>
                  <a:cubicBezTo>
                    <a:pt x="37" y="53"/>
                    <a:pt x="44" y="35"/>
                    <a:pt x="57" y="21"/>
                  </a:cubicBezTo>
                  <a:cubicBezTo>
                    <a:pt x="70" y="7"/>
                    <a:pt x="87" y="0"/>
                    <a:pt x="107" y="0"/>
                  </a:cubicBezTo>
                  <a:cubicBezTo>
                    <a:pt x="118" y="0"/>
                    <a:pt x="127" y="1"/>
                    <a:pt x="133" y="4"/>
                  </a:cubicBezTo>
                  <a:lnTo>
                    <a:pt x="133" y="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2" name="Freeform 34"/>
            <p:cNvSpPr>
              <a:spLocks noEditPoints="1"/>
            </p:cNvSpPr>
            <p:nvPr userDrawn="1"/>
          </p:nvSpPr>
          <p:spPr bwMode="auto">
            <a:xfrm>
              <a:off x="3541" y="2879"/>
              <a:ext cx="456" cy="556"/>
            </a:xfrm>
            <a:custGeom>
              <a:avLst/>
              <a:gdLst>
                <a:gd name="T0" fmla="*/ 193 w 193"/>
                <a:gd name="T1" fmla="*/ 126 h 235"/>
                <a:gd name="T2" fmla="*/ 37 w 193"/>
                <a:gd name="T3" fmla="*/ 126 h 235"/>
                <a:gd name="T4" fmla="*/ 57 w 193"/>
                <a:gd name="T5" fmla="*/ 184 h 235"/>
                <a:gd name="T6" fmla="*/ 109 w 193"/>
                <a:gd name="T7" fmla="*/ 204 h 235"/>
                <a:gd name="T8" fmla="*/ 177 w 193"/>
                <a:gd name="T9" fmla="*/ 180 h 235"/>
                <a:gd name="T10" fmla="*/ 177 w 193"/>
                <a:gd name="T11" fmla="*/ 213 h 235"/>
                <a:gd name="T12" fmla="*/ 101 w 193"/>
                <a:gd name="T13" fmla="*/ 235 h 235"/>
                <a:gd name="T14" fmla="*/ 27 w 193"/>
                <a:gd name="T15" fmla="*/ 204 h 235"/>
                <a:gd name="T16" fmla="*/ 0 w 193"/>
                <a:gd name="T17" fmla="*/ 118 h 235"/>
                <a:gd name="T18" fmla="*/ 14 w 193"/>
                <a:gd name="T19" fmla="*/ 58 h 235"/>
                <a:gd name="T20" fmla="*/ 50 w 193"/>
                <a:gd name="T21" fmla="*/ 15 h 235"/>
                <a:gd name="T22" fmla="*/ 102 w 193"/>
                <a:gd name="T23" fmla="*/ 0 h 235"/>
                <a:gd name="T24" fmla="*/ 169 w 193"/>
                <a:gd name="T25" fmla="*/ 28 h 235"/>
                <a:gd name="T26" fmla="*/ 193 w 193"/>
                <a:gd name="T27" fmla="*/ 108 h 235"/>
                <a:gd name="T28" fmla="*/ 193 w 193"/>
                <a:gd name="T29" fmla="*/ 126 h 235"/>
                <a:gd name="T30" fmla="*/ 157 w 193"/>
                <a:gd name="T31" fmla="*/ 96 h 235"/>
                <a:gd name="T32" fmla="*/ 142 w 193"/>
                <a:gd name="T33" fmla="*/ 48 h 235"/>
                <a:gd name="T34" fmla="*/ 101 w 193"/>
                <a:gd name="T35" fmla="*/ 31 h 235"/>
                <a:gd name="T36" fmla="*/ 59 w 193"/>
                <a:gd name="T37" fmla="*/ 49 h 235"/>
                <a:gd name="T38" fmla="*/ 37 w 193"/>
                <a:gd name="T39" fmla="*/ 96 h 235"/>
                <a:gd name="T40" fmla="*/ 157 w 193"/>
                <a:gd name="T41" fmla="*/ 96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93" h="235">
                  <a:moveTo>
                    <a:pt x="193" y="126"/>
                  </a:moveTo>
                  <a:cubicBezTo>
                    <a:pt x="37" y="126"/>
                    <a:pt x="37" y="126"/>
                    <a:pt x="37" y="126"/>
                  </a:cubicBezTo>
                  <a:cubicBezTo>
                    <a:pt x="38" y="152"/>
                    <a:pt x="44" y="171"/>
                    <a:pt x="57" y="184"/>
                  </a:cubicBezTo>
                  <a:cubicBezTo>
                    <a:pt x="69" y="198"/>
                    <a:pt x="87" y="204"/>
                    <a:pt x="109" y="204"/>
                  </a:cubicBezTo>
                  <a:cubicBezTo>
                    <a:pt x="134" y="204"/>
                    <a:pt x="157" y="196"/>
                    <a:pt x="177" y="180"/>
                  </a:cubicBezTo>
                  <a:cubicBezTo>
                    <a:pt x="177" y="213"/>
                    <a:pt x="177" y="213"/>
                    <a:pt x="177" y="213"/>
                  </a:cubicBezTo>
                  <a:cubicBezTo>
                    <a:pt x="158" y="228"/>
                    <a:pt x="132" y="235"/>
                    <a:pt x="101" y="235"/>
                  </a:cubicBezTo>
                  <a:cubicBezTo>
                    <a:pt x="69" y="235"/>
                    <a:pt x="45" y="225"/>
                    <a:pt x="27" y="204"/>
                  </a:cubicBezTo>
                  <a:cubicBezTo>
                    <a:pt x="9" y="183"/>
                    <a:pt x="0" y="155"/>
                    <a:pt x="0" y="118"/>
                  </a:cubicBezTo>
                  <a:cubicBezTo>
                    <a:pt x="0" y="96"/>
                    <a:pt x="5" y="76"/>
                    <a:pt x="14" y="58"/>
                  </a:cubicBezTo>
                  <a:cubicBezTo>
                    <a:pt x="22" y="39"/>
                    <a:pt x="35" y="25"/>
                    <a:pt x="50" y="15"/>
                  </a:cubicBezTo>
                  <a:cubicBezTo>
                    <a:pt x="66" y="5"/>
                    <a:pt x="83" y="0"/>
                    <a:pt x="102" y="0"/>
                  </a:cubicBezTo>
                  <a:cubicBezTo>
                    <a:pt x="130" y="0"/>
                    <a:pt x="153" y="9"/>
                    <a:pt x="169" y="28"/>
                  </a:cubicBezTo>
                  <a:cubicBezTo>
                    <a:pt x="185" y="47"/>
                    <a:pt x="193" y="74"/>
                    <a:pt x="193" y="108"/>
                  </a:cubicBezTo>
                  <a:lnTo>
                    <a:pt x="193" y="126"/>
                  </a:lnTo>
                  <a:close/>
                  <a:moveTo>
                    <a:pt x="157" y="96"/>
                  </a:moveTo>
                  <a:cubicBezTo>
                    <a:pt x="156" y="75"/>
                    <a:pt x="151" y="59"/>
                    <a:pt x="142" y="48"/>
                  </a:cubicBezTo>
                  <a:cubicBezTo>
                    <a:pt x="132" y="36"/>
                    <a:pt x="119" y="31"/>
                    <a:pt x="101" y="31"/>
                  </a:cubicBezTo>
                  <a:cubicBezTo>
                    <a:pt x="85" y="31"/>
                    <a:pt x="71" y="37"/>
                    <a:pt x="59" y="49"/>
                  </a:cubicBezTo>
                  <a:cubicBezTo>
                    <a:pt x="48" y="60"/>
                    <a:pt x="40" y="76"/>
                    <a:pt x="37" y="96"/>
                  </a:cubicBezTo>
                  <a:lnTo>
                    <a:pt x="157" y="9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3" name="Freeform 35"/>
            <p:cNvSpPr>
              <a:spLocks/>
            </p:cNvSpPr>
            <p:nvPr userDrawn="1"/>
          </p:nvSpPr>
          <p:spPr bwMode="auto">
            <a:xfrm>
              <a:off x="4118" y="2882"/>
              <a:ext cx="274" cy="541"/>
            </a:xfrm>
            <a:custGeom>
              <a:avLst/>
              <a:gdLst>
                <a:gd name="T0" fmla="*/ 116 w 116"/>
                <a:gd name="T1" fmla="*/ 41 h 229"/>
                <a:gd name="T2" fmla="*/ 89 w 116"/>
                <a:gd name="T3" fmla="*/ 33 h 229"/>
                <a:gd name="T4" fmla="*/ 50 w 116"/>
                <a:gd name="T5" fmla="*/ 56 h 229"/>
                <a:gd name="T6" fmla="*/ 36 w 116"/>
                <a:gd name="T7" fmla="*/ 114 h 229"/>
                <a:gd name="T8" fmla="*/ 36 w 116"/>
                <a:gd name="T9" fmla="*/ 229 h 229"/>
                <a:gd name="T10" fmla="*/ 0 w 116"/>
                <a:gd name="T11" fmla="*/ 229 h 229"/>
                <a:gd name="T12" fmla="*/ 0 w 116"/>
                <a:gd name="T13" fmla="*/ 4 h 229"/>
                <a:gd name="T14" fmla="*/ 36 w 116"/>
                <a:gd name="T15" fmla="*/ 4 h 229"/>
                <a:gd name="T16" fmla="*/ 36 w 116"/>
                <a:gd name="T17" fmla="*/ 51 h 229"/>
                <a:gd name="T18" fmla="*/ 37 w 116"/>
                <a:gd name="T19" fmla="*/ 51 h 229"/>
                <a:gd name="T20" fmla="*/ 59 w 116"/>
                <a:gd name="T21" fmla="*/ 14 h 229"/>
                <a:gd name="T22" fmla="*/ 94 w 116"/>
                <a:gd name="T23" fmla="*/ 0 h 229"/>
                <a:gd name="T24" fmla="*/ 116 w 116"/>
                <a:gd name="T25" fmla="*/ 3 h 229"/>
                <a:gd name="T26" fmla="*/ 116 w 116"/>
                <a:gd name="T27" fmla="*/ 41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6" h="229">
                  <a:moveTo>
                    <a:pt x="116" y="41"/>
                  </a:moveTo>
                  <a:cubicBezTo>
                    <a:pt x="109" y="36"/>
                    <a:pt x="100" y="33"/>
                    <a:pt x="89" y="33"/>
                  </a:cubicBezTo>
                  <a:cubicBezTo>
                    <a:pt x="73" y="33"/>
                    <a:pt x="60" y="41"/>
                    <a:pt x="50" y="56"/>
                  </a:cubicBezTo>
                  <a:cubicBezTo>
                    <a:pt x="41" y="71"/>
                    <a:pt x="36" y="90"/>
                    <a:pt x="36" y="114"/>
                  </a:cubicBezTo>
                  <a:cubicBezTo>
                    <a:pt x="36" y="229"/>
                    <a:pt x="36" y="229"/>
                    <a:pt x="36" y="229"/>
                  </a:cubicBezTo>
                  <a:cubicBezTo>
                    <a:pt x="0" y="229"/>
                    <a:pt x="0" y="229"/>
                    <a:pt x="0" y="229"/>
                  </a:cubicBezTo>
                  <a:cubicBezTo>
                    <a:pt x="0" y="4"/>
                    <a:pt x="0" y="4"/>
                    <a:pt x="0" y="4"/>
                  </a:cubicBezTo>
                  <a:cubicBezTo>
                    <a:pt x="36" y="4"/>
                    <a:pt x="36" y="4"/>
                    <a:pt x="36" y="4"/>
                  </a:cubicBezTo>
                  <a:cubicBezTo>
                    <a:pt x="36" y="51"/>
                    <a:pt x="36" y="51"/>
                    <a:pt x="36" y="51"/>
                  </a:cubicBezTo>
                  <a:cubicBezTo>
                    <a:pt x="37" y="51"/>
                    <a:pt x="37" y="51"/>
                    <a:pt x="37" y="51"/>
                  </a:cubicBezTo>
                  <a:cubicBezTo>
                    <a:pt x="42" y="35"/>
                    <a:pt x="49" y="23"/>
                    <a:pt x="59" y="14"/>
                  </a:cubicBezTo>
                  <a:cubicBezTo>
                    <a:pt x="69" y="5"/>
                    <a:pt x="81" y="0"/>
                    <a:pt x="94" y="0"/>
                  </a:cubicBezTo>
                  <a:cubicBezTo>
                    <a:pt x="104" y="0"/>
                    <a:pt x="111" y="1"/>
                    <a:pt x="116" y="3"/>
                  </a:cubicBezTo>
                  <a:lnTo>
                    <a:pt x="116" y="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4" name="Freeform 36"/>
            <p:cNvSpPr>
              <a:spLocks noEditPoints="1"/>
            </p:cNvSpPr>
            <p:nvPr userDrawn="1"/>
          </p:nvSpPr>
          <p:spPr bwMode="auto">
            <a:xfrm>
              <a:off x="4428" y="2879"/>
              <a:ext cx="457" cy="556"/>
            </a:xfrm>
            <a:custGeom>
              <a:avLst/>
              <a:gdLst>
                <a:gd name="T0" fmla="*/ 193 w 193"/>
                <a:gd name="T1" fmla="*/ 126 h 235"/>
                <a:gd name="T2" fmla="*/ 37 w 193"/>
                <a:gd name="T3" fmla="*/ 126 h 235"/>
                <a:gd name="T4" fmla="*/ 57 w 193"/>
                <a:gd name="T5" fmla="*/ 184 h 235"/>
                <a:gd name="T6" fmla="*/ 109 w 193"/>
                <a:gd name="T7" fmla="*/ 204 h 235"/>
                <a:gd name="T8" fmla="*/ 177 w 193"/>
                <a:gd name="T9" fmla="*/ 180 h 235"/>
                <a:gd name="T10" fmla="*/ 177 w 193"/>
                <a:gd name="T11" fmla="*/ 213 h 235"/>
                <a:gd name="T12" fmla="*/ 101 w 193"/>
                <a:gd name="T13" fmla="*/ 235 h 235"/>
                <a:gd name="T14" fmla="*/ 27 w 193"/>
                <a:gd name="T15" fmla="*/ 204 h 235"/>
                <a:gd name="T16" fmla="*/ 0 w 193"/>
                <a:gd name="T17" fmla="*/ 118 h 235"/>
                <a:gd name="T18" fmla="*/ 14 w 193"/>
                <a:gd name="T19" fmla="*/ 58 h 235"/>
                <a:gd name="T20" fmla="*/ 50 w 193"/>
                <a:gd name="T21" fmla="*/ 15 h 235"/>
                <a:gd name="T22" fmla="*/ 102 w 193"/>
                <a:gd name="T23" fmla="*/ 0 h 235"/>
                <a:gd name="T24" fmla="*/ 169 w 193"/>
                <a:gd name="T25" fmla="*/ 28 h 235"/>
                <a:gd name="T26" fmla="*/ 193 w 193"/>
                <a:gd name="T27" fmla="*/ 108 h 235"/>
                <a:gd name="T28" fmla="*/ 193 w 193"/>
                <a:gd name="T29" fmla="*/ 126 h 235"/>
                <a:gd name="T30" fmla="*/ 157 w 193"/>
                <a:gd name="T31" fmla="*/ 96 h 235"/>
                <a:gd name="T32" fmla="*/ 142 w 193"/>
                <a:gd name="T33" fmla="*/ 48 h 235"/>
                <a:gd name="T34" fmla="*/ 102 w 193"/>
                <a:gd name="T35" fmla="*/ 31 h 235"/>
                <a:gd name="T36" fmla="*/ 60 w 193"/>
                <a:gd name="T37" fmla="*/ 49 h 235"/>
                <a:gd name="T38" fmla="*/ 38 w 193"/>
                <a:gd name="T39" fmla="*/ 96 h 235"/>
                <a:gd name="T40" fmla="*/ 157 w 193"/>
                <a:gd name="T41" fmla="*/ 96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93" h="235">
                  <a:moveTo>
                    <a:pt x="193" y="126"/>
                  </a:moveTo>
                  <a:cubicBezTo>
                    <a:pt x="37" y="126"/>
                    <a:pt x="37" y="126"/>
                    <a:pt x="37" y="126"/>
                  </a:cubicBezTo>
                  <a:cubicBezTo>
                    <a:pt x="38" y="152"/>
                    <a:pt x="44" y="171"/>
                    <a:pt x="57" y="184"/>
                  </a:cubicBezTo>
                  <a:cubicBezTo>
                    <a:pt x="69" y="198"/>
                    <a:pt x="87" y="204"/>
                    <a:pt x="109" y="204"/>
                  </a:cubicBezTo>
                  <a:cubicBezTo>
                    <a:pt x="134" y="204"/>
                    <a:pt x="157" y="196"/>
                    <a:pt x="177" y="180"/>
                  </a:cubicBezTo>
                  <a:cubicBezTo>
                    <a:pt x="177" y="213"/>
                    <a:pt x="177" y="213"/>
                    <a:pt x="177" y="213"/>
                  </a:cubicBezTo>
                  <a:cubicBezTo>
                    <a:pt x="158" y="228"/>
                    <a:pt x="133" y="235"/>
                    <a:pt x="101" y="235"/>
                  </a:cubicBezTo>
                  <a:cubicBezTo>
                    <a:pt x="69" y="235"/>
                    <a:pt x="45" y="225"/>
                    <a:pt x="27" y="204"/>
                  </a:cubicBezTo>
                  <a:cubicBezTo>
                    <a:pt x="9" y="183"/>
                    <a:pt x="0" y="155"/>
                    <a:pt x="0" y="118"/>
                  </a:cubicBezTo>
                  <a:cubicBezTo>
                    <a:pt x="0" y="96"/>
                    <a:pt x="5" y="76"/>
                    <a:pt x="14" y="58"/>
                  </a:cubicBezTo>
                  <a:cubicBezTo>
                    <a:pt x="23" y="39"/>
                    <a:pt x="35" y="25"/>
                    <a:pt x="50" y="15"/>
                  </a:cubicBezTo>
                  <a:cubicBezTo>
                    <a:pt x="66" y="5"/>
                    <a:pt x="83" y="0"/>
                    <a:pt x="102" y="0"/>
                  </a:cubicBezTo>
                  <a:cubicBezTo>
                    <a:pt x="131" y="0"/>
                    <a:pt x="153" y="9"/>
                    <a:pt x="169" y="28"/>
                  </a:cubicBezTo>
                  <a:cubicBezTo>
                    <a:pt x="185" y="47"/>
                    <a:pt x="193" y="74"/>
                    <a:pt x="193" y="108"/>
                  </a:cubicBezTo>
                  <a:lnTo>
                    <a:pt x="193" y="126"/>
                  </a:lnTo>
                  <a:close/>
                  <a:moveTo>
                    <a:pt x="157" y="96"/>
                  </a:moveTo>
                  <a:cubicBezTo>
                    <a:pt x="156" y="75"/>
                    <a:pt x="151" y="59"/>
                    <a:pt x="142" y="48"/>
                  </a:cubicBezTo>
                  <a:cubicBezTo>
                    <a:pt x="132" y="36"/>
                    <a:pt x="119" y="31"/>
                    <a:pt x="102" y="31"/>
                  </a:cubicBezTo>
                  <a:cubicBezTo>
                    <a:pt x="85" y="31"/>
                    <a:pt x="71" y="37"/>
                    <a:pt x="60" y="49"/>
                  </a:cubicBezTo>
                  <a:cubicBezTo>
                    <a:pt x="48" y="60"/>
                    <a:pt x="41" y="76"/>
                    <a:pt x="38" y="96"/>
                  </a:cubicBezTo>
                  <a:lnTo>
                    <a:pt x="157" y="9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5" name="Freeform 37"/>
            <p:cNvSpPr>
              <a:spLocks/>
            </p:cNvSpPr>
            <p:nvPr userDrawn="1"/>
          </p:nvSpPr>
          <p:spPr bwMode="auto">
            <a:xfrm>
              <a:off x="5008" y="2879"/>
              <a:ext cx="432" cy="544"/>
            </a:xfrm>
            <a:custGeom>
              <a:avLst/>
              <a:gdLst>
                <a:gd name="T0" fmla="*/ 183 w 183"/>
                <a:gd name="T1" fmla="*/ 230 h 230"/>
                <a:gd name="T2" fmla="*/ 147 w 183"/>
                <a:gd name="T3" fmla="*/ 230 h 230"/>
                <a:gd name="T4" fmla="*/ 147 w 183"/>
                <a:gd name="T5" fmla="*/ 102 h 230"/>
                <a:gd name="T6" fmla="*/ 96 w 183"/>
                <a:gd name="T7" fmla="*/ 31 h 230"/>
                <a:gd name="T8" fmla="*/ 52 w 183"/>
                <a:gd name="T9" fmla="*/ 51 h 230"/>
                <a:gd name="T10" fmla="*/ 35 w 183"/>
                <a:gd name="T11" fmla="*/ 102 h 230"/>
                <a:gd name="T12" fmla="*/ 35 w 183"/>
                <a:gd name="T13" fmla="*/ 230 h 230"/>
                <a:gd name="T14" fmla="*/ 0 w 183"/>
                <a:gd name="T15" fmla="*/ 230 h 230"/>
                <a:gd name="T16" fmla="*/ 0 w 183"/>
                <a:gd name="T17" fmla="*/ 5 h 230"/>
                <a:gd name="T18" fmla="*/ 35 w 183"/>
                <a:gd name="T19" fmla="*/ 5 h 230"/>
                <a:gd name="T20" fmla="*/ 35 w 183"/>
                <a:gd name="T21" fmla="*/ 43 h 230"/>
                <a:gd name="T22" fmla="*/ 36 w 183"/>
                <a:gd name="T23" fmla="*/ 43 h 230"/>
                <a:gd name="T24" fmla="*/ 108 w 183"/>
                <a:gd name="T25" fmla="*/ 0 h 230"/>
                <a:gd name="T26" fmla="*/ 164 w 183"/>
                <a:gd name="T27" fmla="*/ 24 h 230"/>
                <a:gd name="T28" fmla="*/ 183 w 183"/>
                <a:gd name="T29" fmla="*/ 92 h 230"/>
                <a:gd name="T30" fmla="*/ 183 w 183"/>
                <a:gd name="T31" fmla="*/ 230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83" h="230">
                  <a:moveTo>
                    <a:pt x="183" y="230"/>
                  </a:moveTo>
                  <a:cubicBezTo>
                    <a:pt x="147" y="230"/>
                    <a:pt x="147" y="230"/>
                    <a:pt x="147" y="230"/>
                  </a:cubicBezTo>
                  <a:cubicBezTo>
                    <a:pt x="147" y="102"/>
                    <a:pt x="147" y="102"/>
                    <a:pt x="147" y="102"/>
                  </a:cubicBezTo>
                  <a:cubicBezTo>
                    <a:pt x="147" y="54"/>
                    <a:pt x="130" y="31"/>
                    <a:pt x="96" y="31"/>
                  </a:cubicBezTo>
                  <a:cubicBezTo>
                    <a:pt x="79" y="31"/>
                    <a:pt x="64" y="37"/>
                    <a:pt x="52" y="51"/>
                  </a:cubicBezTo>
                  <a:cubicBezTo>
                    <a:pt x="41" y="64"/>
                    <a:pt x="35" y="81"/>
                    <a:pt x="35" y="102"/>
                  </a:cubicBezTo>
                  <a:cubicBezTo>
                    <a:pt x="35" y="230"/>
                    <a:pt x="35" y="230"/>
                    <a:pt x="35" y="230"/>
                  </a:cubicBezTo>
                  <a:cubicBezTo>
                    <a:pt x="0" y="230"/>
                    <a:pt x="0" y="230"/>
                    <a:pt x="0" y="230"/>
                  </a:cubicBezTo>
                  <a:cubicBezTo>
                    <a:pt x="0" y="5"/>
                    <a:pt x="0" y="5"/>
                    <a:pt x="0" y="5"/>
                  </a:cubicBezTo>
                  <a:cubicBezTo>
                    <a:pt x="35" y="5"/>
                    <a:pt x="35" y="5"/>
                    <a:pt x="35" y="5"/>
                  </a:cubicBezTo>
                  <a:cubicBezTo>
                    <a:pt x="35" y="43"/>
                    <a:pt x="35" y="43"/>
                    <a:pt x="35" y="43"/>
                  </a:cubicBezTo>
                  <a:cubicBezTo>
                    <a:pt x="36" y="43"/>
                    <a:pt x="36" y="43"/>
                    <a:pt x="36" y="43"/>
                  </a:cubicBezTo>
                  <a:cubicBezTo>
                    <a:pt x="52" y="14"/>
                    <a:pt x="76" y="0"/>
                    <a:pt x="108" y="0"/>
                  </a:cubicBezTo>
                  <a:cubicBezTo>
                    <a:pt x="132" y="0"/>
                    <a:pt x="151" y="8"/>
                    <a:pt x="164" y="24"/>
                  </a:cubicBezTo>
                  <a:cubicBezTo>
                    <a:pt x="176" y="40"/>
                    <a:pt x="183" y="63"/>
                    <a:pt x="183" y="92"/>
                  </a:cubicBezTo>
                  <a:lnTo>
                    <a:pt x="183" y="2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6" name="Freeform 38"/>
            <p:cNvSpPr>
              <a:spLocks/>
            </p:cNvSpPr>
            <p:nvPr userDrawn="1"/>
          </p:nvSpPr>
          <p:spPr bwMode="auto">
            <a:xfrm>
              <a:off x="5559" y="2879"/>
              <a:ext cx="390" cy="556"/>
            </a:xfrm>
            <a:custGeom>
              <a:avLst/>
              <a:gdLst>
                <a:gd name="T0" fmla="*/ 165 w 165"/>
                <a:gd name="T1" fmla="*/ 219 h 235"/>
                <a:gd name="T2" fmla="*/ 104 w 165"/>
                <a:gd name="T3" fmla="*/ 235 h 235"/>
                <a:gd name="T4" fmla="*/ 50 w 165"/>
                <a:gd name="T5" fmla="*/ 221 h 235"/>
                <a:gd name="T6" fmla="*/ 13 w 165"/>
                <a:gd name="T7" fmla="*/ 181 h 235"/>
                <a:gd name="T8" fmla="*/ 0 w 165"/>
                <a:gd name="T9" fmla="*/ 123 h 235"/>
                <a:gd name="T10" fmla="*/ 31 w 165"/>
                <a:gd name="T11" fmla="*/ 34 h 235"/>
                <a:gd name="T12" fmla="*/ 114 w 165"/>
                <a:gd name="T13" fmla="*/ 0 h 235"/>
                <a:gd name="T14" fmla="*/ 165 w 165"/>
                <a:gd name="T15" fmla="*/ 11 h 235"/>
                <a:gd name="T16" fmla="*/ 165 w 165"/>
                <a:gd name="T17" fmla="*/ 48 h 235"/>
                <a:gd name="T18" fmla="*/ 113 w 165"/>
                <a:gd name="T19" fmla="*/ 31 h 235"/>
                <a:gd name="T20" fmla="*/ 57 w 165"/>
                <a:gd name="T21" fmla="*/ 55 h 235"/>
                <a:gd name="T22" fmla="*/ 36 w 165"/>
                <a:gd name="T23" fmla="*/ 120 h 235"/>
                <a:gd name="T24" fmla="*/ 56 w 165"/>
                <a:gd name="T25" fmla="*/ 182 h 235"/>
                <a:gd name="T26" fmla="*/ 111 w 165"/>
                <a:gd name="T27" fmla="*/ 204 h 235"/>
                <a:gd name="T28" fmla="*/ 165 w 165"/>
                <a:gd name="T29" fmla="*/ 185 h 235"/>
                <a:gd name="T30" fmla="*/ 165 w 165"/>
                <a:gd name="T31" fmla="*/ 219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65" h="235">
                  <a:moveTo>
                    <a:pt x="165" y="219"/>
                  </a:moveTo>
                  <a:cubicBezTo>
                    <a:pt x="148" y="230"/>
                    <a:pt x="128" y="235"/>
                    <a:pt x="104" y="235"/>
                  </a:cubicBezTo>
                  <a:cubicBezTo>
                    <a:pt x="84" y="235"/>
                    <a:pt x="66" y="230"/>
                    <a:pt x="50" y="221"/>
                  </a:cubicBezTo>
                  <a:cubicBezTo>
                    <a:pt x="34" y="212"/>
                    <a:pt x="22" y="198"/>
                    <a:pt x="13" y="181"/>
                  </a:cubicBezTo>
                  <a:cubicBezTo>
                    <a:pt x="4" y="164"/>
                    <a:pt x="0" y="144"/>
                    <a:pt x="0" y="123"/>
                  </a:cubicBezTo>
                  <a:cubicBezTo>
                    <a:pt x="0" y="86"/>
                    <a:pt x="10" y="56"/>
                    <a:pt x="31" y="34"/>
                  </a:cubicBezTo>
                  <a:cubicBezTo>
                    <a:pt x="52" y="11"/>
                    <a:pt x="80" y="0"/>
                    <a:pt x="114" y="0"/>
                  </a:cubicBezTo>
                  <a:cubicBezTo>
                    <a:pt x="134" y="0"/>
                    <a:pt x="151" y="4"/>
                    <a:pt x="165" y="11"/>
                  </a:cubicBezTo>
                  <a:cubicBezTo>
                    <a:pt x="165" y="48"/>
                    <a:pt x="165" y="48"/>
                    <a:pt x="165" y="48"/>
                  </a:cubicBezTo>
                  <a:cubicBezTo>
                    <a:pt x="149" y="36"/>
                    <a:pt x="131" y="31"/>
                    <a:pt x="113" y="31"/>
                  </a:cubicBezTo>
                  <a:cubicBezTo>
                    <a:pt x="90" y="31"/>
                    <a:pt x="71" y="39"/>
                    <a:pt x="57" y="55"/>
                  </a:cubicBezTo>
                  <a:cubicBezTo>
                    <a:pt x="43" y="72"/>
                    <a:pt x="36" y="93"/>
                    <a:pt x="36" y="120"/>
                  </a:cubicBezTo>
                  <a:cubicBezTo>
                    <a:pt x="36" y="146"/>
                    <a:pt x="42" y="167"/>
                    <a:pt x="56" y="182"/>
                  </a:cubicBezTo>
                  <a:cubicBezTo>
                    <a:pt x="70" y="197"/>
                    <a:pt x="88" y="204"/>
                    <a:pt x="111" y="204"/>
                  </a:cubicBezTo>
                  <a:cubicBezTo>
                    <a:pt x="130" y="204"/>
                    <a:pt x="148" y="198"/>
                    <a:pt x="165" y="185"/>
                  </a:cubicBezTo>
                  <a:lnTo>
                    <a:pt x="165" y="2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7" name="Freeform 39"/>
            <p:cNvSpPr>
              <a:spLocks noEditPoints="1"/>
            </p:cNvSpPr>
            <p:nvPr userDrawn="1"/>
          </p:nvSpPr>
          <p:spPr bwMode="auto">
            <a:xfrm>
              <a:off x="6037" y="2879"/>
              <a:ext cx="454" cy="556"/>
            </a:xfrm>
            <a:custGeom>
              <a:avLst/>
              <a:gdLst>
                <a:gd name="T0" fmla="*/ 192 w 192"/>
                <a:gd name="T1" fmla="*/ 126 h 235"/>
                <a:gd name="T2" fmla="*/ 36 w 192"/>
                <a:gd name="T3" fmla="*/ 126 h 235"/>
                <a:gd name="T4" fmla="*/ 56 w 192"/>
                <a:gd name="T5" fmla="*/ 184 h 235"/>
                <a:gd name="T6" fmla="*/ 108 w 192"/>
                <a:gd name="T7" fmla="*/ 204 h 235"/>
                <a:gd name="T8" fmla="*/ 177 w 192"/>
                <a:gd name="T9" fmla="*/ 180 h 235"/>
                <a:gd name="T10" fmla="*/ 177 w 192"/>
                <a:gd name="T11" fmla="*/ 213 h 235"/>
                <a:gd name="T12" fmla="*/ 100 w 192"/>
                <a:gd name="T13" fmla="*/ 235 h 235"/>
                <a:gd name="T14" fmla="*/ 26 w 192"/>
                <a:gd name="T15" fmla="*/ 204 h 235"/>
                <a:gd name="T16" fmla="*/ 0 w 192"/>
                <a:gd name="T17" fmla="*/ 118 h 235"/>
                <a:gd name="T18" fmla="*/ 13 w 192"/>
                <a:gd name="T19" fmla="*/ 58 h 235"/>
                <a:gd name="T20" fmla="*/ 49 w 192"/>
                <a:gd name="T21" fmla="*/ 15 h 235"/>
                <a:gd name="T22" fmla="*/ 101 w 192"/>
                <a:gd name="T23" fmla="*/ 0 h 235"/>
                <a:gd name="T24" fmla="*/ 168 w 192"/>
                <a:gd name="T25" fmla="*/ 28 h 235"/>
                <a:gd name="T26" fmla="*/ 192 w 192"/>
                <a:gd name="T27" fmla="*/ 108 h 235"/>
                <a:gd name="T28" fmla="*/ 192 w 192"/>
                <a:gd name="T29" fmla="*/ 126 h 235"/>
                <a:gd name="T30" fmla="*/ 156 w 192"/>
                <a:gd name="T31" fmla="*/ 96 h 235"/>
                <a:gd name="T32" fmla="*/ 141 w 192"/>
                <a:gd name="T33" fmla="*/ 48 h 235"/>
                <a:gd name="T34" fmla="*/ 101 w 192"/>
                <a:gd name="T35" fmla="*/ 31 h 235"/>
                <a:gd name="T36" fmla="*/ 59 w 192"/>
                <a:gd name="T37" fmla="*/ 49 h 235"/>
                <a:gd name="T38" fmla="*/ 37 w 192"/>
                <a:gd name="T39" fmla="*/ 96 h 235"/>
                <a:gd name="T40" fmla="*/ 156 w 192"/>
                <a:gd name="T41" fmla="*/ 96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92" h="235">
                  <a:moveTo>
                    <a:pt x="192" y="126"/>
                  </a:moveTo>
                  <a:cubicBezTo>
                    <a:pt x="36" y="126"/>
                    <a:pt x="36" y="126"/>
                    <a:pt x="36" y="126"/>
                  </a:cubicBezTo>
                  <a:cubicBezTo>
                    <a:pt x="37" y="152"/>
                    <a:pt x="43" y="171"/>
                    <a:pt x="56" y="184"/>
                  </a:cubicBezTo>
                  <a:cubicBezTo>
                    <a:pt x="69" y="198"/>
                    <a:pt x="86" y="204"/>
                    <a:pt x="108" y="204"/>
                  </a:cubicBezTo>
                  <a:cubicBezTo>
                    <a:pt x="133" y="204"/>
                    <a:pt x="156" y="196"/>
                    <a:pt x="177" y="180"/>
                  </a:cubicBezTo>
                  <a:cubicBezTo>
                    <a:pt x="177" y="213"/>
                    <a:pt x="177" y="213"/>
                    <a:pt x="177" y="213"/>
                  </a:cubicBezTo>
                  <a:cubicBezTo>
                    <a:pt x="157" y="228"/>
                    <a:pt x="132" y="235"/>
                    <a:pt x="100" y="235"/>
                  </a:cubicBezTo>
                  <a:cubicBezTo>
                    <a:pt x="68" y="235"/>
                    <a:pt x="44" y="225"/>
                    <a:pt x="26" y="204"/>
                  </a:cubicBezTo>
                  <a:cubicBezTo>
                    <a:pt x="8" y="183"/>
                    <a:pt x="0" y="155"/>
                    <a:pt x="0" y="118"/>
                  </a:cubicBezTo>
                  <a:cubicBezTo>
                    <a:pt x="0" y="96"/>
                    <a:pt x="4" y="76"/>
                    <a:pt x="13" y="58"/>
                  </a:cubicBezTo>
                  <a:cubicBezTo>
                    <a:pt x="22" y="39"/>
                    <a:pt x="34" y="25"/>
                    <a:pt x="49" y="15"/>
                  </a:cubicBezTo>
                  <a:cubicBezTo>
                    <a:pt x="65" y="5"/>
                    <a:pt x="82" y="0"/>
                    <a:pt x="101" y="0"/>
                  </a:cubicBezTo>
                  <a:cubicBezTo>
                    <a:pt x="130" y="0"/>
                    <a:pt x="152" y="9"/>
                    <a:pt x="168" y="28"/>
                  </a:cubicBezTo>
                  <a:cubicBezTo>
                    <a:pt x="184" y="47"/>
                    <a:pt x="192" y="74"/>
                    <a:pt x="192" y="108"/>
                  </a:cubicBezTo>
                  <a:lnTo>
                    <a:pt x="192" y="126"/>
                  </a:lnTo>
                  <a:close/>
                  <a:moveTo>
                    <a:pt x="156" y="96"/>
                  </a:moveTo>
                  <a:cubicBezTo>
                    <a:pt x="156" y="75"/>
                    <a:pt x="151" y="59"/>
                    <a:pt x="141" y="48"/>
                  </a:cubicBezTo>
                  <a:cubicBezTo>
                    <a:pt x="132" y="36"/>
                    <a:pt x="118" y="31"/>
                    <a:pt x="101" y="31"/>
                  </a:cubicBezTo>
                  <a:cubicBezTo>
                    <a:pt x="84" y="31"/>
                    <a:pt x="70" y="37"/>
                    <a:pt x="59" y="49"/>
                  </a:cubicBezTo>
                  <a:cubicBezTo>
                    <a:pt x="47" y="60"/>
                    <a:pt x="40" y="76"/>
                    <a:pt x="37" y="96"/>
                  </a:cubicBezTo>
                  <a:lnTo>
                    <a:pt x="156" y="9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8" name="Freeform 40"/>
            <p:cNvSpPr>
              <a:spLocks/>
            </p:cNvSpPr>
            <p:nvPr userDrawn="1"/>
          </p:nvSpPr>
          <p:spPr bwMode="auto">
            <a:xfrm>
              <a:off x="1388" y="3830"/>
              <a:ext cx="282" cy="404"/>
            </a:xfrm>
            <a:custGeom>
              <a:avLst/>
              <a:gdLst>
                <a:gd name="T0" fmla="*/ 282 w 282"/>
                <a:gd name="T1" fmla="*/ 42 h 404"/>
                <a:gd name="T2" fmla="*/ 166 w 282"/>
                <a:gd name="T3" fmla="*/ 42 h 404"/>
                <a:gd name="T4" fmla="*/ 166 w 282"/>
                <a:gd name="T5" fmla="*/ 404 h 404"/>
                <a:gd name="T6" fmla="*/ 119 w 282"/>
                <a:gd name="T7" fmla="*/ 404 h 404"/>
                <a:gd name="T8" fmla="*/ 119 w 282"/>
                <a:gd name="T9" fmla="*/ 42 h 404"/>
                <a:gd name="T10" fmla="*/ 0 w 282"/>
                <a:gd name="T11" fmla="*/ 42 h 404"/>
                <a:gd name="T12" fmla="*/ 0 w 282"/>
                <a:gd name="T13" fmla="*/ 0 h 404"/>
                <a:gd name="T14" fmla="*/ 282 w 282"/>
                <a:gd name="T15" fmla="*/ 0 h 404"/>
                <a:gd name="T16" fmla="*/ 282 w 282"/>
                <a:gd name="T17" fmla="*/ 42 h 4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2" h="404">
                  <a:moveTo>
                    <a:pt x="282" y="42"/>
                  </a:moveTo>
                  <a:lnTo>
                    <a:pt x="166" y="42"/>
                  </a:lnTo>
                  <a:lnTo>
                    <a:pt x="166" y="404"/>
                  </a:lnTo>
                  <a:lnTo>
                    <a:pt x="119" y="404"/>
                  </a:lnTo>
                  <a:lnTo>
                    <a:pt x="119" y="42"/>
                  </a:lnTo>
                  <a:lnTo>
                    <a:pt x="0" y="42"/>
                  </a:lnTo>
                  <a:lnTo>
                    <a:pt x="0" y="0"/>
                  </a:lnTo>
                  <a:lnTo>
                    <a:pt x="282" y="0"/>
                  </a:lnTo>
                  <a:lnTo>
                    <a:pt x="282" y="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9" name="Freeform 41"/>
            <p:cNvSpPr>
              <a:spLocks noEditPoints="1"/>
            </p:cNvSpPr>
            <p:nvPr userDrawn="1"/>
          </p:nvSpPr>
          <p:spPr bwMode="auto">
            <a:xfrm>
              <a:off x="1646" y="3939"/>
              <a:ext cx="284" cy="302"/>
            </a:xfrm>
            <a:custGeom>
              <a:avLst/>
              <a:gdLst>
                <a:gd name="T0" fmla="*/ 120 w 120"/>
                <a:gd name="T1" fmla="*/ 64 h 128"/>
                <a:gd name="T2" fmla="*/ 104 w 120"/>
                <a:gd name="T3" fmla="*/ 110 h 128"/>
                <a:gd name="T4" fmla="*/ 59 w 120"/>
                <a:gd name="T5" fmla="*/ 128 h 128"/>
                <a:gd name="T6" fmla="*/ 16 w 120"/>
                <a:gd name="T7" fmla="*/ 111 h 128"/>
                <a:gd name="T8" fmla="*/ 0 w 120"/>
                <a:gd name="T9" fmla="*/ 65 h 128"/>
                <a:gd name="T10" fmla="*/ 16 w 120"/>
                <a:gd name="T11" fmla="*/ 18 h 128"/>
                <a:gd name="T12" fmla="*/ 62 w 120"/>
                <a:gd name="T13" fmla="*/ 0 h 128"/>
                <a:gd name="T14" fmla="*/ 105 w 120"/>
                <a:gd name="T15" fmla="*/ 17 h 128"/>
                <a:gd name="T16" fmla="*/ 120 w 120"/>
                <a:gd name="T17" fmla="*/ 64 h 128"/>
                <a:gd name="T18" fmla="*/ 100 w 120"/>
                <a:gd name="T19" fmla="*/ 64 h 128"/>
                <a:gd name="T20" fmla="*/ 90 w 120"/>
                <a:gd name="T21" fmla="*/ 29 h 128"/>
                <a:gd name="T22" fmla="*/ 61 w 120"/>
                <a:gd name="T23" fmla="*/ 17 h 128"/>
                <a:gd name="T24" fmla="*/ 31 w 120"/>
                <a:gd name="T25" fmla="*/ 29 h 128"/>
                <a:gd name="T26" fmla="*/ 20 w 120"/>
                <a:gd name="T27" fmla="*/ 65 h 128"/>
                <a:gd name="T28" fmla="*/ 31 w 120"/>
                <a:gd name="T29" fmla="*/ 99 h 128"/>
                <a:gd name="T30" fmla="*/ 61 w 120"/>
                <a:gd name="T31" fmla="*/ 111 h 128"/>
                <a:gd name="T32" fmla="*/ 90 w 120"/>
                <a:gd name="T33" fmla="*/ 99 h 128"/>
                <a:gd name="T34" fmla="*/ 100 w 120"/>
                <a:gd name="T35" fmla="*/ 64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0" h="128">
                  <a:moveTo>
                    <a:pt x="120" y="64"/>
                  </a:moveTo>
                  <a:cubicBezTo>
                    <a:pt x="120" y="83"/>
                    <a:pt x="115" y="99"/>
                    <a:pt x="104" y="110"/>
                  </a:cubicBezTo>
                  <a:cubicBezTo>
                    <a:pt x="93" y="122"/>
                    <a:pt x="78" y="128"/>
                    <a:pt x="59" y="128"/>
                  </a:cubicBezTo>
                  <a:cubicBezTo>
                    <a:pt x="41" y="128"/>
                    <a:pt x="27" y="122"/>
                    <a:pt x="16" y="111"/>
                  </a:cubicBezTo>
                  <a:cubicBezTo>
                    <a:pt x="5" y="99"/>
                    <a:pt x="0" y="84"/>
                    <a:pt x="0" y="65"/>
                  </a:cubicBezTo>
                  <a:cubicBezTo>
                    <a:pt x="0" y="45"/>
                    <a:pt x="5" y="29"/>
                    <a:pt x="16" y="18"/>
                  </a:cubicBezTo>
                  <a:cubicBezTo>
                    <a:pt x="27" y="6"/>
                    <a:pt x="43" y="0"/>
                    <a:pt x="62" y="0"/>
                  </a:cubicBezTo>
                  <a:cubicBezTo>
                    <a:pt x="80" y="0"/>
                    <a:pt x="94" y="6"/>
                    <a:pt x="105" y="17"/>
                  </a:cubicBezTo>
                  <a:cubicBezTo>
                    <a:pt x="115" y="28"/>
                    <a:pt x="120" y="44"/>
                    <a:pt x="120" y="64"/>
                  </a:cubicBezTo>
                  <a:close/>
                  <a:moveTo>
                    <a:pt x="100" y="64"/>
                  </a:moveTo>
                  <a:cubicBezTo>
                    <a:pt x="100" y="49"/>
                    <a:pt x="97" y="37"/>
                    <a:pt x="90" y="29"/>
                  </a:cubicBezTo>
                  <a:cubicBezTo>
                    <a:pt x="83" y="21"/>
                    <a:pt x="73" y="17"/>
                    <a:pt x="61" y="17"/>
                  </a:cubicBezTo>
                  <a:cubicBezTo>
                    <a:pt x="48" y="17"/>
                    <a:pt x="38" y="21"/>
                    <a:pt x="31" y="29"/>
                  </a:cubicBezTo>
                  <a:cubicBezTo>
                    <a:pt x="24" y="38"/>
                    <a:pt x="20" y="50"/>
                    <a:pt x="20" y="65"/>
                  </a:cubicBezTo>
                  <a:cubicBezTo>
                    <a:pt x="20" y="79"/>
                    <a:pt x="24" y="91"/>
                    <a:pt x="31" y="99"/>
                  </a:cubicBezTo>
                  <a:cubicBezTo>
                    <a:pt x="38" y="107"/>
                    <a:pt x="48" y="111"/>
                    <a:pt x="61" y="111"/>
                  </a:cubicBezTo>
                  <a:cubicBezTo>
                    <a:pt x="73" y="111"/>
                    <a:pt x="83" y="107"/>
                    <a:pt x="90" y="99"/>
                  </a:cubicBezTo>
                  <a:cubicBezTo>
                    <a:pt x="97" y="91"/>
                    <a:pt x="100" y="79"/>
                    <a:pt x="100" y="6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50" name="Freeform 42"/>
            <p:cNvSpPr>
              <a:spLocks/>
            </p:cNvSpPr>
            <p:nvPr userDrawn="1"/>
          </p:nvSpPr>
          <p:spPr bwMode="auto">
            <a:xfrm>
              <a:off x="2001" y="3941"/>
              <a:ext cx="151" cy="293"/>
            </a:xfrm>
            <a:custGeom>
              <a:avLst/>
              <a:gdLst>
                <a:gd name="T0" fmla="*/ 64 w 64"/>
                <a:gd name="T1" fmla="*/ 22 h 124"/>
                <a:gd name="T2" fmla="*/ 49 w 64"/>
                <a:gd name="T3" fmla="*/ 18 h 124"/>
                <a:gd name="T4" fmla="*/ 28 w 64"/>
                <a:gd name="T5" fmla="*/ 30 h 124"/>
                <a:gd name="T6" fmla="*/ 20 w 64"/>
                <a:gd name="T7" fmla="*/ 62 h 124"/>
                <a:gd name="T8" fmla="*/ 20 w 64"/>
                <a:gd name="T9" fmla="*/ 124 h 124"/>
                <a:gd name="T10" fmla="*/ 0 w 64"/>
                <a:gd name="T11" fmla="*/ 124 h 124"/>
                <a:gd name="T12" fmla="*/ 0 w 64"/>
                <a:gd name="T13" fmla="*/ 2 h 124"/>
                <a:gd name="T14" fmla="*/ 20 w 64"/>
                <a:gd name="T15" fmla="*/ 2 h 124"/>
                <a:gd name="T16" fmla="*/ 20 w 64"/>
                <a:gd name="T17" fmla="*/ 27 h 124"/>
                <a:gd name="T18" fmla="*/ 20 w 64"/>
                <a:gd name="T19" fmla="*/ 27 h 124"/>
                <a:gd name="T20" fmla="*/ 33 w 64"/>
                <a:gd name="T21" fmla="*/ 7 h 124"/>
                <a:gd name="T22" fmla="*/ 52 w 64"/>
                <a:gd name="T23" fmla="*/ 0 h 124"/>
                <a:gd name="T24" fmla="*/ 64 w 64"/>
                <a:gd name="T25" fmla="*/ 2 h 124"/>
                <a:gd name="T26" fmla="*/ 64 w 64"/>
                <a:gd name="T27" fmla="*/ 22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4" h="124">
                  <a:moveTo>
                    <a:pt x="64" y="22"/>
                  </a:moveTo>
                  <a:cubicBezTo>
                    <a:pt x="61" y="19"/>
                    <a:pt x="56" y="18"/>
                    <a:pt x="49" y="18"/>
                  </a:cubicBezTo>
                  <a:cubicBezTo>
                    <a:pt x="40" y="18"/>
                    <a:pt x="33" y="22"/>
                    <a:pt x="28" y="30"/>
                  </a:cubicBezTo>
                  <a:cubicBezTo>
                    <a:pt x="23" y="38"/>
                    <a:pt x="20" y="49"/>
                    <a:pt x="20" y="62"/>
                  </a:cubicBezTo>
                  <a:cubicBezTo>
                    <a:pt x="20" y="124"/>
                    <a:pt x="20" y="124"/>
                    <a:pt x="20" y="124"/>
                  </a:cubicBezTo>
                  <a:cubicBezTo>
                    <a:pt x="0" y="124"/>
                    <a:pt x="0" y="124"/>
                    <a:pt x="0" y="124"/>
                  </a:cubicBezTo>
                  <a:cubicBezTo>
                    <a:pt x="0" y="2"/>
                    <a:pt x="0" y="2"/>
                    <a:pt x="0" y="2"/>
                  </a:cubicBezTo>
                  <a:cubicBezTo>
                    <a:pt x="20" y="2"/>
                    <a:pt x="20" y="2"/>
                    <a:pt x="20" y="2"/>
                  </a:cubicBezTo>
                  <a:cubicBezTo>
                    <a:pt x="20" y="27"/>
                    <a:pt x="20" y="27"/>
                    <a:pt x="20" y="27"/>
                  </a:cubicBezTo>
                  <a:cubicBezTo>
                    <a:pt x="20" y="27"/>
                    <a:pt x="20" y="27"/>
                    <a:pt x="20" y="27"/>
                  </a:cubicBezTo>
                  <a:cubicBezTo>
                    <a:pt x="23" y="19"/>
                    <a:pt x="27" y="12"/>
                    <a:pt x="33" y="7"/>
                  </a:cubicBezTo>
                  <a:cubicBezTo>
                    <a:pt x="39" y="2"/>
                    <a:pt x="45" y="0"/>
                    <a:pt x="52" y="0"/>
                  </a:cubicBezTo>
                  <a:cubicBezTo>
                    <a:pt x="57" y="0"/>
                    <a:pt x="61" y="0"/>
                    <a:pt x="64" y="2"/>
                  </a:cubicBezTo>
                  <a:lnTo>
                    <a:pt x="64" y="2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51" name="Freeform 43"/>
            <p:cNvSpPr>
              <a:spLocks noEditPoints="1"/>
            </p:cNvSpPr>
            <p:nvPr userDrawn="1"/>
          </p:nvSpPr>
          <p:spPr bwMode="auto">
            <a:xfrm>
              <a:off x="2174" y="3939"/>
              <a:ext cx="283" cy="302"/>
            </a:xfrm>
            <a:custGeom>
              <a:avLst/>
              <a:gdLst>
                <a:gd name="T0" fmla="*/ 120 w 120"/>
                <a:gd name="T1" fmla="*/ 64 h 128"/>
                <a:gd name="T2" fmla="*/ 104 w 120"/>
                <a:gd name="T3" fmla="*/ 110 h 128"/>
                <a:gd name="T4" fmla="*/ 59 w 120"/>
                <a:gd name="T5" fmla="*/ 128 h 128"/>
                <a:gd name="T6" fmla="*/ 16 w 120"/>
                <a:gd name="T7" fmla="*/ 111 h 128"/>
                <a:gd name="T8" fmla="*/ 0 w 120"/>
                <a:gd name="T9" fmla="*/ 65 h 128"/>
                <a:gd name="T10" fmla="*/ 16 w 120"/>
                <a:gd name="T11" fmla="*/ 18 h 128"/>
                <a:gd name="T12" fmla="*/ 62 w 120"/>
                <a:gd name="T13" fmla="*/ 0 h 128"/>
                <a:gd name="T14" fmla="*/ 105 w 120"/>
                <a:gd name="T15" fmla="*/ 17 h 128"/>
                <a:gd name="T16" fmla="*/ 120 w 120"/>
                <a:gd name="T17" fmla="*/ 64 h 128"/>
                <a:gd name="T18" fmla="*/ 100 w 120"/>
                <a:gd name="T19" fmla="*/ 64 h 128"/>
                <a:gd name="T20" fmla="*/ 90 w 120"/>
                <a:gd name="T21" fmla="*/ 29 h 128"/>
                <a:gd name="T22" fmla="*/ 61 w 120"/>
                <a:gd name="T23" fmla="*/ 17 h 128"/>
                <a:gd name="T24" fmla="*/ 31 w 120"/>
                <a:gd name="T25" fmla="*/ 29 h 128"/>
                <a:gd name="T26" fmla="*/ 20 w 120"/>
                <a:gd name="T27" fmla="*/ 65 h 128"/>
                <a:gd name="T28" fmla="*/ 31 w 120"/>
                <a:gd name="T29" fmla="*/ 99 h 128"/>
                <a:gd name="T30" fmla="*/ 61 w 120"/>
                <a:gd name="T31" fmla="*/ 111 h 128"/>
                <a:gd name="T32" fmla="*/ 90 w 120"/>
                <a:gd name="T33" fmla="*/ 99 h 128"/>
                <a:gd name="T34" fmla="*/ 100 w 120"/>
                <a:gd name="T35" fmla="*/ 64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0" h="128">
                  <a:moveTo>
                    <a:pt x="120" y="64"/>
                  </a:moveTo>
                  <a:cubicBezTo>
                    <a:pt x="120" y="83"/>
                    <a:pt x="115" y="99"/>
                    <a:pt x="104" y="110"/>
                  </a:cubicBezTo>
                  <a:cubicBezTo>
                    <a:pt x="93" y="122"/>
                    <a:pt x="78" y="128"/>
                    <a:pt x="59" y="128"/>
                  </a:cubicBezTo>
                  <a:cubicBezTo>
                    <a:pt x="41" y="128"/>
                    <a:pt x="27" y="122"/>
                    <a:pt x="16" y="111"/>
                  </a:cubicBezTo>
                  <a:cubicBezTo>
                    <a:pt x="5" y="99"/>
                    <a:pt x="0" y="84"/>
                    <a:pt x="0" y="65"/>
                  </a:cubicBezTo>
                  <a:cubicBezTo>
                    <a:pt x="0" y="45"/>
                    <a:pt x="5" y="29"/>
                    <a:pt x="16" y="18"/>
                  </a:cubicBezTo>
                  <a:cubicBezTo>
                    <a:pt x="27" y="6"/>
                    <a:pt x="43" y="0"/>
                    <a:pt x="62" y="0"/>
                  </a:cubicBezTo>
                  <a:cubicBezTo>
                    <a:pt x="80" y="0"/>
                    <a:pt x="94" y="6"/>
                    <a:pt x="105" y="17"/>
                  </a:cubicBezTo>
                  <a:cubicBezTo>
                    <a:pt x="115" y="28"/>
                    <a:pt x="120" y="44"/>
                    <a:pt x="120" y="64"/>
                  </a:cubicBezTo>
                  <a:close/>
                  <a:moveTo>
                    <a:pt x="100" y="64"/>
                  </a:moveTo>
                  <a:cubicBezTo>
                    <a:pt x="100" y="49"/>
                    <a:pt x="97" y="37"/>
                    <a:pt x="90" y="29"/>
                  </a:cubicBezTo>
                  <a:cubicBezTo>
                    <a:pt x="83" y="21"/>
                    <a:pt x="73" y="17"/>
                    <a:pt x="61" y="17"/>
                  </a:cubicBezTo>
                  <a:cubicBezTo>
                    <a:pt x="48" y="17"/>
                    <a:pt x="38" y="21"/>
                    <a:pt x="31" y="29"/>
                  </a:cubicBezTo>
                  <a:cubicBezTo>
                    <a:pt x="24" y="38"/>
                    <a:pt x="20" y="50"/>
                    <a:pt x="20" y="65"/>
                  </a:cubicBezTo>
                  <a:cubicBezTo>
                    <a:pt x="20" y="79"/>
                    <a:pt x="24" y="91"/>
                    <a:pt x="31" y="99"/>
                  </a:cubicBezTo>
                  <a:cubicBezTo>
                    <a:pt x="38" y="107"/>
                    <a:pt x="48" y="111"/>
                    <a:pt x="61" y="111"/>
                  </a:cubicBezTo>
                  <a:cubicBezTo>
                    <a:pt x="73" y="111"/>
                    <a:pt x="83" y="107"/>
                    <a:pt x="90" y="99"/>
                  </a:cubicBezTo>
                  <a:cubicBezTo>
                    <a:pt x="97" y="91"/>
                    <a:pt x="100" y="79"/>
                    <a:pt x="100" y="6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52" name="Freeform 44"/>
            <p:cNvSpPr>
              <a:spLocks/>
            </p:cNvSpPr>
            <p:nvPr userDrawn="1"/>
          </p:nvSpPr>
          <p:spPr bwMode="auto">
            <a:xfrm>
              <a:off x="2528" y="3939"/>
              <a:ext cx="242" cy="295"/>
            </a:xfrm>
            <a:custGeom>
              <a:avLst/>
              <a:gdLst>
                <a:gd name="T0" fmla="*/ 102 w 102"/>
                <a:gd name="T1" fmla="*/ 125 h 125"/>
                <a:gd name="T2" fmla="*/ 82 w 102"/>
                <a:gd name="T3" fmla="*/ 125 h 125"/>
                <a:gd name="T4" fmla="*/ 82 w 102"/>
                <a:gd name="T5" fmla="*/ 55 h 125"/>
                <a:gd name="T6" fmla="*/ 54 w 102"/>
                <a:gd name="T7" fmla="*/ 17 h 125"/>
                <a:gd name="T8" fmla="*/ 30 w 102"/>
                <a:gd name="T9" fmla="*/ 28 h 125"/>
                <a:gd name="T10" fmla="*/ 20 w 102"/>
                <a:gd name="T11" fmla="*/ 55 h 125"/>
                <a:gd name="T12" fmla="*/ 20 w 102"/>
                <a:gd name="T13" fmla="*/ 125 h 125"/>
                <a:gd name="T14" fmla="*/ 0 w 102"/>
                <a:gd name="T15" fmla="*/ 125 h 125"/>
                <a:gd name="T16" fmla="*/ 0 w 102"/>
                <a:gd name="T17" fmla="*/ 3 h 125"/>
                <a:gd name="T18" fmla="*/ 20 w 102"/>
                <a:gd name="T19" fmla="*/ 3 h 125"/>
                <a:gd name="T20" fmla="*/ 20 w 102"/>
                <a:gd name="T21" fmla="*/ 23 h 125"/>
                <a:gd name="T22" fmla="*/ 20 w 102"/>
                <a:gd name="T23" fmla="*/ 23 h 125"/>
                <a:gd name="T24" fmla="*/ 60 w 102"/>
                <a:gd name="T25" fmla="*/ 0 h 125"/>
                <a:gd name="T26" fmla="*/ 91 w 102"/>
                <a:gd name="T27" fmla="*/ 13 h 125"/>
                <a:gd name="T28" fmla="*/ 102 w 102"/>
                <a:gd name="T29" fmla="*/ 50 h 125"/>
                <a:gd name="T30" fmla="*/ 102 w 102"/>
                <a:gd name="T31" fmla="*/ 125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2" h="125">
                  <a:moveTo>
                    <a:pt x="102" y="125"/>
                  </a:moveTo>
                  <a:cubicBezTo>
                    <a:pt x="82" y="125"/>
                    <a:pt x="82" y="125"/>
                    <a:pt x="82" y="125"/>
                  </a:cubicBezTo>
                  <a:cubicBezTo>
                    <a:pt x="82" y="55"/>
                    <a:pt x="82" y="55"/>
                    <a:pt x="82" y="55"/>
                  </a:cubicBezTo>
                  <a:cubicBezTo>
                    <a:pt x="82" y="30"/>
                    <a:pt x="73" y="17"/>
                    <a:pt x="54" y="17"/>
                  </a:cubicBezTo>
                  <a:cubicBezTo>
                    <a:pt x="44" y="17"/>
                    <a:pt x="36" y="20"/>
                    <a:pt x="30" y="28"/>
                  </a:cubicBezTo>
                  <a:cubicBezTo>
                    <a:pt x="23" y="35"/>
                    <a:pt x="20" y="44"/>
                    <a:pt x="20" y="55"/>
                  </a:cubicBezTo>
                  <a:cubicBezTo>
                    <a:pt x="20" y="125"/>
                    <a:pt x="20" y="125"/>
                    <a:pt x="20" y="125"/>
                  </a:cubicBezTo>
                  <a:cubicBezTo>
                    <a:pt x="0" y="125"/>
                    <a:pt x="0" y="125"/>
                    <a:pt x="0" y="125"/>
                  </a:cubicBezTo>
                  <a:cubicBezTo>
                    <a:pt x="0" y="3"/>
                    <a:pt x="0" y="3"/>
                    <a:pt x="0" y="3"/>
                  </a:cubicBezTo>
                  <a:cubicBezTo>
                    <a:pt x="20" y="3"/>
                    <a:pt x="20" y="3"/>
                    <a:pt x="20" y="3"/>
                  </a:cubicBezTo>
                  <a:cubicBezTo>
                    <a:pt x="20" y="23"/>
                    <a:pt x="20" y="23"/>
                    <a:pt x="20" y="23"/>
                  </a:cubicBezTo>
                  <a:cubicBezTo>
                    <a:pt x="20" y="23"/>
                    <a:pt x="20" y="23"/>
                    <a:pt x="20" y="23"/>
                  </a:cubicBezTo>
                  <a:cubicBezTo>
                    <a:pt x="29" y="8"/>
                    <a:pt x="43" y="0"/>
                    <a:pt x="60" y="0"/>
                  </a:cubicBezTo>
                  <a:cubicBezTo>
                    <a:pt x="74" y="0"/>
                    <a:pt x="84" y="4"/>
                    <a:pt x="91" y="13"/>
                  </a:cubicBezTo>
                  <a:cubicBezTo>
                    <a:pt x="98" y="22"/>
                    <a:pt x="102" y="34"/>
                    <a:pt x="102" y="50"/>
                  </a:cubicBezTo>
                  <a:lnTo>
                    <a:pt x="102" y="12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53" name="Freeform 45"/>
            <p:cNvSpPr>
              <a:spLocks/>
            </p:cNvSpPr>
            <p:nvPr userDrawn="1"/>
          </p:nvSpPr>
          <p:spPr bwMode="auto">
            <a:xfrm>
              <a:off x="2822" y="3861"/>
              <a:ext cx="168" cy="380"/>
            </a:xfrm>
            <a:custGeom>
              <a:avLst/>
              <a:gdLst>
                <a:gd name="T0" fmla="*/ 71 w 71"/>
                <a:gd name="T1" fmla="*/ 157 h 161"/>
                <a:gd name="T2" fmla="*/ 53 w 71"/>
                <a:gd name="T3" fmla="*/ 161 h 161"/>
                <a:gd name="T4" fmla="*/ 21 w 71"/>
                <a:gd name="T5" fmla="*/ 125 h 161"/>
                <a:gd name="T6" fmla="*/ 21 w 71"/>
                <a:gd name="T7" fmla="*/ 53 h 161"/>
                <a:gd name="T8" fmla="*/ 0 w 71"/>
                <a:gd name="T9" fmla="*/ 53 h 161"/>
                <a:gd name="T10" fmla="*/ 0 w 71"/>
                <a:gd name="T11" fmla="*/ 36 h 161"/>
                <a:gd name="T12" fmla="*/ 21 w 71"/>
                <a:gd name="T13" fmla="*/ 36 h 161"/>
                <a:gd name="T14" fmla="*/ 21 w 71"/>
                <a:gd name="T15" fmla="*/ 6 h 161"/>
                <a:gd name="T16" fmla="*/ 40 w 71"/>
                <a:gd name="T17" fmla="*/ 0 h 161"/>
                <a:gd name="T18" fmla="*/ 40 w 71"/>
                <a:gd name="T19" fmla="*/ 36 h 161"/>
                <a:gd name="T20" fmla="*/ 71 w 71"/>
                <a:gd name="T21" fmla="*/ 36 h 161"/>
                <a:gd name="T22" fmla="*/ 71 w 71"/>
                <a:gd name="T23" fmla="*/ 53 h 161"/>
                <a:gd name="T24" fmla="*/ 40 w 71"/>
                <a:gd name="T25" fmla="*/ 53 h 161"/>
                <a:gd name="T26" fmla="*/ 40 w 71"/>
                <a:gd name="T27" fmla="*/ 122 h 161"/>
                <a:gd name="T28" fmla="*/ 45 w 71"/>
                <a:gd name="T29" fmla="*/ 139 h 161"/>
                <a:gd name="T30" fmla="*/ 59 w 71"/>
                <a:gd name="T31" fmla="*/ 144 h 161"/>
                <a:gd name="T32" fmla="*/ 71 w 71"/>
                <a:gd name="T33" fmla="*/ 140 h 161"/>
                <a:gd name="T34" fmla="*/ 71 w 71"/>
                <a:gd name="T35" fmla="*/ 157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1" h="161">
                  <a:moveTo>
                    <a:pt x="71" y="157"/>
                  </a:moveTo>
                  <a:cubicBezTo>
                    <a:pt x="66" y="160"/>
                    <a:pt x="60" y="161"/>
                    <a:pt x="53" y="161"/>
                  </a:cubicBezTo>
                  <a:cubicBezTo>
                    <a:pt x="31" y="161"/>
                    <a:pt x="21" y="149"/>
                    <a:pt x="21" y="125"/>
                  </a:cubicBezTo>
                  <a:cubicBezTo>
                    <a:pt x="21" y="53"/>
                    <a:pt x="21" y="53"/>
                    <a:pt x="21" y="53"/>
                  </a:cubicBezTo>
                  <a:cubicBezTo>
                    <a:pt x="0" y="53"/>
                    <a:pt x="0" y="53"/>
                    <a:pt x="0" y="53"/>
                  </a:cubicBezTo>
                  <a:cubicBezTo>
                    <a:pt x="0" y="36"/>
                    <a:pt x="0" y="36"/>
                    <a:pt x="0" y="36"/>
                  </a:cubicBezTo>
                  <a:cubicBezTo>
                    <a:pt x="21" y="36"/>
                    <a:pt x="21" y="36"/>
                    <a:pt x="21" y="36"/>
                  </a:cubicBezTo>
                  <a:cubicBezTo>
                    <a:pt x="21" y="6"/>
                    <a:pt x="21" y="6"/>
                    <a:pt x="21" y="6"/>
                  </a:cubicBezTo>
                  <a:cubicBezTo>
                    <a:pt x="40" y="0"/>
                    <a:pt x="40" y="0"/>
                    <a:pt x="40" y="0"/>
                  </a:cubicBezTo>
                  <a:cubicBezTo>
                    <a:pt x="40" y="36"/>
                    <a:pt x="40" y="36"/>
                    <a:pt x="40" y="36"/>
                  </a:cubicBezTo>
                  <a:cubicBezTo>
                    <a:pt x="71" y="36"/>
                    <a:pt x="71" y="36"/>
                    <a:pt x="71" y="36"/>
                  </a:cubicBezTo>
                  <a:cubicBezTo>
                    <a:pt x="71" y="53"/>
                    <a:pt x="71" y="53"/>
                    <a:pt x="71" y="53"/>
                  </a:cubicBezTo>
                  <a:cubicBezTo>
                    <a:pt x="40" y="53"/>
                    <a:pt x="40" y="53"/>
                    <a:pt x="40" y="53"/>
                  </a:cubicBezTo>
                  <a:cubicBezTo>
                    <a:pt x="40" y="122"/>
                    <a:pt x="40" y="122"/>
                    <a:pt x="40" y="122"/>
                  </a:cubicBezTo>
                  <a:cubicBezTo>
                    <a:pt x="40" y="130"/>
                    <a:pt x="42" y="136"/>
                    <a:pt x="45" y="139"/>
                  </a:cubicBezTo>
                  <a:cubicBezTo>
                    <a:pt x="47" y="142"/>
                    <a:pt x="52" y="144"/>
                    <a:pt x="59" y="144"/>
                  </a:cubicBezTo>
                  <a:cubicBezTo>
                    <a:pt x="63" y="144"/>
                    <a:pt x="68" y="143"/>
                    <a:pt x="71" y="140"/>
                  </a:cubicBezTo>
                  <a:lnTo>
                    <a:pt x="71" y="15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54" name="Freeform 46"/>
            <p:cNvSpPr>
              <a:spLocks noEditPoints="1"/>
            </p:cNvSpPr>
            <p:nvPr userDrawn="1"/>
          </p:nvSpPr>
          <p:spPr bwMode="auto">
            <a:xfrm>
              <a:off x="3030" y="3939"/>
              <a:ext cx="284" cy="302"/>
            </a:xfrm>
            <a:custGeom>
              <a:avLst/>
              <a:gdLst>
                <a:gd name="T0" fmla="*/ 120 w 120"/>
                <a:gd name="T1" fmla="*/ 64 h 128"/>
                <a:gd name="T2" fmla="*/ 104 w 120"/>
                <a:gd name="T3" fmla="*/ 110 h 128"/>
                <a:gd name="T4" fmla="*/ 59 w 120"/>
                <a:gd name="T5" fmla="*/ 128 h 128"/>
                <a:gd name="T6" fmla="*/ 16 w 120"/>
                <a:gd name="T7" fmla="*/ 111 h 128"/>
                <a:gd name="T8" fmla="*/ 0 w 120"/>
                <a:gd name="T9" fmla="*/ 65 h 128"/>
                <a:gd name="T10" fmla="*/ 17 w 120"/>
                <a:gd name="T11" fmla="*/ 18 h 128"/>
                <a:gd name="T12" fmla="*/ 62 w 120"/>
                <a:gd name="T13" fmla="*/ 0 h 128"/>
                <a:gd name="T14" fmla="*/ 105 w 120"/>
                <a:gd name="T15" fmla="*/ 17 h 128"/>
                <a:gd name="T16" fmla="*/ 120 w 120"/>
                <a:gd name="T17" fmla="*/ 64 h 128"/>
                <a:gd name="T18" fmla="*/ 100 w 120"/>
                <a:gd name="T19" fmla="*/ 64 h 128"/>
                <a:gd name="T20" fmla="*/ 90 w 120"/>
                <a:gd name="T21" fmla="*/ 29 h 128"/>
                <a:gd name="T22" fmla="*/ 61 w 120"/>
                <a:gd name="T23" fmla="*/ 17 h 128"/>
                <a:gd name="T24" fmla="*/ 31 w 120"/>
                <a:gd name="T25" fmla="*/ 29 h 128"/>
                <a:gd name="T26" fmla="*/ 20 w 120"/>
                <a:gd name="T27" fmla="*/ 65 h 128"/>
                <a:gd name="T28" fmla="*/ 31 w 120"/>
                <a:gd name="T29" fmla="*/ 99 h 128"/>
                <a:gd name="T30" fmla="*/ 61 w 120"/>
                <a:gd name="T31" fmla="*/ 111 h 128"/>
                <a:gd name="T32" fmla="*/ 90 w 120"/>
                <a:gd name="T33" fmla="*/ 99 h 128"/>
                <a:gd name="T34" fmla="*/ 100 w 120"/>
                <a:gd name="T35" fmla="*/ 64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0" h="128">
                  <a:moveTo>
                    <a:pt x="120" y="64"/>
                  </a:moveTo>
                  <a:cubicBezTo>
                    <a:pt x="120" y="83"/>
                    <a:pt x="115" y="99"/>
                    <a:pt x="104" y="110"/>
                  </a:cubicBezTo>
                  <a:cubicBezTo>
                    <a:pt x="93" y="122"/>
                    <a:pt x="78" y="128"/>
                    <a:pt x="59" y="128"/>
                  </a:cubicBezTo>
                  <a:cubicBezTo>
                    <a:pt x="41" y="128"/>
                    <a:pt x="27" y="122"/>
                    <a:pt x="16" y="111"/>
                  </a:cubicBezTo>
                  <a:cubicBezTo>
                    <a:pt x="5" y="99"/>
                    <a:pt x="0" y="84"/>
                    <a:pt x="0" y="65"/>
                  </a:cubicBezTo>
                  <a:cubicBezTo>
                    <a:pt x="0" y="45"/>
                    <a:pt x="5" y="29"/>
                    <a:pt x="17" y="18"/>
                  </a:cubicBezTo>
                  <a:cubicBezTo>
                    <a:pt x="28" y="6"/>
                    <a:pt x="43" y="0"/>
                    <a:pt x="62" y="0"/>
                  </a:cubicBezTo>
                  <a:cubicBezTo>
                    <a:pt x="80" y="0"/>
                    <a:pt x="95" y="6"/>
                    <a:pt x="105" y="17"/>
                  </a:cubicBezTo>
                  <a:cubicBezTo>
                    <a:pt x="115" y="28"/>
                    <a:pt x="120" y="44"/>
                    <a:pt x="120" y="64"/>
                  </a:cubicBezTo>
                  <a:close/>
                  <a:moveTo>
                    <a:pt x="100" y="64"/>
                  </a:moveTo>
                  <a:cubicBezTo>
                    <a:pt x="100" y="49"/>
                    <a:pt x="97" y="37"/>
                    <a:pt x="90" y="29"/>
                  </a:cubicBezTo>
                  <a:cubicBezTo>
                    <a:pt x="83" y="21"/>
                    <a:pt x="73" y="17"/>
                    <a:pt x="61" y="17"/>
                  </a:cubicBezTo>
                  <a:cubicBezTo>
                    <a:pt x="48" y="17"/>
                    <a:pt x="38" y="21"/>
                    <a:pt x="31" y="29"/>
                  </a:cubicBezTo>
                  <a:cubicBezTo>
                    <a:pt x="24" y="38"/>
                    <a:pt x="20" y="50"/>
                    <a:pt x="20" y="65"/>
                  </a:cubicBezTo>
                  <a:cubicBezTo>
                    <a:pt x="20" y="79"/>
                    <a:pt x="24" y="91"/>
                    <a:pt x="31" y="99"/>
                  </a:cubicBezTo>
                  <a:cubicBezTo>
                    <a:pt x="38" y="107"/>
                    <a:pt x="48" y="111"/>
                    <a:pt x="61" y="111"/>
                  </a:cubicBezTo>
                  <a:cubicBezTo>
                    <a:pt x="74" y="111"/>
                    <a:pt x="83" y="107"/>
                    <a:pt x="90" y="99"/>
                  </a:cubicBezTo>
                  <a:cubicBezTo>
                    <a:pt x="97" y="91"/>
                    <a:pt x="100" y="79"/>
                    <a:pt x="100" y="6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55" name="Freeform 47"/>
            <p:cNvSpPr>
              <a:spLocks/>
            </p:cNvSpPr>
            <p:nvPr userDrawn="1"/>
          </p:nvSpPr>
          <p:spPr bwMode="auto">
            <a:xfrm>
              <a:off x="3349" y="4170"/>
              <a:ext cx="78" cy="140"/>
            </a:xfrm>
            <a:custGeom>
              <a:avLst/>
              <a:gdLst>
                <a:gd name="T0" fmla="*/ 78 w 78"/>
                <a:gd name="T1" fmla="*/ 0 h 140"/>
                <a:gd name="T2" fmla="*/ 33 w 78"/>
                <a:gd name="T3" fmla="*/ 140 h 140"/>
                <a:gd name="T4" fmla="*/ 0 w 78"/>
                <a:gd name="T5" fmla="*/ 140 h 140"/>
                <a:gd name="T6" fmla="*/ 33 w 78"/>
                <a:gd name="T7" fmla="*/ 0 h 140"/>
                <a:gd name="T8" fmla="*/ 78 w 78"/>
                <a:gd name="T9" fmla="*/ 0 h 140"/>
              </a:gdLst>
              <a:ahLst/>
              <a:cxnLst>
                <a:cxn ang="0">
                  <a:pos x="T0" y="T1"/>
                </a:cxn>
                <a:cxn ang="0">
                  <a:pos x="T2" y="T3"/>
                </a:cxn>
                <a:cxn ang="0">
                  <a:pos x="T4" y="T5"/>
                </a:cxn>
                <a:cxn ang="0">
                  <a:pos x="T6" y="T7"/>
                </a:cxn>
                <a:cxn ang="0">
                  <a:pos x="T8" y="T9"/>
                </a:cxn>
              </a:cxnLst>
              <a:rect l="0" t="0" r="r" b="b"/>
              <a:pathLst>
                <a:path w="78" h="140">
                  <a:moveTo>
                    <a:pt x="78" y="0"/>
                  </a:moveTo>
                  <a:lnTo>
                    <a:pt x="33" y="140"/>
                  </a:lnTo>
                  <a:lnTo>
                    <a:pt x="0" y="140"/>
                  </a:lnTo>
                  <a:lnTo>
                    <a:pt x="33" y="0"/>
                  </a:lnTo>
                  <a:lnTo>
                    <a:pt x="7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56" name="Freeform 48"/>
            <p:cNvSpPr>
              <a:spLocks/>
            </p:cNvSpPr>
            <p:nvPr userDrawn="1"/>
          </p:nvSpPr>
          <p:spPr bwMode="auto">
            <a:xfrm>
              <a:off x="3626" y="3823"/>
              <a:ext cx="300" cy="418"/>
            </a:xfrm>
            <a:custGeom>
              <a:avLst/>
              <a:gdLst>
                <a:gd name="T0" fmla="*/ 127 w 127"/>
                <a:gd name="T1" fmla="*/ 167 h 177"/>
                <a:gd name="T2" fmla="*/ 80 w 127"/>
                <a:gd name="T3" fmla="*/ 177 h 177"/>
                <a:gd name="T4" fmla="*/ 38 w 127"/>
                <a:gd name="T5" fmla="*/ 166 h 177"/>
                <a:gd name="T6" fmla="*/ 10 w 127"/>
                <a:gd name="T7" fmla="*/ 136 h 177"/>
                <a:gd name="T8" fmla="*/ 0 w 127"/>
                <a:gd name="T9" fmla="*/ 92 h 177"/>
                <a:gd name="T10" fmla="*/ 11 w 127"/>
                <a:gd name="T11" fmla="*/ 45 h 177"/>
                <a:gd name="T12" fmla="*/ 42 w 127"/>
                <a:gd name="T13" fmla="*/ 12 h 177"/>
                <a:gd name="T14" fmla="*/ 87 w 127"/>
                <a:gd name="T15" fmla="*/ 0 h 177"/>
                <a:gd name="T16" fmla="*/ 127 w 127"/>
                <a:gd name="T17" fmla="*/ 7 h 177"/>
                <a:gd name="T18" fmla="*/ 127 w 127"/>
                <a:gd name="T19" fmla="*/ 29 h 177"/>
                <a:gd name="T20" fmla="*/ 87 w 127"/>
                <a:gd name="T21" fmla="*/ 18 h 177"/>
                <a:gd name="T22" fmla="*/ 52 w 127"/>
                <a:gd name="T23" fmla="*/ 27 h 177"/>
                <a:gd name="T24" fmla="*/ 29 w 127"/>
                <a:gd name="T25" fmla="*/ 53 h 177"/>
                <a:gd name="T26" fmla="*/ 21 w 127"/>
                <a:gd name="T27" fmla="*/ 91 h 177"/>
                <a:gd name="T28" fmla="*/ 28 w 127"/>
                <a:gd name="T29" fmla="*/ 127 h 177"/>
                <a:gd name="T30" fmla="*/ 50 w 127"/>
                <a:gd name="T31" fmla="*/ 151 h 177"/>
                <a:gd name="T32" fmla="*/ 83 w 127"/>
                <a:gd name="T33" fmla="*/ 159 h 177"/>
                <a:gd name="T34" fmla="*/ 127 w 127"/>
                <a:gd name="T35" fmla="*/ 148 h 177"/>
                <a:gd name="T36" fmla="*/ 127 w 127"/>
                <a:gd name="T37" fmla="*/ 167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7" h="177">
                  <a:moveTo>
                    <a:pt x="127" y="167"/>
                  </a:moveTo>
                  <a:cubicBezTo>
                    <a:pt x="115" y="174"/>
                    <a:pt x="99" y="177"/>
                    <a:pt x="80" y="177"/>
                  </a:cubicBezTo>
                  <a:cubicBezTo>
                    <a:pt x="64" y="177"/>
                    <a:pt x="50" y="174"/>
                    <a:pt x="38" y="166"/>
                  </a:cubicBezTo>
                  <a:cubicBezTo>
                    <a:pt x="26" y="159"/>
                    <a:pt x="16" y="149"/>
                    <a:pt x="10" y="136"/>
                  </a:cubicBezTo>
                  <a:cubicBezTo>
                    <a:pt x="3" y="123"/>
                    <a:pt x="0" y="109"/>
                    <a:pt x="0" y="92"/>
                  </a:cubicBezTo>
                  <a:cubicBezTo>
                    <a:pt x="0" y="74"/>
                    <a:pt x="3" y="59"/>
                    <a:pt x="11" y="45"/>
                  </a:cubicBezTo>
                  <a:cubicBezTo>
                    <a:pt x="18" y="31"/>
                    <a:pt x="29" y="20"/>
                    <a:pt x="42" y="12"/>
                  </a:cubicBezTo>
                  <a:cubicBezTo>
                    <a:pt x="55" y="4"/>
                    <a:pt x="70" y="0"/>
                    <a:pt x="87" y="0"/>
                  </a:cubicBezTo>
                  <a:cubicBezTo>
                    <a:pt x="103" y="0"/>
                    <a:pt x="116" y="3"/>
                    <a:pt x="127" y="7"/>
                  </a:cubicBezTo>
                  <a:cubicBezTo>
                    <a:pt x="127" y="29"/>
                    <a:pt x="127" y="29"/>
                    <a:pt x="127" y="29"/>
                  </a:cubicBezTo>
                  <a:cubicBezTo>
                    <a:pt x="115" y="22"/>
                    <a:pt x="101" y="18"/>
                    <a:pt x="87" y="18"/>
                  </a:cubicBezTo>
                  <a:cubicBezTo>
                    <a:pt x="74" y="18"/>
                    <a:pt x="62" y="21"/>
                    <a:pt x="52" y="27"/>
                  </a:cubicBezTo>
                  <a:cubicBezTo>
                    <a:pt x="42" y="33"/>
                    <a:pt x="34" y="42"/>
                    <a:pt x="29" y="53"/>
                  </a:cubicBezTo>
                  <a:cubicBezTo>
                    <a:pt x="23" y="64"/>
                    <a:pt x="21" y="76"/>
                    <a:pt x="21" y="91"/>
                  </a:cubicBezTo>
                  <a:cubicBezTo>
                    <a:pt x="21" y="104"/>
                    <a:pt x="23" y="116"/>
                    <a:pt x="28" y="127"/>
                  </a:cubicBezTo>
                  <a:cubicBezTo>
                    <a:pt x="34" y="137"/>
                    <a:pt x="41" y="145"/>
                    <a:pt x="50" y="151"/>
                  </a:cubicBezTo>
                  <a:cubicBezTo>
                    <a:pt x="60" y="156"/>
                    <a:pt x="71" y="159"/>
                    <a:pt x="83" y="159"/>
                  </a:cubicBezTo>
                  <a:cubicBezTo>
                    <a:pt x="100" y="159"/>
                    <a:pt x="115" y="155"/>
                    <a:pt x="127" y="148"/>
                  </a:cubicBezTo>
                  <a:lnTo>
                    <a:pt x="127" y="16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57" name="Freeform 49"/>
            <p:cNvSpPr>
              <a:spLocks noEditPoints="1"/>
            </p:cNvSpPr>
            <p:nvPr userDrawn="1"/>
          </p:nvSpPr>
          <p:spPr bwMode="auto">
            <a:xfrm>
              <a:off x="3979" y="3939"/>
              <a:ext cx="229" cy="302"/>
            </a:xfrm>
            <a:custGeom>
              <a:avLst/>
              <a:gdLst>
                <a:gd name="T0" fmla="*/ 97 w 97"/>
                <a:gd name="T1" fmla="*/ 125 h 128"/>
                <a:gd name="T2" fmla="*/ 77 w 97"/>
                <a:gd name="T3" fmla="*/ 125 h 128"/>
                <a:gd name="T4" fmla="*/ 77 w 97"/>
                <a:gd name="T5" fmla="*/ 106 h 128"/>
                <a:gd name="T6" fmla="*/ 77 w 97"/>
                <a:gd name="T7" fmla="*/ 106 h 128"/>
                <a:gd name="T8" fmla="*/ 39 w 97"/>
                <a:gd name="T9" fmla="*/ 128 h 128"/>
                <a:gd name="T10" fmla="*/ 11 w 97"/>
                <a:gd name="T11" fmla="*/ 118 h 128"/>
                <a:gd name="T12" fmla="*/ 0 w 97"/>
                <a:gd name="T13" fmla="*/ 93 h 128"/>
                <a:gd name="T14" fmla="*/ 41 w 97"/>
                <a:gd name="T15" fmla="*/ 53 h 128"/>
                <a:gd name="T16" fmla="*/ 77 w 97"/>
                <a:gd name="T17" fmla="*/ 48 h 128"/>
                <a:gd name="T18" fmla="*/ 52 w 97"/>
                <a:gd name="T19" fmla="*/ 17 h 128"/>
                <a:gd name="T20" fmla="*/ 12 w 97"/>
                <a:gd name="T21" fmla="*/ 32 h 128"/>
                <a:gd name="T22" fmla="*/ 12 w 97"/>
                <a:gd name="T23" fmla="*/ 12 h 128"/>
                <a:gd name="T24" fmla="*/ 31 w 97"/>
                <a:gd name="T25" fmla="*/ 4 h 128"/>
                <a:gd name="T26" fmla="*/ 54 w 97"/>
                <a:gd name="T27" fmla="*/ 0 h 128"/>
                <a:gd name="T28" fmla="*/ 97 w 97"/>
                <a:gd name="T29" fmla="*/ 46 h 128"/>
                <a:gd name="T30" fmla="*/ 97 w 97"/>
                <a:gd name="T31" fmla="*/ 125 h 128"/>
                <a:gd name="T32" fmla="*/ 77 w 97"/>
                <a:gd name="T33" fmla="*/ 63 h 128"/>
                <a:gd name="T34" fmla="*/ 48 w 97"/>
                <a:gd name="T35" fmla="*/ 68 h 128"/>
                <a:gd name="T36" fmla="*/ 27 w 97"/>
                <a:gd name="T37" fmla="*/ 75 h 128"/>
                <a:gd name="T38" fmla="*/ 20 w 97"/>
                <a:gd name="T39" fmla="*/ 91 h 128"/>
                <a:gd name="T40" fmla="*/ 27 w 97"/>
                <a:gd name="T41" fmla="*/ 106 h 128"/>
                <a:gd name="T42" fmla="*/ 44 w 97"/>
                <a:gd name="T43" fmla="*/ 111 h 128"/>
                <a:gd name="T44" fmla="*/ 68 w 97"/>
                <a:gd name="T45" fmla="*/ 101 h 128"/>
                <a:gd name="T46" fmla="*/ 77 w 97"/>
                <a:gd name="T47" fmla="*/ 76 h 128"/>
                <a:gd name="T48" fmla="*/ 77 w 97"/>
                <a:gd name="T49" fmla="*/ 63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97" h="128">
                  <a:moveTo>
                    <a:pt x="97" y="125"/>
                  </a:moveTo>
                  <a:cubicBezTo>
                    <a:pt x="77" y="125"/>
                    <a:pt x="77" y="125"/>
                    <a:pt x="77" y="125"/>
                  </a:cubicBezTo>
                  <a:cubicBezTo>
                    <a:pt x="77" y="106"/>
                    <a:pt x="77" y="106"/>
                    <a:pt x="77" y="106"/>
                  </a:cubicBezTo>
                  <a:cubicBezTo>
                    <a:pt x="77" y="106"/>
                    <a:pt x="77" y="106"/>
                    <a:pt x="77" y="106"/>
                  </a:cubicBezTo>
                  <a:cubicBezTo>
                    <a:pt x="68" y="121"/>
                    <a:pt x="56" y="128"/>
                    <a:pt x="39" y="128"/>
                  </a:cubicBezTo>
                  <a:cubicBezTo>
                    <a:pt x="28" y="128"/>
                    <a:pt x="18" y="125"/>
                    <a:pt x="11" y="118"/>
                  </a:cubicBezTo>
                  <a:cubicBezTo>
                    <a:pt x="4" y="112"/>
                    <a:pt x="0" y="103"/>
                    <a:pt x="0" y="93"/>
                  </a:cubicBezTo>
                  <a:cubicBezTo>
                    <a:pt x="0" y="70"/>
                    <a:pt x="14" y="57"/>
                    <a:pt x="41" y="53"/>
                  </a:cubicBezTo>
                  <a:cubicBezTo>
                    <a:pt x="77" y="48"/>
                    <a:pt x="77" y="48"/>
                    <a:pt x="77" y="48"/>
                  </a:cubicBezTo>
                  <a:cubicBezTo>
                    <a:pt x="77" y="27"/>
                    <a:pt x="69" y="17"/>
                    <a:pt x="52" y="17"/>
                  </a:cubicBezTo>
                  <a:cubicBezTo>
                    <a:pt x="38" y="17"/>
                    <a:pt x="24" y="22"/>
                    <a:pt x="12" y="32"/>
                  </a:cubicBezTo>
                  <a:cubicBezTo>
                    <a:pt x="12" y="12"/>
                    <a:pt x="12" y="12"/>
                    <a:pt x="12" y="12"/>
                  </a:cubicBezTo>
                  <a:cubicBezTo>
                    <a:pt x="16" y="9"/>
                    <a:pt x="22" y="6"/>
                    <a:pt x="31" y="4"/>
                  </a:cubicBezTo>
                  <a:cubicBezTo>
                    <a:pt x="39" y="1"/>
                    <a:pt x="47" y="0"/>
                    <a:pt x="54" y="0"/>
                  </a:cubicBezTo>
                  <a:cubicBezTo>
                    <a:pt x="83" y="0"/>
                    <a:pt x="97" y="15"/>
                    <a:pt x="97" y="46"/>
                  </a:cubicBezTo>
                  <a:lnTo>
                    <a:pt x="97" y="125"/>
                  </a:lnTo>
                  <a:close/>
                  <a:moveTo>
                    <a:pt x="77" y="63"/>
                  </a:moveTo>
                  <a:cubicBezTo>
                    <a:pt x="48" y="68"/>
                    <a:pt x="48" y="68"/>
                    <a:pt x="48" y="68"/>
                  </a:cubicBezTo>
                  <a:cubicBezTo>
                    <a:pt x="38" y="69"/>
                    <a:pt x="31" y="71"/>
                    <a:pt x="27" y="75"/>
                  </a:cubicBezTo>
                  <a:cubicBezTo>
                    <a:pt x="23" y="78"/>
                    <a:pt x="20" y="84"/>
                    <a:pt x="20" y="91"/>
                  </a:cubicBezTo>
                  <a:cubicBezTo>
                    <a:pt x="20" y="97"/>
                    <a:pt x="23" y="102"/>
                    <a:pt x="27" y="106"/>
                  </a:cubicBezTo>
                  <a:cubicBezTo>
                    <a:pt x="31" y="110"/>
                    <a:pt x="37" y="111"/>
                    <a:pt x="44" y="111"/>
                  </a:cubicBezTo>
                  <a:cubicBezTo>
                    <a:pt x="54" y="111"/>
                    <a:pt x="62" y="108"/>
                    <a:pt x="68" y="101"/>
                  </a:cubicBezTo>
                  <a:cubicBezTo>
                    <a:pt x="74" y="94"/>
                    <a:pt x="77" y="86"/>
                    <a:pt x="77" y="76"/>
                  </a:cubicBezTo>
                  <a:lnTo>
                    <a:pt x="77" y="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58" name="Freeform 50"/>
            <p:cNvSpPr>
              <a:spLocks/>
            </p:cNvSpPr>
            <p:nvPr userDrawn="1"/>
          </p:nvSpPr>
          <p:spPr bwMode="auto">
            <a:xfrm>
              <a:off x="4296" y="3939"/>
              <a:ext cx="238" cy="295"/>
            </a:xfrm>
            <a:custGeom>
              <a:avLst/>
              <a:gdLst>
                <a:gd name="T0" fmla="*/ 101 w 101"/>
                <a:gd name="T1" fmla="*/ 125 h 125"/>
                <a:gd name="T2" fmla="*/ 82 w 101"/>
                <a:gd name="T3" fmla="*/ 125 h 125"/>
                <a:gd name="T4" fmla="*/ 82 w 101"/>
                <a:gd name="T5" fmla="*/ 55 h 125"/>
                <a:gd name="T6" fmla="*/ 53 w 101"/>
                <a:gd name="T7" fmla="*/ 17 h 125"/>
                <a:gd name="T8" fmla="*/ 29 w 101"/>
                <a:gd name="T9" fmla="*/ 28 h 125"/>
                <a:gd name="T10" fmla="*/ 19 w 101"/>
                <a:gd name="T11" fmla="*/ 55 h 125"/>
                <a:gd name="T12" fmla="*/ 19 w 101"/>
                <a:gd name="T13" fmla="*/ 125 h 125"/>
                <a:gd name="T14" fmla="*/ 0 w 101"/>
                <a:gd name="T15" fmla="*/ 125 h 125"/>
                <a:gd name="T16" fmla="*/ 0 w 101"/>
                <a:gd name="T17" fmla="*/ 3 h 125"/>
                <a:gd name="T18" fmla="*/ 19 w 101"/>
                <a:gd name="T19" fmla="*/ 3 h 125"/>
                <a:gd name="T20" fmla="*/ 19 w 101"/>
                <a:gd name="T21" fmla="*/ 23 h 125"/>
                <a:gd name="T22" fmla="*/ 20 w 101"/>
                <a:gd name="T23" fmla="*/ 23 h 125"/>
                <a:gd name="T24" fmla="*/ 60 w 101"/>
                <a:gd name="T25" fmla="*/ 0 h 125"/>
                <a:gd name="T26" fmla="*/ 91 w 101"/>
                <a:gd name="T27" fmla="*/ 13 h 125"/>
                <a:gd name="T28" fmla="*/ 101 w 101"/>
                <a:gd name="T29" fmla="*/ 50 h 125"/>
                <a:gd name="T30" fmla="*/ 101 w 101"/>
                <a:gd name="T31" fmla="*/ 125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1" h="125">
                  <a:moveTo>
                    <a:pt x="101" y="125"/>
                  </a:moveTo>
                  <a:cubicBezTo>
                    <a:pt x="82" y="125"/>
                    <a:pt x="82" y="125"/>
                    <a:pt x="82" y="125"/>
                  </a:cubicBezTo>
                  <a:cubicBezTo>
                    <a:pt x="82" y="55"/>
                    <a:pt x="82" y="55"/>
                    <a:pt x="82" y="55"/>
                  </a:cubicBezTo>
                  <a:cubicBezTo>
                    <a:pt x="82" y="30"/>
                    <a:pt x="72" y="17"/>
                    <a:pt x="53" y="17"/>
                  </a:cubicBezTo>
                  <a:cubicBezTo>
                    <a:pt x="44" y="17"/>
                    <a:pt x="36" y="20"/>
                    <a:pt x="29" y="28"/>
                  </a:cubicBezTo>
                  <a:cubicBezTo>
                    <a:pt x="23" y="35"/>
                    <a:pt x="19" y="44"/>
                    <a:pt x="19" y="55"/>
                  </a:cubicBezTo>
                  <a:cubicBezTo>
                    <a:pt x="19" y="125"/>
                    <a:pt x="19" y="125"/>
                    <a:pt x="19" y="125"/>
                  </a:cubicBezTo>
                  <a:cubicBezTo>
                    <a:pt x="0" y="125"/>
                    <a:pt x="0" y="125"/>
                    <a:pt x="0" y="125"/>
                  </a:cubicBezTo>
                  <a:cubicBezTo>
                    <a:pt x="0" y="3"/>
                    <a:pt x="0" y="3"/>
                    <a:pt x="0" y="3"/>
                  </a:cubicBezTo>
                  <a:cubicBezTo>
                    <a:pt x="19" y="3"/>
                    <a:pt x="19" y="3"/>
                    <a:pt x="19" y="3"/>
                  </a:cubicBezTo>
                  <a:cubicBezTo>
                    <a:pt x="19" y="23"/>
                    <a:pt x="19" y="23"/>
                    <a:pt x="19" y="23"/>
                  </a:cubicBezTo>
                  <a:cubicBezTo>
                    <a:pt x="20" y="23"/>
                    <a:pt x="20" y="23"/>
                    <a:pt x="20" y="23"/>
                  </a:cubicBezTo>
                  <a:cubicBezTo>
                    <a:pt x="29" y="8"/>
                    <a:pt x="42" y="0"/>
                    <a:pt x="60" y="0"/>
                  </a:cubicBezTo>
                  <a:cubicBezTo>
                    <a:pt x="73" y="0"/>
                    <a:pt x="84" y="4"/>
                    <a:pt x="91" y="13"/>
                  </a:cubicBezTo>
                  <a:cubicBezTo>
                    <a:pt x="98" y="22"/>
                    <a:pt x="101" y="34"/>
                    <a:pt x="101" y="50"/>
                  </a:cubicBezTo>
                  <a:lnTo>
                    <a:pt x="101" y="12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59" name="Freeform 51"/>
            <p:cNvSpPr>
              <a:spLocks noEditPoints="1"/>
            </p:cNvSpPr>
            <p:nvPr userDrawn="1"/>
          </p:nvSpPr>
          <p:spPr bwMode="auto">
            <a:xfrm>
              <a:off x="4598" y="3939"/>
              <a:ext cx="227" cy="302"/>
            </a:xfrm>
            <a:custGeom>
              <a:avLst/>
              <a:gdLst>
                <a:gd name="T0" fmla="*/ 96 w 96"/>
                <a:gd name="T1" fmla="*/ 125 h 128"/>
                <a:gd name="T2" fmla="*/ 77 w 96"/>
                <a:gd name="T3" fmla="*/ 125 h 128"/>
                <a:gd name="T4" fmla="*/ 77 w 96"/>
                <a:gd name="T5" fmla="*/ 106 h 128"/>
                <a:gd name="T6" fmla="*/ 76 w 96"/>
                <a:gd name="T7" fmla="*/ 106 h 128"/>
                <a:gd name="T8" fmla="*/ 39 w 96"/>
                <a:gd name="T9" fmla="*/ 128 h 128"/>
                <a:gd name="T10" fmla="*/ 11 w 96"/>
                <a:gd name="T11" fmla="*/ 118 h 128"/>
                <a:gd name="T12" fmla="*/ 0 w 96"/>
                <a:gd name="T13" fmla="*/ 93 h 128"/>
                <a:gd name="T14" fmla="*/ 40 w 96"/>
                <a:gd name="T15" fmla="*/ 53 h 128"/>
                <a:gd name="T16" fmla="*/ 77 w 96"/>
                <a:gd name="T17" fmla="*/ 48 h 128"/>
                <a:gd name="T18" fmla="*/ 52 w 96"/>
                <a:gd name="T19" fmla="*/ 17 h 128"/>
                <a:gd name="T20" fmla="*/ 12 w 96"/>
                <a:gd name="T21" fmla="*/ 32 h 128"/>
                <a:gd name="T22" fmla="*/ 12 w 96"/>
                <a:gd name="T23" fmla="*/ 12 h 128"/>
                <a:gd name="T24" fmla="*/ 30 w 96"/>
                <a:gd name="T25" fmla="*/ 4 h 128"/>
                <a:gd name="T26" fmla="*/ 53 w 96"/>
                <a:gd name="T27" fmla="*/ 0 h 128"/>
                <a:gd name="T28" fmla="*/ 96 w 96"/>
                <a:gd name="T29" fmla="*/ 46 h 128"/>
                <a:gd name="T30" fmla="*/ 96 w 96"/>
                <a:gd name="T31" fmla="*/ 125 h 128"/>
                <a:gd name="T32" fmla="*/ 77 w 96"/>
                <a:gd name="T33" fmla="*/ 63 h 128"/>
                <a:gd name="T34" fmla="*/ 47 w 96"/>
                <a:gd name="T35" fmla="*/ 68 h 128"/>
                <a:gd name="T36" fmla="*/ 26 w 96"/>
                <a:gd name="T37" fmla="*/ 75 h 128"/>
                <a:gd name="T38" fmla="*/ 20 w 96"/>
                <a:gd name="T39" fmla="*/ 91 h 128"/>
                <a:gd name="T40" fmla="*/ 27 w 96"/>
                <a:gd name="T41" fmla="*/ 106 h 128"/>
                <a:gd name="T42" fmla="*/ 43 w 96"/>
                <a:gd name="T43" fmla="*/ 111 h 128"/>
                <a:gd name="T44" fmla="*/ 67 w 96"/>
                <a:gd name="T45" fmla="*/ 101 h 128"/>
                <a:gd name="T46" fmla="*/ 77 w 96"/>
                <a:gd name="T47" fmla="*/ 76 h 128"/>
                <a:gd name="T48" fmla="*/ 77 w 96"/>
                <a:gd name="T49" fmla="*/ 63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96" h="128">
                  <a:moveTo>
                    <a:pt x="96" y="125"/>
                  </a:moveTo>
                  <a:cubicBezTo>
                    <a:pt x="77" y="125"/>
                    <a:pt x="77" y="125"/>
                    <a:pt x="77" y="125"/>
                  </a:cubicBezTo>
                  <a:cubicBezTo>
                    <a:pt x="77" y="106"/>
                    <a:pt x="77" y="106"/>
                    <a:pt x="77" y="106"/>
                  </a:cubicBezTo>
                  <a:cubicBezTo>
                    <a:pt x="76" y="106"/>
                    <a:pt x="76" y="106"/>
                    <a:pt x="76" y="106"/>
                  </a:cubicBezTo>
                  <a:cubicBezTo>
                    <a:pt x="68" y="121"/>
                    <a:pt x="55" y="128"/>
                    <a:pt x="39" y="128"/>
                  </a:cubicBezTo>
                  <a:cubicBezTo>
                    <a:pt x="27" y="128"/>
                    <a:pt x="18" y="125"/>
                    <a:pt x="11" y="118"/>
                  </a:cubicBezTo>
                  <a:cubicBezTo>
                    <a:pt x="3" y="112"/>
                    <a:pt x="0" y="103"/>
                    <a:pt x="0" y="93"/>
                  </a:cubicBezTo>
                  <a:cubicBezTo>
                    <a:pt x="0" y="70"/>
                    <a:pt x="13" y="57"/>
                    <a:pt x="40" y="53"/>
                  </a:cubicBezTo>
                  <a:cubicBezTo>
                    <a:pt x="77" y="48"/>
                    <a:pt x="77" y="48"/>
                    <a:pt x="77" y="48"/>
                  </a:cubicBezTo>
                  <a:cubicBezTo>
                    <a:pt x="77" y="27"/>
                    <a:pt x="68" y="17"/>
                    <a:pt x="52" y="17"/>
                  </a:cubicBezTo>
                  <a:cubicBezTo>
                    <a:pt x="37" y="17"/>
                    <a:pt x="24" y="22"/>
                    <a:pt x="12" y="32"/>
                  </a:cubicBezTo>
                  <a:cubicBezTo>
                    <a:pt x="12" y="12"/>
                    <a:pt x="12" y="12"/>
                    <a:pt x="12" y="12"/>
                  </a:cubicBezTo>
                  <a:cubicBezTo>
                    <a:pt x="15" y="9"/>
                    <a:pt x="22" y="6"/>
                    <a:pt x="30" y="4"/>
                  </a:cubicBezTo>
                  <a:cubicBezTo>
                    <a:pt x="39" y="1"/>
                    <a:pt x="47" y="0"/>
                    <a:pt x="53" y="0"/>
                  </a:cubicBezTo>
                  <a:cubicBezTo>
                    <a:pt x="82" y="0"/>
                    <a:pt x="96" y="15"/>
                    <a:pt x="96" y="46"/>
                  </a:cubicBezTo>
                  <a:lnTo>
                    <a:pt x="96" y="125"/>
                  </a:lnTo>
                  <a:close/>
                  <a:moveTo>
                    <a:pt x="77" y="63"/>
                  </a:moveTo>
                  <a:cubicBezTo>
                    <a:pt x="47" y="68"/>
                    <a:pt x="47" y="68"/>
                    <a:pt x="47" y="68"/>
                  </a:cubicBezTo>
                  <a:cubicBezTo>
                    <a:pt x="37" y="69"/>
                    <a:pt x="30" y="71"/>
                    <a:pt x="26" y="75"/>
                  </a:cubicBezTo>
                  <a:cubicBezTo>
                    <a:pt x="22" y="78"/>
                    <a:pt x="20" y="84"/>
                    <a:pt x="20" y="91"/>
                  </a:cubicBezTo>
                  <a:cubicBezTo>
                    <a:pt x="20" y="97"/>
                    <a:pt x="22" y="102"/>
                    <a:pt x="27" y="106"/>
                  </a:cubicBezTo>
                  <a:cubicBezTo>
                    <a:pt x="31" y="110"/>
                    <a:pt x="37" y="111"/>
                    <a:pt x="43" y="111"/>
                  </a:cubicBezTo>
                  <a:cubicBezTo>
                    <a:pt x="53" y="111"/>
                    <a:pt x="61" y="108"/>
                    <a:pt x="67" y="101"/>
                  </a:cubicBezTo>
                  <a:cubicBezTo>
                    <a:pt x="74" y="94"/>
                    <a:pt x="77" y="86"/>
                    <a:pt x="77" y="76"/>
                  </a:cubicBezTo>
                  <a:lnTo>
                    <a:pt x="77" y="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60" name="Freeform 52"/>
            <p:cNvSpPr>
              <a:spLocks noEditPoints="1"/>
            </p:cNvSpPr>
            <p:nvPr userDrawn="1"/>
          </p:nvSpPr>
          <p:spPr bwMode="auto">
            <a:xfrm>
              <a:off x="4892" y="3806"/>
              <a:ext cx="267" cy="435"/>
            </a:xfrm>
            <a:custGeom>
              <a:avLst/>
              <a:gdLst>
                <a:gd name="T0" fmla="*/ 113 w 113"/>
                <a:gd name="T1" fmla="*/ 181 h 184"/>
                <a:gd name="T2" fmla="*/ 93 w 113"/>
                <a:gd name="T3" fmla="*/ 181 h 184"/>
                <a:gd name="T4" fmla="*/ 93 w 113"/>
                <a:gd name="T5" fmla="*/ 160 h 184"/>
                <a:gd name="T6" fmla="*/ 92 w 113"/>
                <a:gd name="T7" fmla="*/ 160 h 184"/>
                <a:gd name="T8" fmla="*/ 51 w 113"/>
                <a:gd name="T9" fmla="*/ 184 h 184"/>
                <a:gd name="T10" fmla="*/ 14 w 113"/>
                <a:gd name="T11" fmla="*/ 167 h 184"/>
                <a:gd name="T12" fmla="*/ 0 w 113"/>
                <a:gd name="T13" fmla="*/ 123 h 184"/>
                <a:gd name="T14" fmla="*/ 15 w 113"/>
                <a:gd name="T15" fmla="*/ 74 h 184"/>
                <a:gd name="T16" fmla="*/ 56 w 113"/>
                <a:gd name="T17" fmla="*/ 56 h 184"/>
                <a:gd name="T18" fmla="*/ 92 w 113"/>
                <a:gd name="T19" fmla="*/ 76 h 184"/>
                <a:gd name="T20" fmla="*/ 93 w 113"/>
                <a:gd name="T21" fmla="*/ 76 h 184"/>
                <a:gd name="T22" fmla="*/ 93 w 113"/>
                <a:gd name="T23" fmla="*/ 0 h 184"/>
                <a:gd name="T24" fmla="*/ 113 w 113"/>
                <a:gd name="T25" fmla="*/ 0 h 184"/>
                <a:gd name="T26" fmla="*/ 113 w 113"/>
                <a:gd name="T27" fmla="*/ 181 h 184"/>
                <a:gd name="T28" fmla="*/ 93 w 113"/>
                <a:gd name="T29" fmla="*/ 126 h 184"/>
                <a:gd name="T30" fmla="*/ 93 w 113"/>
                <a:gd name="T31" fmla="*/ 108 h 184"/>
                <a:gd name="T32" fmla="*/ 83 w 113"/>
                <a:gd name="T33" fmla="*/ 83 h 184"/>
                <a:gd name="T34" fmla="*/ 58 w 113"/>
                <a:gd name="T35" fmla="*/ 73 h 184"/>
                <a:gd name="T36" fmla="*/ 30 w 113"/>
                <a:gd name="T37" fmla="*/ 86 h 184"/>
                <a:gd name="T38" fmla="*/ 20 w 113"/>
                <a:gd name="T39" fmla="*/ 122 h 184"/>
                <a:gd name="T40" fmla="*/ 30 w 113"/>
                <a:gd name="T41" fmla="*/ 155 h 184"/>
                <a:gd name="T42" fmla="*/ 56 w 113"/>
                <a:gd name="T43" fmla="*/ 167 h 184"/>
                <a:gd name="T44" fmla="*/ 83 w 113"/>
                <a:gd name="T45" fmla="*/ 156 h 184"/>
                <a:gd name="T46" fmla="*/ 93 w 113"/>
                <a:gd name="T47" fmla="*/ 126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13" h="184">
                  <a:moveTo>
                    <a:pt x="113" y="181"/>
                  </a:moveTo>
                  <a:cubicBezTo>
                    <a:pt x="93" y="181"/>
                    <a:pt x="93" y="181"/>
                    <a:pt x="93" y="181"/>
                  </a:cubicBezTo>
                  <a:cubicBezTo>
                    <a:pt x="93" y="160"/>
                    <a:pt x="93" y="160"/>
                    <a:pt x="93" y="160"/>
                  </a:cubicBezTo>
                  <a:cubicBezTo>
                    <a:pt x="92" y="160"/>
                    <a:pt x="92" y="160"/>
                    <a:pt x="92" y="160"/>
                  </a:cubicBezTo>
                  <a:cubicBezTo>
                    <a:pt x="83" y="176"/>
                    <a:pt x="69" y="184"/>
                    <a:pt x="51" y="184"/>
                  </a:cubicBezTo>
                  <a:cubicBezTo>
                    <a:pt x="35" y="184"/>
                    <a:pt x="23" y="179"/>
                    <a:pt x="14" y="167"/>
                  </a:cubicBezTo>
                  <a:cubicBezTo>
                    <a:pt x="5" y="156"/>
                    <a:pt x="0" y="142"/>
                    <a:pt x="0" y="123"/>
                  </a:cubicBezTo>
                  <a:cubicBezTo>
                    <a:pt x="0" y="103"/>
                    <a:pt x="5" y="87"/>
                    <a:pt x="15" y="74"/>
                  </a:cubicBezTo>
                  <a:cubicBezTo>
                    <a:pt x="25" y="62"/>
                    <a:pt x="39" y="56"/>
                    <a:pt x="56" y="56"/>
                  </a:cubicBezTo>
                  <a:cubicBezTo>
                    <a:pt x="73" y="56"/>
                    <a:pt x="85" y="63"/>
                    <a:pt x="92" y="76"/>
                  </a:cubicBezTo>
                  <a:cubicBezTo>
                    <a:pt x="93" y="76"/>
                    <a:pt x="93" y="76"/>
                    <a:pt x="93" y="76"/>
                  </a:cubicBezTo>
                  <a:cubicBezTo>
                    <a:pt x="93" y="0"/>
                    <a:pt x="93" y="0"/>
                    <a:pt x="93" y="0"/>
                  </a:cubicBezTo>
                  <a:cubicBezTo>
                    <a:pt x="113" y="0"/>
                    <a:pt x="113" y="0"/>
                    <a:pt x="113" y="0"/>
                  </a:cubicBezTo>
                  <a:lnTo>
                    <a:pt x="113" y="181"/>
                  </a:lnTo>
                  <a:close/>
                  <a:moveTo>
                    <a:pt x="93" y="126"/>
                  </a:moveTo>
                  <a:cubicBezTo>
                    <a:pt x="93" y="108"/>
                    <a:pt x="93" y="108"/>
                    <a:pt x="93" y="108"/>
                  </a:cubicBezTo>
                  <a:cubicBezTo>
                    <a:pt x="93" y="98"/>
                    <a:pt x="90" y="89"/>
                    <a:pt x="83" y="83"/>
                  </a:cubicBezTo>
                  <a:cubicBezTo>
                    <a:pt x="76" y="76"/>
                    <a:pt x="68" y="73"/>
                    <a:pt x="58" y="73"/>
                  </a:cubicBezTo>
                  <a:cubicBezTo>
                    <a:pt x="47" y="73"/>
                    <a:pt x="37" y="77"/>
                    <a:pt x="30" y="86"/>
                  </a:cubicBezTo>
                  <a:cubicBezTo>
                    <a:pt x="23" y="94"/>
                    <a:pt x="20" y="107"/>
                    <a:pt x="20" y="122"/>
                  </a:cubicBezTo>
                  <a:cubicBezTo>
                    <a:pt x="20" y="136"/>
                    <a:pt x="23" y="147"/>
                    <a:pt x="30" y="155"/>
                  </a:cubicBezTo>
                  <a:cubicBezTo>
                    <a:pt x="36" y="163"/>
                    <a:pt x="45" y="167"/>
                    <a:pt x="56" y="167"/>
                  </a:cubicBezTo>
                  <a:cubicBezTo>
                    <a:pt x="67" y="167"/>
                    <a:pt x="76" y="164"/>
                    <a:pt x="83" y="156"/>
                  </a:cubicBezTo>
                  <a:cubicBezTo>
                    <a:pt x="90" y="148"/>
                    <a:pt x="93" y="138"/>
                    <a:pt x="93" y="12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61" name="Freeform 53"/>
            <p:cNvSpPr>
              <a:spLocks noEditPoints="1"/>
            </p:cNvSpPr>
            <p:nvPr userDrawn="1"/>
          </p:nvSpPr>
          <p:spPr bwMode="auto">
            <a:xfrm>
              <a:off x="5228" y="3939"/>
              <a:ext cx="229" cy="302"/>
            </a:xfrm>
            <a:custGeom>
              <a:avLst/>
              <a:gdLst>
                <a:gd name="T0" fmla="*/ 97 w 97"/>
                <a:gd name="T1" fmla="*/ 125 h 128"/>
                <a:gd name="T2" fmla="*/ 77 w 97"/>
                <a:gd name="T3" fmla="*/ 125 h 128"/>
                <a:gd name="T4" fmla="*/ 77 w 97"/>
                <a:gd name="T5" fmla="*/ 106 h 128"/>
                <a:gd name="T6" fmla="*/ 77 w 97"/>
                <a:gd name="T7" fmla="*/ 106 h 128"/>
                <a:gd name="T8" fmla="*/ 39 w 97"/>
                <a:gd name="T9" fmla="*/ 128 h 128"/>
                <a:gd name="T10" fmla="*/ 11 w 97"/>
                <a:gd name="T11" fmla="*/ 118 h 128"/>
                <a:gd name="T12" fmla="*/ 0 w 97"/>
                <a:gd name="T13" fmla="*/ 93 h 128"/>
                <a:gd name="T14" fmla="*/ 40 w 97"/>
                <a:gd name="T15" fmla="*/ 53 h 128"/>
                <a:gd name="T16" fmla="*/ 77 w 97"/>
                <a:gd name="T17" fmla="*/ 48 h 128"/>
                <a:gd name="T18" fmla="*/ 52 w 97"/>
                <a:gd name="T19" fmla="*/ 17 h 128"/>
                <a:gd name="T20" fmla="*/ 12 w 97"/>
                <a:gd name="T21" fmla="*/ 32 h 128"/>
                <a:gd name="T22" fmla="*/ 12 w 97"/>
                <a:gd name="T23" fmla="*/ 12 h 128"/>
                <a:gd name="T24" fmla="*/ 30 w 97"/>
                <a:gd name="T25" fmla="*/ 4 h 128"/>
                <a:gd name="T26" fmla="*/ 54 w 97"/>
                <a:gd name="T27" fmla="*/ 0 h 128"/>
                <a:gd name="T28" fmla="*/ 97 w 97"/>
                <a:gd name="T29" fmla="*/ 46 h 128"/>
                <a:gd name="T30" fmla="*/ 97 w 97"/>
                <a:gd name="T31" fmla="*/ 125 h 128"/>
                <a:gd name="T32" fmla="*/ 77 w 97"/>
                <a:gd name="T33" fmla="*/ 63 h 128"/>
                <a:gd name="T34" fmla="*/ 47 w 97"/>
                <a:gd name="T35" fmla="*/ 68 h 128"/>
                <a:gd name="T36" fmla="*/ 26 w 97"/>
                <a:gd name="T37" fmla="*/ 75 h 128"/>
                <a:gd name="T38" fmla="*/ 20 w 97"/>
                <a:gd name="T39" fmla="*/ 91 h 128"/>
                <a:gd name="T40" fmla="*/ 27 w 97"/>
                <a:gd name="T41" fmla="*/ 106 h 128"/>
                <a:gd name="T42" fmla="*/ 44 w 97"/>
                <a:gd name="T43" fmla="*/ 111 h 128"/>
                <a:gd name="T44" fmla="*/ 68 w 97"/>
                <a:gd name="T45" fmla="*/ 101 h 128"/>
                <a:gd name="T46" fmla="*/ 77 w 97"/>
                <a:gd name="T47" fmla="*/ 76 h 128"/>
                <a:gd name="T48" fmla="*/ 77 w 97"/>
                <a:gd name="T49" fmla="*/ 63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97" h="128">
                  <a:moveTo>
                    <a:pt x="97" y="125"/>
                  </a:moveTo>
                  <a:cubicBezTo>
                    <a:pt x="77" y="125"/>
                    <a:pt x="77" y="125"/>
                    <a:pt x="77" y="125"/>
                  </a:cubicBezTo>
                  <a:cubicBezTo>
                    <a:pt x="77" y="106"/>
                    <a:pt x="77" y="106"/>
                    <a:pt x="77" y="106"/>
                  </a:cubicBezTo>
                  <a:cubicBezTo>
                    <a:pt x="77" y="106"/>
                    <a:pt x="77" y="106"/>
                    <a:pt x="77" y="106"/>
                  </a:cubicBezTo>
                  <a:cubicBezTo>
                    <a:pt x="68" y="121"/>
                    <a:pt x="56" y="128"/>
                    <a:pt x="39" y="128"/>
                  </a:cubicBezTo>
                  <a:cubicBezTo>
                    <a:pt x="27" y="128"/>
                    <a:pt x="18" y="125"/>
                    <a:pt x="11" y="118"/>
                  </a:cubicBezTo>
                  <a:cubicBezTo>
                    <a:pt x="4" y="112"/>
                    <a:pt x="0" y="103"/>
                    <a:pt x="0" y="93"/>
                  </a:cubicBezTo>
                  <a:cubicBezTo>
                    <a:pt x="0" y="70"/>
                    <a:pt x="14" y="57"/>
                    <a:pt x="40" y="53"/>
                  </a:cubicBezTo>
                  <a:cubicBezTo>
                    <a:pt x="77" y="48"/>
                    <a:pt x="77" y="48"/>
                    <a:pt x="77" y="48"/>
                  </a:cubicBezTo>
                  <a:cubicBezTo>
                    <a:pt x="77" y="27"/>
                    <a:pt x="69" y="17"/>
                    <a:pt x="52" y="17"/>
                  </a:cubicBezTo>
                  <a:cubicBezTo>
                    <a:pt x="37" y="17"/>
                    <a:pt x="24" y="22"/>
                    <a:pt x="12" y="32"/>
                  </a:cubicBezTo>
                  <a:cubicBezTo>
                    <a:pt x="12" y="12"/>
                    <a:pt x="12" y="12"/>
                    <a:pt x="12" y="12"/>
                  </a:cubicBezTo>
                  <a:cubicBezTo>
                    <a:pt x="16" y="9"/>
                    <a:pt x="22" y="6"/>
                    <a:pt x="30" y="4"/>
                  </a:cubicBezTo>
                  <a:cubicBezTo>
                    <a:pt x="39" y="1"/>
                    <a:pt x="47" y="0"/>
                    <a:pt x="54" y="0"/>
                  </a:cubicBezTo>
                  <a:cubicBezTo>
                    <a:pt x="82" y="0"/>
                    <a:pt x="97" y="15"/>
                    <a:pt x="97" y="46"/>
                  </a:cubicBezTo>
                  <a:lnTo>
                    <a:pt x="97" y="125"/>
                  </a:lnTo>
                  <a:close/>
                  <a:moveTo>
                    <a:pt x="77" y="63"/>
                  </a:moveTo>
                  <a:cubicBezTo>
                    <a:pt x="47" y="68"/>
                    <a:pt x="47" y="68"/>
                    <a:pt x="47" y="68"/>
                  </a:cubicBezTo>
                  <a:cubicBezTo>
                    <a:pt x="37" y="69"/>
                    <a:pt x="30" y="71"/>
                    <a:pt x="26" y="75"/>
                  </a:cubicBezTo>
                  <a:cubicBezTo>
                    <a:pt x="22" y="78"/>
                    <a:pt x="20" y="84"/>
                    <a:pt x="20" y="91"/>
                  </a:cubicBezTo>
                  <a:cubicBezTo>
                    <a:pt x="20" y="97"/>
                    <a:pt x="22" y="102"/>
                    <a:pt x="27" y="106"/>
                  </a:cubicBezTo>
                  <a:cubicBezTo>
                    <a:pt x="31" y="110"/>
                    <a:pt x="37" y="111"/>
                    <a:pt x="44" y="111"/>
                  </a:cubicBezTo>
                  <a:cubicBezTo>
                    <a:pt x="53" y="111"/>
                    <a:pt x="61" y="108"/>
                    <a:pt x="68" y="101"/>
                  </a:cubicBezTo>
                  <a:cubicBezTo>
                    <a:pt x="74" y="94"/>
                    <a:pt x="77" y="86"/>
                    <a:pt x="77" y="76"/>
                  </a:cubicBezTo>
                  <a:lnTo>
                    <a:pt x="77" y="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62" name="Freeform 54"/>
            <p:cNvSpPr>
              <a:spLocks/>
            </p:cNvSpPr>
            <p:nvPr userDrawn="1"/>
          </p:nvSpPr>
          <p:spPr bwMode="auto">
            <a:xfrm>
              <a:off x="1386" y="4610"/>
              <a:ext cx="151" cy="412"/>
            </a:xfrm>
            <a:custGeom>
              <a:avLst/>
              <a:gdLst>
                <a:gd name="T0" fmla="*/ 64 w 64"/>
                <a:gd name="T1" fmla="*/ 110 h 174"/>
                <a:gd name="T2" fmla="*/ 51 w 64"/>
                <a:gd name="T3" fmla="*/ 157 h 174"/>
                <a:gd name="T4" fmla="*/ 16 w 64"/>
                <a:gd name="T5" fmla="*/ 174 h 174"/>
                <a:gd name="T6" fmla="*/ 0 w 64"/>
                <a:gd name="T7" fmla="*/ 171 h 174"/>
                <a:gd name="T8" fmla="*/ 0 w 64"/>
                <a:gd name="T9" fmla="*/ 151 h 174"/>
                <a:gd name="T10" fmla="*/ 17 w 64"/>
                <a:gd name="T11" fmla="*/ 156 h 174"/>
                <a:gd name="T12" fmla="*/ 44 w 64"/>
                <a:gd name="T13" fmla="*/ 110 h 174"/>
                <a:gd name="T14" fmla="*/ 44 w 64"/>
                <a:gd name="T15" fmla="*/ 0 h 174"/>
                <a:gd name="T16" fmla="*/ 64 w 64"/>
                <a:gd name="T17" fmla="*/ 0 h 174"/>
                <a:gd name="T18" fmla="*/ 64 w 64"/>
                <a:gd name="T19" fmla="*/ 110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174">
                  <a:moveTo>
                    <a:pt x="64" y="110"/>
                  </a:moveTo>
                  <a:cubicBezTo>
                    <a:pt x="64" y="129"/>
                    <a:pt x="59" y="145"/>
                    <a:pt x="51" y="157"/>
                  </a:cubicBezTo>
                  <a:cubicBezTo>
                    <a:pt x="43" y="168"/>
                    <a:pt x="31" y="174"/>
                    <a:pt x="16" y="174"/>
                  </a:cubicBezTo>
                  <a:cubicBezTo>
                    <a:pt x="10" y="174"/>
                    <a:pt x="4" y="173"/>
                    <a:pt x="0" y="171"/>
                  </a:cubicBezTo>
                  <a:cubicBezTo>
                    <a:pt x="0" y="151"/>
                    <a:pt x="0" y="151"/>
                    <a:pt x="0" y="151"/>
                  </a:cubicBezTo>
                  <a:cubicBezTo>
                    <a:pt x="4" y="154"/>
                    <a:pt x="10" y="156"/>
                    <a:pt x="17" y="156"/>
                  </a:cubicBezTo>
                  <a:cubicBezTo>
                    <a:pt x="35" y="156"/>
                    <a:pt x="44" y="140"/>
                    <a:pt x="44" y="110"/>
                  </a:cubicBezTo>
                  <a:cubicBezTo>
                    <a:pt x="44" y="0"/>
                    <a:pt x="44" y="0"/>
                    <a:pt x="44" y="0"/>
                  </a:cubicBezTo>
                  <a:cubicBezTo>
                    <a:pt x="64" y="0"/>
                    <a:pt x="64" y="0"/>
                    <a:pt x="64" y="0"/>
                  </a:cubicBezTo>
                  <a:lnTo>
                    <a:pt x="64" y="1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63" name="Freeform 55"/>
            <p:cNvSpPr>
              <a:spLocks/>
            </p:cNvSpPr>
            <p:nvPr userDrawn="1"/>
          </p:nvSpPr>
          <p:spPr bwMode="auto">
            <a:xfrm>
              <a:off x="1627" y="4726"/>
              <a:ext cx="239" cy="296"/>
            </a:xfrm>
            <a:custGeom>
              <a:avLst/>
              <a:gdLst>
                <a:gd name="T0" fmla="*/ 101 w 101"/>
                <a:gd name="T1" fmla="*/ 122 h 125"/>
                <a:gd name="T2" fmla="*/ 82 w 101"/>
                <a:gd name="T3" fmla="*/ 122 h 125"/>
                <a:gd name="T4" fmla="*/ 82 w 101"/>
                <a:gd name="T5" fmla="*/ 103 h 125"/>
                <a:gd name="T6" fmla="*/ 81 w 101"/>
                <a:gd name="T7" fmla="*/ 103 h 125"/>
                <a:gd name="T8" fmla="*/ 43 w 101"/>
                <a:gd name="T9" fmla="*/ 125 h 125"/>
                <a:gd name="T10" fmla="*/ 0 w 101"/>
                <a:gd name="T11" fmla="*/ 73 h 125"/>
                <a:gd name="T12" fmla="*/ 0 w 101"/>
                <a:gd name="T13" fmla="*/ 0 h 125"/>
                <a:gd name="T14" fmla="*/ 19 w 101"/>
                <a:gd name="T15" fmla="*/ 0 h 125"/>
                <a:gd name="T16" fmla="*/ 19 w 101"/>
                <a:gd name="T17" fmla="*/ 70 h 125"/>
                <a:gd name="T18" fmla="*/ 49 w 101"/>
                <a:gd name="T19" fmla="*/ 108 h 125"/>
                <a:gd name="T20" fmla="*/ 72 w 101"/>
                <a:gd name="T21" fmla="*/ 98 h 125"/>
                <a:gd name="T22" fmla="*/ 82 w 101"/>
                <a:gd name="T23" fmla="*/ 70 h 125"/>
                <a:gd name="T24" fmla="*/ 82 w 101"/>
                <a:gd name="T25" fmla="*/ 0 h 125"/>
                <a:gd name="T26" fmla="*/ 101 w 101"/>
                <a:gd name="T27" fmla="*/ 0 h 125"/>
                <a:gd name="T28" fmla="*/ 101 w 101"/>
                <a:gd name="T29" fmla="*/ 122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1" h="125">
                  <a:moveTo>
                    <a:pt x="101" y="122"/>
                  </a:moveTo>
                  <a:cubicBezTo>
                    <a:pt x="82" y="122"/>
                    <a:pt x="82" y="122"/>
                    <a:pt x="82" y="122"/>
                  </a:cubicBezTo>
                  <a:cubicBezTo>
                    <a:pt x="82" y="103"/>
                    <a:pt x="82" y="103"/>
                    <a:pt x="82" y="103"/>
                  </a:cubicBezTo>
                  <a:cubicBezTo>
                    <a:pt x="81" y="103"/>
                    <a:pt x="81" y="103"/>
                    <a:pt x="81" y="103"/>
                  </a:cubicBezTo>
                  <a:cubicBezTo>
                    <a:pt x="73" y="117"/>
                    <a:pt x="60" y="125"/>
                    <a:pt x="43" y="125"/>
                  </a:cubicBezTo>
                  <a:cubicBezTo>
                    <a:pt x="14" y="125"/>
                    <a:pt x="0" y="108"/>
                    <a:pt x="0" y="73"/>
                  </a:cubicBezTo>
                  <a:cubicBezTo>
                    <a:pt x="0" y="0"/>
                    <a:pt x="0" y="0"/>
                    <a:pt x="0" y="0"/>
                  </a:cubicBezTo>
                  <a:cubicBezTo>
                    <a:pt x="19" y="0"/>
                    <a:pt x="19" y="0"/>
                    <a:pt x="19" y="0"/>
                  </a:cubicBezTo>
                  <a:cubicBezTo>
                    <a:pt x="19" y="70"/>
                    <a:pt x="19" y="70"/>
                    <a:pt x="19" y="70"/>
                  </a:cubicBezTo>
                  <a:cubicBezTo>
                    <a:pt x="19" y="95"/>
                    <a:pt x="29" y="108"/>
                    <a:pt x="49" y="108"/>
                  </a:cubicBezTo>
                  <a:cubicBezTo>
                    <a:pt x="59" y="108"/>
                    <a:pt x="66" y="105"/>
                    <a:pt x="72" y="98"/>
                  </a:cubicBezTo>
                  <a:cubicBezTo>
                    <a:pt x="78" y="91"/>
                    <a:pt x="82" y="81"/>
                    <a:pt x="82" y="70"/>
                  </a:cubicBezTo>
                  <a:cubicBezTo>
                    <a:pt x="82" y="0"/>
                    <a:pt x="82" y="0"/>
                    <a:pt x="82" y="0"/>
                  </a:cubicBezTo>
                  <a:cubicBezTo>
                    <a:pt x="101" y="0"/>
                    <a:pt x="101" y="0"/>
                    <a:pt x="101" y="0"/>
                  </a:cubicBezTo>
                  <a:lnTo>
                    <a:pt x="101" y="12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64" name="Rectangle 56"/>
            <p:cNvSpPr>
              <a:spLocks noChangeArrowheads="1"/>
            </p:cNvSpPr>
            <p:nvPr userDrawn="1"/>
          </p:nvSpPr>
          <p:spPr bwMode="auto">
            <a:xfrm>
              <a:off x="1961" y="4587"/>
              <a:ext cx="45" cy="42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65" name="Freeform 57"/>
            <p:cNvSpPr>
              <a:spLocks/>
            </p:cNvSpPr>
            <p:nvPr userDrawn="1"/>
          </p:nvSpPr>
          <p:spPr bwMode="auto">
            <a:xfrm>
              <a:off x="2058" y="4726"/>
              <a:ext cx="272" cy="423"/>
            </a:xfrm>
            <a:custGeom>
              <a:avLst/>
              <a:gdLst>
                <a:gd name="T0" fmla="*/ 115 w 115"/>
                <a:gd name="T1" fmla="*/ 0 h 179"/>
                <a:gd name="T2" fmla="*/ 59 w 115"/>
                <a:gd name="T3" fmla="*/ 141 h 179"/>
                <a:gd name="T4" fmla="*/ 17 w 115"/>
                <a:gd name="T5" fmla="*/ 179 h 179"/>
                <a:gd name="T6" fmla="*/ 4 w 115"/>
                <a:gd name="T7" fmla="*/ 178 h 179"/>
                <a:gd name="T8" fmla="*/ 4 w 115"/>
                <a:gd name="T9" fmla="*/ 160 h 179"/>
                <a:gd name="T10" fmla="*/ 15 w 115"/>
                <a:gd name="T11" fmla="*/ 162 h 179"/>
                <a:gd name="T12" fmla="*/ 38 w 115"/>
                <a:gd name="T13" fmla="*/ 145 h 179"/>
                <a:gd name="T14" fmla="*/ 47 w 115"/>
                <a:gd name="T15" fmla="*/ 122 h 179"/>
                <a:gd name="T16" fmla="*/ 0 w 115"/>
                <a:gd name="T17" fmla="*/ 0 h 179"/>
                <a:gd name="T18" fmla="*/ 21 w 115"/>
                <a:gd name="T19" fmla="*/ 0 h 179"/>
                <a:gd name="T20" fmla="*/ 54 w 115"/>
                <a:gd name="T21" fmla="*/ 94 h 179"/>
                <a:gd name="T22" fmla="*/ 57 w 115"/>
                <a:gd name="T23" fmla="*/ 103 h 179"/>
                <a:gd name="T24" fmla="*/ 58 w 115"/>
                <a:gd name="T25" fmla="*/ 103 h 179"/>
                <a:gd name="T26" fmla="*/ 60 w 115"/>
                <a:gd name="T27" fmla="*/ 94 h 179"/>
                <a:gd name="T28" fmla="*/ 95 w 115"/>
                <a:gd name="T29" fmla="*/ 0 h 179"/>
                <a:gd name="T30" fmla="*/ 115 w 115"/>
                <a:gd name="T31" fmla="*/ 0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5" h="179">
                  <a:moveTo>
                    <a:pt x="115" y="0"/>
                  </a:moveTo>
                  <a:cubicBezTo>
                    <a:pt x="59" y="141"/>
                    <a:pt x="59" y="141"/>
                    <a:pt x="59" y="141"/>
                  </a:cubicBezTo>
                  <a:cubicBezTo>
                    <a:pt x="49" y="167"/>
                    <a:pt x="35" y="179"/>
                    <a:pt x="17" y="179"/>
                  </a:cubicBezTo>
                  <a:cubicBezTo>
                    <a:pt x="11" y="179"/>
                    <a:pt x="7" y="179"/>
                    <a:pt x="4" y="178"/>
                  </a:cubicBezTo>
                  <a:cubicBezTo>
                    <a:pt x="4" y="160"/>
                    <a:pt x="4" y="160"/>
                    <a:pt x="4" y="160"/>
                  </a:cubicBezTo>
                  <a:cubicBezTo>
                    <a:pt x="8" y="162"/>
                    <a:pt x="12" y="162"/>
                    <a:pt x="15" y="162"/>
                  </a:cubicBezTo>
                  <a:cubicBezTo>
                    <a:pt x="25" y="162"/>
                    <a:pt x="33" y="157"/>
                    <a:pt x="38" y="145"/>
                  </a:cubicBezTo>
                  <a:cubicBezTo>
                    <a:pt x="47" y="122"/>
                    <a:pt x="47" y="122"/>
                    <a:pt x="47" y="122"/>
                  </a:cubicBezTo>
                  <a:cubicBezTo>
                    <a:pt x="0" y="0"/>
                    <a:pt x="0" y="0"/>
                    <a:pt x="0" y="0"/>
                  </a:cubicBezTo>
                  <a:cubicBezTo>
                    <a:pt x="21" y="0"/>
                    <a:pt x="21" y="0"/>
                    <a:pt x="21" y="0"/>
                  </a:cubicBezTo>
                  <a:cubicBezTo>
                    <a:pt x="54" y="94"/>
                    <a:pt x="54" y="94"/>
                    <a:pt x="54" y="94"/>
                  </a:cubicBezTo>
                  <a:cubicBezTo>
                    <a:pt x="57" y="103"/>
                    <a:pt x="57" y="103"/>
                    <a:pt x="57" y="103"/>
                  </a:cubicBezTo>
                  <a:cubicBezTo>
                    <a:pt x="58" y="103"/>
                    <a:pt x="58" y="103"/>
                    <a:pt x="58" y="103"/>
                  </a:cubicBezTo>
                  <a:cubicBezTo>
                    <a:pt x="58" y="101"/>
                    <a:pt x="59" y="98"/>
                    <a:pt x="60" y="94"/>
                  </a:cubicBezTo>
                  <a:cubicBezTo>
                    <a:pt x="95" y="0"/>
                    <a:pt x="95" y="0"/>
                    <a:pt x="95" y="0"/>
                  </a:cubicBezTo>
                  <a:lnTo>
                    <a:pt x="11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66" name="Freeform 58"/>
            <p:cNvSpPr>
              <a:spLocks/>
            </p:cNvSpPr>
            <p:nvPr userDrawn="1"/>
          </p:nvSpPr>
          <p:spPr bwMode="auto">
            <a:xfrm>
              <a:off x="2469" y="4601"/>
              <a:ext cx="140" cy="414"/>
            </a:xfrm>
            <a:custGeom>
              <a:avLst/>
              <a:gdLst>
                <a:gd name="T0" fmla="*/ 40 w 59"/>
                <a:gd name="T1" fmla="*/ 175 h 175"/>
                <a:gd name="T2" fmla="*/ 40 w 59"/>
                <a:gd name="T3" fmla="*/ 27 h 175"/>
                <a:gd name="T4" fmla="*/ 22 w 59"/>
                <a:gd name="T5" fmla="*/ 39 h 175"/>
                <a:gd name="T6" fmla="*/ 0 w 59"/>
                <a:gd name="T7" fmla="*/ 47 h 175"/>
                <a:gd name="T8" fmla="*/ 0 w 59"/>
                <a:gd name="T9" fmla="*/ 28 h 175"/>
                <a:gd name="T10" fmla="*/ 28 w 59"/>
                <a:gd name="T11" fmla="*/ 16 h 175"/>
                <a:gd name="T12" fmla="*/ 52 w 59"/>
                <a:gd name="T13" fmla="*/ 0 h 175"/>
                <a:gd name="T14" fmla="*/ 59 w 59"/>
                <a:gd name="T15" fmla="*/ 0 h 175"/>
                <a:gd name="T16" fmla="*/ 59 w 59"/>
                <a:gd name="T17" fmla="*/ 175 h 175"/>
                <a:gd name="T18" fmla="*/ 40 w 59"/>
                <a:gd name="T19" fmla="*/ 175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9" h="175">
                  <a:moveTo>
                    <a:pt x="40" y="175"/>
                  </a:moveTo>
                  <a:cubicBezTo>
                    <a:pt x="40" y="27"/>
                    <a:pt x="40" y="27"/>
                    <a:pt x="40" y="27"/>
                  </a:cubicBezTo>
                  <a:cubicBezTo>
                    <a:pt x="36" y="31"/>
                    <a:pt x="30" y="34"/>
                    <a:pt x="22" y="39"/>
                  </a:cubicBezTo>
                  <a:cubicBezTo>
                    <a:pt x="14" y="43"/>
                    <a:pt x="7" y="46"/>
                    <a:pt x="0" y="47"/>
                  </a:cubicBezTo>
                  <a:cubicBezTo>
                    <a:pt x="0" y="28"/>
                    <a:pt x="0" y="28"/>
                    <a:pt x="0" y="28"/>
                  </a:cubicBezTo>
                  <a:cubicBezTo>
                    <a:pt x="9" y="25"/>
                    <a:pt x="18" y="21"/>
                    <a:pt x="28" y="16"/>
                  </a:cubicBezTo>
                  <a:cubicBezTo>
                    <a:pt x="38" y="11"/>
                    <a:pt x="46" y="5"/>
                    <a:pt x="52" y="0"/>
                  </a:cubicBezTo>
                  <a:cubicBezTo>
                    <a:pt x="59" y="0"/>
                    <a:pt x="59" y="0"/>
                    <a:pt x="59" y="0"/>
                  </a:cubicBezTo>
                  <a:cubicBezTo>
                    <a:pt x="59" y="175"/>
                    <a:pt x="59" y="175"/>
                    <a:pt x="59" y="175"/>
                  </a:cubicBezTo>
                  <a:lnTo>
                    <a:pt x="40" y="17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67" name="Freeform 59"/>
            <p:cNvSpPr>
              <a:spLocks noEditPoints="1"/>
            </p:cNvSpPr>
            <p:nvPr userDrawn="1"/>
          </p:nvSpPr>
          <p:spPr bwMode="auto">
            <a:xfrm>
              <a:off x="2696" y="4603"/>
              <a:ext cx="263" cy="419"/>
            </a:xfrm>
            <a:custGeom>
              <a:avLst/>
              <a:gdLst>
                <a:gd name="T0" fmla="*/ 111 w 111"/>
                <a:gd name="T1" fmla="*/ 88 h 177"/>
                <a:gd name="T2" fmla="*/ 96 w 111"/>
                <a:gd name="T3" fmla="*/ 153 h 177"/>
                <a:gd name="T4" fmla="*/ 54 w 111"/>
                <a:gd name="T5" fmla="*/ 177 h 177"/>
                <a:gd name="T6" fmla="*/ 14 w 111"/>
                <a:gd name="T7" fmla="*/ 155 h 177"/>
                <a:gd name="T8" fmla="*/ 0 w 111"/>
                <a:gd name="T9" fmla="*/ 92 h 177"/>
                <a:gd name="T10" fmla="*/ 14 w 111"/>
                <a:gd name="T11" fmla="*/ 24 h 177"/>
                <a:gd name="T12" fmla="*/ 57 w 111"/>
                <a:gd name="T13" fmla="*/ 0 h 177"/>
                <a:gd name="T14" fmla="*/ 111 w 111"/>
                <a:gd name="T15" fmla="*/ 88 h 177"/>
                <a:gd name="T16" fmla="*/ 91 w 111"/>
                <a:gd name="T17" fmla="*/ 90 h 177"/>
                <a:gd name="T18" fmla="*/ 56 w 111"/>
                <a:gd name="T19" fmla="*/ 17 h 177"/>
                <a:gd name="T20" fmla="*/ 20 w 111"/>
                <a:gd name="T21" fmla="*/ 91 h 177"/>
                <a:gd name="T22" fmla="*/ 55 w 111"/>
                <a:gd name="T23" fmla="*/ 160 h 177"/>
                <a:gd name="T24" fmla="*/ 91 w 111"/>
                <a:gd name="T25" fmla="*/ 90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1" h="177">
                  <a:moveTo>
                    <a:pt x="111" y="88"/>
                  </a:moveTo>
                  <a:cubicBezTo>
                    <a:pt x="111" y="116"/>
                    <a:pt x="106" y="138"/>
                    <a:pt x="96" y="153"/>
                  </a:cubicBezTo>
                  <a:cubicBezTo>
                    <a:pt x="86" y="169"/>
                    <a:pt x="72" y="177"/>
                    <a:pt x="54" y="177"/>
                  </a:cubicBezTo>
                  <a:cubicBezTo>
                    <a:pt x="36" y="177"/>
                    <a:pt x="23" y="170"/>
                    <a:pt x="14" y="155"/>
                  </a:cubicBezTo>
                  <a:cubicBezTo>
                    <a:pt x="4" y="140"/>
                    <a:pt x="0" y="119"/>
                    <a:pt x="0" y="92"/>
                  </a:cubicBezTo>
                  <a:cubicBezTo>
                    <a:pt x="0" y="62"/>
                    <a:pt x="4" y="39"/>
                    <a:pt x="14" y="24"/>
                  </a:cubicBezTo>
                  <a:cubicBezTo>
                    <a:pt x="24" y="8"/>
                    <a:pt x="38" y="0"/>
                    <a:pt x="57" y="0"/>
                  </a:cubicBezTo>
                  <a:cubicBezTo>
                    <a:pt x="93" y="0"/>
                    <a:pt x="111" y="29"/>
                    <a:pt x="111" y="88"/>
                  </a:cubicBezTo>
                  <a:close/>
                  <a:moveTo>
                    <a:pt x="91" y="90"/>
                  </a:moveTo>
                  <a:cubicBezTo>
                    <a:pt x="91" y="41"/>
                    <a:pt x="79" y="17"/>
                    <a:pt x="56" y="17"/>
                  </a:cubicBezTo>
                  <a:cubicBezTo>
                    <a:pt x="32" y="17"/>
                    <a:pt x="20" y="41"/>
                    <a:pt x="20" y="91"/>
                  </a:cubicBezTo>
                  <a:cubicBezTo>
                    <a:pt x="20" y="137"/>
                    <a:pt x="32" y="160"/>
                    <a:pt x="55" y="160"/>
                  </a:cubicBezTo>
                  <a:cubicBezTo>
                    <a:pt x="79" y="160"/>
                    <a:pt x="91" y="137"/>
                    <a:pt x="91" y="9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68" name="Rectangle 60"/>
            <p:cNvSpPr>
              <a:spLocks noChangeArrowheads="1"/>
            </p:cNvSpPr>
            <p:nvPr userDrawn="1"/>
          </p:nvSpPr>
          <p:spPr bwMode="auto">
            <a:xfrm>
              <a:off x="3030" y="4835"/>
              <a:ext cx="154" cy="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69" name="Freeform 61"/>
            <p:cNvSpPr>
              <a:spLocks/>
            </p:cNvSpPr>
            <p:nvPr userDrawn="1"/>
          </p:nvSpPr>
          <p:spPr bwMode="auto">
            <a:xfrm>
              <a:off x="3236" y="4601"/>
              <a:ext cx="142" cy="414"/>
            </a:xfrm>
            <a:custGeom>
              <a:avLst/>
              <a:gdLst>
                <a:gd name="T0" fmla="*/ 40 w 60"/>
                <a:gd name="T1" fmla="*/ 175 h 175"/>
                <a:gd name="T2" fmla="*/ 40 w 60"/>
                <a:gd name="T3" fmla="*/ 27 h 175"/>
                <a:gd name="T4" fmla="*/ 23 w 60"/>
                <a:gd name="T5" fmla="*/ 39 h 175"/>
                <a:gd name="T6" fmla="*/ 0 w 60"/>
                <a:gd name="T7" fmla="*/ 47 h 175"/>
                <a:gd name="T8" fmla="*/ 0 w 60"/>
                <a:gd name="T9" fmla="*/ 28 h 175"/>
                <a:gd name="T10" fmla="*/ 28 w 60"/>
                <a:gd name="T11" fmla="*/ 16 h 175"/>
                <a:gd name="T12" fmla="*/ 52 w 60"/>
                <a:gd name="T13" fmla="*/ 0 h 175"/>
                <a:gd name="T14" fmla="*/ 60 w 60"/>
                <a:gd name="T15" fmla="*/ 0 h 175"/>
                <a:gd name="T16" fmla="*/ 60 w 60"/>
                <a:gd name="T17" fmla="*/ 175 h 175"/>
                <a:gd name="T18" fmla="*/ 40 w 60"/>
                <a:gd name="T19" fmla="*/ 175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175">
                  <a:moveTo>
                    <a:pt x="40" y="175"/>
                  </a:moveTo>
                  <a:cubicBezTo>
                    <a:pt x="40" y="27"/>
                    <a:pt x="40" y="27"/>
                    <a:pt x="40" y="27"/>
                  </a:cubicBezTo>
                  <a:cubicBezTo>
                    <a:pt x="37" y="31"/>
                    <a:pt x="31" y="34"/>
                    <a:pt x="23" y="39"/>
                  </a:cubicBezTo>
                  <a:cubicBezTo>
                    <a:pt x="14" y="43"/>
                    <a:pt x="7" y="46"/>
                    <a:pt x="0" y="47"/>
                  </a:cubicBezTo>
                  <a:cubicBezTo>
                    <a:pt x="0" y="28"/>
                    <a:pt x="0" y="28"/>
                    <a:pt x="0" y="28"/>
                  </a:cubicBezTo>
                  <a:cubicBezTo>
                    <a:pt x="9" y="25"/>
                    <a:pt x="18" y="21"/>
                    <a:pt x="28" y="16"/>
                  </a:cubicBezTo>
                  <a:cubicBezTo>
                    <a:pt x="38" y="11"/>
                    <a:pt x="46" y="5"/>
                    <a:pt x="52" y="0"/>
                  </a:cubicBezTo>
                  <a:cubicBezTo>
                    <a:pt x="60" y="0"/>
                    <a:pt x="60" y="0"/>
                    <a:pt x="60" y="0"/>
                  </a:cubicBezTo>
                  <a:cubicBezTo>
                    <a:pt x="60" y="175"/>
                    <a:pt x="60" y="175"/>
                    <a:pt x="60" y="175"/>
                  </a:cubicBezTo>
                  <a:lnTo>
                    <a:pt x="40" y="17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70" name="Freeform 62"/>
            <p:cNvSpPr>
              <a:spLocks noEditPoints="1"/>
            </p:cNvSpPr>
            <p:nvPr userDrawn="1"/>
          </p:nvSpPr>
          <p:spPr bwMode="auto">
            <a:xfrm>
              <a:off x="3453" y="4610"/>
              <a:ext cx="298" cy="405"/>
            </a:xfrm>
            <a:custGeom>
              <a:avLst/>
              <a:gdLst>
                <a:gd name="T0" fmla="*/ 99 w 126"/>
                <a:gd name="T1" fmla="*/ 0 h 171"/>
                <a:gd name="T2" fmla="*/ 99 w 126"/>
                <a:gd name="T3" fmla="*/ 113 h 171"/>
                <a:gd name="T4" fmla="*/ 126 w 126"/>
                <a:gd name="T5" fmla="*/ 113 h 171"/>
                <a:gd name="T6" fmla="*/ 126 w 126"/>
                <a:gd name="T7" fmla="*/ 131 h 171"/>
                <a:gd name="T8" fmla="*/ 99 w 126"/>
                <a:gd name="T9" fmla="*/ 131 h 171"/>
                <a:gd name="T10" fmla="*/ 99 w 126"/>
                <a:gd name="T11" fmla="*/ 171 h 171"/>
                <a:gd name="T12" fmla="*/ 80 w 126"/>
                <a:gd name="T13" fmla="*/ 171 h 171"/>
                <a:gd name="T14" fmla="*/ 80 w 126"/>
                <a:gd name="T15" fmla="*/ 131 h 171"/>
                <a:gd name="T16" fmla="*/ 0 w 126"/>
                <a:gd name="T17" fmla="*/ 131 h 171"/>
                <a:gd name="T18" fmla="*/ 0 w 126"/>
                <a:gd name="T19" fmla="*/ 114 h 171"/>
                <a:gd name="T20" fmla="*/ 46 w 126"/>
                <a:gd name="T21" fmla="*/ 55 h 171"/>
                <a:gd name="T22" fmla="*/ 78 w 126"/>
                <a:gd name="T23" fmla="*/ 0 h 171"/>
                <a:gd name="T24" fmla="*/ 99 w 126"/>
                <a:gd name="T25" fmla="*/ 0 h 171"/>
                <a:gd name="T26" fmla="*/ 22 w 126"/>
                <a:gd name="T27" fmla="*/ 113 h 171"/>
                <a:gd name="T28" fmla="*/ 80 w 126"/>
                <a:gd name="T29" fmla="*/ 113 h 171"/>
                <a:gd name="T30" fmla="*/ 80 w 126"/>
                <a:gd name="T31" fmla="*/ 29 h 171"/>
                <a:gd name="T32" fmla="*/ 34 w 126"/>
                <a:gd name="T33" fmla="*/ 97 h 171"/>
                <a:gd name="T34" fmla="*/ 22 w 126"/>
                <a:gd name="T35" fmla="*/ 113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6" h="171">
                  <a:moveTo>
                    <a:pt x="99" y="0"/>
                  </a:moveTo>
                  <a:cubicBezTo>
                    <a:pt x="99" y="113"/>
                    <a:pt x="99" y="113"/>
                    <a:pt x="99" y="113"/>
                  </a:cubicBezTo>
                  <a:cubicBezTo>
                    <a:pt x="126" y="113"/>
                    <a:pt x="126" y="113"/>
                    <a:pt x="126" y="113"/>
                  </a:cubicBezTo>
                  <a:cubicBezTo>
                    <a:pt x="126" y="131"/>
                    <a:pt x="126" y="131"/>
                    <a:pt x="126" y="131"/>
                  </a:cubicBezTo>
                  <a:cubicBezTo>
                    <a:pt x="99" y="131"/>
                    <a:pt x="99" y="131"/>
                    <a:pt x="99" y="131"/>
                  </a:cubicBezTo>
                  <a:cubicBezTo>
                    <a:pt x="99" y="171"/>
                    <a:pt x="99" y="171"/>
                    <a:pt x="99" y="171"/>
                  </a:cubicBezTo>
                  <a:cubicBezTo>
                    <a:pt x="80" y="171"/>
                    <a:pt x="80" y="171"/>
                    <a:pt x="80" y="171"/>
                  </a:cubicBezTo>
                  <a:cubicBezTo>
                    <a:pt x="80" y="131"/>
                    <a:pt x="80" y="131"/>
                    <a:pt x="80" y="131"/>
                  </a:cubicBezTo>
                  <a:cubicBezTo>
                    <a:pt x="0" y="131"/>
                    <a:pt x="0" y="131"/>
                    <a:pt x="0" y="131"/>
                  </a:cubicBezTo>
                  <a:cubicBezTo>
                    <a:pt x="0" y="114"/>
                    <a:pt x="0" y="114"/>
                    <a:pt x="0" y="114"/>
                  </a:cubicBezTo>
                  <a:cubicBezTo>
                    <a:pt x="17" y="95"/>
                    <a:pt x="32" y="75"/>
                    <a:pt x="46" y="55"/>
                  </a:cubicBezTo>
                  <a:cubicBezTo>
                    <a:pt x="60" y="34"/>
                    <a:pt x="71" y="16"/>
                    <a:pt x="78" y="0"/>
                  </a:cubicBezTo>
                  <a:lnTo>
                    <a:pt x="99" y="0"/>
                  </a:lnTo>
                  <a:close/>
                  <a:moveTo>
                    <a:pt x="22" y="113"/>
                  </a:moveTo>
                  <a:cubicBezTo>
                    <a:pt x="80" y="113"/>
                    <a:pt x="80" y="113"/>
                    <a:pt x="80" y="113"/>
                  </a:cubicBezTo>
                  <a:cubicBezTo>
                    <a:pt x="80" y="29"/>
                    <a:pt x="80" y="29"/>
                    <a:pt x="80" y="29"/>
                  </a:cubicBezTo>
                  <a:cubicBezTo>
                    <a:pt x="65" y="56"/>
                    <a:pt x="50" y="78"/>
                    <a:pt x="34" y="97"/>
                  </a:cubicBezTo>
                  <a:lnTo>
                    <a:pt x="22"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71" name="Freeform 63"/>
            <p:cNvSpPr>
              <a:spLocks/>
            </p:cNvSpPr>
            <p:nvPr userDrawn="1"/>
          </p:nvSpPr>
          <p:spPr bwMode="auto">
            <a:xfrm>
              <a:off x="3773" y="4951"/>
              <a:ext cx="78" cy="137"/>
            </a:xfrm>
            <a:custGeom>
              <a:avLst/>
              <a:gdLst>
                <a:gd name="T0" fmla="*/ 78 w 78"/>
                <a:gd name="T1" fmla="*/ 0 h 137"/>
                <a:gd name="T2" fmla="*/ 33 w 78"/>
                <a:gd name="T3" fmla="*/ 137 h 137"/>
                <a:gd name="T4" fmla="*/ 0 w 78"/>
                <a:gd name="T5" fmla="*/ 137 h 137"/>
                <a:gd name="T6" fmla="*/ 33 w 78"/>
                <a:gd name="T7" fmla="*/ 0 h 137"/>
                <a:gd name="T8" fmla="*/ 78 w 78"/>
                <a:gd name="T9" fmla="*/ 0 h 137"/>
              </a:gdLst>
              <a:ahLst/>
              <a:cxnLst>
                <a:cxn ang="0">
                  <a:pos x="T0" y="T1"/>
                </a:cxn>
                <a:cxn ang="0">
                  <a:pos x="T2" y="T3"/>
                </a:cxn>
                <a:cxn ang="0">
                  <a:pos x="T4" y="T5"/>
                </a:cxn>
                <a:cxn ang="0">
                  <a:pos x="T6" y="T7"/>
                </a:cxn>
                <a:cxn ang="0">
                  <a:pos x="T8" y="T9"/>
                </a:cxn>
              </a:cxnLst>
              <a:rect l="0" t="0" r="r" b="b"/>
              <a:pathLst>
                <a:path w="78" h="137">
                  <a:moveTo>
                    <a:pt x="78" y="0"/>
                  </a:moveTo>
                  <a:lnTo>
                    <a:pt x="33" y="137"/>
                  </a:lnTo>
                  <a:lnTo>
                    <a:pt x="0" y="137"/>
                  </a:lnTo>
                  <a:lnTo>
                    <a:pt x="33" y="0"/>
                  </a:lnTo>
                  <a:lnTo>
                    <a:pt x="7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72" name="Freeform 64"/>
            <p:cNvSpPr>
              <a:spLocks/>
            </p:cNvSpPr>
            <p:nvPr userDrawn="1"/>
          </p:nvSpPr>
          <p:spPr bwMode="auto">
            <a:xfrm>
              <a:off x="4052" y="4603"/>
              <a:ext cx="251" cy="412"/>
            </a:xfrm>
            <a:custGeom>
              <a:avLst/>
              <a:gdLst>
                <a:gd name="T0" fmla="*/ 79 w 106"/>
                <a:gd name="T1" fmla="*/ 48 h 174"/>
                <a:gd name="T2" fmla="*/ 71 w 106"/>
                <a:gd name="T3" fmla="*/ 25 h 174"/>
                <a:gd name="T4" fmla="*/ 48 w 106"/>
                <a:gd name="T5" fmla="*/ 17 h 174"/>
                <a:gd name="T6" fmla="*/ 27 w 106"/>
                <a:gd name="T7" fmla="*/ 22 h 174"/>
                <a:gd name="T8" fmla="*/ 7 w 106"/>
                <a:gd name="T9" fmla="*/ 38 h 174"/>
                <a:gd name="T10" fmla="*/ 7 w 106"/>
                <a:gd name="T11" fmla="*/ 17 h 174"/>
                <a:gd name="T12" fmla="*/ 25 w 106"/>
                <a:gd name="T13" fmla="*/ 4 h 174"/>
                <a:gd name="T14" fmla="*/ 50 w 106"/>
                <a:gd name="T15" fmla="*/ 0 h 174"/>
                <a:gd name="T16" fmla="*/ 86 w 106"/>
                <a:gd name="T17" fmla="*/ 13 h 174"/>
                <a:gd name="T18" fmla="*/ 99 w 106"/>
                <a:gd name="T19" fmla="*/ 46 h 174"/>
                <a:gd name="T20" fmla="*/ 91 w 106"/>
                <a:gd name="T21" fmla="*/ 78 h 174"/>
                <a:gd name="T22" fmla="*/ 61 w 106"/>
                <a:gd name="T23" fmla="*/ 108 h 174"/>
                <a:gd name="T24" fmla="*/ 33 w 106"/>
                <a:gd name="T25" fmla="*/ 129 h 174"/>
                <a:gd name="T26" fmla="*/ 24 w 106"/>
                <a:gd name="T27" fmla="*/ 142 h 174"/>
                <a:gd name="T28" fmla="*/ 21 w 106"/>
                <a:gd name="T29" fmla="*/ 156 h 174"/>
                <a:gd name="T30" fmla="*/ 106 w 106"/>
                <a:gd name="T31" fmla="*/ 156 h 174"/>
                <a:gd name="T32" fmla="*/ 106 w 106"/>
                <a:gd name="T33" fmla="*/ 174 h 174"/>
                <a:gd name="T34" fmla="*/ 0 w 106"/>
                <a:gd name="T35" fmla="*/ 174 h 174"/>
                <a:gd name="T36" fmla="*/ 0 w 106"/>
                <a:gd name="T37" fmla="*/ 165 h 174"/>
                <a:gd name="T38" fmla="*/ 4 w 106"/>
                <a:gd name="T39" fmla="*/ 142 h 174"/>
                <a:gd name="T40" fmla="*/ 16 w 106"/>
                <a:gd name="T41" fmla="*/ 124 h 174"/>
                <a:gd name="T42" fmla="*/ 47 w 106"/>
                <a:gd name="T43" fmla="*/ 98 h 174"/>
                <a:gd name="T44" fmla="*/ 72 w 106"/>
                <a:gd name="T45" fmla="*/ 74 h 174"/>
                <a:gd name="T46" fmla="*/ 79 w 106"/>
                <a:gd name="T47" fmla="*/ 48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06" h="174">
                  <a:moveTo>
                    <a:pt x="79" y="48"/>
                  </a:moveTo>
                  <a:cubicBezTo>
                    <a:pt x="79" y="38"/>
                    <a:pt x="77" y="31"/>
                    <a:pt x="71" y="25"/>
                  </a:cubicBezTo>
                  <a:cubicBezTo>
                    <a:pt x="65" y="19"/>
                    <a:pt x="58" y="17"/>
                    <a:pt x="48" y="17"/>
                  </a:cubicBezTo>
                  <a:cubicBezTo>
                    <a:pt x="41" y="17"/>
                    <a:pt x="34" y="19"/>
                    <a:pt x="27" y="22"/>
                  </a:cubicBezTo>
                  <a:cubicBezTo>
                    <a:pt x="19" y="26"/>
                    <a:pt x="13" y="31"/>
                    <a:pt x="7" y="38"/>
                  </a:cubicBezTo>
                  <a:cubicBezTo>
                    <a:pt x="7" y="17"/>
                    <a:pt x="7" y="17"/>
                    <a:pt x="7" y="17"/>
                  </a:cubicBezTo>
                  <a:cubicBezTo>
                    <a:pt x="13" y="11"/>
                    <a:pt x="19" y="7"/>
                    <a:pt x="25" y="4"/>
                  </a:cubicBezTo>
                  <a:cubicBezTo>
                    <a:pt x="32" y="2"/>
                    <a:pt x="41" y="0"/>
                    <a:pt x="50" y="0"/>
                  </a:cubicBezTo>
                  <a:cubicBezTo>
                    <a:pt x="65" y="0"/>
                    <a:pt x="77" y="4"/>
                    <a:pt x="86" y="13"/>
                  </a:cubicBezTo>
                  <a:cubicBezTo>
                    <a:pt x="95" y="21"/>
                    <a:pt x="99" y="32"/>
                    <a:pt x="99" y="46"/>
                  </a:cubicBezTo>
                  <a:cubicBezTo>
                    <a:pt x="99" y="58"/>
                    <a:pt x="97" y="69"/>
                    <a:pt x="91" y="78"/>
                  </a:cubicBezTo>
                  <a:cubicBezTo>
                    <a:pt x="85" y="88"/>
                    <a:pt x="75" y="97"/>
                    <a:pt x="61" y="108"/>
                  </a:cubicBezTo>
                  <a:cubicBezTo>
                    <a:pt x="47" y="118"/>
                    <a:pt x="38" y="125"/>
                    <a:pt x="33" y="129"/>
                  </a:cubicBezTo>
                  <a:cubicBezTo>
                    <a:pt x="29" y="133"/>
                    <a:pt x="25" y="138"/>
                    <a:pt x="24" y="142"/>
                  </a:cubicBezTo>
                  <a:cubicBezTo>
                    <a:pt x="22" y="146"/>
                    <a:pt x="21" y="151"/>
                    <a:pt x="21" y="156"/>
                  </a:cubicBezTo>
                  <a:cubicBezTo>
                    <a:pt x="106" y="156"/>
                    <a:pt x="106" y="156"/>
                    <a:pt x="106" y="156"/>
                  </a:cubicBezTo>
                  <a:cubicBezTo>
                    <a:pt x="106" y="174"/>
                    <a:pt x="106" y="174"/>
                    <a:pt x="106" y="174"/>
                  </a:cubicBezTo>
                  <a:cubicBezTo>
                    <a:pt x="0" y="174"/>
                    <a:pt x="0" y="174"/>
                    <a:pt x="0" y="174"/>
                  </a:cubicBezTo>
                  <a:cubicBezTo>
                    <a:pt x="0" y="165"/>
                    <a:pt x="0" y="165"/>
                    <a:pt x="0" y="165"/>
                  </a:cubicBezTo>
                  <a:cubicBezTo>
                    <a:pt x="0" y="156"/>
                    <a:pt x="2" y="149"/>
                    <a:pt x="4" y="142"/>
                  </a:cubicBezTo>
                  <a:cubicBezTo>
                    <a:pt x="6" y="136"/>
                    <a:pt x="10" y="130"/>
                    <a:pt x="16" y="124"/>
                  </a:cubicBezTo>
                  <a:cubicBezTo>
                    <a:pt x="22" y="118"/>
                    <a:pt x="32" y="109"/>
                    <a:pt x="47" y="98"/>
                  </a:cubicBezTo>
                  <a:cubicBezTo>
                    <a:pt x="59" y="90"/>
                    <a:pt x="67" y="82"/>
                    <a:pt x="72" y="74"/>
                  </a:cubicBezTo>
                  <a:cubicBezTo>
                    <a:pt x="77" y="66"/>
                    <a:pt x="79" y="58"/>
                    <a:pt x="79" y="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73" name="Freeform 65"/>
            <p:cNvSpPr>
              <a:spLocks noEditPoints="1"/>
            </p:cNvSpPr>
            <p:nvPr userDrawn="1"/>
          </p:nvSpPr>
          <p:spPr bwMode="auto">
            <a:xfrm>
              <a:off x="4357" y="4603"/>
              <a:ext cx="265" cy="419"/>
            </a:xfrm>
            <a:custGeom>
              <a:avLst/>
              <a:gdLst>
                <a:gd name="T0" fmla="*/ 112 w 112"/>
                <a:gd name="T1" fmla="*/ 88 h 177"/>
                <a:gd name="T2" fmla="*/ 97 w 112"/>
                <a:gd name="T3" fmla="*/ 153 h 177"/>
                <a:gd name="T4" fmla="*/ 54 w 112"/>
                <a:gd name="T5" fmla="*/ 177 h 177"/>
                <a:gd name="T6" fmla="*/ 14 w 112"/>
                <a:gd name="T7" fmla="*/ 155 h 177"/>
                <a:gd name="T8" fmla="*/ 0 w 112"/>
                <a:gd name="T9" fmla="*/ 92 h 177"/>
                <a:gd name="T10" fmla="*/ 15 w 112"/>
                <a:gd name="T11" fmla="*/ 24 h 177"/>
                <a:gd name="T12" fmla="*/ 58 w 112"/>
                <a:gd name="T13" fmla="*/ 0 h 177"/>
                <a:gd name="T14" fmla="*/ 112 w 112"/>
                <a:gd name="T15" fmla="*/ 88 h 177"/>
                <a:gd name="T16" fmla="*/ 92 w 112"/>
                <a:gd name="T17" fmla="*/ 90 h 177"/>
                <a:gd name="T18" fmla="*/ 57 w 112"/>
                <a:gd name="T19" fmla="*/ 17 h 177"/>
                <a:gd name="T20" fmla="*/ 20 w 112"/>
                <a:gd name="T21" fmla="*/ 91 h 177"/>
                <a:gd name="T22" fmla="*/ 56 w 112"/>
                <a:gd name="T23" fmla="*/ 160 h 177"/>
                <a:gd name="T24" fmla="*/ 92 w 112"/>
                <a:gd name="T25" fmla="*/ 90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2" h="177">
                  <a:moveTo>
                    <a:pt x="112" y="88"/>
                  </a:moveTo>
                  <a:cubicBezTo>
                    <a:pt x="112" y="116"/>
                    <a:pt x="107" y="138"/>
                    <a:pt x="97" y="153"/>
                  </a:cubicBezTo>
                  <a:cubicBezTo>
                    <a:pt x="87" y="169"/>
                    <a:pt x="73" y="177"/>
                    <a:pt x="54" y="177"/>
                  </a:cubicBezTo>
                  <a:cubicBezTo>
                    <a:pt x="37" y="177"/>
                    <a:pt x="24" y="170"/>
                    <a:pt x="14" y="155"/>
                  </a:cubicBezTo>
                  <a:cubicBezTo>
                    <a:pt x="5" y="140"/>
                    <a:pt x="0" y="119"/>
                    <a:pt x="0" y="92"/>
                  </a:cubicBezTo>
                  <a:cubicBezTo>
                    <a:pt x="0" y="62"/>
                    <a:pt x="5" y="39"/>
                    <a:pt x="15" y="24"/>
                  </a:cubicBezTo>
                  <a:cubicBezTo>
                    <a:pt x="25" y="8"/>
                    <a:pt x="39" y="0"/>
                    <a:pt x="58" y="0"/>
                  </a:cubicBezTo>
                  <a:cubicBezTo>
                    <a:pt x="94" y="0"/>
                    <a:pt x="112" y="29"/>
                    <a:pt x="112" y="88"/>
                  </a:cubicBezTo>
                  <a:close/>
                  <a:moveTo>
                    <a:pt x="92" y="90"/>
                  </a:moveTo>
                  <a:cubicBezTo>
                    <a:pt x="92" y="41"/>
                    <a:pt x="80" y="17"/>
                    <a:pt x="57" y="17"/>
                  </a:cubicBezTo>
                  <a:cubicBezTo>
                    <a:pt x="32" y="17"/>
                    <a:pt x="20" y="41"/>
                    <a:pt x="20" y="91"/>
                  </a:cubicBezTo>
                  <a:cubicBezTo>
                    <a:pt x="20" y="137"/>
                    <a:pt x="32" y="160"/>
                    <a:pt x="56" y="160"/>
                  </a:cubicBezTo>
                  <a:cubicBezTo>
                    <a:pt x="80" y="160"/>
                    <a:pt x="92" y="137"/>
                    <a:pt x="92" y="9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74" name="Freeform 66"/>
            <p:cNvSpPr>
              <a:spLocks/>
            </p:cNvSpPr>
            <p:nvPr userDrawn="1"/>
          </p:nvSpPr>
          <p:spPr bwMode="auto">
            <a:xfrm>
              <a:off x="4667" y="4601"/>
              <a:ext cx="142" cy="414"/>
            </a:xfrm>
            <a:custGeom>
              <a:avLst/>
              <a:gdLst>
                <a:gd name="T0" fmla="*/ 40 w 60"/>
                <a:gd name="T1" fmla="*/ 175 h 175"/>
                <a:gd name="T2" fmla="*/ 40 w 60"/>
                <a:gd name="T3" fmla="*/ 27 h 175"/>
                <a:gd name="T4" fmla="*/ 23 w 60"/>
                <a:gd name="T5" fmla="*/ 39 h 175"/>
                <a:gd name="T6" fmla="*/ 0 w 60"/>
                <a:gd name="T7" fmla="*/ 47 h 175"/>
                <a:gd name="T8" fmla="*/ 0 w 60"/>
                <a:gd name="T9" fmla="*/ 28 h 175"/>
                <a:gd name="T10" fmla="*/ 28 w 60"/>
                <a:gd name="T11" fmla="*/ 16 h 175"/>
                <a:gd name="T12" fmla="*/ 52 w 60"/>
                <a:gd name="T13" fmla="*/ 0 h 175"/>
                <a:gd name="T14" fmla="*/ 60 w 60"/>
                <a:gd name="T15" fmla="*/ 0 h 175"/>
                <a:gd name="T16" fmla="*/ 60 w 60"/>
                <a:gd name="T17" fmla="*/ 175 h 175"/>
                <a:gd name="T18" fmla="*/ 40 w 60"/>
                <a:gd name="T19" fmla="*/ 175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175">
                  <a:moveTo>
                    <a:pt x="40" y="175"/>
                  </a:moveTo>
                  <a:cubicBezTo>
                    <a:pt x="40" y="27"/>
                    <a:pt x="40" y="27"/>
                    <a:pt x="40" y="27"/>
                  </a:cubicBezTo>
                  <a:cubicBezTo>
                    <a:pt x="37" y="31"/>
                    <a:pt x="31" y="34"/>
                    <a:pt x="23" y="39"/>
                  </a:cubicBezTo>
                  <a:cubicBezTo>
                    <a:pt x="15" y="43"/>
                    <a:pt x="7" y="46"/>
                    <a:pt x="0" y="47"/>
                  </a:cubicBezTo>
                  <a:cubicBezTo>
                    <a:pt x="0" y="28"/>
                    <a:pt x="0" y="28"/>
                    <a:pt x="0" y="28"/>
                  </a:cubicBezTo>
                  <a:cubicBezTo>
                    <a:pt x="9" y="25"/>
                    <a:pt x="18" y="21"/>
                    <a:pt x="28" y="16"/>
                  </a:cubicBezTo>
                  <a:cubicBezTo>
                    <a:pt x="38" y="11"/>
                    <a:pt x="46" y="5"/>
                    <a:pt x="52" y="0"/>
                  </a:cubicBezTo>
                  <a:cubicBezTo>
                    <a:pt x="60" y="0"/>
                    <a:pt x="60" y="0"/>
                    <a:pt x="60" y="0"/>
                  </a:cubicBezTo>
                  <a:cubicBezTo>
                    <a:pt x="60" y="175"/>
                    <a:pt x="60" y="175"/>
                    <a:pt x="60" y="175"/>
                  </a:cubicBezTo>
                  <a:lnTo>
                    <a:pt x="40" y="17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75" name="Freeform 67"/>
            <p:cNvSpPr>
              <a:spLocks noEditPoints="1"/>
            </p:cNvSpPr>
            <p:nvPr userDrawn="1"/>
          </p:nvSpPr>
          <p:spPr bwMode="auto">
            <a:xfrm>
              <a:off x="4901" y="4603"/>
              <a:ext cx="258" cy="419"/>
            </a:xfrm>
            <a:custGeom>
              <a:avLst/>
              <a:gdLst>
                <a:gd name="T0" fmla="*/ 109 w 109"/>
                <a:gd name="T1" fmla="*/ 120 h 177"/>
                <a:gd name="T2" fmla="*/ 102 w 109"/>
                <a:gd name="T3" fmla="*/ 149 h 177"/>
                <a:gd name="T4" fmla="*/ 82 w 109"/>
                <a:gd name="T5" fmla="*/ 170 h 177"/>
                <a:gd name="T6" fmla="*/ 55 w 109"/>
                <a:gd name="T7" fmla="*/ 177 h 177"/>
                <a:gd name="T8" fmla="*/ 15 w 109"/>
                <a:gd name="T9" fmla="*/ 156 h 177"/>
                <a:gd name="T10" fmla="*/ 0 w 109"/>
                <a:gd name="T11" fmla="*/ 99 h 177"/>
                <a:gd name="T12" fmla="*/ 9 w 109"/>
                <a:gd name="T13" fmla="*/ 47 h 177"/>
                <a:gd name="T14" fmla="*/ 33 w 109"/>
                <a:gd name="T15" fmla="*/ 12 h 177"/>
                <a:gd name="T16" fmla="*/ 70 w 109"/>
                <a:gd name="T17" fmla="*/ 0 h 177"/>
                <a:gd name="T18" fmla="*/ 98 w 109"/>
                <a:gd name="T19" fmla="*/ 5 h 177"/>
                <a:gd name="T20" fmla="*/ 98 w 109"/>
                <a:gd name="T21" fmla="*/ 23 h 177"/>
                <a:gd name="T22" fmla="*/ 70 w 109"/>
                <a:gd name="T23" fmla="*/ 17 h 177"/>
                <a:gd name="T24" fmla="*/ 34 w 109"/>
                <a:gd name="T25" fmla="*/ 37 h 177"/>
                <a:gd name="T26" fmla="*/ 20 w 109"/>
                <a:gd name="T27" fmla="*/ 91 h 177"/>
                <a:gd name="T28" fmla="*/ 21 w 109"/>
                <a:gd name="T29" fmla="*/ 91 h 177"/>
                <a:gd name="T30" fmla="*/ 60 w 109"/>
                <a:gd name="T31" fmla="*/ 67 h 177"/>
                <a:gd name="T32" fmla="*/ 95 w 109"/>
                <a:gd name="T33" fmla="*/ 81 h 177"/>
                <a:gd name="T34" fmla="*/ 109 w 109"/>
                <a:gd name="T35" fmla="*/ 120 h 177"/>
                <a:gd name="T36" fmla="*/ 89 w 109"/>
                <a:gd name="T37" fmla="*/ 122 h 177"/>
                <a:gd name="T38" fmla="*/ 80 w 109"/>
                <a:gd name="T39" fmla="*/ 94 h 177"/>
                <a:gd name="T40" fmla="*/ 55 w 109"/>
                <a:gd name="T41" fmla="*/ 84 h 177"/>
                <a:gd name="T42" fmla="*/ 31 w 109"/>
                <a:gd name="T43" fmla="*/ 94 h 177"/>
                <a:gd name="T44" fmla="*/ 21 w 109"/>
                <a:gd name="T45" fmla="*/ 118 h 177"/>
                <a:gd name="T46" fmla="*/ 31 w 109"/>
                <a:gd name="T47" fmla="*/ 148 h 177"/>
                <a:gd name="T48" fmla="*/ 56 w 109"/>
                <a:gd name="T49" fmla="*/ 160 h 177"/>
                <a:gd name="T50" fmla="*/ 79 w 109"/>
                <a:gd name="T51" fmla="*/ 150 h 177"/>
                <a:gd name="T52" fmla="*/ 89 w 109"/>
                <a:gd name="T53" fmla="*/ 122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09" h="177">
                  <a:moveTo>
                    <a:pt x="109" y="120"/>
                  </a:moveTo>
                  <a:cubicBezTo>
                    <a:pt x="109" y="130"/>
                    <a:pt x="106" y="140"/>
                    <a:pt x="102" y="149"/>
                  </a:cubicBezTo>
                  <a:cubicBezTo>
                    <a:pt x="97" y="158"/>
                    <a:pt x="90" y="165"/>
                    <a:pt x="82" y="170"/>
                  </a:cubicBezTo>
                  <a:cubicBezTo>
                    <a:pt x="74" y="174"/>
                    <a:pt x="65" y="177"/>
                    <a:pt x="55" y="177"/>
                  </a:cubicBezTo>
                  <a:cubicBezTo>
                    <a:pt x="38" y="177"/>
                    <a:pt x="24" y="170"/>
                    <a:pt x="15" y="156"/>
                  </a:cubicBezTo>
                  <a:cubicBezTo>
                    <a:pt x="5" y="143"/>
                    <a:pt x="0" y="123"/>
                    <a:pt x="0" y="99"/>
                  </a:cubicBezTo>
                  <a:cubicBezTo>
                    <a:pt x="0" y="79"/>
                    <a:pt x="3" y="62"/>
                    <a:pt x="9" y="47"/>
                  </a:cubicBezTo>
                  <a:cubicBezTo>
                    <a:pt x="14" y="32"/>
                    <a:pt x="23" y="20"/>
                    <a:pt x="33" y="12"/>
                  </a:cubicBezTo>
                  <a:cubicBezTo>
                    <a:pt x="44" y="4"/>
                    <a:pt x="56" y="0"/>
                    <a:pt x="70" y="0"/>
                  </a:cubicBezTo>
                  <a:cubicBezTo>
                    <a:pt x="81" y="0"/>
                    <a:pt x="91" y="2"/>
                    <a:pt x="98" y="5"/>
                  </a:cubicBezTo>
                  <a:cubicBezTo>
                    <a:pt x="98" y="23"/>
                    <a:pt x="98" y="23"/>
                    <a:pt x="98" y="23"/>
                  </a:cubicBezTo>
                  <a:cubicBezTo>
                    <a:pt x="89" y="19"/>
                    <a:pt x="80" y="17"/>
                    <a:pt x="70" y="17"/>
                  </a:cubicBezTo>
                  <a:cubicBezTo>
                    <a:pt x="55" y="17"/>
                    <a:pt x="43" y="23"/>
                    <a:pt x="34" y="37"/>
                  </a:cubicBezTo>
                  <a:cubicBezTo>
                    <a:pt x="25" y="51"/>
                    <a:pt x="20" y="69"/>
                    <a:pt x="20" y="91"/>
                  </a:cubicBezTo>
                  <a:cubicBezTo>
                    <a:pt x="21" y="91"/>
                    <a:pt x="21" y="91"/>
                    <a:pt x="21" y="91"/>
                  </a:cubicBezTo>
                  <a:cubicBezTo>
                    <a:pt x="29" y="75"/>
                    <a:pt x="42" y="67"/>
                    <a:pt x="60" y="67"/>
                  </a:cubicBezTo>
                  <a:cubicBezTo>
                    <a:pt x="74" y="67"/>
                    <a:pt x="86" y="72"/>
                    <a:pt x="95" y="81"/>
                  </a:cubicBezTo>
                  <a:cubicBezTo>
                    <a:pt x="104" y="91"/>
                    <a:pt x="109" y="104"/>
                    <a:pt x="109" y="120"/>
                  </a:cubicBezTo>
                  <a:close/>
                  <a:moveTo>
                    <a:pt x="89" y="122"/>
                  </a:moveTo>
                  <a:cubicBezTo>
                    <a:pt x="89" y="110"/>
                    <a:pt x="86" y="101"/>
                    <a:pt x="80" y="94"/>
                  </a:cubicBezTo>
                  <a:cubicBezTo>
                    <a:pt x="74" y="87"/>
                    <a:pt x="66" y="84"/>
                    <a:pt x="55" y="84"/>
                  </a:cubicBezTo>
                  <a:cubicBezTo>
                    <a:pt x="46" y="84"/>
                    <a:pt x="38" y="87"/>
                    <a:pt x="31" y="94"/>
                  </a:cubicBezTo>
                  <a:cubicBezTo>
                    <a:pt x="25" y="100"/>
                    <a:pt x="21" y="108"/>
                    <a:pt x="21" y="118"/>
                  </a:cubicBezTo>
                  <a:cubicBezTo>
                    <a:pt x="21" y="130"/>
                    <a:pt x="25" y="140"/>
                    <a:pt x="31" y="148"/>
                  </a:cubicBezTo>
                  <a:cubicBezTo>
                    <a:pt x="38" y="156"/>
                    <a:pt x="46" y="160"/>
                    <a:pt x="56" y="160"/>
                  </a:cubicBezTo>
                  <a:cubicBezTo>
                    <a:pt x="65" y="160"/>
                    <a:pt x="73" y="157"/>
                    <a:pt x="79" y="150"/>
                  </a:cubicBezTo>
                  <a:cubicBezTo>
                    <a:pt x="85" y="143"/>
                    <a:pt x="89" y="133"/>
                    <a:pt x="89" y="12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grpSp>
      <p:sp>
        <p:nvSpPr>
          <p:cNvPr id="76" name="Freeform 6"/>
          <p:cNvSpPr>
            <a:spLocks/>
          </p:cNvSpPr>
          <p:nvPr userDrawn="1"/>
        </p:nvSpPr>
        <p:spPr bwMode="auto">
          <a:xfrm>
            <a:off x="8601567" y="6180139"/>
            <a:ext cx="4762" cy="4763"/>
          </a:xfrm>
          <a:custGeom>
            <a:avLst/>
            <a:gdLst>
              <a:gd name="T0" fmla="*/ 1 w 1"/>
              <a:gd name="T1" fmla="*/ 0 h 1"/>
              <a:gd name="T2" fmla="*/ 1 w 1"/>
              <a:gd name="T3" fmla="*/ 1 h 1"/>
              <a:gd name="T4" fmla="*/ 1 w 1"/>
              <a:gd name="T5" fmla="*/ 0 h 1"/>
            </a:gdLst>
            <a:ahLst/>
            <a:cxnLst>
              <a:cxn ang="0">
                <a:pos x="T0" y="T1"/>
              </a:cxn>
              <a:cxn ang="0">
                <a:pos x="T2" y="T3"/>
              </a:cxn>
              <a:cxn ang="0">
                <a:pos x="T4" y="T5"/>
              </a:cxn>
            </a:cxnLst>
            <a:rect l="0" t="0" r="r" b="b"/>
            <a:pathLst>
              <a:path w="1" h="1">
                <a:moveTo>
                  <a:pt x="1" y="0"/>
                </a:moveTo>
                <a:cubicBezTo>
                  <a:pt x="0" y="0"/>
                  <a:pt x="1" y="0"/>
                  <a:pt x="1" y="1"/>
                </a:cubicBezTo>
                <a:cubicBezTo>
                  <a:pt x="1" y="0"/>
                  <a:pt x="1" y="0"/>
                  <a:pt x="1" y="0"/>
                </a:cubicBezTo>
                <a:close/>
              </a:path>
            </a:pathLst>
          </a:custGeom>
          <a:solidFill>
            <a:srgbClr val="A8322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5" tIns="45707" rIns="91415" bIns="45707" numCol="1" anchor="t" anchorCtr="0" compatLnSpc="1">
            <a:prstTxWarp prst="textNoShape">
              <a:avLst/>
            </a:prstTxWarp>
          </a:bodyPr>
          <a:lstStyle/>
          <a:p>
            <a:endParaRPr lang="en-US" sz="1800"/>
          </a:p>
        </p:txBody>
      </p:sp>
      <p:sp>
        <p:nvSpPr>
          <p:cNvPr id="90" name="Freeform 19"/>
          <p:cNvSpPr>
            <a:spLocks/>
          </p:cNvSpPr>
          <p:nvPr userDrawn="1"/>
        </p:nvSpPr>
        <p:spPr bwMode="auto">
          <a:xfrm>
            <a:off x="8569822" y="5738815"/>
            <a:ext cx="4762" cy="4763"/>
          </a:xfrm>
          <a:custGeom>
            <a:avLst/>
            <a:gdLst>
              <a:gd name="T0" fmla="*/ 1 w 1"/>
              <a:gd name="T1" fmla="*/ 0 h 1"/>
              <a:gd name="T2" fmla="*/ 1 w 1"/>
              <a:gd name="T3" fmla="*/ 1 h 1"/>
              <a:gd name="T4" fmla="*/ 1 w 1"/>
              <a:gd name="T5" fmla="*/ 0 h 1"/>
            </a:gdLst>
            <a:ahLst/>
            <a:cxnLst>
              <a:cxn ang="0">
                <a:pos x="T0" y="T1"/>
              </a:cxn>
              <a:cxn ang="0">
                <a:pos x="T2" y="T3"/>
              </a:cxn>
              <a:cxn ang="0">
                <a:pos x="T4" y="T5"/>
              </a:cxn>
            </a:cxnLst>
            <a:rect l="0" t="0" r="r" b="b"/>
            <a:pathLst>
              <a:path w="1" h="1">
                <a:moveTo>
                  <a:pt x="1" y="0"/>
                </a:moveTo>
                <a:cubicBezTo>
                  <a:pt x="0" y="0"/>
                  <a:pt x="1" y="0"/>
                  <a:pt x="1" y="1"/>
                </a:cubicBezTo>
                <a:cubicBezTo>
                  <a:pt x="1" y="0"/>
                  <a:pt x="1" y="0"/>
                  <a:pt x="1" y="0"/>
                </a:cubicBezTo>
                <a:close/>
              </a:path>
            </a:pathLst>
          </a:custGeom>
          <a:solidFill>
            <a:srgbClr val="A8322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5" tIns="45707" rIns="91415" bIns="45707" numCol="1" anchor="t" anchorCtr="0" compatLnSpc="1">
            <a:prstTxWarp prst="textNoShape">
              <a:avLst/>
            </a:prstTxWarp>
          </a:bodyPr>
          <a:lstStyle/>
          <a:p>
            <a:endParaRPr lang="en-US" sz="1800"/>
          </a:p>
        </p:txBody>
      </p:sp>
      <p:grpSp>
        <p:nvGrpSpPr>
          <p:cNvPr id="103" name="Group 102"/>
          <p:cNvGrpSpPr/>
          <p:nvPr userDrawn="1"/>
        </p:nvGrpSpPr>
        <p:grpSpPr>
          <a:xfrm>
            <a:off x="0" y="4329115"/>
            <a:ext cx="12434888" cy="2665413"/>
            <a:chOff x="0" y="4329113"/>
            <a:chExt cx="12436475" cy="2665413"/>
          </a:xfrm>
        </p:grpSpPr>
        <p:sp>
          <p:nvSpPr>
            <p:cNvPr id="92" name="Freeform 21"/>
            <p:cNvSpPr>
              <a:spLocks noEditPoints="1"/>
            </p:cNvSpPr>
            <p:nvPr userDrawn="1"/>
          </p:nvSpPr>
          <p:spPr bwMode="auto">
            <a:xfrm>
              <a:off x="3273425" y="4329113"/>
              <a:ext cx="9163050" cy="2665413"/>
            </a:xfrm>
            <a:custGeom>
              <a:avLst/>
              <a:gdLst>
                <a:gd name="T0" fmla="*/ 1597 w 1671"/>
                <a:gd name="T1" fmla="*/ 16 h 486"/>
                <a:gd name="T2" fmla="*/ 1574 w 1671"/>
                <a:gd name="T3" fmla="*/ 67 h 486"/>
                <a:gd name="T4" fmla="*/ 1470 w 1671"/>
                <a:gd name="T5" fmla="*/ 142 h 486"/>
                <a:gd name="T6" fmla="*/ 1369 w 1671"/>
                <a:gd name="T7" fmla="*/ 200 h 486"/>
                <a:gd name="T8" fmla="*/ 1309 w 1671"/>
                <a:gd name="T9" fmla="*/ 219 h 486"/>
                <a:gd name="T10" fmla="*/ 1241 w 1671"/>
                <a:gd name="T11" fmla="*/ 220 h 486"/>
                <a:gd name="T12" fmla="*/ 1143 w 1671"/>
                <a:gd name="T13" fmla="*/ 240 h 486"/>
                <a:gd name="T14" fmla="*/ 952 w 1671"/>
                <a:gd name="T15" fmla="*/ 283 h 486"/>
                <a:gd name="T16" fmla="*/ 898 w 1671"/>
                <a:gd name="T17" fmla="*/ 291 h 486"/>
                <a:gd name="T18" fmla="*/ 647 w 1671"/>
                <a:gd name="T19" fmla="*/ 226 h 486"/>
                <a:gd name="T20" fmla="*/ 248 w 1671"/>
                <a:gd name="T21" fmla="*/ 223 h 486"/>
                <a:gd name="T22" fmla="*/ 114 w 1671"/>
                <a:gd name="T23" fmla="*/ 239 h 486"/>
                <a:gd name="T24" fmla="*/ 50 w 1671"/>
                <a:gd name="T25" fmla="*/ 239 h 486"/>
                <a:gd name="T26" fmla="*/ 64 w 1671"/>
                <a:gd name="T27" fmla="*/ 486 h 486"/>
                <a:gd name="T28" fmla="*/ 114 w 1671"/>
                <a:gd name="T29" fmla="*/ 486 h 486"/>
                <a:gd name="T30" fmla="*/ 185 w 1671"/>
                <a:gd name="T31" fmla="*/ 486 h 486"/>
                <a:gd name="T32" fmla="*/ 248 w 1671"/>
                <a:gd name="T33" fmla="*/ 486 h 486"/>
                <a:gd name="T34" fmla="*/ 653 w 1671"/>
                <a:gd name="T35" fmla="*/ 486 h 486"/>
                <a:gd name="T36" fmla="*/ 727 w 1671"/>
                <a:gd name="T37" fmla="*/ 486 h 486"/>
                <a:gd name="T38" fmla="*/ 917 w 1671"/>
                <a:gd name="T39" fmla="*/ 486 h 486"/>
                <a:gd name="T40" fmla="*/ 952 w 1671"/>
                <a:gd name="T41" fmla="*/ 486 h 486"/>
                <a:gd name="T42" fmla="*/ 1091 w 1671"/>
                <a:gd name="T43" fmla="*/ 486 h 486"/>
                <a:gd name="T44" fmla="*/ 1491 w 1671"/>
                <a:gd name="T45" fmla="*/ 486 h 486"/>
                <a:gd name="T46" fmla="*/ 1571 w 1671"/>
                <a:gd name="T47" fmla="*/ 486 h 486"/>
                <a:gd name="T48" fmla="*/ 304 w 1671"/>
                <a:gd name="T49" fmla="*/ 376 h 486"/>
                <a:gd name="T50" fmla="*/ 304 w 1671"/>
                <a:gd name="T51" fmla="*/ 365 h 486"/>
                <a:gd name="T52" fmla="*/ 304 w 1671"/>
                <a:gd name="T53" fmla="*/ 354 h 486"/>
                <a:gd name="T54" fmla="*/ 334 w 1671"/>
                <a:gd name="T55" fmla="*/ 376 h 486"/>
                <a:gd name="T56" fmla="*/ 334 w 1671"/>
                <a:gd name="T57" fmla="*/ 365 h 486"/>
                <a:gd name="T58" fmla="*/ 334 w 1671"/>
                <a:gd name="T59" fmla="*/ 354 h 486"/>
                <a:gd name="T60" fmla="*/ 364 w 1671"/>
                <a:gd name="T61" fmla="*/ 376 h 486"/>
                <a:gd name="T62" fmla="*/ 364 w 1671"/>
                <a:gd name="T63" fmla="*/ 365 h 486"/>
                <a:gd name="T64" fmla="*/ 364 w 1671"/>
                <a:gd name="T65" fmla="*/ 354 h 486"/>
                <a:gd name="T66" fmla="*/ 447 w 1671"/>
                <a:gd name="T67" fmla="*/ 376 h 486"/>
                <a:gd name="T68" fmla="*/ 447 w 1671"/>
                <a:gd name="T69" fmla="*/ 365 h 486"/>
                <a:gd name="T70" fmla="*/ 447 w 1671"/>
                <a:gd name="T71" fmla="*/ 354 h 486"/>
                <a:gd name="T72" fmla="*/ 477 w 1671"/>
                <a:gd name="T73" fmla="*/ 376 h 486"/>
                <a:gd name="T74" fmla="*/ 477 w 1671"/>
                <a:gd name="T75" fmla="*/ 365 h 486"/>
                <a:gd name="T76" fmla="*/ 477 w 1671"/>
                <a:gd name="T77" fmla="*/ 354 h 486"/>
                <a:gd name="T78" fmla="*/ 507 w 1671"/>
                <a:gd name="T79" fmla="*/ 376 h 486"/>
                <a:gd name="T80" fmla="*/ 507 w 1671"/>
                <a:gd name="T81" fmla="*/ 365 h 486"/>
                <a:gd name="T82" fmla="*/ 507 w 1671"/>
                <a:gd name="T83" fmla="*/ 354 h 486"/>
                <a:gd name="T84" fmla="*/ 416 w 1671"/>
                <a:gd name="T85" fmla="*/ 246 h 486"/>
                <a:gd name="T86" fmla="*/ 568 w 1671"/>
                <a:gd name="T87" fmla="*/ 376 h 486"/>
                <a:gd name="T88" fmla="*/ 568 w 1671"/>
                <a:gd name="T89" fmla="*/ 365 h 486"/>
                <a:gd name="T90" fmla="*/ 568 w 1671"/>
                <a:gd name="T91" fmla="*/ 354 h 486"/>
                <a:gd name="T92" fmla="*/ 598 w 1671"/>
                <a:gd name="T93" fmla="*/ 376 h 486"/>
                <a:gd name="T94" fmla="*/ 598 w 1671"/>
                <a:gd name="T95" fmla="*/ 365 h 486"/>
                <a:gd name="T96" fmla="*/ 598 w 1671"/>
                <a:gd name="T97" fmla="*/ 354 h 486"/>
                <a:gd name="T98" fmla="*/ 628 w 1671"/>
                <a:gd name="T99" fmla="*/ 376 h 486"/>
                <a:gd name="T100" fmla="*/ 628 w 1671"/>
                <a:gd name="T101" fmla="*/ 365 h 486"/>
                <a:gd name="T102" fmla="*/ 628 w 1671"/>
                <a:gd name="T103" fmla="*/ 354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671" h="486">
                  <a:moveTo>
                    <a:pt x="1607" y="78"/>
                  </a:moveTo>
                  <a:cubicBezTo>
                    <a:pt x="1607" y="67"/>
                    <a:pt x="1607" y="67"/>
                    <a:pt x="1607" y="67"/>
                  </a:cubicBezTo>
                  <a:cubicBezTo>
                    <a:pt x="1598" y="67"/>
                    <a:pt x="1598" y="67"/>
                    <a:pt x="1598" y="67"/>
                  </a:cubicBezTo>
                  <a:cubicBezTo>
                    <a:pt x="1598" y="16"/>
                    <a:pt x="1598" y="16"/>
                    <a:pt x="1598" y="16"/>
                  </a:cubicBezTo>
                  <a:cubicBezTo>
                    <a:pt x="1597" y="16"/>
                    <a:pt x="1597" y="16"/>
                    <a:pt x="1597" y="16"/>
                  </a:cubicBezTo>
                  <a:cubicBezTo>
                    <a:pt x="1597" y="67"/>
                    <a:pt x="1597" y="67"/>
                    <a:pt x="1597" y="67"/>
                  </a:cubicBezTo>
                  <a:cubicBezTo>
                    <a:pt x="1577" y="67"/>
                    <a:pt x="1577" y="67"/>
                    <a:pt x="1577" y="67"/>
                  </a:cubicBezTo>
                  <a:cubicBezTo>
                    <a:pt x="1577" y="0"/>
                    <a:pt x="1577" y="0"/>
                    <a:pt x="1577" y="0"/>
                  </a:cubicBezTo>
                  <a:cubicBezTo>
                    <a:pt x="1574" y="0"/>
                    <a:pt x="1574" y="0"/>
                    <a:pt x="1574" y="0"/>
                  </a:cubicBezTo>
                  <a:cubicBezTo>
                    <a:pt x="1574" y="67"/>
                    <a:pt x="1574" y="67"/>
                    <a:pt x="1574" y="67"/>
                  </a:cubicBezTo>
                  <a:cubicBezTo>
                    <a:pt x="1567" y="67"/>
                    <a:pt x="1567" y="67"/>
                    <a:pt x="1567" y="67"/>
                  </a:cubicBezTo>
                  <a:cubicBezTo>
                    <a:pt x="1567" y="78"/>
                    <a:pt x="1567" y="78"/>
                    <a:pt x="1567" y="78"/>
                  </a:cubicBezTo>
                  <a:cubicBezTo>
                    <a:pt x="1559" y="78"/>
                    <a:pt x="1559" y="78"/>
                    <a:pt x="1559" y="78"/>
                  </a:cubicBezTo>
                  <a:cubicBezTo>
                    <a:pt x="1543" y="84"/>
                    <a:pt x="1543" y="84"/>
                    <a:pt x="1543" y="84"/>
                  </a:cubicBezTo>
                  <a:cubicBezTo>
                    <a:pt x="1470" y="142"/>
                    <a:pt x="1470" y="142"/>
                    <a:pt x="1470" y="142"/>
                  </a:cubicBezTo>
                  <a:cubicBezTo>
                    <a:pt x="1437" y="147"/>
                    <a:pt x="1437" y="147"/>
                    <a:pt x="1437" y="147"/>
                  </a:cubicBezTo>
                  <a:cubicBezTo>
                    <a:pt x="1437" y="207"/>
                    <a:pt x="1437" y="207"/>
                    <a:pt x="1437" y="207"/>
                  </a:cubicBezTo>
                  <a:cubicBezTo>
                    <a:pt x="1387" y="207"/>
                    <a:pt x="1387" y="207"/>
                    <a:pt x="1387" y="207"/>
                  </a:cubicBezTo>
                  <a:cubicBezTo>
                    <a:pt x="1380" y="200"/>
                    <a:pt x="1380" y="200"/>
                    <a:pt x="1380" y="200"/>
                  </a:cubicBezTo>
                  <a:cubicBezTo>
                    <a:pt x="1369" y="200"/>
                    <a:pt x="1369" y="200"/>
                    <a:pt x="1369" y="200"/>
                  </a:cubicBezTo>
                  <a:cubicBezTo>
                    <a:pt x="1369" y="189"/>
                    <a:pt x="1369" y="189"/>
                    <a:pt x="1369" y="189"/>
                  </a:cubicBezTo>
                  <a:cubicBezTo>
                    <a:pt x="1325" y="189"/>
                    <a:pt x="1325" y="189"/>
                    <a:pt x="1325" y="189"/>
                  </a:cubicBezTo>
                  <a:cubicBezTo>
                    <a:pt x="1325" y="199"/>
                    <a:pt x="1325" y="199"/>
                    <a:pt x="1325" y="199"/>
                  </a:cubicBezTo>
                  <a:cubicBezTo>
                    <a:pt x="1309" y="206"/>
                    <a:pt x="1309" y="206"/>
                    <a:pt x="1309" y="206"/>
                  </a:cubicBezTo>
                  <a:cubicBezTo>
                    <a:pt x="1309" y="219"/>
                    <a:pt x="1309" y="219"/>
                    <a:pt x="1309" y="219"/>
                  </a:cubicBezTo>
                  <a:cubicBezTo>
                    <a:pt x="1284" y="219"/>
                    <a:pt x="1284" y="219"/>
                    <a:pt x="1284" y="219"/>
                  </a:cubicBezTo>
                  <a:cubicBezTo>
                    <a:pt x="1284" y="205"/>
                    <a:pt x="1284" y="205"/>
                    <a:pt x="1284" y="205"/>
                  </a:cubicBezTo>
                  <a:cubicBezTo>
                    <a:pt x="1262" y="205"/>
                    <a:pt x="1262" y="205"/>
                    <a:pt x="1262" y="205"/>
                  </a:cubicBezTo>
                  <a:cubicBezTo>
                    <a:pt x="1262" y="220"/>
                    <a:pt x="1262" y="220"/>
                    <a:pt x="1262" y="220"/>
                  </a:cubicBezTo>
                  <a:cubicBezTo>
                    <a:pt x="1241" y="220"/>
                    <a:pt x="1241" y="220"/>
                    <a:pt x="1241" y="220"/>
                  </a:cubicBezTo>
                  <a:cubicBezTo>
                    <a:pt x="1241" y="234"/>
                    <a:pt x="1241" y="234"/>
                    <a:pt x="1241" y="234"/>
                  </a:cubicBezTo>
                  <a:cubicBezTo>
                    <a:pt x="1183" y="234"/>
                    <a:pt x="1183" y="234"/>
                    <a:pt x="1183" y="234"/>
                  </a:cubicBezTo>
                  <a:cubicBezTo>
                    <a:pt x="1183" y="226"/>
                    <a:pt x="1183" y="226"/>
                    <a:pt x="1183" y="226"/>
                  </a:cubicBezTo>
                  <a:cubicBezTo>
                    <a:pt x="1143" y="226"/>
                    <a:pt x="1143" y="226"/>
                    <a:pt x="1143" y="226"/>
                  </a:cubicBezTo>
                  <a:cubicBezTo>
                    <a:pt x="1143" y="240"/>
                    <a:pt x="1143" y="240"/>
                    <a:pt x="1143" y="240"/>
                  </a:cubicBezTo>
                  <a:cubicBezTo>
                    <a:pt x="1091" y="240"/>
                    <a:pt x="1091" y="240"/>
                    <a:pt x="1091" y="240"/>
                  </a:cubicBezTo>
                  <a:cubicBezTo>
                    <a:pt x="1091" y="141"/>
                    <a:pt x="1091" y="141"/>
                    <a:pt x="1091" y="141"/>
                  </a:cubicBezTo>
                  <a:cubicBezTo>
                    <a:pt x="970" y="141"/>
                    <a:pt x="970" y="141"/>
                    <a:pt x="970" y="141"/>
                  </a:cubicBezTo>
                  <a:cubicBezTo>
                    <a:pt x="970" y="283"/>
                    <a:pt x="970" y="283"/>
                    <a:pt x="970" y="283"/>
                  </a:cubicBezTo>
                  <a:cubicBezTo>
                    <a:pt x="952" y="283"/>
                    <a:pt x="952" y="283"/>
                    <a:pt x="952" y="283"/>
                  </a:cubicBezTo>
                  <a:cubicBezTo>
                    <a:pt x="952" y="294"/>
                    <a:pt x="952" y="294"/>
                    <a:pt x="952" y="294"/>
                  </a:cubicBezTo>
                  <a:cubicBezTo>
                    <a:pt x="917" y="294"/>
                    <a:pt x="917" y="294"/>
                    <a:pt x="917" y="294"/>
                  </a:cubicBezTo>
                  <a:cubicBezTo>
                    <a:pt x="917" y="316"/>
                    <a:pt x="917" y="316"/>
                    <a:pt x="917" y="316"/>
                  </a:cubicBezTo>
                  <a:cubicBezTo>
                    <a:pt x="898" y="316"/>
                    <a:pt x="898" y="316"/>
                    <a:pt x="898" y="316"/>
                  </a:cubicBezTo>
                  <a:cubicBezTo>
                    <a:pt x="898" y="291"/>
                    <a:pt x="898" y="291"/>
                    <a:pt x="898" y="291"/>
                  </a:cubicBezTo>
                  <a:cubicBezTo>
                    <a:pt x="761" y="291"/>
                    <a:pt x="761" y="291"/>
                    <a:pt x="761" y="291"/>
                  </a:cubicBezTo>
                  <a:cubicBezTo>
                    <a:pt x="761" y="281"/>
                    <a:pt x="761" y="281"/>
                    <a:pt x="761" y="281"/>
                  </a:cubicBezTo>
                  <a:cubicBezTo>
                    <a:pt x="727" y="281"/>
                    <a:pt x="727" y="281"/>
                    <a:pt x="727" y="281"/>
                  </a:cubicBezTo>
                  <a:cubicBezTo>
                    <a:pt x="727" y="226"/>
                    <a:pt x="727" y="226"/>
                    <a:pt x="727" y="226"/>
                  </a:cubicBezTo>
                  <a:cubicBezTo>
                    <a:pt x="647" y="226"/>
                    <a:pt x="647" y="226"/>
                    <a:pt x="647" y="226"/>
                  </a:cubicBezTo>
                  <a:cubicBezTo>
                    <a:pt x="647" y="294"/>
                    <a:pt x="647" y="294"/>
                    <a:pt x="647" y="294"/>
                  </a:cubicBezTo>
                  <a:cubicBezTo>
                    <a:pt x="477" y="154"/>
                    <a:pt x="326" y="244"/>
                    <a:pt x="276" y="283"/>
                  </a:cubicBezTo>
                  <a:cubicBezTo>
                    <a:pt x="276" y="247"/>
                    <a:pt x="276" y="247"/>
                    <a:pt x="276" y="247"/>
                  </a:cubicBezTo>
                  <a:cubicBezTo>
                    <a:pt x="248" y="247"/>
                    <a:pt x="248" y="247"/>
                    <a:pt x="248" y="247"/>
                  </a:cubicBezTo>
                  <a:cubicBezTo>
                    <a:pt x="248" y="223"/>
                    <a:pt x="248" y="223"/>
                    <a:pt x="248" y="223"/>
                  </a:cubicBezTo>
                  <a:cubicBezTo>
                    <a:pt x="185" y="223"/>
                    <a:pt x="185" y="223"/>
                    <a:pt x="185" y="223"/>
                  </a:cubicBezTo>
                  <a:cubicBezTo>
                    <a:pt x="185" y="353"/>
                    <a:pt x="185" y="353"/>
                    <a:pt x="185" y="353"/>
                  </a:cubicBezTo>
                  <a:cubicBezTo>
                    <a:pt x="153" y="353"/>
                    <a:pt x="153" y="353"/>
                    <a:pt x="153" y="353"/>
                  </a:cubicBezTo>
                  <a:cubicBezTo>
                    <a:pt x="153" y="239"/>
                    <a:pt x="153" y="239"/>
                    <a:pt x="153" y="239"/>
                  </a:cubicBezTo>
                  <a:cubicBezTo>
                    <a:pt x="114" y="239"/>
                    <a:pt x="114" y="239"/>
                    <a:pt x="114" y="239"/>
                  </a:cubicBezTo>
                  <a:cubicBezTo>
                    <a:pt x="114" y="199"/>
                    <a:pt x="114" y="199"/>
                    <a:pt x="114" y="199"/>
                  </a:cubicBezTo>
                  <a:cubicBezTo>
                    <a:pt x="64" y="199"/>
                    <a:pt x="64" y="199"/>
                    <a:pt x="64" y="199"/>
                  </a:cubicBezTo>
                  <a:cubicBezTo>
                    <a:pt x="64" y="343"/>
                    <a:pt x="64" y="343"/>
                    <a:pt x="64" y="343"/>
                  </a:cubicBezTo>
                  <a:cubicBezTo>
                    <a:pt x="50" y="343"/>
                    <a:pt x="50" y="343"/>
                    <a:pt x="50" y="343"/>
                  </a:cubicBezTo>
                  <a:cubicBezTo>
                    <a:pt x="50" y="239"/>
                    <a:pt x="50" y="239"/>
                    <a:pt x="50" y="239"/>
                  </a:cubicBezTo>
                  <a:cubicBezTo>
                    <a:pt x="0" y="239"/>
                    <a:pt x="0" y="239"/>
                    <a:pt x="0" y="239"/>
                  </a:cubicBezTo>
                  <a:cubicBezTo>
                    <a:pt x="0" y="486"/>
                    <a:pt x="0" y="486"/>
                    <a:pt x="0" y="486"/>
                  </a:cubicBezTo>
                  <a:cubicBezTo>
                    <a:pt x="36" y="486"/>
                    <a:pt x="36" y="486"/>
                    <a:pt x="36" y="486"/>
                  </a:cubicBezTo>
                  <a:cubicBezTo>
                    <a:pt x="50" y="486"/>
                    <a:pt x="50" y="486"/>
                    <a:pt x="50" y="486"/>
                  </a:cubicBezTo>
                  <a:cubicBezTo>
                    <a:pt x="64" y="486"/>
                    <a:pt x="64" y="486"/>
                    <a:pt x="64" y="486"/>
                  </a:cubicBezTo>
                  <a:cubicBezTo>
                    <a:pt x="66" y="486"/>
                    <a:pt x="66" y="486"/>
                    <a:pt x="66" y="486"/>
                  </a:cubicBezTo>
                  <a:cubicBezTo>
                    <a:pt x="75" y="486"/>
                    <a:pt x="75" y="486"/>
                    <a:pt x="75" y="486"/>
                  </a:cubicBezTo>
                  <a:cubicBezTo>
                    <a:pt x="103" y="486"/>
                    <a:pt x="103" y="486"/>
                    <a:pt x="103" y="486"/>
                  </a:cubicBezTo>
                  <a:cubicBezTo>
                    <a:pt x="112" y="486"/>
                    <a:pt x="112" y="486"/>
                    <a:pt x="112" y="486"/>
                  </a:cubicBezTo>
                  <a:cubicBezTo>
                    <a:pt x="114" y="486"/>
                    <a:pt x="114" y="486"/>
                    <a:pt x="114" y="486"/>
                  </a:cubicBezTo>
                  <a:cubicBezTo>
                    <a:pt x="125" y="486"/>
                    <a:pt x="125" y="486"/>
                    <a:pt x="125" y="486"/>
                  </a:cubicBezTo>
                  <a:cubicBezTo>
                    <a:pt x="141" y="486"/>
                    <a:pt x="141" y="486"/>
                    <a:pt x="141" y="486"/>
                  </a:cubicBezTo>
                  <a:cubicBezTo>
                    <a:pt x="153" y="486"/>
                    <a:pt x="153" y="486"/>
                    <a:pt x="153" y="486"/>
                  </a:cubicBezTo>
                  <a:cubicBezTo>
                    <a:pt x="165" y="486"/>
                    <a:pt x="165" y="486"/>
                    <a:pt x="165" y="486"/>
                  </a:cubicBezTo>
                  <a:cubicBezTo>
                    <a:pt x="185" y="486"/>
                    <a:pt x="185" y="486"/>
                    <a:pt x="185" y="486"/>
                  </a:cubicBezTo>
                  <a:cubicBezTo>
                    <a:pt x="192" y="486"/>
                    <a:pt x="192" y="486"/>
                    <a:pt x="192" y="486"/>
                  </a:cubicBezTo>
                  <a:cubicBezTo>
                    <a:pt x="197" y="486"/>
                    <a:pt x="197" y="486"/>
                    <a:pt x="197" y="486"/>
                  </a:cubicBezTo>
                  <a:cubicBezTo>
                    <a:pt x="219" y="486"/>
                    <a:pt x="219" y="486"/>
                    <a:pt x="219" y="486"/>
                  </a:cubicBezTo>
                  <a:cubicBezTo>
                    <a:pt x="239" y="486"/>
                    <a:pt x="239" y="486"/>
                    <a:pt x="239" y="486"/>
                  </a:cubicBezTo>
                  <a:cubicBezTo>
                    <a:pt x="248" y="486"/>
                    <a:pt x="248" y="486"/>
                    <a:pt x="248" y="486"/>
                  </a:cubicBezTo>
                  <a:cubicBezTo>
                    <a:pt x="268" y="486"/>
                    <a:pt x="268" y="486"/>
                    <a:pt x="268" y="486"/>
                  </a:cubicBezTo>
                  <a:cubicBezTo>
                    <a:pt x="276" y="486"/>
                    <a:pt x="276" y="486"/>
                    <a:pt x="276" y="486"/>
                  </a:cubicBezTo>
                  <a:cubicBezTo>
                    <a:pt x="635" y="486"/>
                    <a:pt x="635" y="486"/>
                    <a:pt x="635" y="486"/>
                  </a:cubicBezTo>
                  <a:cubicBezTo>
                    <a:pt x="647" y="486"/>
                    <a:pt x="647" y="486"/>
                    <a:pt x="647" y="486"/>
                  </a:cubicBezTo>
                  <a:cubicBezTo>
                    <a:pt x="653" y="486"/>
                    <a:pt x="653" y="486"/>
                    <a:pt x="653" y="486"/>
                  </a:cubicBezTo>
                  <a:cubicBezTo>
                    <a:pt x="665" y="486"/>
                    <a:pt x="665" y="486"/>
                    <a:pt x="665" y="486"/>
                  </a:cubicBezTo>
                  <a:cubicBezTo>
                    <a:pt x="673" y="486"/>
                    <a:pt x="673" y="486"/>
                    <a:pt x="673" y="486"/>
                  </a:cubicBezTo>
                  <a:cubicBezTo>
                    <a:pt x="703" y="486"/>
                    <a:pt x="703" y="486"/>
                    <a:pt x="703" y="486"/>
                  </a:cubicBezTo>
                  <a:cubicBezTo>
                    <a:pt x="717" y="486"/>
                    <a:pt x="717" y="486"/>
                    <a:pt x="717" y="486"/>
                  </a:cubicBezTo>
                  <a:cubicBezTo>
                    <a:pt x="727" y="486"/>
                    <a:pt x="727" y="486"/>
                    <a:pt x="727" y="486"/>
                  </a:cubicBezTo>
                  <a:cubicBezTo>
                    <a:pt x="751" y="486"/>
                    <a:pt x="751" y="486"/>
                    <a:pt x="751" y="486"/>
                  </a:cubicBezTo>
                  <a:cubicBezTo>
                    <a:pt x="761" y="486"/>
                    <a:pt x="761" y="486"/>
                    <a:pt x="761" y="486"/>
                  </a:cubicBezTo>
                  <a:cubicBezTo>
                    <a:pt x="888" y="486"/>
                    <a:pt x="888" y="486"/>
                    <a:pt x="888" y="486"/>
                  </a:cubicBezTo>
                  <a:cubicBezTo>
                    <a:pt x="898" y="486"/>
                    <a:pt x="898" y="486"/>
                    <a:pt x="898" y="486"/>
                  </a:cubicBezTo>
                  <a:cubicBezTo>
                    <a:pt x="917" y="486"/>
                    <a:pt x="917" y="486"/>
                    <a:pt x="917" y="486"/>
                  </a:cubicBezTo>
                  <a:cubicBezTo>
                    <a:pt x="926" y="486"/>
                    <a:pt x="926" y="486"/>
                    <a:pt x="926" y="486"/>
                  </a:cubicBezTo>
                  <a:cubicBezTo>
                    <a:pt x="929" y="486"/>
                    <a:pt x="929" y="486"/>
                    <a:pt x="929" y="486"/>
                  </a:cubicBezTo>
                  <a:cubicBezTo>
                    <a:pt x="930" y="486"/>
                    <a:pt x="930" y="486"/>
                    <a:pt x="930" y="486"/>
                  </a:cubicBezTo>
                  <a:cubicBezTo>
                    <a:pt x="945" y="486"/>
                    <a:pt x="945" y="486"/>
                    <a:pt x="945" y="486"/>
                  </a:cubicBezTo>
                  <a:cubicBezTo>
                    <a:pt x="952" y="486"/>
                    <a:pt x="952" y="486"/>
                    <a:pt x="952" y="486"/>
                  </a:cubicBezTo>
                  <a:cubicBezTo>
                    <a:pt x="961" y="486"/>
                    <a:pt x="961" y="486"/>
                    <a:pt x="961" y="486"/>
                  </a:cubicBezTo>
                  <a:cubicBezTo>
                    <a:pt x="970" y="486"/>
                    <a:pt x="970" y="486"/>
                    <a:pt x="970" y="486"/>
                  </a:cubicBezTo>
                  <a:cubicBezTo>
                    <a:pt x="977" y="486"/>
                    <a:pt x="977" y="486"/>
                    <a:pt x="977" y="486"/>
                  </a:cubicBezTo>
                  <a:cubicBezTo>
                    <a:pt x="1087" y="486"/>
                    <a:pt x="1087" y="486"/>
                    <a:pt x="1087" y="486"/>
                  </a:cubicBezTo>
                  <a:cubicBezTo>
                    <a:pt x="1091" y="486"/>
                    <a:pt x="1091" y="486"/>
                    <a:pt x="1091" y="486"/>
                  </a:cubicBezTo>
                  <a:cubicBezTo>
                    <a:pt x="1143" y="486"/>
                    <a:pt x="1143" y="486"/>
                    <a:pt x="1143" y="486"/>
                  </a:cubicBezTo>
                  <a:cubicBezTo>
                    <a:pt x="1147" y="486"/>
                    <a:pt x="1147" y="486"/>
                    <a:pt x="1147" y="486"/>
                  </a:cubicBezTo>
                  <a:cubicBezTo>
                    <a:pt x="1183" y="486"/>
                    <a:pt x="1183" y="486"/>
                    <a:pt x="1183" y="486"/>
                  </a:cubicBezTo>
                  <a:cubicBezTo>
                    <a:pt x="1484" y="486"/>
                    <a:pt x="1484" y="486"/>
                    <a:pt x="1484" y="486"/>
                  </a:cubicBezTo>
                  <a:cubicBezTo>
                    <a:pt x="1491" y="486"/>
                    <a:pt x="1491" y="486"/>
                    <a:pt x="1491" y="486"/>
                  </a:cubicBezTo>
                  <a:cubicBezTo>
                    <a:pt x="1494" y="486"/>
                    <a:pt x="1494" y="486"/>
                    <a:pt x="1494" y="486"/>
                  </a:cubicBezTo>
                  <a:cubicBezTo>
                    <a:pt x="1514" y="486"/>
                    <a:pt x="1514" y="486"/>
                    <a:pt x="1514" y="486"/>
                  </a:cubicBezTo>
                  <a:cubicBezTo>
                    <a:pt x="1515" y="486"/>
                    <a:pt x="1515" y="486"/>
                    <a:pt x="1515" y="486"/>
                  </a:cubicBezTo>
                  <a:cubicBezTo>
                    <a:pt x="1524" y="486"/>
                    <a:pt x="1524" y="486"/>
                    <a:pt x="1524" y="486"/>
                  </a:cubicBezTo>
                  <a:cubicBezTo>
                    <a:pt x="1571" y="486"/>
                    <a:pt x="1571" y="486"/>
                    <a:pt x="1571" y="486"/>
                  </a:cubicBezTo>
                  <a:cubicBezTo>
                    <a:pt x="1603" y="486"/>
                    <a:pt x="1603" y="486"/>
                    <a:pt x="1603" y="486"/>
                  </a:cubicBezTo>
                  <a:cubicBezTo>
                    <a:pt x="1671" y="486"/>
                    <a:pt x="1671" y="486"/>
                    <a:pt x="1671" y="486"/>
                  </a:cubicBezTo>
                  <a:cubicBezTo>
                    <a:pt x="1671" y="78"/>
                    <a:pt x="1671" y="78"/>
                    <a:pt x="1671" y="78"/>
                  </a:cubicBezTo>
                  <a:lnTo>
                    <a:pt x="1607" y="78"/>
                  </a:lnTo>
                  <a:close/>
                  <a:moveTo>
                    <a:pt x="304" y="376"/>
                  </a:moveTo>
                  <a:cubicBezTo>
                    <a:pt x="281" y="376"/>
                    <a:pt x="281" y="376"/>
                    <a:pt x="281" y="376"/>
                  </a:cubicBezTo>
                  <a:cubicBezTo>
                    <a:pt x="281" y="369"/>
                    <a:pt x="281" y="369"/>
                    <a:pt x="281" y="369"/>
                  </a:cubicBezTo>
                  <a:cubicBezTo>
                    <a:pt x="304" y="369"/>
                    <a:pt x="304" y="369"/>
                    <a:pt x="304" y="369"/>
                  </a:cubicBezTo>
                  <a:lnTo>
                    <a:pt x="304" y="376"/>
                  </a:lnTo>
                  <a:close/>
                  <a:moveTo>
                    <a:pt x="304" y="365"/>
                  </a:moveTo>
                  <a:cubicBezTo>
                    <a:pt x="281" y="365"/>
                    <a:pt x="281" y="365"/>
                    <a:pt x="281" y="365"/>
                  </a:cubicBezTo>
                  <a:cubicBezTo>
                    <a:pt x="281" y="357"/>
                    <a:pt x="281" y="357"/>
                    <a:pt x="281" y="357"/>
                  </a:cubicBezTo>
                  <a:cubicBezTo>
                    <a:pt x="304" y="357"/>
                    <a:pt x="304" y="357"/>
                    <a:pt x="304" y="357"/>
                  </a:cubicBezTo>
                  <a:lnTo>
                    <a:pt x="304" y="365"/>
                  </a:lnTo>
                  <a:close/>
                  <a:moveTo>
                    <a:pt x="304" y="354"/>
                  </a:moveTo>
                  <a:cubicBezTo>
                    <a:pt x="281" y="354"/>
                    <a:pt x="281" y="354"/>
                    <a:pt x="281" y="354"/>
                  </a:cubicBezTo>
                  <a:cubicBezTo>
                    <a:pt x="281" y="346"/>
                    <a:pt x="281" y="346"/>
                    <a:pt x="281" y="346"/>
                  </a:cubicBezTo>
                  <a:cubicBezTo>
                    <a:pt x="304" y="346"/>
                    <a:pt x="304" y="346"/>
                    <a:pt x="304" y="346"/>
                  </a:cubicBezTo>
                  <a:lnTo>
                    <a:pt x="304" y="354"/>
                  </a:lnTo>
                  <a:close/>
                  <a:moveTo>
                    <a:pt x="334" y="376"/>
                  </a:moveTo>
                  <a:cubicBezTo>
                    <a:pt x="311" y="376"/>
                    <a:pt x="311" y="376"/>
                    <a:pt x="311" y="376"/>
                  </a:cubicBezTo>
                  <a:cubicBezTo>
                    <a:pt x="311" y="369"/>
                    <a:pt x="311" y="369"/>
                    <a:pt x="311" y="369"/>
                  </a:cubicBezTo>
                  <a:cubicBezTo>
                    <a:pt x="334" y="369"/>
                    <a:pt x="334" y="369"/>
                    <a:pt x="334" y="369"/>
                  </a:cubicBezTo>
                  <a:lnTo>
                    <a:pt x="334" y="376"/>
                  </a:lnTo>
                  <a:close/>
                  <a:moveTo>
                    <a:pt x="334" y="365"/>
                  </a:moveTo>
                  <a:cubicBezTo>
                    <a:pt x="311" y="365"/>
                    <a:pt x="311" y="365"/>
                    <a:pt x="311" y="365"/>
                  </a:cubicBezTo>
                  <a:cubicBezTo>
                    <a:pt x="311" y="357"/>
                    <a:pt x="311" y="357"/>
                    <a:pt x="311" y="357"/>
                  </a:cubicBezTo>
                  <a:cubicBezTo>
                    <a:pt x="334" y="357"/>
                    <a:pt x="334" y="357"/>
                    <a:pt x="334" y="357"/>
                  </a:cubicBezTo>
                  <a:lnTo>
                    <a:pt x="334" y="365"/>
                  </a:lnTo>
                  <a:close/>
                  <a:moveTo>
                    <a:pt x="334" y="354"/>
                  </a:moveTo>
                  <a:cubicBezTo>
                    <a:pt x="311" y="354"/>
                    <a:pt x="311" y="354"/>
                    <a:pt x="311" y="354"/>
                  </a:cubicBezTo>
                  <a:cubicBezTo>
                    <a:pt x="311" y="346"/>
                    <a:pt x="311" y="346"/>
                    <a:pt x="311" y="346"/>
                  </a:cubicBezTo>
                  <a:cubicBezTo>
                    <a:pt x="334" y="346"/>
                    <a:pt x="334" y="346"/>
                    <a:pt x="334" y="346"/>
                  </a:cubicBezTo>
                  <a:lnTo>
                    <a:pt x="334" y="354"/>
                  </a:lnTo>
                  <a:close/>
                  <a:moveTo>
                    <a:pt x="364" y="376"/>
                  </a:moveTo>
                  <a:cubicBezTo>
                    <a:pt x="341" y="376"/>
                    <a:pt x="341" y="376"/>
                    <a:pt x="341" y="376"/>
                  </a:cubicBezTo>
                  <a:cubicBezTo>
                    <a:pt x="341" y="369"/>
                    <a:pt x="341" y="369"/>
                    <a:pt x="341" y="369"/>
                  </a:cubicBezTo>
                  <a:cubicBezTo>
                    <a:pt x="364" y="369"/>
                    <a:pt x="364" y="369"/>
                    <a:pt x="364" y="369"/>
                  </a:cubicBezTo>
                  <a:lnTo>
                    <a:pt x="364" y="376"/>
                  </a:lnTo>
                  <a:close/>
                  <a:moveTo>
                    <a:pt x="364" y="365"/>
                  </a:moveTo>
                  <a:cubicBezTo>
                    <a:pt x="341" y="365"/>
                    <a:pt x="341" y="365"/>
                    <a:pt x="341" y="365"/>
                  </a:cubicBezTo>
                  <a:cubicBezTo>
                    <a:pt x="341" y="357"/>
                    <a:pt x="341" y="357"/>
                    <a:pt x="341" y="357"/>
                  </a:cubicBezTo>
                  <a:cubicBezTo>
                    <a:pt x="364" y="357"/>
                    <a:pt x="364" y="357"/>
                    <a:pt x="364" y="357"/>
                  </a:cubicBezTo>
                  <a:lnTo>
                    <a:pt x="364" y="365"/>
                  </a:lnTo>
                  <a:close/>
                  <a:moveTo>
                    <a:pt x="364" y="354"/>
                  </a:moveTo>
                  <a:cubicBezTo>
                    <a:pt x="341" y="354"/>
                    <a:pt x="341" y="354"/>
                    <a:pt x="341" y="354"/>
                  </a:cubicBezTo>
                  <a:cubicBezTo>
                    <a:pt x="341" y="346"/>
                    <a:pt x="341" y="346"/>
                    <a:pt x="341" y="346"/>
                  </a:cubicBezTo>
                  <a:cubicBezTo>
                    <a:pt x="364" y="346"/>
                    <a:pt x="364" y="346"/>
                    <a:pt x="364" y="346"/>
                  </a:cubicBezTo>
                  <a:lnTo>
                    <a:pt x="364" y="354"/>
                  </a:lnTo>
                  <a:close/>
                  <a:moveTo>
                    <a:pt x="447" y="376"/>
                  </a:moveTo>
                  <a:cubicBezTo>
                    <a:pt x="424" y="376"/>
                    <a:pt x="424" y="376"/>
                    <a:pt x="424" y="376"/>
                  </a:cubicBezTo>
                  <a:cubicBezTo>
                    <a:pt x="424" y="369"/>
                    <a:pt x="424" y="369"/>
                    <a:pt x="424" y="369"/>
                  </a:cubicBezTo>
                  <a:cubicBezTo>
                    <a:pt x="447" y="369"/>
                    <a:pt x="447" y="369"/>
                    <a:pt x="447" y="369"/>
                  </a:cubicBezTo>
                  <a:lnTo>
                    <a:pt x="447" y="376"/>
                  </a:lnTo>
                  <a:close/>
                  <a:moveTo>
                    <a:pt x="447" y="365"/>
                  </a:moveTo>
                  <a:cubicBezTo>
                    <a:pt x="424" y="365"/>
                    <a:pt x="424" y="365"/>
                    <a:pt x="424" y="365"/>
                  </a:cubicBezTo>
                  <a:cubicBezTo>
                    <a:pt x="424" y="357"/>
                    <a:pt x="424" y="357"/>
                    <a:pt x="424" y="357"/>
                  </a:cubicBezTo>
                  <a:cubicBezTo>
                    <a:pt x="447" y="357"/>
                    <a:pt x="447" y="357"/>
                    <a:pt x="447" y="357"/>
                  </a:cubicBezTo>
                  <a:lnTo>
                    <a:pt x="447" y="365"/>
                  </a:lnTo>
                  <a:close/>
                  <a:moveTo>
                    <a:pt x="447" y="354"/>
                  </a:moveTo>
                  <a:cubicBezTo>
                    <a:pt x="424" y="354"/>
                    <a:pt x="424" y="354"/>
                    <a:pt x="424" y="354"/>
                  </a:cubicBezTo>
                  <a:cubicBezTo>
                    <a:pt x="424" y="346"/>
                    <a:pt x="424" y="346"/>
                    <a:pt x="424" y="346"/>
                  </a:cubicBezTo>
                  <a:cubicBezTo>
                    <a:pt x="447" y="346"/>
                    <a:pt x="447" y="346"/>
                    <a:pt x="447" y="346"/>
                  </a:cubicBezTo>
                  <a:lnTo>
                    <a:pt x="447" y="354"/>
                  </a:lnTo>
                  <a:close/>
                  <a:moveTo>
                    <a:pt x="477" y="376"/>
                  </a:moveTo>
                  <a:cubicBezTo>
                    <a:pt x="454" y="376"/>
                    <a:pt x="454" y="376"/>
                    <a:pt x="454" y="376"/>
                  </a:cubicBezTo>
                  <a:cubicBezTo>
                    <a:pt x="454" y="369"/>
                    <a:pt x="454" y="369"/>
                    <a:pt x="454" y="369"/>
                  </a:cubicBezTo>
                  <a:cubicBezTo>
                    <a:pt x="477" y="369"/>
                    <a:pt x="477" y="369"/>
                    <a:pt x="477" y="369"/>
                  </a:cubicBezTo>
                  <a:lnTo>
                    <a:pt x="477" y="376"/>
                  </a:lnTo>
                  <a:close/>
                  <a:moveTo>
                    <a:pt x="477" y="365"/>
                  </a:moveTo>
                  <a:cubicBezTo>
                    <a:pt x="454" y="365"/>
                    <a:pt x="454" y="365"/>
                    <a:pt x="454" y="365"/>
                  </a:cubicBezTo>
                  <a:cubicBezTo>
                    <a:pt x="454" y="357"/>
                    <a:pt x="454" y="357"/>
                    <a:pt x="454" y="357"/>
                  </a:cubicBezTo>
                  <a:cubicBezTo>
                    <a:pt x="477" y="357"/>
                    <a:pt x="477" y="357"/>
                    <a:pt x="477" y="357"/>
                  </a:cubicBezTo>
                  <a:lnTo>
                    <a:pt x="477" y="365"/>
                  </a:lnTo>
                  <a:close/>
                  <a:moveTo>
                    <a:pt x="477" y="354"/>
                  </a:moveTo>
                  <a:cubicBezTo>
                    <a:pt x="454" y="354"/>
                    <a:pt x="454" y="354"/>
                    <a:pt x="454" y="354"/>
                  </a:cubicBezTo>
                  <a:cubicBezTo>
                    <a:pt x="454" y="346"/>
                    <a:pt x="454" y="346"/>
                    <a:pt x="454" y="346"/>
                  </a:cubicBezTo>
                  <a:cubicBezTo>
                    <a:pt x="477" y="346"/>
                    <a:pt x="477" y="346"/>
                    <a:pt x="477" y="346"/>
                  </a:cubicBezTo>
                  <a:lnTo>
                    <a:pt x="477" y="354"/>
                  </a:lnTo>
                  <a:close/>
                  <a:moveTo>
                    <a:pt x="507" y="376"/>
                  </a:moveTo>
                  <a:cubicBezTo>
                    <a:pt x="484" y="376"/>
                    <a:pt x="484" y="376"/>
                    <a:pt x="484" y="376"/>
                  </a:cubicBezTo>
                  <a:cubicBezTo>
                    <a:pt x="484" y="369"/>
                    <a:pt x="484" y="369"/>
                    <a:pt x="484" y="369"/>
                  </a:cubicBezTo>
                  <a:cubicBezTo>
                    <a:pt x="507" y="369"/>
                    <a:pt x="507" y="369"/>
                    <a:pt x="507" y="369"/>
                  </a:cubicBezTo>
                  <a:lnTo>
                    <a:pt x="507" y="376"/>
                  </a:lnTo>
                  <a:close/>
                  <a:moveTo>
                    <a:pt x="507" y="365"/>
                  </a:moveTo>
                  <a:cubicBezTo>
                    <a:pt x="484" y="365"/>
                    <a:pt x="484" y="365"/>
                    <a:pt x="484" y="365"/>
                  </a:cubicBezTo>
                  <a:cubicBezTo>
                    <a:pt x="484" y="357"/>
                    <a:pt x="484" y="357"/>
                    <a:pt x="484" y="357"/>
                  </a:cubicBezTo>
                  <a:cubicBezTo>
                    <a:pt x="507" y="357"/>
                    <a:pt x="507" y="357"/>
                    <a:pt x="507" y="357"/>
                  </a:cubicBezTo>
                  <a:lnTo>
                    <a:pt x="507" y="365"/>
                  </a:lnTo>
                  <a:close/>
                  <a:moveTo>
                    <a:pt x="507" y="354"/>
                  </a:moveTo>
                  <a:cubicBezTo>
                    <a:pt x="484" y="354"/>
                    <a:pt x="484" y="354"/>
                    <a:pt x="484" y="354"/>
                  </a:cubicBezTo>
                  <a:cubicBezTo>
                    <a:pt x="484" y="346"/>
                    <a:pt x="484" y="346"/>
                    <a:pt x="484" y="346"/>
                  </a:cubicBezTo>
                  <a:cubicBezTo>
                    <a:pt x="507" y="346"/>
                    <a:pt x="507" y="346"/>
                    <a:pt x="507" y="346"/>
                  </a:cubicBezTo>
                  <a:lnTo>
                    <a:pt x="507" y="354"/>
                  </a:lnTo>
                  <a:close/>
                  <a:moveTo>
                    <a:pt x="416" y="246"/>
                  </a:moveTo>
                  <a:cubicBezTo>
                    <a:pt x="551" y="224"/>
                    <a:pt x="641" y="326"/>
                    <a:pt x="641" y="326"/>
                  </a:cubicBezTo>
                  <a:cubicBezTo>
                    <a:pt x="511" y="326"/>
                    <a:pt x="511" y="326"/>
                    <a:pt x="511" y="326"/>
                  </a:cubicBezTo>
                  <a:cubicBezTo>
                    <a:pt x="482" y="263"/>
                    <a:pt x="416" y="246"/>
                    <a:pt x="416" y="246"/>
                  </a:cubicBezTo>
                  <a:close/>
                  <a:moveTo>
                    <a:pt x="590" y="376"/>
                  </a:moveTo>
                  <a:cubicBezTo>
                    <a:pt x="568" y="376"/>
                    <a:pt x="568" y="376"/>
                    <a:pt x="568" y="376"/>
                  </a:cubicBezTo>
                  <a:cubicBezTo>
                    <a:pt x="568" y="369"/>
                    <a:pt x="568" y="369"/>
                    <a:pt x="568" y="369"/>
                  </a:cubicBezTo>
                  <a:cubicBezTo>
                    <a:pt x="590" y="369"/>
                    <a:pt x="590" y="369"/>
                    <a:pt x="590" y="369"/>
                  </a:cubicBezTo>
                  <a:lnTo>
                    <a:pt x="590" y="376"/>
                  </a:lnTo>
                  <a:close/>
                  <a:moveTo>
                    <a:pt x="590" y="365"/>
                  </a:moveTo>
                  <a:cubicBezTo>
                    <a:pt x="568" y="365"/>
                    <a:pt x="568" y="365"/>
                    <a:pt x="568" y="365"/>
                  </a:cubicBezTo>
                  <a:cubicBezTo>
                    <a:pt x="568" y="357"/>
                    <a:pt x="568" y="357"/>
                    <a:pt x="568" y="357"/>
                  </a:cubicBezTo>
                  <a:cubicBezTo>
                    <a:pt x="590" y="357"/>
                    <a:pt x="590" y="357"/>
                    <a:pt x="590" y="357"/>
                  </a:cubicBezTo>
                  <a:lnTo>
                    <a:pt x="590" y="365"/>
                  </a:lnTo>
                  <a:close/>
                  <a:moveTo>
                    <a:pt x="590" y="354"/>
                  </a:moveTo>
                  <a:cubicBezTo>
                    <a:pt x="568" y="354"/>
                    <a:pt x="568" y="354"/>
                    <a:pt x="568" y="354"/>
                  </a:cubicBezTo>
                  <a:cubicBezTo>
                    <a:pt x="568" y="346"/>
                    <a:pt x="568" y="346"/>
                    <a:pt x="568" y="346"/>
                  </a:cubicBezTo>
                  <a:cubicBezTo>
                    <a:pt x="590" y="346"/>
                    <a:pt x="590" y="346"/>
                    <a:pt x="590" y="346"/>
                  </a:cubicBezTo>
                  <a:lnTo>
                    <a:pt x="590" y="354"/>
                  </a:lnTo>
                  <a:close/>
                  <a:moveTo>
                    <a:pt x="620" y="376"/>
                  </a:moveTo>
                  <a:cubicBezTo>
                    <a:pt x="598" y="376"/>
                    <a:pt x="598" y="376"/>
                    <a:pt x="598" y="376"/>
                  </a:cubicBezTo>
                  <a:cubicBezTo>
                    <a:pt x="598" y="369"/>
                    <a:pt x="598" y="369"/>
                    <a:pt x="598" y="369"/>
                  </a:cubicBezTo>
                  <a:cubicBezTo>
                    <a:pt x="620" y="369"/>
                    <a:pt x="620" y="369"/>
                    <a:pt x="620" y="369"/>
                  </a:cubicBezTo>
                  <a:lnTo>
                    <a:pt x="620" y="376"/>
                  </a:lnTo>
                  <a:close/>
                  <a:moveTo>
                    <a:pt x="620" y="365"/>
                  </a:moveTo>
                  <a:cubicBezTo>
                    <a:pt x="598" y="365"/>
                    <a:pt x="598" y="365"/>
                    <a:pt x="598" y="365"/>
                  </a:cubicBezTo>
                  <a:cubicBezTo>
                    <a:pt x="598" y="357"/>
                    <a:pt x="598" y="357"/>
                    <a:pt x="598" y="357"/>
                  </a:cubicBezTo>
                  <a:cubicBezTo>
                    <a:pt x="620" y="357"/>
                    <a:pt x="620" y="357"/>
                    <a:pt x="620" y="357"/>
                  </a:cubicBezTo>
                  <a:lnTo>
                    <a:pt x="620" y="365"/>
                  </a:lnTo>
                  <a:close/>
                  <a:moveTo>
                    <a:pt x="620" y="354"/>
                  </a:moveTo>
                  <a:cubicBezTo>
                    <a:pt x="598" y="354"/>
                    <a:pt x="598" y="354"/>
                    <a:pt x="598" y="354"/>
                  </a:cubicBezTo>
                  <a:cubicBezTo>
                    <a:pt x="598" y="346"/>
                    <a:pt x="598" y="346"/>
                    <a:pt x="598" y="346"/>
                  </a:cubicBezTo>
                  <a:cubicBezTo>
                    <a:pt x="620" y="346"/>
                    <a:pt x="620" y="346"/>
                    <a:pt x="620" y="346"/>
                  </a:cubicBezTo>
                  <a:lnTo>
                    <a:pt x="620" y="354"/>
                  </a:lnTo>
                  <a:close/>
                  <a:moveTo>
                    <a:pt x="650" y="376"/>
                  </a:moveTo>
                  <a:cubicBezTo>
                    <a:pt x="628" y="376"/>
                    <a:pt x="628" y="376"/>
                    <a:pt x="628" y="376"/>
                  </a:cubicBezTo>
                  <a:cubicBezTo>
                    <a:pt x="628" y="369"/>
                    <a:pt x="628" y="369"/>
                    <a:pt x="628" y="369"/>
                  </a:cubicBezTo>
                  <a:cubicBezTo>
                    <a:pt x="650" y="369"/>
                    <a:pt x="650" y="369"/>
                    <a:pt x="650" y="369"/>
                  </a:cubicBezTo>
                  <a:lnTo>
                    <a:pt x="650" y="376"/>
                  </a:lnTo>
                  <a:close/>
                  <a:moveTo>
                    <a:pt x="650" y="365"/>
                  </a:moveTo>
                  <a:cubicBezTo>
                    <a:pt x="628" y="365"/>
                    <a:pt x="628" y="365"/>
                    <a:pt x="628" y="365"/>
                  </a:cubicBezTo>
                  <a:cubicBezTo>
                    <a:pt x="628" y="357"/>
                    <a:pt x="628" y="357"/>
                    <a:pt x="628" y="357"/>
                  </a:cubicBezTo>
                  <a:cubicBezTo>
                    <a:pt x="650" y="357"/>
                    <a:pt x="650" y="357"/>
                    <a:pt x="650" y="357"/>
                  </a:cubicBezTo>
                  <a:lnTo>
                    <a:pt x="650" y="365"/>
                  </a:lnTo>
                  <a:close/>
                  <a:moveTo>
                    <a:pt x="650" y="354"/>
                  </a:moveTo>
                  <a:cubicBezTo>
                    <a:pt x="628" y="354"/>
                    <a:pt x="628" y="354"/>
                    <a:pt x="628" y="354"/>
                  </a:cubicBezTo>
                  <a:cubicBezTo>
                    <a:pt x="628" y="346"/>
                    <a:pt x="628" y="346"/>
                    <a:pt x="628" y="346"/>
                  </a:cubicBezTo>
                  <a:cubicBezTo>
                    <a:pt x="650" y="346"/>
                    <a:pt x="650" y="346"/>
                    <a:pt x="650" y="346"/>
                  </a:cubicBezTo>
                  <a:lnTo>
                    <a:pt x="650" y="354"/>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sz="1599"/>
            </a:p>
          </p:txBody>
        </p:sp>
        <p:grpSp>
          <p:nvGrpSpPr>
            <p:cNvPr id="102" name="Group 101"/>
            <p:cNvGrpSpPr/>
            <p:nvPr userDrawn="1"/>
          </p:nvGrpSpPr>
          <p:grpSpPr>
            <a:xfrm>
              <a:off x="0" y="5397500"/>
              <a:ext cx="3292189" cy="1597025"/>
              <a:chOff x="0" y="5691798"/>
              <a:chExt cx="3292189" cy="1302727"/>
            </a:xfrm>
          </p:grpSpPr>
          <p:sp>
            <p:nvSpPr>
              <p:cNvPr id="94" name="Rectangle 93"/>
              <p:cNvSpPr/>
              <p:nvPr userDrawn="1"/>
            </p:nvSpPr>
            <p:spPr bwMode="auto">
              <a:xfrm>
                <a:off x="2560677" y="6148993"/>
                <a:ext cx="731512" cy="845532"/>
              </a:xfrm>
              <a:prstGeom prst="rect">
                <a:avLst/>
              </a:prstGeom>
              <a:solidFill>
                <a:schemeClr val="accent4"/>
              </a:solidFill>
              <a:ln>
                <a:noFill/>
              </a:ln>
            </p:spPr>
            <p:txBody>
              <a:bodyPr vert="horz" wrap="square" lIns="91440" tIns="45720" rIns="91440" bIns="45720" numCol="1" anchor="t" anchorCtr="0" compatLnSpc="1">
                <a:prstTxWarp prst="textNoShape">
                  <a:avLst/>
                </a:prstTxWarp>
              </a:bodyPr>
              <a:lstStyle/>
              <a:p>
                <a:pPr lvl="0"/>
                <a:endParaRPr lang="en-US" sz="1599" err="1">
                  <a:solidFill>
                    <a:schemeClr val="tx1"/>
                  </a:solidFill>
                </a:endParaRPr>
              </a:p>
            </p:txBody>
          </p:sp>
          <p:sp>
            <p:nvSpPr>
              <p:cNvPr id="95" name="Rectangle 94"/>
              <p:cNvSpPr/>
              <p:nvPr userDrawn="1"/>
            </p:nvSpPr>
            <p:spPr bwMode="auto">
              <a:xfrm>
                <a:off x="2012043" y="5966115"/>
                <a:ext cx="731512" cy="1028410"/>
              </a:xfrm>
              <a:prstGeom prst="rect">
                <a:avLst/>
              </a:prstGeom>
              <a:solidFill>
                <a:schemeClr val="accent4"/>
              </a:solidFill>
              <a:ln>
                <a:noFill/>
              </a:ln>
            </p:spPr>
            <p:txBody>
              <a:bodyPr vert="horz" wrap="square" lIns="91440" tIns="45720" rIns="91440" bIns="45720" numCol="1" anchor="t" anchorCtr="0" compatLnSpc="1">
                <a:prstTxWarp prst="textNoShape">
                  <a:avLst/>
                </a:prstTxWarp>
              </a:bodyPr>
              <a:lstStyle/>
              <a:p>
                <a:pPr lvl="0"/>
                <a:endParaRPr lang="en-US" sz="1599" err="1">
                  <a:solidFill>
                    <a:schemeClr val="tx1"/>
                  </a:solidFill>
                </a:endParaRPr>
              </a:p>
            </p:txBody>
          </p:sp>
          <p:sp>
            <p:nvSpPr>
              <p:cNvPr id="96" name="Rectangle 95"/>
              <p:cNvSpPr/>
              <p:nvPr userDrawn="1"/>
            </p:nvSpPr>
            <p:spPr bwMode="auto">
              <a:xfrm>
                <a:off x="1554847" y="5691798"/>
                <a:ext cx="457195" cy="1302727"/>
              </a:xfrm>
              <a:prstGeom prst="rect">
                <a:avLst/>
              </a:prstGeom>
              <a:solidFill>
                <a:schemeClr val="accent4"/>
              </a:solidFill>
              <a:ln>
                <a:noFill/>
              </a:ln>
            </p:spPr>
            <p:txBody>
              <a:bodyPr vert="horz" wrap="square" lIns="91440" tIns="45720" rIns="91440" bIns="45720" numCol="1" anchor="t" anchorCtr="0" compatLnSpc="1">
                <a:prstTxWarp prst="textNoShape">
                  <a:avLst/>
                </a:prstTxWarp>
              </a:bodyPr>
              <a:lstStyle/>
              <a:p>
                <a:pPr lvl="0"/>
                <a:endParaRPr lang="en-US" sz="1599" err="1">
                  <a:solidFill>
                    <a:schemeClr val="tx1"/>
                  </a:solidFill>
                </a:endParaRPr>
              </a:p>
            </p:txBody>
          </p:sp>
          <p:sp>
            <p:nvSpPr>
              <p:cNvPr id="97" name="Rectangle 96"/>
              <p:cNvSpPr/>
              <p:nvPr userDrawn="1"/>
            </p:nvSpPr>
            <p:spPr bwMode="auto">
              <a:xfrm>
                <a:off x="1097653" y="5966115"/>
                <a:ext cx="457195" cy="1028410"/>
              </a:xfrm>
              <a:prstGeom prst="rect">
                <a:avLst/>
              </a:prstGeom>
              <a:solidFill>
                <a:schemeClr val="accent4"/>
              </a:solidFill>
              <a:ln>
                <a:noFill/>
              </a:ln>
            </p:spPr>
            <p:txBody>
              <a:bodyPr vert="horz" wrap="square" lIns="91440" tIns="45720" rIns="91440" bIns="45720" numCol="1" anchor="t" anchorCtr="0" compatLnSpc="1">
                <a:prstTxWarp prst="textNoShape">
                  <a:avLst/>
                </a:prstTxWarp>
              </a:bodyPr>
              <a:lstStyle/>
              <a:p>
                <a:pPr lvl="0"/>
                <a:endParaRPr lang="en-US" sz="1599" err="1">
                  <a:solidFill>
                    <a:schemeClr val="tx1"/>
                  </a:solidFill>
                </a:endParaRPr>
              </a:p>
            </p:txBody>
          </p:sp>
          <p:sp>
            <p:nvSpPr>
              <p:cNvPr id="98" name="Rectangle 97"/>
              <p:cNvSpPr/>
              <p:nvPr userDrawn="1"/>
            </p:nvSpPr>
            <p:spPr bwMode="auto">
              <a:xfrm>
                <a:off x="823336" y="5783263"/>
                <a:ext cx="274317" cy="1211262"/>
              </a:xfrm>
              <a:prstGeom prst="rect">
                <a:avLst/>
              </a:prstGeom>
              <a:solidFill>
                <a:schemeClr val="accent4"/>
              </a:solidFill>
              <a:ln>
                <a:noFill/>
              </a:ln>
            </p:spPr>
            <p:txBody>
              <a:bodyPr vert="horz" wrap="square" lIns="91440" tIns="45720" rIns="91440" bIns="45720" numCol="1" anchor="t" anchorCtr="0" compatLnSpc="1">
                <a:prstTxWarp prst="textNoShape">
                  <a:avLst/>
                </a:prstTxWarp>
              </a:bodyPr>
              <a:lstStyle/>
              <a:p>
                <a:pPr lvl="0"/>
                <a:endParaRPr lang="en-US" sz="1599" err="1">
                  <a:solidFill>
                    <a:schemeClr val="tx1"/>
                  </a:solidFill>
                </a:endParaRPr>
              </a:p>
            </p:txBody>
          </p:sp>
          <p:sp>
            <p:nvSpPr>
              <p:cNvPr id="99" name="Rectangle 98"/>
              <p:cNvSpPr/>
              <p:nvPr userDrawn="1"/>
            </p:nvSpPr>
            <p:spPr bwMode="auto">
              <a:xfrm>
                <a:off x="549019" y="5691798"/>
                <a:ext cx="274317" cy="1302727"/>
              </a:xfrm>
              <a:prstGeom prst="rect">
                <a:avLst/>
              </a:prstGeom>
              <a:solidFill>
                <a:schemeClr val="accent4"/>
              </a:solidFill>
              <a:ln>
                <a:noFill/>
              </a:ln>
            </p:spPr>
            <p:txBody>
              <a:bodyPr vert="horz" wrap="square" lIns="91440" tIns="45720" rIns="91440" bIns="45720" numCol="1" anchor="t" anchorCtr="0" compatLnSpc="1">
                <a:prstTxWarp prst="textNoShape">
                  <a:avLst/>
                </a:prstTxWarp>
              </a:bodyPr>
              <a:lstStyle/>
              <a:p>
                <a:pPr lvl="0"/>
                <a:endParaRPr lang="en-US" sz="1599" err="1">
                  <a:solidFill>
                    <a:schemeClr val="tx1"/>
                  </a:solidFill>
                </a:endParaRPr>
              </a:p>
            </p:txBody>
          </p:sp>
          <p:sp>
            <p:nvSpPr>
              <p:cNvPr id="100" name="Rectangle 99"/>
              <p:cNvSpPr/>
              <p:nvPr userDrawn="1"/>
            </p:nvSpPr>
            <p:spPr bwMode="auto">
              <a:xfrm>
                <a:off x="0" y="5966115"/>
                <a:ext cx="731512" cy="1028410"/>
              </a:xfrm>
              <a:prstGeom prst="rect">
                <a:avLst/>
              </a:prstGeom>
              <a:solidFill>
                <a:schemeClr val="accent4"/>
              </a:solidFill>
              <a:ln>
                <a:noFill/>
              </a:ln>
            </p:spPr>
            <p:txBody>
              <a:bodyPr vert="horz" wrap="square" lIns="91440" tIns="45720" rIns="91440" bIns="45720" numCol="1" anchor="t" anchorCtr="0" compatLnSpc="1">
                <a:prstTxWarp prst="textNoShape">
                  <a:avLst/>
                </a:prstTxWarp>
              </a:bodyPr>
              <a:lstStyle/>
              <a:p>
                <a:pPr lvl="0"/>
                <a:endParaRPr lang="en-US" sz="1599" err="1">
                  <a:solidFill>
                    <a:schemeClr val="tx1"/>
                  </a:solidFill>
                </a:endParaRPr>
              </a:p>
            </p:txBody>
          </p:sp>
        </p:grpSp>
      </p:grpSp>
      <p:sp>
        <p:nvSpPr>
          <p:cNvPr id="3" name="TextBox 2"/>
          <p:cNvSpPr txBox="1"/>
          <p:nvPr userDrawn="1"/>
        </p:nvSpPr>
        <p:spPr>
          <a:xfrm>
            <a:off x="10602336" y="6062368"/>
            <a:ext cx="1557885" cy="634440"/>
          </a:xfrm>
          <a:prstGeom prst="rect">
            <a:avLst/>
          </a:prstGeom>
          <a:noFill/>
        </p:spPr>
        <p:txBody>
          <a:bodyPr wrap="none" lIns="182831" tIns="146264" rIns="182831" bIns="146264" rtlCol="0" anchor="b">
            <a:spAutoFit/>
          </a:bodyPr>
          <a:lstStyle/>
          <a:p>
            <a:pPr algn="r">
              <a:lnSpc>
                <a:spcPct val="90000"/>
              </a:lnSpc>
              <a:spcAft>
                <a:spcPts val="600"/>
              </a:spcAft>
            </a:pPr>
            <a:r>
              <a:rPr lang="en-US" sz="2400">
                <a:gradFill>
                  <a:gsLst>
                    <a:gs pos="2917">
                      <a:schemeClr val="tx1"/>
                    </a:gs>
                    <a:gs pos="30000">
                      <a:schemeClr val="tx1"/>
                    </a:gs>
                  </a:gsLst>
                  <a:lin ang="5400000" scaled="0"/>
                </a:gradFill>
              </a:rPr>
              <a:t>#WPC16</a:t>
            </a:r>
          </a:p>
        </p:txBody>
      </p:sp>
    </p:spTree>
    <p:extLst>
      <p:ext uri="{BB962C8B-B14F-4D97-AF65-F5344CB8AC3E}">
        <p14:creationId xmlns:p14="http://schemas.microsoft.com/office/powerpoint/2010/main" val="282991839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13" name="Text Placeholder 4"/>
          <p:cNvSpPr>
            <a:spLocks noGrp="1"/>
          </p:cNvSpPr>
          <p:nvPr>
            <p:ph type="body" sz="quarter" idx="15" hasCustomPrompt="1"/>
          </p:nvPr>
        </p:nvSpPr>
        <p:spPr bwMode="invGray">
          <a:xfrm>
            <a:off x="9417436" y="872402"/>
            <a:ext cx="2742850" cy="578303"/>
          </a:xfrm>
        </p:spPr>
        <p:txBody>
          <a:bodyPr lIns="182880" tIns="146304" rIns="182880" bIns="146304" anchor="b"/>
          <a:lstStyle>
            <a:lvl1pPr marL="0" indent="0" algn="r">
              <a:buNone/>
              <a:defRPr sz="2000">
                <a:gradFill>
                  <a:gsLst>
                    <a:gs pos="14644">
                      <a:schemeClr val="tx1"/>
                    </a:gs>
                    <a:gs pos="37000">
                      <a:schemeClr val="tx1"/>
                    </a:gs>
                  </a:gsLst>
                  <a:lin ang="5400000" scaled="0"/>
                </a:gradFill>
                <a:latin typeface="+mn-lt"/>
              </a:defRPr>
            </a:lvl1pPr>
            <a:lvl2pPr marL="342800" indent="0">
              <a:buNone/>
              <a:defRPr/>
            </a:lvl2pPr>
            <a:lvl3pPr marL="571333" indent="0">
              <a:buNone/>
              <a:defRPr/>
            </a:lvl3pPr>
            <a:lvl4pPr marL="799866" indent="0">
              <a:buNone/>
              <a:defRPr/>
            </a:lvl4pPr>
            <a:lvl5pPr marL="1028400" indent="0">
              <a:buNone/>
              <a:defRPr/>
            </a:lvl5pPr>
          </a:lstStyle>
          <a:p>
            <a:pPr lvl="0"/>
            <a:r>
              <a:rPr lang="en-US"/>
              <a:t>#hashtag</a:t>
            </a:r>
          </a:p>
        </p:txBody>
      </p:sp>
      <p:sp>
        <p:nvSpPr>
          <p:cNvPr id="15" name="Text Placeholder 4"/>
          <p:cNvSpPr>
            <a:spLocks noGrp="1"/>
          </p:cNvSpPr>
          <p:nvPr>
            <p:ph type="body" sz="quarter" idx="16" hasCustomPrompt="1"/>
          </p:nvPr>
        </p:nvSpPr>
        <p:spPr>
          <a:xfrm>
            <a:off x="8960265" y="305777"/>
            <a:ext cx="3200023" cy="578303"/>
          </a:xfrm>
        </p:spPr>
        <p:txBody>
          <a:bodyPr lIns="182880" tIns="146304" rIns="182880" bIns="146304" anchor="t"/>
          <a:lstStyle>
            <a:lvl1pPr marL="0" indent="0" algn="r">
              <a:buNone/>
              <a:defRPr sz="2000" baseline="0">
                <a:gradFill>
                  <a:gsLst>
                    <a:gs pos="90377">
                      <a:srgbClr val="F8F8F8"/>
                    </a:gs>
                    <a:gs pos="72000">
                      <a:srgbClr val="F8F8F8"/>
                    </a:gs>
                  </a:gsLst>
                  <a:lin ang="5400000" scaled="0"/>
                </a:gradFill>
                <a:latin typeface="+mn-lt"/>
              </a:defRPr>
            </a:lvl1pPr>
            <a:lvl2pPr marL="342800" indent="0">
              <a:buNone/>
              <a:defRPr/>
            </a:lvl2pPr>
            <a:lvl3pPr marL="571333" indent="0">
              <a:buNone/>
              <a:defRPr/>
            </a:lvl3pPr>
            <a:lvl4pPr marL="799866" indent="0">
              <a:buNone/>
              <a:defRPr/>
            </a:lvl4pPr>
            <a:lvl5pPr marL="1028400" indent="0">
              <a:buNone/>
              <a:defRPr/>
            </a:lvl5pPr>
          </a:lstStyle>
          <a:p>
            <a:pPr lvl="0"/>
            <a:r>
              <a:rPr lang="en-US"/>
              <a:t>Session code</a:t>
            </a:r>
          </a:p>
        </p:txBody>
      </p:sp>
      <p:pic>
        <p:nvPicPr>
          <p:cNvPr id="16" name="Picture 15"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59172" y="6240964"/>
            <a:ext cx="1278347" cy="274137"/>
          </a:xfrm>
          <a:prstGeom prst="rect">
            <a:avLst/>
          </a:prstGeom>
        </p:spPr>
      </p:pic>
      <p:pic>
        <p:nvPicPr>
          <p:cNvPr id="14" name="Picture 13"/>
          <p:cNvPicPr>
            <a:picLocks noChangeAspect="1"/>
          </p:cNvPicPr>
          <p:nvPr userDrawn="1"/>
        </p:nvPicPr>
        <p:blipFill rotWithShape="1">
          <a:blip r:embed="rId3" cstate="screen">
            <a:extLst>
              <a:ext uri="{28A0092B-C50C-407E-A947-70E740481C1C}">
                <a14:useLocalDpi xmlns:a14="http://schemas.microsoft.com/office/drawing/2010/main"/>
              </a:ext>
            </a:extLst>
          </a:blip>
          <a:srcRect b="1380"/>
          <a:stretch/>
        </p:blipFill>
        <p:spPr bwMode="invGray">
          <a:xfrm>
            <a:off x="457142" y="484180"/>
            <a:ext cx="1449754" cy="306604"/>
          </a:xfrm>
          <a:prstGeom prst="rect">
            <a:avLst/>
          </a:prstGeom>
        </p:spPr>
      </p:pic>
      <p:sp>
        <p:nvSpPr>
          <p:cNvPr id="8" name="Title 1"/>
          <p:cNvSpPr>
            <a:spLocks noGrp="1"/>
          </p:cNvSpPr>
          <p:nvPr>
            <p:ph type="title" hasCustomPrompt="1"/>
          </p:nvPr>
        </p:nvSpPr>
        <p:spPr>
          <a:xfrm>
            <a:off x="274667" y="2125678"/>
            <a:ext cx="9142769" cy="1828786"/>
          </a:xfrm>
          <a:noFill/>
        </p:spPr>
        <p:txBody>
          <a:bodyPr lIns="146304" tIns="91440" rIns="146304" bIns="91440" anchor="t" anchorCtr="0"/>
          <a:lstStyle>
            <a:lvl1pPr>
              <a:defRPr sz="5398" spc="-100" baseline="0">
                <a:gradFill>
                  <a:gsLst>
                    <a:gs pos="100000">
                      <a:schemeClr val="tx2"/>
                    </a:gs>
                    <a:gs pos="0">
                      <a:schemeClr val="tx2"/>
                    </a:gs>
                  </a:gsLst>
                  <a:lin ang="5400000" scaled="0"/>
                </a:gradFill>
              </a:defRPr>
            </a:lvl1pPr>
          </a:lstStyle>
          <a:p>
            <a:r>
              <a:rPr lang="en-US"/>
              <a:t>Presentation title</a:t>
            </a:r>
          </a:p>
        </p:txBody>
      </p:sp>
      <p:sp>
        <p:nvSpPr>
          <p:cNvPr id="9" name="Text Placeholder 4"/>
          <p:cNvSpPr>
            <a:spLocks noGrp="1"/>
          </p:cNvSpPr>
          <p:nvPr>
            <p:ph type="body" sz="quarter" idx="12" hasCustomPrompt="1"/>
          </p:nvPr>
        </p:nvSpPr>
        <p:spPr>
          <a:xfrm>
            <a:off x="274667" y="3955787"/>
            <a:ext cx="7314204" cy="1828007"/>
          </a:xfrm>
          <a:noFill/>
        </p:spPr>
        <p:txBody>
          <a:bodyPr lIns="146304" tIns="109728" rIns="146304" bIns="109728">
            <a:noAutofit/>
          </a:bodyPr>
          <a:lstStyle>
            <a:lvl1pPr marL="0" indent="0">
              <a:spcBef>
                <a:spcPts val="0"/>
              </a:spcBef>
              <a:buNone/>
              <a:defRPr sz="3199" spc="0" baseline="0">
                <a:gradFill>
                  <a:gsLst>
                    <a:gs pos="91000">
                      <a:schemeClr val="tx1"/>
                    </a:gs>
                    <a:gs pos="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92109080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04" y="1212851"/>
            <a:ext cx="11885683"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534" indent="0">
              <a:buNone/>
              <a:defRPr/>
            </a:lvl3pPr>
            <a:lvl4pPr marL="457066" indent="0">
              <a:buNone/>
              <a:defRPr/>
            </a:lvl4pPr>
            <a:lvl5pPr marL="6856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5734832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04" y="1212851"/>
            <a:ext cx="11885683"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34" indent="0">
              <a:buNone/>
              <a:defRPr/>
            </a:lvl3pPr>
            <a:lvl4pPr marL="457066" indent="0">
              <a:buNone/>
              <a:defRPr/>
            </a:lvl4pPr>
            <a:lvl5pPr marL="6856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0576727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04" y="1212851"/>
            <a:ext cx="11885683" cy="2092881"/>
          </a:xfrm>
        </p:spPr>
        <p:txBody>
          <a:bodyPr>
            <a:spAutoFit/>
          </a:bodyPr>
          <a:lstStyle>
            <a:lvl1pPr>
              <a:defRPr sz="3999">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4253342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04" y="1212851"/>
            <a:ext cx="11885683" cy="2092881"/>
          </a:xfrm>
        </p:spPr>
        <p:txBody>
          <a:bodyPr>
            <a:spAutoFit/>
          </a:bodyPr>
          <a:lstStyle>
            <a:lvl1pPr>
              <a:defRPr sz="399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03505381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05" y="1212849"/>
            <a:ext cx="5485699" cy="1914370"/>
          </a:xfrm>
        </p:spPr>
        <p:txBody>
          <a:bodyPr wrap="square">
            <a:spAutoFit/>
          </a:bodyPr>
          <a:lstStyle>
            <a:lvl1pPr marL="0" indent="0">
              <a:spcBef>
                <a:spcPts val="1224"/>
              </a:spcBef>
              <a:buClr>
                <a:schemeClr val="tx1"/>
              </a:buClr>
              <a:buFont typeface="Wingdings" pitchFamily="2" charset="2"/>
              <a:buNone/>
              <a:defRPr sz="3199">
                <a:gradFill>
                  <a:gsLst>
                    <a:gs pos="1250">
                      <a:schemeClr val="tx2"/>
                    </a:gs>
                    <a:gs pos="99000">
                      <a:schemeClr val="tx2"/>
                    </a:gs>
                  </a:gsLst>
                  <a:lin ang="5400000" scaled="0"/>
                </a:gradFill>
              </a:defRPr>
            </a:lvl1pPr>
            <a:lvl2pPr marL="0" indent="0">
              <a:buNone/>
              <a:defRPr sz="2000"/>
            </a:lvl2pPr>
            <a:lvl3pPr marL="231707" indent="0">
              <a:buNone/>
              <a:tabLst/>
              <a:defRPr sz="2000"/>
            </a:lvl3pPr>
            <a:lvl4pPr marL="460241" indent="0">
              <a:buNone/>
              <a:defRPr/>
            </a:lvl4pPr>
            <a:lvl5pPr marL="6856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4588" y="1212849"/>
            <a:ext cx="5485699" cy="1914370"/>
          </a:xfrm>
        </p:spPr>
        <p:txBody>
          <a:bodyPr wrap="square">
            <a:spAutoFit/>
          </a:bodyPr>
          <a:lstStyle>
            <a:lvl1pPr marL="0" indent="0">
              <a:spcBef>
                <a:spcPts val="1224"/>
              </a:spcBef>
              <a:buClr>
                <a:schemeClr val="tx1"/>
              </a:buClr>
              <a:buFont typeface="Wingdings" pitchFamily="2" charset="2"/>
              <a:buNone/>
              <a:defRPr sz="3199">
                <a:gradFill>
                  <a:gsLst>
                    <a:gs pos="1250">
                      <a:schemeClr val="tx2"/>
                    </a:gs>
                    <a:gs pos="99000">
                      <a:schemeClr val="tx2"/>
                    </a:gs>
                  </a:gsLst>
                  <a:lin ang="5400000" scaled="0"/>
                </a:gradFill>
              </a:defRPr>
            </a:lvl1pPr>
            <a:lvl2pPr marL="0" indent="0">
              <a:buNone/>
              <a:defRPr sz="2000"/>
            </a:lvl2pPr>
            <a:lvl3pPr marL="231707" indent="0">
              <a:buNone/>
              <a:tabLst/>
              <a:defRPr sz="2000"/>
            </a:lvl3pPr>
            <a:lvl4pPr marL="460241" indent="0">
              <a:buNone/>
              <a:defRPr/>
            </a:lvl4pPr>
            <a:lvl5pPr marL="6856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3256455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05" y="1212849"/>
            <a:ext cx="5485699" cy="1914370"/>
          </a:xfrm>
        </p:spPr>
        <p:txBody>
          <a:bodyPr wrap="square">
            <a:spAutoFit/>
          </a:bodyPr>
          <a:lstStyle>
            <a:lvl1pPr marL="0" indent="0">
              <a:spcBef>
                <a:spcPts val="1224"/>
              </a:spcBef>
              <a:buClr>
                <a:schemeClr val="tx1"/>
              </a:buClr>
              <a:buFont typeface="Wingdings" pitchFamily="2" charset="2"/>
              <a:buNone/>
              <a:defRPr sz="3199"/>
            </a:lvl1pPr>
            <a:lvl2pPr marL="0" indent="0">
              <a:buNone/>
              <a:defRPr sz="2000"/>
            </a:lvl2pPr>
            <a:lvl3pPr marL="231707" indent="0">
              <a:buNone/>
              <a:tabLst/>
              <a:defRPr sz="2000"/>
            </a:lvl3pPr>
            <a:lvl4pPr marL="460241" indent="0">
              <a:buNone/>
              <a:defRPr/>
            </a:lvl4pPr>
            <a:lvl5pPr marL="6856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4588" y="1212849"/>
            <a:ext cx="5485699" cy="1914370"/>
          </a:xfrm>
        </p:spPr>
        <p:txBody>
          <a:bodyPr wrap="square">
            <a:spAutoFit/>
          </a:bodyPr>
          <a:lstStyle>
            <a:lvl1pPr marL="0" indent="0">
              <a:spcBef>
                <a:spcPts val="1224"/>
              </a:spcBef>
              <a:buClr>
                <a:schemeClr val="tx1"/>
              </a:buClr>
              <a:buFont typeface="Wingdings" pitchFamily="2" charset="2"/>
              <a:buNone/>
              <a:defRPr sz="3199"/>
            </a:lvl1pPr>
            <a:lvl2pPr marL="0" indent="0">
              <a:buNone/>
              <a:defRPr sz="2000"/>
            </a:lvl2pPr>
            <a:lvl3pPr marL="231707" indent="0">
              <a:buNone/>
              <a:tabLst/>
              <a:defRPr sz="2000"/>
            </a:lvl3pPr>
            <a:lvl4pPr marL="460241" indent="0">
              <a:buNone/>
              <a:defRPr/>
            </a:lvl4pPr>
            <a:lvl5pPr marL="6856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6596210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05" y="1212850"/>
            <a:ext cx="5485699" cy="1985506"/>
          </a:xfrm>
        </p:spPr>
        <p:txBody>
          <a:bodyPr wrap="square">
            <a:spAutoFit/>
          </a:bodyPr>
          <a:lstStyle>
            <a:lvl1pPr marL="287253" indent="-287253">
              <a:spcBef>
                <a:spcPts val="1224"/>
              </a:spcBef>
              <a:buClr>
                <a:schemeClr val="tx2"/>
              </a:buClr>
              <a:buFont typeface="Arial" pitchFamily="34" charset="0"/>
              <a:buChar char="•"/>
              <a:defRPr sz="3199">
                <a:gradFill>
                  <a:gsLst>
                    <a:gs pos="1250">
                      <a:schemeClr val="tx2"/>
                    </a:gs>
                    <a:gs pos="99000">
                      <a:schemeClr val="tx2"/>
                    </a:gs>
                  </a:gsLst>
                  <a:lin ang="5400000" scaled="0"/>
                </a:gradFill>
              </a:defRPr>
            </a:lvl1pPr>
            <a:lvl2pPr marL="531011" indent="-233127">
              <a:defRPr sz="2400"/>
            </a:lvl2pPr>
            <a:lvl3pPr marL="699380" indent="-168370">
              <a:tabLst/>
              <a:defRPr sz="2000"/>
            </a:lvl3pPr>
            <a:lvl4pPr marL="880701" indent="-181321">
              <a:defRPr/>
            </a:lvl4pPr>
            <a:lvl5pPr marL="1049070" indent="-1683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4588" y="1212850"/>
            <a:ext cx="5485699" cy="1985506"/>
          </a:xfrm>
        </p:spPr>
        <p:txBody>
          <a:bodyPr wrap="square">
            <a:spAutoFit/>
          </a:bodyPr>
          <a:lstStyle>
            <a:lvl1pPr marL="287253" indent="-287253">
              <a:spcBef>
                <a:spcPts val="1224"/>
              </a:spcBef>
              <a:buClr>
                <a:schemeClr val="tx2"/>
              </a:buClr>
              <a:buFont typeface="Arial" pitchFamily="34" charset="0"/>
              <a:buChar char="•"/>
              <a:defRPr sz="3199">
                <a:gradFill>
                  <a:gsLst>
                    <a:gs pos="1250">
                      <a:schemeClr val="tx2"/>
                    </a:gs>
                    <a:gs pos="99000">
                      <a:schemeClr val="tx2"/>
                    </a:gs>
                  </a:gsLst>
                  <a:lin ang="5400000" scaled="0"/>
                </a:gradFill>
              </a:defRPr>
            </a:lvl1pPr>
            <a:lvl2pPr marL="531011" indent="-233127">
              <a:defRPr sz="2400"/>
            </a:lvl2pPr>
            <a:lvl3pPr marL="699380" indent="-168370">
              <a:tabLst/>
              <a:defRPr sz="2000"/>
            </a:lvl3pPr>
            <a:lvl4pPr marL="880701" indent="-181321">
              <a:defRPr/>
            </a:lvl4pPr>
            <a:lvl5pPr marL="1049070" indent="-1683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1781652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05" y="1212850"/>
            <a:ext cx="5485699" cy="1985506"/>
          </a:xfrm>
        </p:spPr>
        <p:txBody>
          <a:bodyPr wrap="square">
            <a:spAutoFit/>
          </a:bodyPr>
          <a:lstStyle>
            <a:lvl1pPr marL="287253" indent="-287253">
              <a:spcBef>
                <a:spcPts val="1224"/>
              </a:spcBef>
              <a:buClr>
                <a:schemeClr val="tx1"/>
              </a:buClr>
              <a:buFont typeface="Arial" pitchFamily="34" charset="0"/>
              <a:buChar char="•"/>
              <a:defRPr sz="3199"/>
            </a:lvl1pPr>
            <a:lvl2pPr marL="531011" indent="-233127">
              <a:defRPr sz="2400"/>
            </a:lvl2pPr>
            <a:lvl3pPr marL="699380" indent="-168370">
              <a:tabLst/>
              <a:defRPr sz="2000"/>
            </a:lvl3pPr>
            <a:lvl4pPr marL="880701" indent="-181321">
              <a:defRPr/>
            </a:lvl4pPr>
            <a:lvl5pPr marL="1049070" indent="-1683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4588" y="1212850"/>
            <a:ext cx="5485699" cy="1985506"/>
          </a:xfrm>
        </p:spPr>
        <p:txBody>
          <a:bodyPr wrap="square">
            <a:spAutoFit/>
          </a:bodyPr>
          <a:lstStyle>
            <a:lvl1pPr marL="287253" indent="-287253">
              <a:spcBef>
                <a:spcPts val="1224"/>
              </a:spcBef>
              <a:buClr>
                <a:schemeClr val="tx1"/>
              </a:buClr>
              <a:buFont typeface="Arial" pitchFamily="34" charset="0"/>
              <a:buChar char="•"/>
              <a:defRPr sz="3199"/>
            </a:lvl1pPr>
            <a:lvl2pPr marL="531011" indent="-233127">
              <a:defRPr sz="2400"/>
            </a:lvl2pPr>
            <a:lvl3pPr marL="699380" indent="-168370">
              <a:tabLst/>
              <a:defRPr sz="2000"/>
            </a:lvl3pPr>
            <a:lvl4pPr marL="880701" indent="-181321">
              <a:defRPr/>
            </a:lvl4pPr>
            <a:lvl5pPr marL="1049070" indent="-1683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6829288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66168" y="1212851"/>
            <a:ext cx="11702553" cy="1935915"/>
          </a:xfrm>
        </p:spPr>
        <p:txBody>
          <a:bodyPr wrap="square">
            <a:spAutoFit/>
          </a:bodyPr>
          <a:lstStyle>
            <a:lvl1pPr>
              <a:defRPr sz="3600"/>
            </a:lvl1pPr>
            <a:lvl2pPr>
              <a:defRPr sz="2000"/>
            </a:lvl2pPr>
            <a:lvl3pPr>
              <a:defRPr sz="1800"/>
            </a:lvl3pPr>
            <a:lvl4pPr>
              <a:defRPr sz="1600"/>
            </a:lvl4pPr>
            <a:lvl5pPr>
              <a:defRPr sz="16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lvl1pPr>
              <a:defRPr sz="4800"/>
            </a:lvl1pPr>
          </a:lstStyle>
          <a:p>
            <a:r>
              <a:rPr lang="en-US" dirty="0"/>
              <a:t>Click to edit Master title style</a:t>
            </a:r>
          </a:p>
        </p:txBody>
      </p:sp>
    </p:spTree>
    <p:extLst>
      <p:ext uri="{BB962C8B-B14F-4D97-AF65-F5344CB8AC3E}">
        <p14:creationId xmlns:p14="http://schemas.microsoft.com/office/powerpoint/2010/main" val="553196831"/>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57813551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4" y="1209974"/>
            <a:ext cx="4570695" cy="1181862"/>
          </a:xfrm>
          <a:noFill/>
        </p:spPr>
        <p:txBody>
          <a:bodyPr wrap="square" tIns="91440" bIns="91440" anchor="t" anchorCtr="0">
            <a:spAutoFit/>
          </a:bodyPr>
          <a:lstStyle>
            <a:lvl1pPr>
              <a:defRPr sz="7197" spc="-100"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74604" y="3954463"/>
            <a:ext cx="4571417" cy="738664"/>
          </a:xfrm>
          <a:noFill/>
        </p:spPr>
        <p:txBody>
          <a:bodyPr wrap="square" lIns="182880" tIns="146304" rIns="182880" bIns="146304">
            <a:spAutoFit/>
          </a:bodyPr>
          <a:lstStyle>
            <a:lvl1pPr marL="0" indent="0">
              <a:spcBef>
                <a:spcPts val="0"/>
              </a:spcBef>
              <a:buNone/>
              <a:defRPr sz="3199" spc="0" baseline="0">
                <a:gradFill>
                  <a:gsLst>
                    <a:gs pos="0">
                      <a:schemeClr val="tx1"/>
                    </a:gs>
                    <a:gs pos="100000">
                      <a:schemeClr val="tx1"/>
                    </a:gs>
                  </a:gsLst>
                  <a:lin ang="5400000" scaled="0"/>
                </a:gradFill>
                <a:latin typeface="+mj-lt"/>
              </a:defRPr>
            </a:lvl1pPr>
          </a:lstStyle>
          <a:p>
            <a:pPr lvl="0"/>
            <a:r>
              <a:rPr lang="en-US"/>
              <a:t>Speaker Name</a:t>
            </a:r>
          </a:p>
        </p:txBody>
      </p:sp>
      <p:pic>
        <p:nvPicPr>
          <p:cNvPr id="7" name="Picture 6"/>
          <p:cNvPicPr>
            <a:picLocks noChangeAspect="1"/>
          </p:cNvPicPr>
          <p:nvPr userDrawn="1"/>
        </p:nvPicPr>
        <p:blipFill rotWithShape="1">
          <a:blip r:embed="rId2" cstate="screen">
            <a:extLst>
              <a:ext uri="{28A0092B-C50C-407E-A947-70E740481C1C}">
                <a14:useLocalDpi xmlns:a14="http://schemas.microsoft.com/office/drawing/2010/main"/>
              </a:ext>
            </a:extLst>
          </a:blip>
          <a:srcRect b="-6"/>
          <a:stretch/>
        </p:blipFill>
        <p:spPr>
          <a:xfrm>
            <a:off x="5302449" y="447"/>
            <a:ext cx="7130850" cy="6999980"/>
          </a:xfrm>
          <a:prstGeom prst="rect">
            <a:avLst/>
          </a:prstGeom>
        </p:spPr>
      </p:pic>
    </p:spTree>
    <p:extLst>
      <p:ext uri="{BB962C8B-B14F-4D97-AF65-F5344CB8AC3E}">
        <p14:creationId xmlns:p14="http://schemas.microsoft.com/office/powerpoint/2010/main" val="86528092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4" y="1209974"/>
            <a:ext cx="4570695" cy="1181862"/>
          </a:xfrm>
          <a:noFill/>
        </p:spPr>
        <p:txBody>
          <a:bodyPr wrap="square" tIns="91440" bIns="91440" anchor="t" anchorCtr="0">
            <a:spAutoFit/>
          </a:bodyPr>
          <a:lstStyle>
            <a:lvl1pPr>
              <a:defRPr sz="7197" spc="-100" baseline="0">
                <a:gradFill>
                  <a:gsLst>
                    <a:gs pos="0">
                      <a:schemeClr val="tx1"/>
                    </a:gs>
                    <a:gs pos="100000">
                      <a:schemeClr val="tx1"/>
                    </a:gs>
                  </a:gsLst>
                  <a:lin ang="5400000" scaled="0"/>
                </a:gradFill>
              </a:defRPr>
            </a:lvl1pPr>
          </a:lstStyle>
          <a:p>
            <a:r>
              <a:rPr lang="en-US"/>
              <a:t>Video title</a:t>
            </a:r>
          </a:p>
        </p:txBody>
      </p:sp>
      <p:pic>
        <p:nvPicPr>
          <p:cNvPr id="5" name="Picture 4"/>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5303171" y="1"/>
            <a:ext cx="7133302" cy="6999979"/>
          </a:xfrm>
          <a:prstGeom prst="rect">
            <a:avLst/>
          </a:prstGeom>
        </p:spPr>
      </p:pic>
    </p:spTree>
    <p:extLst>
      <p:ext uri="{BB962C8B-B14F-4D97-AF65-F5344CB8AC3E}">
        <p14:creationId xmlns:p14="http://schemas.microsoft.com/office/powerpoint/2010/main" val="427753254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4" y="2125663"/>
            <a:ext cx="11885683" cy="1181862"/>
          </a:xfrm>
          <a:noFill/>
        </p:spPr>
        <p:txBody>
          <a:bodyPr tIns="91440" bIns="91440" anchor="t" anchorCtr="0">
            <a:spAutoFit/>
          </a:bodyPr>
          <a:lstStyle>
            <a:lvl1pPr>
              <a:defRPr sz="7197"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33252802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4" y="2125663"/>
            <a:ext cx="11885683" cy="1181862"/>
          </a:xfrm>
          <a:noFill/>
        </p:spPr>
        <p:txBody>
          <a:bodyPr tIns="91440" bIns="91440" anchor="t" anchorCtr="0">
            <a:spAutoFit/>
          </a:bodyPr>
          <a:lstStyle>
            <a:lvl1pPr>
              <a:defRPr sz="7197"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04261028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50-50 Right Photo Layou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5" y="1241427"/>
            <a:ext cx="5485699" cy="2012859"/>
          </a:xfrm>
        </p:spPr>
        <p:txBody>
          <a:bodyPr>
            <a:spAutoFit/>
          </a:bodyPr>
          <a:lstStyle>
            <a:lvl1pPr>
              <a:defRPr sz="6598" baseline="0">
                <a:gradFill>
                  <a:gsLst>
                    <a:gs pos="1250">
                      <a:schemeClr val="tx1"/>
                    </a:gs>
                    <a:gs pos="100000">
                      <a:schemeClr val="tx1"/>
                    </a:gs>
                  </a:gsLst>
                  <a:lin ang="5400000" scaled="0"/>
                </a:gradFill>
              </a:defRPr>
            </a:lvl1pPr>
          </a:lstStyle>
          <a:p>
            <a:r>
              <a:rPr lang="en-US"/>
              <a:t>50/50 photo layout</a:t>
            </a:r>
          </a:p>
        </p:txBody>
      </p:sp>
      <p:sp>
        <p:nvSpPr>
          <p:cNvPr id="5" name="Picture Placeholder 4"/>
          <p:cNvSpPr>
            <a:spLocks noGrp="1"/>
          </p:cNvSpPr>
          <p:nvPr>
            <p:ph type="pic" sz="quarter" idx="10"/>
          </p:nvPr>
        </p:nvSpPr>
        <p:spPr bwMode="ltGray">
          <a:xfrm>
            <a:off x="6219031" y="1"/>
            <a:ext cx="6215857" cy="6992587"/>
          </a:xfrm>
          <a:blipFill>
            <a:blip r:embed="rId2"/>
            <a:stretch>
              <a:fillRect/>
            </a:stretch>
          </a:blipFill>
        </p:spPr>
        <p:txBody>
          <a:bodyPr tIns="548640" anchor="ctr" anchorCtr="0">
            <a:noAutofit/>
          </a:bodyPr>
          <a:lstStyle>
            <a:lvl1pPr marL="0" indent="0" algn="ctr">
              <a:buNone/>
              <a:defRPr sz="1599"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235980038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99984462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7398062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212849"/>
            <a:ext cx="12434888"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26" tIns="46626" rIns="46626" bIns="46626" numCol="1" spcCol="0" rtlCol="0" fromWordArt="0" anchor="ctr" anchorCtr="0" forceAA="0" compatLnSpc="1">
            <a:prstTxWarp prst="textNoShape">
              <a:avLst/>
            </a:prstTxWarp>
            <a:noAutofit/>
          </a:bodyPr>
          <a:lstStyle/>
          <a:p>
            <a:pPr algn="ctr" defTabSz="932200" fontAlgn="base">
              <a:spcBef>
                <a:spcPct val="0"/>
              </a:spcBef>
              <a:spcAft>
                <a:spcPct val="0"/>
              </a:spcAft>
            </a:pPr>
            <a:endParaRPr lang="en-US" sz="180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03" y="1221159"/>
            <a:ext cx="11885682" cy="1995931"/>
          </a:xfrm>
        </p:spPr>
        <p:txBody>
          <a:bodyPr/>
          <a:lstStyle>
            <a:lvl1pPr marL="0" indent="0">
              <a:buNone/>
              <a:defRPr sz="3299">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45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43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325"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6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98799310"/>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Closing logo slide_color">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03" y="6294478"/>
            <a:ext cx="11885682" cy="403187"/>
          </a:xfrm>
          <a:prstGeom prst="rect">
            <a:avLst/>
          </a:prstGeom>
          <a:noFill/>
          <a:ln w="12700">
            <a:noFill/>
            <a:miter lim="800000"/>
            <a:headEnd type="none" w="sm" len="sm"/>
            <a:tailEnd type="none" w="sm" len="sm"/>
          </a:ln>
          <a:effectLst/>
        </p:spPr>
        <p:txBody>
          <a:bodyPr vert="horz" wrap="square" lIns="182831" tIns="146264" rIns="182831" bIns="146264" numCol="1" anchor="t" anchorCtr="0" compatLnSpc="1">
            <a:prstTxWarp prst="textNoShape">
              <a:avLst/>
            </a:prstTxWarp>
            <a:spAutoFit/>
          </a:bodyPr>
          <a:lstStyle/>
          <a:p>
            <a:pPr defTabSz="932018" eaLnBrk="0" hangingPunct="0"/>
            <a:r>
              <a:rPr lang="en-US" sz="700">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userDrawn="1"/>
        </p:nvPicPr>
        <p:blipFill rotWithShape="1">
          <a:blip r:embed="rId2" cstate="screen">
            <a:extLst>
              <a:ext uri="{28A0092B-C50C-407E-A947-70E740481C1C}">
                <a14:useLocalDpi xmlns:a14="http://schemas.microsoft.com/office/drawing/2010/main"/>
              </a:ext>
            </a:extLst>
          </a:blip>
          <a:srcRect b="1380"/>
          <a:stretch/>
        </p:blipFill>
        <p:spPr bwMode="invGray">
          <a:xfrm>
            <a:off x="457142" y="479425"/>
            <a:ext cx="1449754" cy="306604"/>
          </a:xfrm>
          <a:prstGeom prst="rect">
            <a:avLst/>
          </a:prstGeom>
        </p:spPr>
      </p:pic>
    </p:spTree>
    <p:extLst>
      <p:ext uri="{BB962C8B-B14F-4D97-AF65-F5344CB8AC3E}">
        <p14:creationId xmlns:p14="http://schemas.microsoft.com/office/powerpoint/2010/main" val="310616712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800"/>
            </a:lvl1pPr>
          </a:lstStyle>
          <a:p>
            <a:r>
              <a:rPr lang="en-US" dirty="0"/>
              <a:t>Click to edit Master title style</a:t>
            </a:r>
          </a:p>
        </p:txBody>
      </p:sp>
      <p:sp>
        <p:nvSpPr>
          <p:cNvPr id="4" name="Text Placeholder 3"/>
          <p:cNvSpPr>
            <a:spLocks noGrp="1"/>
          </p:cNvSpPr>
          <p:nvPr>
            <p:ph type="body" sz="quarter" idx="10"/>
          </p:nvPr>
        </p:nvSpPr>
        <p:spPr>
          <a:xfrm>
            <a:off x="366169" y="1212849"/>
            <a:ext cx="5608081" cy="1812804"/>
          </a:xfrm>
        </p:spPr>
        <p:txBody>
          <a:bodyPr wrap="square">
            <a:spAutoFit/>
          </a:bodyPr>
          <a:lstStyle>
            <a:lvl1pPr marL="0" indent="0">
              <a:spcBef>
                <a:spcPts val="1224"/>
              </a:spcBef>
              <a:buClr>
                <a:schemeClr val="tx1"/>
              </a:buClr>
              <a:buFont typeface="Wingdings" pitchFamily="2" charset="2"/>
              <a:buNone/>
              <a:defRPr sz="3200">
                <a:gradFill>
                  <a:gsLst>
                    <a:gs pos="1250">
                      <a:schemeClr val="tx2"/>
                    </a:gs>
                    <a:gs pos="99000">
                      <a:schemeClr val="tx2"/>
                    </a:gs>
                  </a:gsLst>
                  <a:lin ang="5400000" scaled="0"/>
                </a:gradFill>
              </a:defRPr>
            </a:lvl1pPr>
            <a:lvl2pPr marL="0" indent="0">
              <a:buNone/>
              <a:defRPr sz="1800"/>
            </a:lvl2pPr>
            <a:lvl3pPr marL="231738" indent="0">
              <a:buNone/>
              <a:tabLst/>
              <a:defRPr sz="1800"/>
            </a:lvl3pPr>
            <a:lvl4pPr marL="460302" indent="0">
              <a:buNone/>
              <a:defRPr sz="1600"/>
            </a:lvl4pPr>
            <a:lvl5pPr marL="685691" indent="0">
              <a:buNone/>
              <a:tabLst/>
              <a:defRPr sz="16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461209" y="1211287"/>
            <a:ext cx="5608081" cy="1812804"/>
          </a:xfrm>
        </p:spPr>
        <p:txBody>
          <a:bodyPr wrap="square">
            <a:spAutoFit/>
          </a:bodyPr>
          <a:lstStyle>
            <a:lvl1pPr marL="0" indent="0">
              <a:spcBef>
                <a:spcPts val="1224"/>
              </a:spcBef>
              <a:buClr>
                <a:schemeClr val="tx1"/>
              </a:buClr>
              <a:buFont typeface="Wingdings" pitchFamily="2" charset="2"/>
              <a:buNone/>
              <a:defRPr sz="3200">
                <a:gradFill>
                  <a:gsLst>
                    <a:gs pos="1250">
                      <a:schemeClr val="tx2"/>
                    </a:gs>
                    <a:gs pos="99000">
                      <a:schemeClr val="tx2"/>
                    </a:gs>
                  </a:gsLst>
                  <a:lin ang="5400000" scaled="0"/>
                </a:gradFill>
              </a:defRPr>
            </a:lvl1pPr>
            <a:lvl2pPr marL="0" indent="0">
              <a:buNone/>
              <a:defRPr sz="1800"/>
            </a:lvl2pPr>
            <a:lvl3pPr marL="231738" indent="0">
              <a:buNone/>
              <a:tabLst/>
              <a:defRPr sz="1800"/>
            </a:lvl3pPr>
            <a:lvl4pPr marL="460302" indent="0">
              <a:buNone/>
              <a:defRPr sz="1600"/>
            </a:lvl4pPr>
            <a:lvl5pPr marL="685691" indent="0">
              <a:buNone/>
              <a:tabLst/>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68534032"/>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04" y="1212851"/>
            <a:ext cx="11885683" cy="2443746"/>
          </a:xfrm>
          <a:prstGeom prst="rect">
            <a:avLst/>
          </a:prstGeom>
        </p:spPr>
        <p:txBody>
          <a:bodyPr/>
          <a:lstStyle>
            <a:lvl1pPr marL="290428" indent="-290428">
              <a:buClr>
                <a:schemeClr val="tx1"/>
              </a:buClr>
              <a:buSzPct val="90000"/>
              <a:buFont typeface="Arial" pitchFamily="34" charset="0"/>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33" indent="-280907">
              <a:buClr>
                <a:schemeClr val="tx1"/>
              </a:buClr>
              <a:buSzPct val="90000"/>
              <a:buFont typeface="Arial" pitchFamily="34" charset="0"/>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761" indent="-290428">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295" indent="-228534">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828" indent="-228534">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363076"/>
            <a:ext cx="12434889"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329462583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Walkin Microsoft Ready - Editable">
    <p:bg>
      <p:bgPr>
        <a:solidFill>
          <a:schemeClr val="accent1"/>
        </a:solidFill>
        <a:effectLst/>
      </p:bgPr>
    </p:bg>
    <p:spTree>
      <p:nvGrpSpPr>
        <p:cNvPr id="1" name=""/>
        <p:cNvGrpSpPr/>
        <p:nvPr/>
      </p:nvGrpSpPr>
      <p:grpSpPr>
        <a:xfrm>
          <a:off x="0" y="0"/>
          <a:ext cx="0" cy="0"/>
          <a:chOff x="0" y="0"/>
          <a:chExt cx="0" cy="0"/>
        </a:xfrm>
      </p:grpSpPr>
      <p:pic>
        <p:nvPicPr>
          <p:cNvPr id="6" name="MS logo white - EMF"/>
          <p:cNvPicPr>
            <a:picLocks noChangeAspect="1"/>
          </p:cNvPicPr>
          <p:nvPr userDrawn="1"/>
        </p:nvPicPr>
        <p:blipFill>
          <a:blip r:embed="rId2"/>
          <a:stretch>
            <a:fillRect/>
          </a:stretch>
        </p:blipFill>
        <p:spPr bwMode="black">
          <a:xfrm>
            <a:off x="460630" y="479425"/>
            <a:ext cx="1451658" cy="310896"/>
          </a:xfrm>
          <a:prstGeom prst="rect">
            <a:avLst/>
          </a:prstGeom>
        </p:spPr>
      </p:pic>
      <p:grpSp>
        <p:nvGrpSpPr>
          <p:cNvPr id="12" name="Group 11"/>
          <p:cNvGrpSpPr/>
          <p:nvPr userDrawn="1"/>
        </p:nvGrpSpPr>
        <p:grpSpPr>
          <a:xfrm>
            <a:off x="6993613" y="6118886"/>
            <a:ext cx="5215827" cy="627864"/>
            <a:chOff x="274638" y="4554931"/>
            <a:chExt cx="5216493" cy="627864"/>
          </a:xfrm>
        </p:grpSpPr>
        <p:sp>
          <p:nvSpPr>
            <p:cNvPr id="7" name="TextBox 6"/>
            <p:cNvSpPr txBox="1"/>
            <p:nvPr userDrawn="1"/>
          </p:nvSpPr>
          <p:spPr>
            <a:xfrm>
              <a:off x="274638" y="4554931"/>
              <a:ext cx="5216493" cy="627864"/>
            </a:xfrm>
            <a:prstGeom prst="rect">
              <a:avLst/>
            </a:prstGeom>
            <a:noFill/>
          </p:spPr>
          <p:txBody>
            <a:bodyPr wrap="none" lIns="182880" tIns="146304" rIns="182880" bIns="146304" rtlCol="0">
              <a:spAutoFit/>
            </a:bodyPr>
            <a:lstStyle/>
            <a:p>
              <a:pPr>
                <a:lnSpc>
                  <a:spcPct val="90000"/>
                </a:lnSpc>
                <a:spcAft>
                  <a:spcPts val="600"/>
                </a:spcAft>
              </a:pPr>
              <a:r>
                <a:rPr lang="en-US" sz="2400">
                  <a:gradFill>
                    <a:gsLst>
                      <a:gs pos="2917">
                        <a:schemeClr val="tx1"/>
                      </a:gs>
                      <a:gs pos="30000">
                        <a:schemeClr val="tx1"/>
                      </a:gs>
                    </a:gsLst>
                    <a:lin ang="5400000" scaled="0"/>
                  </a:gradFill>
                </a:rPr>
                <a:t>Las Vegas, Nevada	July 17–21, 2017</a:t>
              </a:r>
            </a:p>
          </p:txBody>
        </p:sp>
        <p:cxnSp>
          <p:nvCxnSpPr>
            <p:cNvPr id="10" name="Straight Connector 9"/>
            <p:cNvCxnSpPr>
              <a:cxnSpLocks/>
            </p:cNvCxnSpPr>
            <p:nvPr userDrawn="1"/>
          </p:nvCxnSpPr>
          <p:spPr>
            <a:xfrm>
              <a:off x="3059781" y="4673270"/>
              <a:ext cx="0" cy="365756"/>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extBox 1">
            <a:extLst>
              <a:ext uri="{FF2B5EF4-FFF2-40B4-BE49-F238E27FC236}">
                <a16:creationId xmlns:a16="http://schemas.microsoft.com/office/drawing/2014/main" id="{056C9DEE-6F0F-4952-B2B1-A47AFA7F3DE1}"/>
              </a:ext>
            </a:extLst>
          </p:cNvPr>
          <p:cNvSpPr txBox="1"/>
          <p:nvPr userDrawn="1"/>
        </p:nvSpPr>
        <p:spPr>
          <a:xfrm>
            <a:off x="225783" y="1871025"/>
            <a:ext cx="5956512" cy="1043363"/>
          </a:xfrm>
          <a:prstGeom prst="rect">
            <a:avLst/>
          </a:prstGeom>
          <a:noFill/>
        </p:spPr>
        <p:txBody>
          <a:bodyPr wrap="none" lIns="182857" tIns="146285" rIns="182857" bIns="146285" rtlCol="0">
            <a:spAutoFit/>
          </a:bodyPr>
          <a:lstStyle/>
          <a:p>
            <a:pPr>
              <a:lnSpc>
                <a:spcPct val="90000"/>
              </a:lnSpc>
              <a:spcAft>
                <a:spcPts val="600"/>
              </a:spcAft>
            </a:pPr>
            <a:r>
              <a:rPr lang="en-US" sz="5399">
                <a:gradFill>
                  <a:gsLst>
                    <a:gs pos="2917">
                      <a:schemeClr val="tx1"/>
                    </a:gs>
                    <a:gs pos="30000">
                      <a:schemeClr val="tx1"/>
                    </a:gs>
                  </a:gsLst>
                  <a:lin ang="5400000" scaled="0"/>
                </a:gradFill>
                <a:latin typeface="+mj-lt"/>
              </a:rPr>
              <a:t>Microsoft Ready to</a:t>
            </a:r>
          </a:p>
        </p:txBody>
      </p:sp>
      <p:sp>
        <p:nvSpPr>
          <p:cNvPr id="5" name="Text Placeholder 4">
            <a:extLst>
              <a:ext uri="{FF2B5EF4-FFF2-40B4-BE49-F238E27FC236}">
                <a16:creationId xmlns:a16="http://schemas.microsoft.com/office/drawing/2014/main" id="{65CD16D0-030B-4E01-8C7E-8FA7B612BB85}"/>
              </a:ext>
            </a:extLst>
          </p:cNvPr>
          <p:cNvSpPr>
            <a:spLocks noGrp="1"/>
          </p:cNvSpPr>
          <p:nvPr>
            <p:ph type="body" sz="quarter" idx="10" hasCustomPrompt="1"/>
          </p:nvPr>
        </p:nvSpPr>
        <p:spPr>
          <a:xfrm>
            <a:off x="5740641" y="1871024"/>
            <a:ext cx="6399983" cy="1042416"/>
          </a:xfrm>
        </p:spPr>
        <p:txBody>
          <a:bodyPr lIns="182880" tIns="146304" rIns="182880" bIns="146304"/>
          <a:lstStyle>
            <a:lvl1pPr marL="0" indent="0">
              <a:buNone/>
              <a:defRPr sz="5399"/>
            </a:lvl1pPr>
          </a:lstStyle>
          <a:p>
            <a:pPr lvl="0"/>
            <a:r>
              <a:rPr lang="en-US"/>
              <a:t>&lt;theme word here&gt;</a:t>
            </a:r>
          </a:p>
        </p:txBody>
      </p:sp>
      <p:sp>
        <p:nvSpPr>
          <p:cNvPr id="11" name="TextBox 10">
            <a:extLst>
              <a:ext uri="{FF2B5EF4-FFF2-40B4-BE49-F238E27FC236}">
                <a16:creationId xmlns:a16="http://schemas.microsoft.com/office/drawing/2014/main" id="{E83994D1-B42D-4DF0-86D5-48A780335374}"/>
              </a:ext>
            </a:extLst>
          </p:cNvPr>
          <p:cNvSpPr txBox="1"/>
          <p:nvPr userDrawn="1"/>
        </p:nvSpPr>
        <p:spPr>
          <a:xfrm>
            <a:off x="206122" y="2651451"/>
            <a:ext cx="5774201" cy="1043363"/>
          </a:xfrm>
          <a:prstGeom prst="rect">
            <a:avLst/>
          </a:prstGeom>
          <a:noFill/>
        </p:spPr>
        <p:txBody>
          <a:bodyPr wrap="square" lIns="182857" tIns="146285" rIns="182857" bIns="146285" rtlCol="0">
            <a:spAutoFit/>
          </a:bodyPr>
          <a:lstStyle/>
          <a:p>
            <a:pPr algn="r">
              <a:lnSpc>
                <a:spcPct val="90000"/>
              </a:lnSpc>
              <a:spcAft>
                <a:spcPts val="600"/>
              </a:spcAft>
            </a:pPr>
            <a:r>
              <a:rPr lang="en-US" sz="5399">
                <a:gradFill>
                  <a:gsLst>
                    <a:gs pos="2917">
                      <a:schemeClr val="tx1"/>
                    </a:gs>
                    <a:gs pos="30000">
                      <a:schemeClr val="tx1"/>
                    </a:gs>
                  </a:gsLst>
                  <a:lin ang="5400000" scaled="0"/>
                </a:gradFill>
                <a:latin typeface="+mj-lt"/>
              </a:rPr>
              <a:t>to</a:t>
            </a:r>
          </a:p>
        </p:txBody>
      </p:sp>
      <p:sp>
        <p:nvSpPr>
          <p:cNvPr id="13" name="Text Placeholder 4">
            <a:extLst>
              <a:ext uri="{FF2B5EF4-FFF2-40B4-BE49-F238E27FC236}">
                <a16:creationId xmlns:a16="http://schemas.microsoft.com/office/drawing/2014/main" id="{8EA71668-2A88-4115-853E-BEC05FB59E72}"/>
              </a:ext>
            </a:extLst>
          </p:cNvPr>
          <p:cNvSpPr>
            <a:spLocks noGrp="1"/>
          </p:cNvSpPr>
          <p:nvPr>
            <p:ph type="body" sz="quarter" idx="11" hasCustomPrompt="1"/>
          </p:nvPr>
        </p:nvSpPr>
        <p:spPr>
          <a:xfrm>
            <a:off x="5740641" y="2651451"/>
            <a:ext cx="6399983" cy="1043363"/>
          </a:xfrm>
        </p:spPr>
        <p:txBody>
          <a:bodyPr lIns="182880" tIns="146304" rIns="182880" bIns="146304"/>
          <a:lstStyle>
            <a:lvl1pPr marL="0" indent="0">
              <a:buNone/>
              <a:defRPr sz="5399"/>
            </a:lvl1pPr>
          </a:lstStyle>
          <a:p>
            <a:pPr lvl="0"/>
            <a:r>
              <a:rPr lang="en-US"/>
              <a:t>&lt;theme word here&gt;</a:t>
            </a:r>
          </a:p>
        </p:txBody>
      </p:sp>
      <p:sp>
        <p:nvSpPr>
          <p:cNvPr id="14" name="TextBox 13">
            <a:extLst>
              <a:ext uri="{FF2B5EF4-FFF2-40B4-BE49-F238E27FC236}">
                <a16:creationId xmlns:a16="http://schemas.microsoft.com/office/drawing/2014/main" id="{70274CE8-0669-40AC-B5B3-94E0883E20B7}"/>
              </a:ext>
            </a:extLst>
          </p:cNvPr>
          <p:cNvSpPr txBox="1"/>
          <p:nvPr userDrawn="1"/>
        </p:nvSpPr>
        <p:spPr>
          <a:xfrm>
            <a:off x="206122" y="3445275"/>
            <a:ext cx="5774201" cy="1043363"/>
          </a:xfrm>
          <a:prstGeom prst="rect">
            <a:avLst/>
          </a:prstGeom>
          <a:noFill/>
        </p:spPr>
        <p:txBody>
          <a:bodyPr wrap="square" lIns="182857" tIns="146285" rIns="182857" bIns="146285" rtlCol="0">
            <a:spAutoFit/>
          </a:bodyPr>
          <a:lstStyle/>
          <a:p>
            <a:pPr algn="r">
              <a:lnSpc>
                <a:spcPct val="90000"/>
              </a:lnSpc>
              <a:spcAft>
                <a:spcPts val="600"/>
              </a:spcAft>
            </a:pPr>
            <a:r>
              <a:rPr lang="en-US" sz="5399">
                <a:gradFill>
                  <a:gsLst>
                    <a:gs pos="2917">
                      <a:schemeClr val="tx1"/>
                    </a:gs>
                    <a:gs pos="30000">
                      <a:schemeClr val="tx1"/>
                    </a:gs>
                  </a:gsLst>
                  <a:lin ang="5400000" scaled="0"/>
                </a:gradFill>
                <a:latin typeface="+mj-lt"/>
              </a:rPr>
              <a:t>to</a:t>
            </a:r>
          </a:p>
        </p:txBody>
      </p:sp>
      <p:sp>
        <p:nvSpPr>
          <p:cNvPr id="15" name="Text Placeholder 4">
            <a:extLst>
              <a:ext uri="{FF2B5EF4-FFF2-40B4-BE49-F238E27FC236}">
                <a16:creationId xmlns:a16="http://schemas.microsoft.com/office/drawing/2014/main" id="{46AE5335-01B3-4932-AE7C-C7409C947F67}"/>
              </a:ext>
            </a:extLst>
          </p:cNvPr>
          <p:cNvSpPr>
            <a:spLocks noGrp="1"/>
          </p:cNvSpPr>
          <p:nvPr>
            <p:ph type="body" sz="quarter" idx="12" hasCustomPrompt="1"/>
          </p:nvPr>
        </p:nvSpPr>
        <p:spPr>
          <a:xfrm>
            <a:off x="5740641" y="3445275"/>
            <a:ext cx="6399983" cy="1043363"/>
          </a:xfrm>
        </p:spPr>
        <p:txBody>
          <a:bodyPr lIns="182880" tIns="146304" rIns="182880" bIns="146304"/>
          <a:lstStyle>
            <a:lvl1pPr marL="0" indent="0">
              <a:buNone/>
              <a:defRPr sz="5399"/>
            </a:lvl1pPr>
          </a:lstStyle>
          <a:p>
            <a:pPr lvl="0"/>
            <a:r>
              <a:rPr lang="en-US"/>
              <a:t>&lt;theme word here&gt;</a:t>
            </a:r>
          </a:p>
        </p:txBody>
      </p:sp>
      <p:sp>
        <p:nvSpPr>
          <p:cNvPr id="16" name="TextBox 15">
            <a:extLst>
              <a:ext uri="{FF2B5EF4-FFF2-40B4-BE49-F238E27FC236}">
                <a16:creationId xmlns:a16="http://schemas.microsoft.com/office/drawing/2014/main" id="{FAA1E864-D76C-4EE8-B187-3A722343D017}"/>
              </a:ext>
            </a:extLst>
          </p:cNvPr>
          <p:cNvSpPr txBox="1"/>
          <p:nvPr userDrawn="1"/>
        </p:nvSpPr>
        <p:spPr>
          <a:xfrm>
            <a:off x="5025448" y="4225701"/>
            <a:ext cx="6466010" cy="1043363"/>
          </a:xfrm>
          <a:prstGeom prst="rect">
            <a:avLst/>
          </a:prstGeom>
          <a:noFill/>
        </p:spPr>
        <p:txBody>
          <a:bodyPr wrap="none" lIns="182857" tIns="146285" rIns="182857" bIns="146285" rtlCol="0">
            <a:spAutoFit/>
          </a:bodyPr>
          <a:lstStyle/>
          <a:p>
            <a:pPr>
              <a:lnSpc>
                <a:spcPct val="90000"/>
              </a:lnSpc>
              <a:spcAft>
                <a:spcPts val="600"/>
              </a:spcAft>
            </a:pPr>
            <a:r>
              <a:rPr lang="en-US" sz="5399">
                <a:gradFill>
                  <a:gsLst>
                    <a:gs pos="2917">
                      <a:schemeClr val="tx1"/>
                    </a:gs>
                    <a:gs pos="30000">
                      <a:schemeClr val="tx1"/>
                    </a:gs>
                  </a:gsLst>
                  <a:lin ang="5400000" scaled="0"/>
                </a:gradFill>
                <a:latin typeface="+mj-lt"/>
              </a:rPr>
              <a:t>to keep transforming</a:t>
            </a:r>
          </a:p>
        </p:txBody>
      </p:sp>
    </p:spTree>
    <p:extLst>
      <p:ext uri="{BB962C8B-B14F-4D97-AF65-F5344CB8AC3E}">
        <p14:creationId xmlns:p14="http://schemas.microsoft.com/office/powerpoint/2010/main" val="1842072266"/>
      </p:ext>
    </p:extLst>
  </p:cSld>
  <p:clrMapOvr>
    <a:overrideClrMapping bg1="dk1" tx1="lt1" bg2="dk2" tx2="lt2" accent1="accent1" accent2="accent2" accent3="accent3" accent4="accent4" accent5="accent5" accent6="accent6" hlink="hlink" folHlink="folHlink"/>
  </p:clrMapOvr>
  <p:transition spd="med">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Walkin Microsoft Ready - Generic">
    <p:bg>
      <p:bgPr>
        <a:solidFill>
          <a:schemeClr val="accent1"/>
        </a:solidFill>
        <a:effectLst/>
      </p:bgPr>
    </p:bg>
    <p:spTree>
      <p:nvGrpSpPr>
        <p:cNvPr id="1" name=""/>
        <p:cNvGrpSpPr/>
        <p:nvPr/>
      </p:nvGrpSpPr>
      <p:grpSpPr>
        <a:xfrm>
          <a:off x="0" y="0"/>
          <a:ext cx="0" cy="0"/>
          <a:chOff x="0" y="0"/>
          <a:chExt cx="0" cy="0"/>
        </a:xfrm>
      </p:grpSpPr>
      <p:pic>
        <p:nvPicPr>
          <p:cNvPr id="6" name="MS logo white - EMF"/>
          <p:cNvPicPr>
            <a:picLocks noChangeAspect="1"/>
          </p:cNvPicPr>
          <p:nvPr userDrawn="1"/>
        </p:nvPicPr>
        <p:blipFill>
          <a:blip r:embed="rId2"/>
          <a:stretch>
            <a:fillRect/>
          </a:stretch>
        </p:blipFill>
        <p:spPr bwMode="black">
          <a:xfrm>
            <a:off x="460630" y="479425"/>
            <a:ext cx="1451658" cy="310896"/>
          </a:xfrm>
          <a:prstGeom prst="rect">
            <a:avLst/>
          </a:prstGeom>
        </p:spPr>
      </p:pic>
      <p:grpSp>
        <p:nvGrpSpPr>
          <p:cNvPr id="12" name="Group 11"/>
          <p:cNvGrpSpPr/>
          <p:nvPr userDrawn="1"/>
        </p:nvGrpSpPr>
        <p:grpSpPr>
          <a:xfrm>
            <a:off x="6993613" y="6118886"/>
            <a:ext cx="5215827" cy="627864"/>
            <a:chOff x="274638" y="4554931"/>
            <a:chExt cx="5216493" cy="627864"/>
          </a:xfrm>
        </p:grpSpPr>
        <p:sp>
          <p:nvSpPr>
            <p:cNvPr id="7" name="TextBox 6"/>
            <p:cNvSpPr txBox="1"/>
            <p:nvPr userDrawn="1"/>
          </p:nvSpPr>
          <p:spPr>
            <a:xfrm>
              <a:off x="274638" y="4554931"/>
              <a:ext cx="5216493" cy="627864"/>
            </a:xfrm>
            <a:prstGeom prst="rect">
              <a:avLst/>
            </a:prstGeom>
            <a:noFill/>
          </p:spPr>
          <p:txBody>
            <a:bodyPr wrap="none" lIns="182880" tIns="146304" rIns="182880" bIns="146304" rtlCol="0">
              <a:spAutoFit/>
            </a:bodyPr>
            <a:lstStyle/>
            <a:p>
              <a:pPr>
                <a:lnSpc>
                  <a:spcPct val="90000"/>
                </a:lnSpc>
                <a:spcAft>
                  <a:spcPts val="600"/>
                </a:spcAft>
              </a:pPr>
              <a:r>
                <a:rPr lang="en-US" sz="2400">
                  <a:gradFill>
                    <a:gsLst>
                      <a:gs pos="2917">
                        <a:schemeClr val="tx1"/>
                      </a:gs>
                      <a:gs pos="30000">
                        <a:schemeClr val="tx1"/>
                      </a:gs>
                    </a:gsLst>
                    <a:lin ang="5400000" scaled="0"/>
                  </a:gradFill>
                </a:rPr>
                <a:t>Las Vegas, Nevada	July 17–21, 2017</a:t>
              </a:r>
            </a:p>
          </p:txBody>
        </p:sp>
        <p:cxnSp>
          <p:nvCxnSpPr>
            <p:cNvPr id="10" name="Straight Connector 9"/>
            <p:cNvCxnSpPr>
              <a:cxnSpLocks/>
            </p:cNvCxnSpPr>
            <p:nvPr userDrawn="1"/>
          </p:nvCxnSpPr>
          <p:spPr>
            <a:xfrm>
              <a:off x="3059781" y="4673270"/>
              <a:ext cx="0" cy="365756"/>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extBox 1">
            <a:extLst>
              <a:ext uri="{FF2B5EF4-FFF2-40B4-BE49-F238E27FC236}">
                <a16:creationId xmlns:a16="http://schemas.microsoft.com/office/drawing/2014/main" id="{056C9DEE-6F0F-4952-B2B1-A47AFA7F3DE1}"/>
              </a:ext>
            </a:extLst>
          </p:cNvPr>
          <p:cNvSpPr txBox="1"/>
          <p:nvPr userDrawn="1"/>
        </p:nvSpPr>
        <p:spPr>
          <a:xfrm>
            <a:off x="225783" y="1871025"/>
            <a:ext cx="8026430" cy="1043363"/>
          </a:xfrm>
          <a:prstGeom prst="rect">
            <a:avLst/>
          </a:prstGeom>
          <a:noFill/>
        </p:spPr>
        <p:txBody>
          <a:bodyPr wrap="none" lIns="182857" tIns="146285" rIns="182857" bIns="146285" rtlCol="0">
            <a:spAutoFit/>
          </a:bodyPr>
          <a:lstStyle/>
          <a:p>
            <a:pPr>
              <a:lnSpc>
                <a:spcPct val="90000"/>
              </a:lnSpc>
              <a:spcAft>
                <a:spcPts val="600"/>
              </a:spcAft>
            </a:pPr>
            <a:r>
              <a:rPr lang="en-US" sz="5399">
                <a:gradFill>
                  <a:gsLst>
                    <a:gs pos="2917">
                      <a:schemeClr val="tx1"/>
                    </a:gs>
                    <a:gs pos="30000">
                      <a:schemeClr val="tx1"/>
                    </a:gs>
                  </a:gsLst>
                  <a:lin ang="5400000" scaled="0"/>
                </a:gradFill>
                <a:latin typeface="+mj-lt"/>
              </a:rPr>
              <a:t>Microsoft Ready to believe</a:t>
            </a:r>
          </a:p>
        </p:txBody>
      </p:sp>
      <p:sp>
        <p:nvSpPr>
          <p:cNvPr id="11" name="TextBox 10">
            <a:extLst>
              <a:ext uri="{FF2B5EF4-FFF2-40B4-BE49-F238E27FC236}">
                <a16:creationId xmlns:a16="http://schemas.microsoft.com/office/drawing/2014/main" id="{E83994D1-B42D-4DF0-86D5-48A780335374}"/>
              </a:ext>
            </a:extLst>
          </p:cNvPr>
          <p:cNvSpPr txBox="1"/>
          <p:nvPr userDrawn="1"/>
        </p:nvSpPr>
        <p:spPr>
          <a:xfrm>
            <a:off x="5025448" y="2651451"/>
            <a:ext cx="5774201" cy="1043363"/>
          </a:xfrm>
          <a:prstGeom prst="rect">
            <a:avLst/>
          </a:prstGeom>
          <a:noFill/>
        </p:spPr>
        <p:txBody>
          <a:bodyPr wrap="square" lIns="182857" tIns="146285" rIns="182857" bIns="146285" rtlCol="0">
            <a:spAutoFit/>
          </a:bodyPr>
          <a:lstStyle/>
          <a:p>
            <a:pPr algn="l">
              <a:lnSpc>
                <a:spcPct val="90000"/>
              </a:lnSpc>
              <a:spcAft>
                <a:spcPts val="600"/>
              </a:spcAft>
            </a:pPr>
            <a:r>
              <a:rPr lang="en-US" sz="5399">
                <a:gradFill>
                  <a:gsLst>
                    <a:gs pos="2917">
                      <a:schemeClr val="tx1"/>
                    </a:gs>
                    <a:gs pos="30000">
                      <a:schemeClr val="tx1"/>
                    </a:gs>
                  </a:gsLst>
                  <a:lin ang="5400000" scaled="0"/>
                </a:gradFill>
                <a:latin typeface="+mj-lt"/>
              </a:rPr>
              <a:t>to explore </a:t>
            </a:r>
          </a:p>
        </p:txBody>
      </p:sp>
      <p:sp>
        <p:nvSpPr>
          <p:cNvPr id="14" name="TextBox 13">
            <a:extLst>
              <a:ext uri="{FF2B5EF4-FFF2-40B4-BE49-F238E27FC236}">
                <a16:creationId xmlns:a16="http://schemas.microsoft.com/office/drawing/2014/main" id="{70274CE8-0669-40AC-B5B3-94E0883E20B7}"/>
              </a:ext>
            </a:extLst>
          </p:cNvPr>
          <p:cNvSpPr txBox="1"/>
          <p:nvPr userDrawn="1"/>
        </p:nvSpPr>
        <p:spPr>
          <a:xfrm>
            <a:off x="5025448" y="3445275"/>
            <a:ext cx="5774201" cy="1043363"/>
          </a:xfrm>
          <a:prstGeom prst="rect">
            <a:avLst/>
          </a:prstGeom>
          <a:noFill/>
        </p:spPr>
        <p:txBody>
          <a:bodyPr wrap="square" lIns="182857" tIns="146285" rIns="182857" bIns="146285" rtlCol="0">
            <a:spAutoFit/>
          </a:bodyPr>
          <a:lstStyle/>
          <a:p>
            <a:pPr algn="l">
              <a:lnSpc>
                <a:spcPct val="90000"/>
              </a:lnSpc>
              <a:spcAft>
                <a:spcPts val="600"/>
              </a:spcAft>
            </a:pPr>
            <a:r>
              <a:rPr lang="en-US" sz="5399">
                <a:gradFill>
                  <a:gsLst>
                    <a:gs pos="2917">
                      <a:schemeClr val="tx1"/>
                    </a:gs>
                    <a:gs pos="30000">
                      <a:schemeClr val="tx1"/>
                    </a:gs>
                  </a:gsLst>
                  <a:lin ang="5400000" scaled="0"/>
                </a:gradFill>
                <a:latin typeface="+mj-lt"/>
              </a:rPr>
              <a:t>to win</a:t>
            </a:r>
          </a:p>
        </p:txBody>
      </p:sp>
      <p:sp>
        <p:nvSpPr>
          <p:cNvPr id="16" name="TextBox 15">
            <a:extLst>
              <a:ext uri="{FF2B5EF4-FFF2-40B4-BE49-F238E27FC236}">
                <a16:creationId xmlns:a16="http://schemas.microsoft.com/office/drawing/2014/main" id="{FAA1E864-D76C-4EE8-B187-3A722343D017}"/>
              </a:ext>
            </a:extLst>
          </p:cNvPr>
          <p:cNvSpPr txBox="1"/>
          <p:nvPr userDrawn="1"/>
        </p:nvSpPr>
        <p:spPr>
          <a:xfrm>
            <a:off x="5025448" y="4225701"/>
            <a:ext cx="6466010" cy="1043363"/>
          </a:xfrm>
          <a:prstGeom prst="rect">
            <a:avLst/>
          </a:prstGeom>
          <a:noFill/>
        </p:spPr>
        <p:txBody>
          <a:bodyPr wrap="none" lIns="182857" tIns="146285" rIns="182857" bIns="146285" rtlCol="0">
            <a:spAutoFit/>
          </a:bodyPr>
          <a:lstStyle/>
          <a:p>
            <a:pPr>
              <a:lnSpc>
                <a:spcPct val="90000"/>
              </a:lnSpc>
              <a:spcAft>
                <a:spcPts val="600"/>
              </a:spcAft>
            </a:pPr>
            <a:r>
              <a:rPr lang="en-US" sz="5399">
                <a:gradFill>
                  <a:gsLst>
                    <a:gs pos="2917">
                      <a:schemeClr val="tx1"/>
                    </a:gs>
                    <a:gs pos="30000">
                      <a:schemeClr val="tx1"/>
                    </a:gs>
                  </a:gsLst>
                  <a:lin ang="5400000" scaled="0"/>
                </a:gradFill>
                <a:latin typeface="+mj-lt"/>
              </a:rPr>
              <a:t>to keep transforming</a:t>
            </a:r>
          </a:p>
        </p:txBody>
      </p:sp>
    </p:spTree>
    <p:extLst>
      <p:ext uri="{BB962C8B-B14F-4D97-AF65-F5344CB8AC3E}">
        <p14:creationId xmlns:p14="http://schemas.microsoft.com/office/powerpoint/2010/main" val="1870938234"/>
      </p:ext>
    </p:extLst>
  </p:cSld>
  <p:clrMapOvr>
    <a:overrideClrMapping bg1="dk1" tx1="lt1" bg2="dk2" tx2="lt2" accent1="accent1" accent2="accent2" accent3="accent3" accent4="accent4" accent5="accent5" accent6="accent6" hlink="hlink" folHlink="folHlink"/>
  </p:clrMapOvr>
  <p:transition spd="med">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667" y="2125678"/>
            <a:ext cx="9142769" cy="1828786"/>
          </a:xfrm>
          <a:noFill/>
        </p:spPr>
        <p:txBody>
          <a:bodyPr lIns="146304" tIns="91440" rIns="146304" bIns="91440" anchor="t" anchorCtr="0"/>
          <a:lstStyle>
            <a:lvl1pPr>
              <a:defRPr sz="5399" spc="-100"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74666" y="3955787"/>
            <a:ext cx="7314204" cy="1828007"/>
          </a:xfrm>
          <a:noFill/>
        </p:spPr>
        <p:txBody>
          <a:bodyPr lIns="164592" tIns="109728" rIns="164592" bIns="109728">
            <a:noAutofit/>
          </a:bodyPr>
          <a:lstStyle>
            <a:lvl1pPr marL="0" indent="0">
              <a:spcBef>
                <a:spcPts val="0"/>
              </a:spcBef>
              <a:buNone/>
              <a:defRPr sz="3200" spc="0" baseline="0">
                <a:gradFill>
                  <a:gsLst>
                    <a:gs pos="91000">
                      <a:schemeClr val="tx1"/>
                    </a:gs>
                    <a:gs pos="0">
                      <a:schemeClr val="tx1"/>
                    </a:gs>
                  </a:gsLst>
                  <a:lin ang="5400000" scaled="0"/>
                </a:gradFill>
                <a:latin typeface="+mn-lt"/>
              </a:defRPr>
            </a:lvl1pPr>
          </a:lstStyle>
          <a:p>
            <a:pPr lvl="0"/>
            <a:r>
              <a:rPr lang="en-US"/>
              <a:t>Speaker name</a:t>
            </a:r>
          </a:p>
        </p:txBody>
      </p:sp>
      <p:pic>
        <p:nvPicPr>
          <p:cNvPr id="6" name="MS logo white - EMF"/>
          <p:cNvPicPr>
            <a:picLocks noChangeAspect="1"/>
          </p:cNvPicPr>
          <p:nvPr userDrawn="1"/>
        </p:nvPicPr>
        <p:blipFill>
          <a:blip r:embed="rId2"/>
          <a:stretch>
            <a:fillRect/>
          </a:stretch>
        </p:blipFill>
        <p:spPr bwMode="black">
          <a:xfrm>
            <a:off x="460630" y="479425"/>
            <a:ext cx="1451658" cy="310896"/>
          </a:xfrm>
          <a:prstGeom prst="rect">
            <a:avLst/>
          </a:prstGeom>
        </p:spPr>
      </p:pic>
      <p:sp>
        <p:nvSpPr>
          <p:cNvPr id="7" name="Text Placeholder 16"/>
          <p:cNvSpPr>
            <a:spLocks noGrp="1"/>
          </p:cNvSpPr>
          <p:nvPr>
            <p:ph type="body" sz="quarter" idx="13" hasCustomPrompt="1"/>
          </p:nvPr>
        </p:nvSpPr>
        <p:spPr>
          <a:xfrm>
            <a:off x="8505820" y="294304"/>
            <a:ext cx="3657133" cy="572464"/>
          </a:xfrm>
        </p:spPr>
        <p:txBody>
          <a:bodyPr lIns="182880" tIns="146304" rIns="182880" bIns="146304"/>
          <a:lstStyle>
            <a:lvl1pPr marL="0" indent="0" algn="r">
              <a:buNone/>
              <a:defRPr sz="2000">
                <a:latin typeface="+mn-lt"/>
              </a:defRPr>
            </a:lvl1pPr>
            <a:lvl2pPr marL="342866" indent="0">
              <a:buNone/>
              <a:defRPr sz="2000"/>
            </a:lvl2pPr>
            <a:lvl3pPr marL="571443" indent="0">
              <a:buNone/>
              <a:defRPr sz="2000"/>
            </a:lvl3pPr>
            <a:lvl4pPr marL="800020" indent="0">
              <a:buNone/>
              <a:defRPr sz="2000"/>
            </a:lvl4pPr>
            <a:lvl5pPr marL="1028597" indent="0">
              <a:buNone/>
              <a:defRPr sz="2000"/>
            </a:lvl5pPr>
          </a:lstStyle>
          <a:p>
            <a:pPr lvl="0"/>
            <a:r>
              <a:rPr lang="en-US"/>
              <a:t>Session Code</a:t>
            </a:r>
          </a:p>
        </p:txBody>
      </p:sp>
      <p:sp>
        <p:nvSpPr>
          <p:cNvPr id="8" name="Text Placeholder 16"/>
          <p:cNvSpPr>
            <a:spLocks noGrp="1"/>
          </p:cNvSpPr>
          <p:nvPr>
            <p:ph type="body" sz="quarter" idx="14" hasCustomPrompt="1"/>
          </p:nvPr>
        </p:nvSpPr>
        <p:spPr>
          <a:xfrm>
            <a:off x="274668" y="6122305"/>
            <a:ext cx="3657133" cy="572464"/>
          </a:xfrm>
        </p:spPr>
        <p:txBody>
          <a:bodyPr lIns="182880" tIns="146304" rIns="182880" bIns="146304" anchor="b"/>
          <a:lstStyle>
            <a:lvl1pPr marL="0" indent="0" algn="l">
              <a:buNone/>
              <a:defRPr sz="2000">
                <a:latin typeface="+mn-lt"/>
              </a:defRPr>
            </a:lvl1pPr>
            <a:lvl2pPr marL="342866" indent="0">
              <a:buNone/>
              <a:defRPr sz="2000"/>
            </a:lvl2pPr>
            <a:lvl3pPr marL="571443" indent="0">
              <a:buNone/>
              <a:defRPr sz="2000"/>
            </a:lvl3pPr>
            <a:lvl4pPr marL="800020" indent="0">
              <a:buNone/>
              <a:defRPr sz="2000"/>
            </a:lvl4pPr>
            <a:lvl5pPr marL="1028597" indent="0">
              <a:buNone/>
              <a:defRPr sz="2000"/>
            </a:lvl5pPr>
          </a:lstStyle>
          <a:p>
            <a:pPr lvl="0"/>
            <a:r>
              <a:rPr lang="en-US"/>
              <a:t>Yammer hashtag</a:t>
            </a:r>
          </a:p>
        </p:txBody>
      </p:sp>
    </p:spTree>
    <p:extLst>
      <p:ext uri="{BB962C8B-B14F-4D97-AF65-F5344CB8AC3E}">
        <p14:creationId xmlns:p14="http://schemas.microsoft.com/office/powerpoint/2010/main" val="1729385679"/>
      </p:ext>
    </p:extLst>
  </p:cSld>
  <p:clrMapOvr>
    <a:overrideClrMapping bg1="dk1" tx1="lt1" bg2="dk2" tx2="lt2" accent1="accent1" accent2="accent2" accent3="accent3" accent4="accent4" accent5="accent5" accent6="accent6" hlink="hlink" folHlink="folHlink"/>
  </p:clrMapOvr>
  <p:transition spd="med">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70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950"/>
                                        <p:tgtEl>
                                          <p:spTgt spid="7"/>
                                        </p:tgtEl>
                                      </p:cBhvr>
                                    </p:animEffect>
                                  </p:childTnLst>
                                </p:cTn>
                              </p:par>
                              <p:par>
                                <p:cTn id="8" presetID="63" presetClass="path" presetSubtype="0" decel="100000" fill="hold" grpId="1" nodeType="withEffect">
                                  <p:stCondLst>
                                    <p:cond delay="700"/>
                                  </p:stCondLst>
                                  <p:childTnLst>
                                    <p:animMotion origin="layout" path="M -0.01455 2.13345E-6 L 1.62369E-6 2.13345E-6 " pathEditMode="relative" rAng="0" ptsTypes="AA">
                                      <p:cBhvr>
                                        <p:cTn id="9" dur="950" fill="hold"/>
                                        <p:tgtEl>
                                          <p:spTgt spid="7"/>
                                        </p:tgtEl>
                                        <p:attrNameLst>
                                          <p:attrName>ppt_x</p:attrName>
                                          <p:attrName>ppt_y</p:attrName>
                                        </p:attrNameLst>
                                      </p:cBhvr>
                                      <p:rCtr x="728" y="0"/>
                                    </p:animMotion>
                                  </p:childTnLst>
                                </p:cTn>
                              </p:par>
                              <p:par>
                                <p:cTn id="10" presetID="6" presetClass="emph" presetSubtype="0" accel="100000" autoRev="1" fill="hold" grpId="2" nodeType="withEffect">
                                  <p:stCondLst>
                                    <p:cond delay="0"/>
                                  </p:stCondLst>
                                  <p:childTnLst>
                                    <p:animScale>
                                      <p:cBhvr>
                                        <p:cTn id="11" dur="500" fill="hold"/>
                                        <p:tgtEl>
                                          <p:spTgt spid="7"/>
                                        </p:tgtEl>
                                      </p:cBhvr>
                                      <p:by x="95000" y="95000"/>
                                    </p:animScale>
                                  </p:childTnLst>
                                </p:cTn>
                              </p:par>
                              <p:par>
                                <p:cTn id="12" presetID="10" presetClass="entr" presetSubtype="0" fill="hold" grpId="0" nodeType="withEffect">
                                  <p:stCondLst>
                                    <p:cond delay="700"/>
                                  </p:stCondLst>
                                  <p:childTnLst>
                                    <p:set>
                                      <p:cBhvr>
                                        <p:cTn id="13" dur="1" fill="hold">
                                          <p:stCondLst>
                                            <p:cond delay="0"/>
                                          </p:stCondLst>
                                        </p:cTn>
                                        <p:tgtEl>
                                          <p:spTgt spid="8"/>
                                        </p:tgtEl>
                                        <p:attrNameLst>
                                          <p:attrName>style.visibility</p:attrName>
                                        </p:attrNameLst>
                                      </p:cBhvr>
                                      <p:to>
                                        <p:strVal val="visible"/>
                                      </p:to>
                                    </p:set>
                                    <p:animEffect transition="in" filter="fade">
                                      <p:cBhvr>
                                        <p:cTn id="14" dur="950"/>
                                        <p:tgtEl>
                                          <p:spTgt spid="8"/>
                                        </p:tgtEl>
                                      </p:cBhvr>
                                    </p:animEffect>
                                  </p:childTnLst>
                                </p:cTn>
                              </p:par>
                              <p:par>
                                <p:cTn id="15" presetID="63" presetClass="path" presetSubtype="0" decel="100000" fill="hold" grpId="1" nodeType="withEffect">
                                  <p:stCondLst>
                                    <p:cond delay="700"/>
                                  </p:stCondLst>
                                  <p:childTnLst>
                                    <p:animMotion origin="layout" path="M -0.01455 -2.09714E-6 L -4.54174E-6 -2.09714E-6 " pathEditMode="relative" rAng="0" ptsTypes="AA">
                                      <p:cBhvr>
                                        <p:cTn id="16" dur="950" fill="hold"/>
                                        <p:tgtEl>
                                          <p:spTgt spid="8"/>
                                        </p:tgtEl>
                                        <p:attrNameLst>
                                          <p:attrName>ppt_x</p:attrName>
                                          <p:attrName>ppt_y</p:attrName>
                                        </p:attrNameLst>
                                      </p:cBhvr>
                                      <p:rCtr x="728" y="0"/>
                                    </p:animMotion>
                                  </p:childTnLst>
                                </p:cTn>
                              </p:par>
                              <p:par>
                                <p:cTn id="17" presetID="6" presetClass="emph" presetSubtype="0" accel="100000" autoRev="1" fill="hold" grpId="2" nodeType="withEffect">
                                  <p:stCondLst>
                                    <p:cond delay="0"/>
                                  </p:stCondLst>
                                  <p:childTnLst>
                                    <p:animScale>
                                      <p:cBhvr>
                                        <p:cTn id="18" dur="500" fill="hold"/>
                                        <p:tgtEl>
                                          <p:spTgt spid="8"/>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tmplLst>
          <p:tmpl>
            <p:tnLst>
              <p:par>
                <p:cTn presetID="10" presetClass="entr" presetSubtype="0" fill="hold" nodeType="withEffect">
                  <p:stCondLst>
                    <p:cond delay="700"/>
                  </p:stCondLst>
                  <p:childTnLst>
                    <p:set>
                      <p:cBhvr>
                        <p:cTn dur="1" fill="hold">
                          <p:stCondLst>
                            <p:cond delay="0"/>
                          </p:stCondLst>
                        </p:cTn>
                        <p:tgtEl>
                          <p:spTgt spid="7"/>
                        </p:tgtEl>
                        <p:attrNameLst>
                          <p:attrName>style.visibility</p:attrName>
                        </p:attrNameLst>
                      </p:cBhvr>
                      <p:to>
                        <p:strVal val="visible"/>
                      </p:to>
                    </p:set>
                    <p:animEffect transition="in" filter="fade">
                      <p:cBhvr>
                        <p:cTn dur="950"/>
                        <p:tgtEl>
                          <p:spTgt spid="7"/>
                        </p:tgtEl>
                      </p:cBhvr>
                    </p:animEffect>
                  </p:childTnLst>
                </p:cTn>
              </p:par>
            </p:tnLst>
          </p:tmpl>
        </p:tmplLst>
      </p:bldP>
      <p:bldP spid="7" grpId="1"/>
      <p:bldP spid="7" grpId="2"/>
      <p:bldP spid="8" grpId="0">
        <p:tmplLst>
          <p:tmpl>
            <p:tnLst>
              <p:par>
                <p:cTn presetID="10" presetClass="entr" presetSubtype="0" fill="hold" nodeType="withEffect">
                  <p:stCondLst>
                    <p:cond delay="700"/>
                  </p:stCondLst>
                  <p:childTnLst>
                    <p:set>
                      <p:cBhvr>
                        <p:cTn dur="1" fill="hold">
                          <p:stCondLst>
                            <p:cond delay="0"/>
                          </p:stCondLst>
                        </p:cTn>
                        <p:tgtEl>
                          <p:spTgt spid="8"/>
                        </p:tgtEl>
                        <p:attrNameLst>
                          <p:attrName>style.visibility</p:attrName>
                        </p:attrNameLst>
                      </p:cBhvr>
                      <p:to>
                        <p:strVal val="visible"/>
                      </p:to>
                    </p:set>
                    <p:animEffect transition="in" filter="fade">
                      <p:cBhvr>
                        <p:cTn dur="950"/>
                        <p:tgtEl>
                          <p:spTgt spid="8"/>
                        </p:tgtEl>
                      </p:cBhvr>
                    </p:animEffect>
                  </p:childTnLst>
                </p:cTn>
              </p:par>
            </p:tnLst>
          </p:tmpl>
        </p:tmplLst>
      </p:bldP>
      <p:bldP spid="8" grpId="1"/>
      <p:bldP spid="8" grpId="2"/>
    </p:bld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03" y="1212850"/>
            <a:ext cx="11887270" cy="2308324"/>
          </a:xfrm>
        </p:spPr>
        <p:txBody>
          <a:bodyPr>
            <a:spAutoFit/>
          </a:bodyPr>
          <a:lstStyle>
            <a:lvl1pPr marL="0" indent="0">
              <a:buNone/>
              <a:defRPr/>
            </a:lvl1pPr>
            <a:lvl2pPr marL="228577" indent="0">
              <a:buNone/>
              <a:defRPr/>
            </a:lvl2pPr>
            <a:lvl3pPr marL="457154" indent="0">
              <a:buNone/>
              <a:defRPr/>
            </a:lvl3pPr>
            <a:lvl4pPr marL="685731" indent="0">
              <a:buNone/>
              <a:defRPr/>
            </a:lvl4pPr>
            <a:lvl5pPr marL="914309"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Box 7"/>
          <p:cNvSpPr txBox="1"/>
          <p:nvPr userDrawn="1"/>
        </p:nvSpPr>
        <p:spPr bwMode="white">
          <a:xfrm>
            <a:off x="4418302" y="6697628"/>
            <a:ext cx="3598283"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366796875"/>
      </p:ext>
    </p:extLst>
  </p:cSld>
  <p:clrMapOvr>
    <a:masterClrMapping/>
  </p:clrMapOvr>
  <p:transition spd="med">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74667" y="1211288"/>
            <a:ext cx="1188727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Box 7"/>
          <p:cNvSpPr txBox="1"/>
          <p:nvPr userDrawn="1"/>
        </p:nvSpPr>
        <p:spPr bwMode="white">
          <a:xfrm>
            <a:off x="4418302" y="6697628"/>
            <a:ext cx="3598283"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351818097"/>
      </p:ext>
    </p:extLst>
  </p:cSld>
  <p:clrMapOvr>
    <a:masterClrMapping/>
  </p:clrMapOvr>
  <p:transition spd="med">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04" y="1211287"/>
            <a:ext cx="5485699" cy="2157514"/>
          </a:xfrm>
        </p:spPr>
        <p:txBody>
          <a:bodyPr wrap="square">
            <a:spAutoFit/>
          </a:bodyPr>
          <a:lstStyle>
            <a:lvl1pPr marL="0" indent="0">
              <a:spcBef>
                <a:spcPts val="1224"/>
              </a:spcBef>
              <a:buClr>
                <a:schemeClr val="tx1"/>
              </a:buClr>
              <a:buFont typeface="Wingdings" panose="05000000000000000000" pitchFamily="2" charset="2"/>
              <a:buNone/>
              <a:defRPr sz="3000" b="0">
                <a:latin typeface="+mn-lt"/>
              </a:defRPr>
            </a:lvl1pPr>
            <a:lvl2pPr marL="255562" indent="0">
              <a:buFont typeface="Wingdings" panose="05000000000000000000" pitchFamily="2" charset="2"/>
              <a:buNone/>
              <a:defRPr sz="2400" b="0"/>
            </a:lvl2pPr>
            <a:lvl3pPr marL="450805" indent="0">
              <a:buFont typeface="Wingdings" panose="05000000000000000000" pitchFamily="2" charset="2"/>
              <a:buNone/>
              <a:tabLst/>
              <a:defRPr sz="2200" b="0"/>
            </a:lvl3pPr>
            <a:lvl4pPr marL="652397" indent="0">
              <a:buFont typeface="Wingdings" panose="05000000000000000000" pitchFamily="2" charset="2"/>
              <a:buNone/>
              <a:defRPr sz="2200" b="0"/>
            </a:lvl4pPr>
            <a:lvl5pPr marL="853990" indent="0">
              <a:buFont typeface="Wingdings" panose="05000000000000000000" pitchFamily="2" charset="2"/>
              <a:buNone/>
              <a:tabLst/>
              <a:defRPr sz="22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4588" y="1211287"/>
            <a:ext cx="5485699" cy="2123658"/>
          </a:xfrm>
        </p:spPr>
        <p:txBody>
          <a:bodyPr wrap="square">
            <a:spAutoFit/>
          </a:bodyPr>
          <a:lstStyle>
            <a:lvl1pPr marL="0" indent="0">
              <a:spcBef>
                <a:spcPts val="1224"/>
              </a:spcBef>
              <a:buClr>
                <a:schemeClr val="tx1"/>
              </a:buClr>
              <a:buFont typeface="Arial" panose="020B0604020202020204" pitchFamily="34" charset="0"/>
              <a:buNone/>
              <a:defRPr lang="en-US" sz="3000" b="0" kern="1200" spc="0" baseline="0" dirty="0">
                <a:gradFill>
                  <a:gsLst>
                    <a:gs pos="1250">
                      <a:schemeClr val="tx1"/>
                    </a:gs>
                    <a:gs pos="100000">
                      <a:schemeClr val="tx1"/>
                    </a:gs>
                  </a:gsLst>
                  <a:lin ang="5400000" scaled="0"/>
                </a:gradFill>
                <a:latin typeface="+mn-lt"/>
                <a:ea typeface="+mn-ea"/>
                <a:cs typeface="+mn-cs"/>
              </a:defRPr>
            </a:lvl1pPr>
            <a:lvl2pPr marL="255562" indent="0">
              <a:buFont typeface="Arial" panose="020B0604020202020204" pitchFamily="34" charset="0"/>
              <a:buNone/>
              <a:defRPr lang="en-US" sz="2400" b="0" kern="1200" spc="0" baseline="0" dirty="0">
                <a:gradFill>
                  <a:gsLst>
                    <a:gs pos="1250">
                      <a:schemeClr val="tx1"/>
                    </a:gs>
                    <a:gs pos="100000">
                      <a:schemeClr val="tx1"/>
                    </a:gs>
                  </a:gsLst>
                  <a:lin ang="5400000" scaled="0"/>
                </a:gradFill>
                <a:latin typeface="+mn-lt"/>
                <a:ea typeface="+mn-ea"/>
                <a:cs typeface="+mn-cs"/>
              </a:defRPr>
            </a:lvl2pPr>
            <a:lvl3pPr marL="450805"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3pPr>
            <a:lvl4pPr marL="652397" indent="0">
              <a:buFont typeface="Arial" panose="020B0604020202020204" pitchFamily="34" charset="0"/>
              <a:buNone/>
              <a:defRPr lang="en-US" sz="2200" b="0" kern="1200" spc="0" baseline="0" dirty="0">
                <a:gradFill>
                  <a:gsLst>
                    <a:gs pos="1250">
                      <a:schemeClr val="tx1"/>
                    </a:gs>
                    <a:gs pos="100000">
                      <a:schemeClr val="tx1"/>
                    </a:gs>
                  </a:gsLst>
                  <a:lin ang="5400000" scaled="0"/>
                </a:gradFill>
                <a:latin typeface="+mn-lt"/>
                <a:ea typeface="+mn-ea"/>
                <a:cs typeface="+mn-cs"/>
              </a:defRPr>
            </a:lvl4pPr>
            <a:lvl5pPr marL="853990"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514299" marR="0" lvl="0" indent="-514299" algn="l" defTabSz="932649" rtl="0" eaLnBrk="1" fontAlgn="auto" latinLnBrk="0" hangingPunct="1">
              <a:lnSpc>
                <a:spcPct val="90000"/>
              </a:lnSpc>
              <a:spcBef>
                <a:spcPts val="1224"/>
              </a:spcBef>
              <a:spcAft>
                <a:spcPts val="0"/>
              </a:spcAft>
              <a:buClr>
                <a:schemeClr val="tx1"/>
              </a:buClr>
              <a:buSzPct val="90000"/>
              <a:tabLst/>
            </a:pPr>
            <a:r>
              <a:rPr lang="en-US"/>
              <a:t>Click to edit Master text styles</a:t>
            </a:r>
          </a:p>
          <a:p>
            <a:pPr marL="712717" marR="0" lvl="1" indent="-457154" algn="l" defTabSz="932649" rtl="0" eaLnBrk="1" fontAlgn="auto" latinLnBrk="0" hangingPunct="1">
              <a:lnSpc>
                <a:spcPct val="90000"/>
              </a:lnSpc>
              <a:spcBef>
                <a:spcPct val="20000"/>
              </a:spcBef>
              <a:spcAft>
                <a:spcPts val="0"/>
              </a:spcAft>
              <a:buClrTx/>
              <a:buSzPct val="90000"/>
              <a:tabLst/>
            </a:pPr>
            <a:r>
              <a:rPr lang="en-US"/>
              <a:t>Second level</a:t>
            </a:r>
          </a:p>
          <a:p>
            <a:pPr marL="907959" marR="0" lvl="2" indent="-457154" algn="l" defTabSz="932649" rtl="0" eaLnBrk="1" fontAlgn="auto" latinLnBrk="0" hangingPunct="1">
              <a:lnSpc>
                <a:spcPct val="90000"/>
              </a:lnSpc>
              <a:spcBef>
                <a:spcPct val="20000"/>
              </a:spcBef>
              <a:spcAft>
                <a:spcPts val="0"/>
              </a:spcAft>
              <a:buClrTx/>
              <a:buSzPct val="90000"/>
              <a:tabLst/>
            </a:pPr>
            <a:r>
              <a:rPr lang="en-US"/>
              <a:t>Third level</a:t>
            </a:r>
          </a:p>
          <a:p>
            <a:pPr marL="1109551" marR="0" lvl="3" indent="-457154" algn="l" defTabSz="932649" rtl="0" eaLnBrk="1" fontAlgn="auto" latinLnBrk="0" hangingPunct="1">
              <a:lnSpc>
                <a:spcPct val="90000"/>
              </a:lnSpc>
              <a:spcBef>
                <a:spcPct val="20000"/>
              </a:spcBef>
              <a:spcAft>
                <a:spcPts val="0"/>
              </a:spcAft>
              <a:buClrTx/>
              <a:buSzPct val="90000"/>
              <a:tabLst/>
            </a:pPr>
            <a:r>
              <a:rPr lang="en-US"/>
              <a:t>Fourth level</a:t>
            </a:r>
          </a:p>
          <a:p>
            <a:pPr marL="1311144" marR="0" lvl="4" indent="-457154" algn="l" defTabSz="932649" rtl="0" eaLnBrk="1" fontAlgn="auto" latinLnBrk="0" hangingPunct="1">
              <a:lnSpc>
                <a:spcPct val="90000"/>
              </a:lnSpc>
              <a:spcBef>
                <a:spcPct val="20000"/>
              </a:spcBef>
              <a:spcAft>
                <a:spcPts val="0"/>
              </a:spcAft>
              <a:buClrTx/>
              <a:buSzPct val="90000"/>
              <a:tabLst/>
            </a:pPr>
            <a:r>
              <a:rPr lang="en-US"/>
              <a:t>Fifth level</a:t>
            </a:r>
          </a:p>
        </p:txBody>
      </p:sp>
      <p:sp>
        <p:nvSpPr>
          <p:cNvPr id="6" name="TextBox 7"/>
          <p:cNvSpPr txBox="1"/>
          <p:nvPr userDrawn="1"/>
        </p:nvSpPr>
        <p:spPr bwMode="white">
          <a:xfrm>
            <a:off x="4418302" y="6697628"/>
            <a:ext cx="3598283"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273560360"/>
      </p:ext>
    </p:extLst>
  </p:cSld>
  <p:clrMapOvr>
    <a:masterClrMapping/>
  </p:clrMapOvr>
  <p:transition spd="med">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04" y="1211287"/>
            <a:ext cx="5485699" cy="2157514"/>
          </a:xfrm>
        </p:spPr>
        <p:txBody>
          <a:bodyPr wrap="square">
            <a:spAutoFit/>
          </a:bodyPr>
          <a:lstStyle>
            <a:lvl1pPr marL="231752" indent="-231752">
              <a:spcBef>
                <a:spcPts val="1224"/>
              </a:spcBef>
              <a:buClr>
                <a:schemeClr val="tx1"/>
              </a:buClr>
              <a:buFont typeface="Wingdings" panose="05000000000000000000" pitchFamily="2" charset="2"/>
              <a:buChar char=""/>
              <a:defRPr sz="3000" b="0">
                <a:latin typeface="+mn-lt"/>
              </a:defRPr>
            </a:lvl1pPr>
            <a:lvl2pPr marL="426995" indent="-171433">
              <a:buFont typeface="Wingdings" panose="05000000000000000000" pitchFamily="2" charset="2"/>
              <a:buChar char=""/>
              <a:defRPr sz="2400" b="0"/>
            </a:lvl2pPr>
            <a:lvl3pPr marL="639699" indent="-188894">
              <a:buFont typeface="Wingdings" panose="05000000000000000000" pitchFamily="2" charset="2"/>
              <a:buChar char=""/>
              <a:tabLst/>
              <a:defRPr sz="2200" b="0"/>
            </a:lvl3pPr>
            <a:lvl4pPr marL="828592" indent="-176195">
              <a:buFont typeface="Wingdings" panose="05000000000000000000" pitchFamily="2" charset="2"/>
              <a:buChar char=""/>
              <a:defRPr sz="2200" b="0"/>
            </a:lvl4pPr>
            <a:lvl5pPr marL="1023836" indent="-169846">
              <a:buFont typeface="Wingdings" panose="05000000000000000000" pitchFamily="2" charset="2"/>
              <a:buChar char=""/>
              <a:tabLst/>
              <a:defRPr sz="22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4588" y="1211287"/>
            <a:ext cx="5485699" cy="2123658"/>
          </a:xfrm>
        </p:spPr>
        <p:txBody>
          <a:bodyPr wrap="square">
            <a:spAutoFit/>
          </a:bodyPr>
          <a:lstStyle>
            <a:lvl1pPr marL="287309" indent="-287309">
              <a:spcBef>
                <a:spcPts val="1224"/>
              </a:spcBef>
              <a:buClr>
                <a:schemeClr val="tx1"/>
              </a:buClr>
              <a:buFont typeface="Arial" pitchFamily="34" charset="0"/>
              <a:buChar char="•"/>
              <a:defRPr lang="en-US" sz="3000" b="0" kern="1200" spc="0" baseline="0" dirty="0">
                <a:gradFill>
                  <a:gsLst>
                    <a:gs pos="1250">
                      <a:schemeClr val="tx1"/>
                    </a:gs>
                    <a:gs pos="100000">
                      <a:schemeClr val="tx1"/>
                    </a:gs>
                  </a:gsLst>
                  <a:lin ang="5400000" scaled="0"/>
                </a:gradFill>
                <a:latin typeface="+mn-lt"/>
                <a:ea typeface="+mn-ea"/>
                <a:cs typeface="+mn-cs"/>
              </a:defRPr>
            </a:lvl1pPr>
            <a:lvl2pPr marL="598428" indent="-342866">
              <a:defRPr lang="en-US" sz="2400" b="0" kern="1200" spc="0" baseline="0" dirty="0">
                <a:gradFill>
                  <a:gsLst>
                    <a:gs pos="1250">
                      <a:schemeClr val="tx1"/>
                    </a:gs>
                    <a:gs pos="100000">
                      <a:schemeClr val="tx1"/>
                    </a:gs>
                  </a:gsLst>
                  <a:lin ang="5400000" scaled="0"/>
                </a:gradFill>
                <a:latin typeface="+mn-lt"/>
                <a:ea typeface="+mn-ea"/>
                <a:cs typeface="+mn-cs"/>
              </a:defRPr>
            </a:lvl2pPr>
            <a:lvl3pPr marL="793671" indent="-342866">
              <a:tabLst/>
              <a:defRPr lang="en-US" sz="2200" b="0" kern="1200" spc="0" baseline="0" dirty="0">
                <a:gradFill>
                  <a:gsLst>
                    <a:gs pos="1250">
                      <a:schemeClr val="tx1"/>
                    </a:gs>
                    <a:gs pos="100000">
                      <a:schemeClr val="tx1"/>
                    </a:gs>
                  </a:gsLst>
                  <a:lin ang="5400000" scaled="0"/>
                </a:gradFill>
                <a:latin typeface="+mn-lt"/>
                <a:ea typeface="+mn-ea"/>
                <a:cs typeface="+mn-cs"/>
              </a:defRPr>
            </a:lvl3pPr>
            <a:lvl4pPr marL="995262" indent="-342866">
              <a:defRPr lang="en-US" sz="2200" b="0" kern="1200" spc="0" baseline="0" dirty="0">
                <a:gradFill>
                  <a:gsLst>
                    <a:gs pos="1250">
                      <a:schemeClr val="tx1"/>
                    </a:gs>
                    <a:gs pos="100000">
                      <a:schemeClr val="tx1"/>
                    </a:gs>
                  </a:gsLst>
                  <a:lin ang="5400000" scaled="0"/>
                </a:gradFill>
                <a:latin typeface="+mn-lt"/>
                <a:ea typeface="+mn-ea"/>
                <a:cs typeface="+mn-cs"/>
              </a:defRPr>
            </a:lvl4pPr>
            <a:lvl5pPr marL="1196855" indent="-342866">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231752" marR="0" lvl="0" indent="-231752" algn="l" defTabSz="932649"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Click to edit Master text styles</a:t>
            </a:r>
          </a:p>
          <a:p>
            <a:pPr marL="426995" marR="0" lvl="1" indent="-171433" algn="l" defTabSz="932649"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Second level</a:t>
            </a:r>
          </a:p>
          <a:p>
            <a:pPr marL="639699" marR="0" lvl="2" indent="-188894" algn="l" defTabSz="932649"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Third level</a:t>
            </a:r>
          </a:p>
          <a:p>
            <a:pPr marL="828592" marR="0" lvl="3" indent="-176195" algn="l" defTabSz="932649"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Fourth level</a:t>
            </a:r>
          </a:p>
          <a:p>
            <a:pPr marL="1023836" marR="0" lvl="4" indent="-169846" algn="l" defTabSz="932649"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Fifth level</a:t>
            </a:r>
          </a:p>
        </p:txBody>
      </p:sp>
      <p:sp>
        <p:nvSpPr>
          <p:cNvPr id="6" name="TextBox 7"/>
          <p:cNvSpPr txBox="1"/>
          <p:nvPr userDrawn="1"/>
        </p:nvSpPr>
        <p:spPr bwMode="white">
          <a:xfrm>
            <a:off x="4418302" y="6697628"/>
            <a:ext cx="3598283"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550621397"/>
      </p:ext>
    </p:extLst>
  </p:cSld>
  <p:clrMapOvr>
    <a:masterClrMapping/>
  </p:clrMapOvr>
  <p:transition spd="med">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Box 7"/>
          <p:cNvSpPr txBox="1"/>
          <p:nvPr userDrawn="1"/>
        </p:nvSpPr>
        <p:spPr bwMode="white">
          <a:xfrm>
            <a:off x="4418302" y="6697628"/>
            <a:ext cx="3598283"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408676088"/>
      </p:ext>
    </p:extLst>
  </p:cSld>
  <p:clrMapOvr>
    <a:masterClrMapping/>
  </p:clrMapOvr>
  <p:transition spd="med">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3" y="2125677"/>
            <a:ext cx="10055529" cy="1181862"/>
          </a:xfrm>
          <a:noFill/>
        </p:spPr>
        <p:txBody>
          <a:bodyPr tIns="91440" bIns="91440" anchor="t" anchorCtr="0">
            <a:spAutoFit/>
          </a:bodyPr>
          <a:lstStyle>
            <a:lvl1pPr>
              <a:defRPr sz="7199" spc="-100"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74604" y="3954463"/>
            <a:ext cx="10057117" cy="738664"/>
          </a:xfrm>
          <a:noFill/>
        </p:spPr>
        <p:txBody>
          <a:bodyPr lIns="182880" tIns="146304" rIns="182880" bIns="146304">
            <a:sp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a:t>Speaker Name</a:t>
            </a:r>
          </a:p>
        </p:txBody>
      </p:sp>
      <p:sp>
        <p:nvSpPr>
          <p:cNvPr id="4" name="TextBox 7"/>
          <p:cNvSpPr txBox="1"/>
          <p:nvPr userDrawn="1"/>
        </p:nvSpPr>
        <p:spPr bwMode="white">
          <a:xfrm>
            <a:off x="4418302" y="6697628"/>
            <a:ext cx="3598283"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4294085209"/>
      </p:ext>
    </p:extLst>
  </p:cSld>
  <p:clrMapOvr>
    <a:overrideClrMapping bg1="dk1" tx1="lt1" bg2="dk2" tx2="lt2" accent1="accent1" accent2="accent2" accent3="accent3" accent4="accent4" accent5="accent5" accent6="accent6" hlink="hlink" folHlink="folHlink"/>
  </p:clrMapOvr>
  <p:transition spd="med">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800"/>
            </a:lvl1pPr>
          </a:lstStyle>
          <a:p>
            <a:r>
              <a:rPr lang="en-US" dirty="0"/>
              <a:t>Click to edit Master title style</a:t>
            </a:r>
          </a:p>
        </p:txBody>
      </p:sp>
      <p:sp>
        <p:nvSpPr>
          <p:cNvPr id="4" name="Text Placeholder 3"/>
          <p:cNvSpPr>
            <a:spLocks noGrp="1"/>
          </p:cNvSpPr>
          <p:nvPr>
            <p:ph type="body" sz="quarter" idx="10"/>
          </p:nvPr>
        </p:nvSpPr>
        <p:spPr>
          <a:xfrm>
            <a:off x="366169" y="1211287"/>
            <a:ext cx="5608081" cy="1812804"/>
          </a:xfrm>
        </p:spPr>
        <p:txBody>
          <a:bodyPr wrap="square">
            <a:spAutoFit/>
          </a:bodyPr>
          <a:lstStyle>
            <a:lvl1pPr marL="0" indent="0">
              <a:spcBef>
                <a:spcPts val="1224"/>
              </a:spcBef>
              <a:buClr>
                <a:schemeClr val="tx1"/>
              </a:buClr>
              <a:buFont typeface="Wingdings" pitchFamily="2" charset="2"/>
              <a:buNone/>
              <a:defRPr sz="3200"/>
            </a:lvl1pPr>
            <a:lvl2pPr marL="0" indent="0">
              <a:buNone/>
              <a:defRPr sz="1800"/>
            </a:lvl2pPr>
            <a:lvl3pPr marL="231738" indent="0">
              <a:buNone/>
              <a:tabLst/>
              <a:defRPr sz="1800"/>
            </a:lvl3pPr>
            <a:lvl4pPr marL="460302" indent="0">
              <a:buNone/>
              <a:defRPr sz="1600"/>
            </a:lvl4pPr>
            <a:lvl5pPr marL="685691" indent="0">
              <a:buNone/>
              <a:tabLst/>
              <a:defRPr sz="16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461209" y="1211287"/>
            <a:ext cx="5608081" cy="1812804"/>
          </a:xfrm>
        </p:spPr>
        <p:txBody>
          <a:bodyPr wrap="square">
            <a:spAutoFit/>
          </a:bodyPr>
          <a:lstStyle>
            <a:lvl1pPr marL="0" indent="0">
              <a:spcBef>
                <a:spcPts val="1224"/>
              </a:spcBef>
              <a:buClr>
                <a:schemeClr val="tx1"/>
              </a:buClr>
              <a:buFont typeface="Wingdings" pitchFamily="2" charset="2"/>
              <a:buNone/>
              <a:defRPr sz="3200"/>
            </a:lvl1pPr>
            <a:lvl2pPr marL="0" indent="0">
              <a:buNone/>
              <a:defRPr sz="1800"/>
            </a:lvl2pPr>
            <a:lvl3pPr marL="231738" indent="0">
              <a:buNone/>
              <a:tabLst/>
              <a:defRPr sz="1800"/>
            </a:lvl3pPr>
            <a:lvl4pPr marL="460302" indent="0">
              <a:buNone/>
              <a:defRPr sz="1600"/>
            </a:lvl4pPr>
            <a:lvl5pPr marL="685691" indent="0">
              <a:buNone/>
              <a:tabLst/>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18839873"/>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4" y="2125677"/>
            <a:ext cx="10055529" cy="1181862"/>
          </a:xfrm>
          <a:noFill/>
        </p:spPr>
        <p:txBody>
          <a:bodyPr tIns="91440" bIns="91440" anchor="t" anchorCtr="0">
            <a:spAutoFit/>
          </a:bodyPr>
          <a:lstStyle>
            <a:lvl1pPr>
              <a:defRPr lang="en-US" sz="7199"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
        <p:nvSpPr>
          <p:cNvPr id="3" name="TextBox 7"/>
          <p:cNvSpPr txBox="1"/>
          <p:nvPr userDrawn="1"/>
        </p:nvSpPr>
        <p:spPr bwMode="white">
          <a:xfrm>
            <a:off x="4418302" y="6697628"/>
            <a:ext cx="3598283"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025547241"/>
      </p:ext>
    </p:extLst>
  </p:cSld>
  <p:clrMapOvr>
    <a:overrideClrMapping bg1="dk1" tx1="lt1" bg2="dk2" tx2="lt2" accent1="accent1" accent2="accent2" accent3="accent3" accent4="accent4" accent5="accent5" accent6="accent6" hlink="hlink" folHlink="folHlink"/>
  </p:clrMapOvr>
  <p:transition spd="med">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3" y="2125662"/>
            <a:ext cx="11885683" cy="1181862"/>
          </a:xfrm>
          <a:noFill/>
        </p:spPr>
        <p:txBody>
          <a:bodyPr tIns="91440" bIns="91440" anchor="t" anchorCtr="0">
            <a:spAutoFit/>
          </a:bodyPr>
          <a:lstStyle>
            <a:lvl1pPr>
              <a:defRPr sz="7199" spc="-100" baseline="0">
                <a:gradFill>
                  <a:gsLst>
                    <a:gs pos="100000">
                      <a:schemeClr val="tx1"/>
                    </a:gs>
                    <a:gs pos="0">
                      <a:schemeClr val="tx1"/>
                    </a:gs>
                  </a:gsLst>
                  <a:lin ang="5400000" scaled="0"/>
                </a:gradFill>
              </a:defRPr>
            </a:lvl1pPr>
          </a:lstStyle>
          <a:p>
            <a:r>
              <a:rPr lang="en-US"/>
              <a:t>Section title</a:t>
            </a:r>
          </a:p>
        </p:txBody>
      </p:sp>
      <p:sp>
        <p:nvSpPr>
          <p:cNvPr id="3" name="TextBox 7"/>
          <p:cNvSpPr txBox="1"/>
          <p:nvPr userDrawn="1"/>
        </p:nvSpPr>
        <p:spPr bwMode="white">
          <a:xfrm>
            <a:off x="4418302" y="6697628"/>
            <a:ext cx="3598283"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386555684"/>
      </p:ext>
    </p:extLst>
  </p:cSld>
  <p:clrMapOvr>
    <a:masterClrMapping/>
  </p:clrMapOvr>
  <p:transition spd="med">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3" y="2125662"/>
            <a:ext cx="11885683" cy="1181862"/>
          </a:xfrm>
          <a:noFill/>
        </p:spPr>
        <p:txBody>
          <a:bodyPr tIns="91440" bIns="91440" anchor="t" anchorCtr="0">
            <a:spAutoFit/>
          </a:bodyPr>
          <a:lstStyle>
            <a:lvl1pPr>
              <a:defRPr sz="7199" spc="-100" baseline="0">
                <a:gradFill>
                  <a:gsLst>
                    <a:gs pos="100000">
                      <a:schemeClr val="tx1"/>
                    </a:gs>
                    <a:gs pos="0">
                      <a:schemeClr val="tx1"/>
                    </a:gs>
                  </a:gsLst>
                  <a:lin ang="5400000" scaled="0"/>
                </a:gradFill>
              </a:defRPr>
            </a:lvl1pPr>
          </a:lstStyle>
          <a:p>
            <a:r>
              <a:rPr lang="en-US"/>
              <a:t>Section title</a:t>
            </a:r>
          </a:p>
        </p:txBody>
      </p:sp>
      <p:sp>
        <p:nvSpPr>
          <p:cNvPr id="3" name="TextBox 7"/>
          <p:cNvSpPr txBox="1"/>
          <p:nvPr userDrawn="1"/>
        </p:nvSpPr>
        <p:spPr bwMode="white">
          <a:xfrm>
            <a:off x="4418302" y="6697628"/>
            <a:ext cx="3598283"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534353815"/>
      </p:ext>
    </p:extLst>
  </p:cSld>
  <p:clrMapOvr>
    <a:overrideClrMapping bg1="dk1" tx1="lt1" bg2="dk2" tx2="lt2" accent1="accent1" accent2="accent2" accent3="accent3" accent4="accent4" accent5="accent5" accent6="accent6" hlink="hlink" folHlink="folHlink"/>
  </p:clrMapOvr>
  <p:transition spd="med">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4" y="2740133"/>
            <a:ext cx="4891416" cy="1514261"/>
          </a:xfrm>
        </p:spPr>
        <p:txBody>
          <a:bodyPr wrap="square" anchor="ctr">
            <a:spAutoFit/>
          </a:bodyPr>
          <a:lstStyle>
            <a:lvl1pPr>
              <a:defRPr sz="4800" baseline="0">
                <a:gradFill>
                  <a:gsLst>
                    <a:gs pos="1250">
                      <a:schemeClr val="tx1"/>
                    </a:gs>
                    <a:gs pos="100000">
                      <a:schemeClr val="tx1"/>
                    </a:gs>
                  </a:gsLst>
                  <a:lin ang="5400000" scaled="0"/>
                </a:gradFill>
              </a:defRPr>
            </a:lvl1pPr>
          </a:lstStyle>
          <a:p>
            <a:r>
              <a:rPr lang="en-US"/>
              <a:t>Square photo layout</a:t>
            </a:r>
          </a:p>
        </p:txBody>
      </p:sp>
      <p:sp>
        <p:nvSpPr>
          <p:cNvPr id="6" name="Picture Placeholder 4"/>
          <p:cNvSpPr>
            <a:spLocks noGrp="1" noChangeAspect="1"/>
          </p:cNvSpPr>
          <p:nvPr>
            <p:ph type="pic" sz="quarter" idx="10"/>
          </p:nvPr>
        </p:nvSpPr>
        <p:spPr bwMode="ltGray">
          <a:xfrm>
            <a:off x="5440621" y="1"/>
            <a:ext cx="6994267" cy="6992587"/>
          </a:xfrm>
          <a:prstGeom prst="rect">
            <a:avLst/>
          </a:prstGeo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3278171252"/>
      </p:ext>
    </p:extLst>
  </p:cSld>
  <p:clrMapOvr>
    <a:masterClrMapping/>
  </p:clrMapOvr>
  <p:transition spd="med">
    <p:fade/>
  </p:transition>
  <p:extLst mod="1">
    <p:ext uri="{DCECCB84-F9BA-43D5-87BE-67443E8EF086}">
      <p15:sldGuideLst xmlns:p15="http://schemas.microsoft.com/office/powerpoint/2012/main">
        <p15:guide id="1" pos="3427">
          <p15:clr>
            <a:srgbClr val="FBAE4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extBox 7"/>
          <p:cNvSpPr txBox="1"/>
          <p:nvPr userDrawn="1"/>
        </p:nvSpPr>
        <p:spPr bwMode="white">
          <a:xfrm>
            <a:off x="4418302" y="6697628"/>
            <a:ext cx="3598283"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747322889"/>
      </p:ext>
    </p:extLst>
  </p:cSld>
  <p:clrMapOvr>
    <a:masterClrMapping/>
  </p:clrMapOvr>
  <p:transition spd="med">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418302" y="6697628"/>
            <a:ext cx="3598283"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666427259"/>
      </p:ext>
    </p:extLst>
  </p:cSld>
  <p:clrMapOvr>
    <a:overrideClrMapping bg1="dk1" tx1="lt1" bg2="dk2" tx2="lt2" accent1="accent1" accent2="accent2" accent3="accent3" accent4="accent4" accent5="accent5" accent6="accent6" hlink="hlink" folHlink="folHlink"/>
  </p:clrMapOvr>
  <p:transition spd="med">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Confidentiality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a:t>Confidentiality slide</a:t>
            </a:r>
          </a:p>
        </p:txBody>
      </p:sp>
      <p:grpSp>
        <p:nvGrpSpPr>
          <p:cNvPr id="17" name="Group 16"/>
          <p:cNvGrpSpPr/>
          <p:nvPr userDrawn="1"/>
        </p:nvGrpSpPr>
        <p:grpSpPr>
          <a:xfrm>
            <a:off x="1041108" y="2336981"/>
            <a:ext cx="10453978" cy="1029795"/>
            <a:chOff x="1041241" y="2198265"/>
            <a:chExt cx="10455312" cy="1029795"/>
          </a:xfrm>
        </p:grpSpPr>
        <p:sp>
          <p:nvSpPr>
            <p:cNvPr id="3" name="laptop"/>
            <p:cNvSpPr>
              <a:spLocks noChangeAspect="1" noEditPoints="1"/>
            </p:cNvSpPr>
            <p:nvPr userDrawn="1"/>
          </p:nvSpPr>
          <p:spPr bwMode="auto">
            <a:xfrm>
              <a:off x="9891754" y="2198265"/>
              <a:ext cx="1417556" cy="843914"/>
            </a:xfrm>
            <a:custGeom>
              <a:avLst/>
              <a:gdLst>
                <a:gd name="T0" fmla="*/ 212 w 257"/>
                <a:gd name="T1" fmla="*/ 107 h 153"/>
                <a:gd name="T2" fmla="*/ 43 w 257"/>
                <a:gd name="T3" fmla="*/ 107 h 153"/>
                <a:gd name="T4" fmla="*/ 43 w 257"/>
                <a:gd name="T5" fmla="*/ 0 h 153"/>
                <a:gd name="T6" fmla="*/ 212 w 257"/>
                <a:gd name="T7" fmla="*/ 0 h 153"/>
                <a:gd name="T8" fmla="*/ 212 w 257"/>
                <a:gd name="T9" fmla="*/ 107 h 153"/>
                <a:gd name="T10" fmla="*/ 43 w 257"/>
                <a:gd name="T11" fmla="*/ 107 h 153"/>
                <a:gd name="T12" fmla="*/ 0 w 257"/>
                <a:gd name="T13" fmla="*/ 153 h 153"/>
                <a:gd name="T14" fmla="*/ 257 w 257"/>
                <a:gd name="T15" fmla="*/ 153 h 153"/>
                <a:gd name="T16" fmla="*/ 212 w 257"/>
                <a:gd name="T17" fmla="*/ 107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7" h="153">
                  <a:moveTo>
                    <a:pt x="212" y="107"/>
                  </a:moveTo>
                  <a:lnTo>
                    <a:pt x="43" y="107"/>
                  </a:lnTo>
                  <a:lnTo>
                    <a:pt x="43" y="0"/>
                  </a:lnTo>
                  <a:lnTo>
                    <a:pt x="212" y="0"/>
                  </a:lnTo>
                  <a:lnTo>
                    <a:pt x="212" y="107"/>
                  </a:lnTo>
                  <a:moveTo>
                    <a:pt x="43" y="107"/>
                  </a:moveTo>
                  <a:lnTo>
                    <a:pt x="0" y="153"/>
                  </a:lnTo>
                  <a:lnTo>
                    <a:pt x="257" y="153"/>
                  </a:lnTo>
                  <a:lnTo>
                    <a:pt x="212" y="107"/>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800">
                <a:gradFill>
                  <a:gsLst>
                    <a:gs pos="0">
                      <a:srgbClr val="505050"/>
                    </a:gs>
                    <a:gs pos="100000">
                      <a:srgbClr val="505050"/>
                    </a:gs>
                  </a:gsLst>
                </a:gradFill>
              </a:endParaRPr>
            </a:p>
          </p:txBody>
        </p:sp>
        <p:sp>
          <p:nvSpPr>
            <p:cNvPr id="4" name="phone"/>
            <p:cNvSpPr>
              <a:spLocks noChangeAspect="1" noEditPoints="1"/>
            </p:cNvSpPr>
            <p:nvPr userDrawn="1"/>
          </p:nvSpPr>
          <p:spPr bwMode="auto">
            <a:xfrm>
              <a:off x="4177456" y="2253648"/>
              <a:ext cx="473065" cy="757539"/>
            </a:xfrm>
            <a:custGeom>
              <a:avLst/>
              <a:gdLst>
                <a:gd name="T0" fmla="*/ 148 w 148"/>
                <a:gd name="T1" fmla="*/ 112 h 237"/>
                <a:gd name="T2" fmla="*/ 148 w 148"/>
                <a:gd name="T3" fmla="*/ 237 h 237"/>
                <a:gd name="T4" fmla="*/ 0 w 148"/>
                <a:gd name="T5" fmla="*/ 237 h 237"/>
                <a:gd name="T6" fmla="*/ 0 w 148"/>
                <a:gd name="T7" fmla="*/ 0 h 237"/>
                <a:gd name="T8" fmla="*/ 148 w 148"/>
                <a:gd name="T9" fmla="*/ 0 h 237"/>
                <a:gd name="T10" fmla="*/ 148 w 148"/>
                <a:gd name="T11" fmla="*/ 112 h 237"/>
                <a:gd name="T12" fmla="*/ 0 w 148"/>
                <a:gd name="T13" fmla="*/ 29 h 237"/>
                <a:gd name="T14" fmla="*/ 148 w 148"/>
                <a:gd name="T15" fmla="*/ 29 h 237"/>
                <a:gd name="T16" fmla="*/ 0 w 148"/>
                <a:gd name="T17" fmla="*/ 172 h 237"/>
                <a:gd name="T18" fmla="*/ 148 w 148"/>
                <a:gd name="T19" fmla="*/ 172 h 237"/>
                <a:gd name="T20" fmla="*/ 66 w 148"/>
                <a:gd name="T21" fmla="*/ 204 h 237"/>
                <a:gd name="T22" fmla="*/ 82 w 148"/>
                <a:gd name="T23" fmla="*/ 204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8" h="237">
                  <a:moveTo>
                    <a:pt x="148" y="112"/>
                  </a:moveTo>
                  <a:lnTo>
                    <a:pt x="148" y="237"/>
                  </a:lnTo>
                  <a:lnTo>
                    <a:pt x="0" y="237"/>
                  </a:lnTo>
                  <a:lnTo>
                    <a:pt x="0" y="0"/>
                  </a:lnTo>
                  <a:lnTo>
                    <a:pt x="148" y="0"/>
                  </a:lnTo>
                  <a:lnTo>
                    <a:pt x="148" y="112"/>
                  </a:lnTo>
                  <a:moveTo>
                    <a:pt x="0" y="29"/>
                  </a:moveTo>
                  <a:lnTo>
                    <a:pt x="148" y="29"/>
                  </a:lnTo>
                  <a:moveTo>
                    <a:pt x="0" y="172"/>
                  </a:moveTo>
                  <a:lnTo>
                    <a:pt x="148" y="172"/>
                  </a:lnTo>
                  <a:moveTo>
                    <a:pt x="66" y="204"/>
                  </a:moveTo>
                  <a:lnTo>
                    <a:pt x="82" y="204"/>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800">
                <a:gradFill>
                  <a:gsLst>
                    <a:gs pos="0">
                      <a:srgbClr val="505050"/>
                    </a:gs>
                    <a:gs pos="100000">
                      <a:srgbClr val="505050"/>
                    </a:gs>
                  </a:gsLst>
                </a:gradFill>
              </a:endParaRPr>
            </a:p>
          </p:txBody>
        </p:sp>
        <p:sp>
          <p:nvSpPr>
            <p:cNvPr id="5" name="tablet_2"/>
            <p:cNvSpPr>
              <a:spLocks noChangeAspect="1" noEditPoints="1"/>
            </p:cNvSpPr>
            <p:nvPr userDrawn="1"/>
          </p:nvSpPr>
          <p:spPr bwMode="auto">
            <a:xfrm>
              <a:off x="6815622" y="2222769"/>
              <a:ext cx="1118473" cy="819293"/>
            </a:xfrm>
            <a:custGeom>
              <a:avLst/>
              <a:gdLst>
                <a:gd name="T0" fmla="*/ 243 w 243"/>
                <a:gd name="T1" fmla="*/ 83 h 178"/>
                <a:gd name="T2" fmla="*/ 243 w 243"/>
                <a:gd name="T3" fmla="*/ 178 h 178"/>
                <a:gd name="T4" fmla="*/ 0 w 243"/>
                <a:gd name="T5" fmla="*/ 178 h 178"/>
                <a:gd name="T6" fmla="*/ 0 w 243"/>
                <a:gd name="T7" fmla="*/ 0 h 178"/>
                <a:gd name="T8" fmla="*/ 243 w 243"/>
                <a:gd name="T9" fmla="*/ 0 h 178"/>
                <a:gd name="T10" fmla="*/ 243 w 243"/>
                <a:gd name="T11" fmla="*/ 83 h 178"/>
                <a:gd name="T12" fmla="*/ 113 w 243"/>
                <a:gd name="T13" fmla="*/ 147 h 178"/>
                <a:gd name="T14" fmla="*/ 129 w 243"/>
                <a:gd name="T15" fmla="*/ 147 h 17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3" h="178">
                  <a:moveTo>
                    <a:pt x="243" y="83"/>
                  </a:moveTo>
                  <a:lnTo>
                    <a:pt x="243" y="178"/>
                  </a:lnTo>
                  <a:lnTo>
                    <a:pt x="0" y="178"/>
                  </a:lnTo>
                  <a:lnTo>
                    <a:pt x="0" y="0"/>
                  </a:lnTo>
                  <a:lnTo>
                    <a:pt x="243" y="0"/>
                  </a:lnTo>
                  <a:lnTo>
                    <a:pt x="243" y="83"/>
                  </a:lnTo>
                  <a:moveTo>
                    <a:pt x="113" y="147"/>
                  </a:moveTo>
                  <a:lnTo>
                    <a:pt x="129" y="147"/>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800">
                <a:gradFill>
                  <a:gsLst>
                    <a:gs pos="0">
                      <a:srgbClr val="505050"/>
                    </a:gs>
                    <a:gs pos="100000">
                      <a:srgbClr val="505050"/>
                    </a:gs>
                  </a:gsLst>
                </a:gradFill>
              </a:endParaRPr>
            </a:p>
          </p:txBody>
        </p:sp>
        <p:sp>
          <p:nvSpPr>
            <p:cNvPr id="6" name="camera"/>
            <p:cNvSpPr>
              <a:spLocks noChangeAspect="1" noEditPoints="1"/>
            </p:cNvSpPr>
            <p:nvPr userDrawn="1"/>
          </p:nvSpPr>
          <p:spPr bwMode="auto">
            <a:xfrm>
              <a:off x="1041241" y="2295852"/>
              <a:ext cx="842296" cy="673131"/>
            </a:xfrm>
            <a:custGeom>
              <a:avLst/>
              <a:gdLst>
                <a:gd name="T0" fmla="*/ 0 w 330"/>
                <a:gd name="T1" fmla="*/ 24 h 264"/>
                <a:gd name="T2" fmla="*/ 87 w 330"/>
                <a:gd name="T3" fmla="*/ 24 h 264"/>
                <a:gd name="T4" fmla="*/ 111 w 330"/>
                <a:gd name="T5" fmla="*/ 0 h 264"/>
                <a:gd name="T6" fmla="*/ 217 w 330"/>
                <a:gd name="T7" fmla="*/ 0 h 264"/>
                <a:gd name="T8" fmla="*/ 242 w 330"/>
                <a:gd name="T9" fmla="*/ 24 h 264"/>
                <a:gd name="T10" fmla="*/ 330 w 330"/>
                <a:gd name="T11" fmla="*/ 24 h 264"/>
                <a:gd name="T12" fmla="*/ 330 w 330"/>
                <a:gd name="T13" fmla="*/ 264 h 264"/>
                <a:gd name="T14" fmla="*/ 0 w 330"/>
                <a:gd name="T15" fmla="*/ 264 h 264"/>
                <a:gd name="T16" fmla="*/ 0 w 330"/>
                <a:gd name="T17" fmla="*/ 24 h 264"/>
                <a:gd name="T18" fmla="*/ 165 w 330"/>
                <a:gd name="T19" fmla="*/ 221 h 264"/>
                <a:gd name="T20" fmla="*/ 242 w 330"/>
                <a:gd name="T21" fmla="*/ 144 h 264"/>
                <a:gd name="T22" fmla="*/ 165 w 330"/>
                <a:gd name="T23" fmla="*/ 67 h 264"/>
                <a:gd name="T24" fmla="*/ 88 w 330"/>
                <a:gd name="T25" fmla="*/ 144 h 264"/>
                <a:gd name="T26" fmla="*/ 165 w 330"/>
                <a:gd name="T27" fmla="*/ 221 h 264"/>
                <a:gd name="T28" fmla="*/ 42 w 330"/>
                <a:gd name="T29" fmla="*/ 73 h 264"/>
                <a:gd name="T30" fmla="*/ 48 w 330"/>
                <a:gd name="T31" fmla="*/ 67 h 264"/>
                <a:gd name="T32" fmla="*/ 42 w 330"/>
                <a:gd name="T33" fmla="*/ 61 h 264"/>
                <a:gd name="T34" fmla="*/ 36 w 330"/>
                <a:gd name="T35" fmla="*/ 67 h 264"/>
                <a:gd name="T36" fmla="*/ 42 w 330"/>
                <a:gd name="T37" fmla="*/ 73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264">
                  <a:moveTo>
                    <a:pt x="0" y="24"/>
                  </a:moveTo>
                  <a:cubicBezTo>
                    <a:pt x="87" y="24"/>
                    <a:pt x="87" y="24"/>
                    <a:pt x="87" y="24"/>
                  </a:cubicBezTo>
                  <a:cubicBezTo>
                    <a:pt x="111" y="0"/>
                    <a:pt x="111" y="0"/>
                    <a:pt x="111" y="0"/>
                  </a:cubicBezTo>
                  <a:cubicBezTo>
                    <a:pt x="217" y="0"/>
                    <a:pt x="217" y="0"/>
                    <a:pt x="217" y="0"/>
                  </a:cubicBezTo>
                  <a:cubicBezTo>
                    <a:pt x="242" y="24"/>
                    <a:pt x="242" y="24"/>
                    <a:pt x="242" y="24"/>
                  </a:cubicBezTo>
                  <a:cubicBezTo>
                    <a:pt x="330" y="24"/>
                    <a:pt x="330" y="24"/>
                    <a:pt x="330" y="24"/>
                  </a:cubicBezTo>
                  <a:cubicBezTo>
                    <a:pt x="330" y="264"/>
                    <a:pt x="330" y="264"/>
                    <a:pt x="330" y="264"/>
                  </a:cubicBezTo>
                  <a:cubicBezTo>
                    <a:pt x="0" y="264"/>
                    <a:pt x="0" y="264"/>
                    <a:pt x="0" y="264"/>
                  </a:cubicBezTo>
                  <a:lnTo>
                    <a:pt x="0" y="24"/>
                  </a:lnTo>
                  <a:close/>
                  <a:moveTo>
                    <a:pt x="165" y="221"/>
                  </a:moveTo>
                  <a:cubicBezTo>
                    <a:pt x="208" y="221"/>
                    <a:pt x="242" y="187"/>
                    <a:pt x="242" y="144"/>
                  </a:cubicBezTo>
                  <a:cubicBezTo>
                    <a:pt x="242" y="101"/>
                    <a:pt x="208" y="67"/>
                    <a:pt x="165" y="67"/>
                  </a:cubicBezTo>
                  <a:cubicBezTo>
                    <a:pt x="123" y="67"/>
                    <a:pt x="88" y="101"/>
                    <a:pt x="88" y="144"/>
                  </a:cubicBezTo>
                  <a:cubicBezTo>
                    <a:pt x="88" y="187"/>
                    <a:pt x="123" y="221"/>
                    <a:pt x="165" y="221"/>
                  </a:cubicBezTo>
                  <a:close/>
                  <a:moveTo>
                    <a:pt x="42" y="73"/>
                  </a:moveTo>
                  <a:cubicBezTo>
                    <a:pt x="45" y="73"/>
                    <a:pt x="48" y="70"/>
                    <a:pt x="48" y="67"/>
                  </a:cubicBezTo>
                  <a:cubicBezTo>
                    <a:pt x="48" y="64"/>
                    <a:pt x="45" y="61"/>
                    <a:pt x="42" y="61"/>
                  </a:cubicBezTo>
                  <a:cubicBezTo>
                    <a:pt x="38" y="61"/>
                    <a:pt x="36" y="64"/>
                    <a:pt x="36" y="67"/>
                  </a:cubicBezTo>
                  <a:cubicBezTo>
                    <a:pt x="36" y="70"/>
                    <a:pt x="38" y="73"/>
                    <a:pt x="42" y="73"/>
                  </a:cubicBez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 name="Multiplication Sign 8"/>
            <p:cNvSpPr/>
            <p:nvPr userDrawn="1"/>
          </p:nvSpPr>
          <p:spPr bwMode="auto">
            <a:xfrm>
              <a:off x="1654939"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79"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0" name="Multiplication Sign 9"/>
            <p:cNvSpPr/>
            <p:nvPr userDrawn="1"/>
          </p:nvSpPr>
          <p:spPr bwMode="auto">
            <a:xfrm>
              <a:off x="4406053"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79"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1" name="Multiplication Sign 10"/>
            <p:cNvSpPr/>
            <p:nvPr userDrawn="1"/>
          </p:nvSpPr>
          <p:spPr bwMode="auto">
            <a:xfrm>
              <a:off x="7703328"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79"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3" name="Multiplication Sign 12"/>
            <p:cNvSpPr/>
            <p:nvPr userDrawn="1"/>
          </p:nvSpPr>
          <p:spPr bwMode="auto">
            <a:xfrm>
              <a:off x="11039358"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79"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sp>
        <p:nvSpPr>
          <p:cNvPr id="15" name="TextBox 14"/>
          <p:cNvSpPr txBox="1"/>
          <p:nvPr userDrawn="1"/>
        </p:nvSpPr>
        <p:spPr>
          <a:xfrm>
            <a:off x="641917" y="4490905"/>
            <a:ext cx="11151054" cy="2206758"/>
          </a:xfrm>
          <a:prstGeom prst="rect">
            <a:avLst/>
          </a:prstGeom>
          <a:noFill/>
        </p:spPr>
        <p:txBody>
          <a:bodyPr wrap="none" lIns="182857" tIns="146285" rIns="182857" bIns="146285" rtlCol="0" anchor="ctr">
            <a:spAutoFit/>
          </a:bodyPr>
          <a:lstStyle/>
          <a:p>
            <a:pPr algn="ctr">
              <a:lnSpc>
                <a:spcPct val="90000"/>
              </a:lnSpc>
              <a:spcBef>
                <a:spcPts val="1200"/>
              </a:spcBef>
              <a:spcAft>
                <a:spcPts val="600"/>
              </a:spcAft>
            </a:pPr>
            <a:r>
              <a:rPr lang="en-US" sz="2200">
                <a:gradFill>
                  <a:gsLst>
                    <a:gs pos="2917">
                      <a:schemeClr val="tx1"/>
                    </a:gs>
                    <a:gs pos="30000">
                      <a:schemeClr val="tx1"/>
                    </a:gs>
                  </a:gsLst>
                  <a:lin ang="5400000" scaled="0"/>
                </a:gradFill>
              </a:rPr>
              <a:t>Microsoft Ready content is </a:t>
            </a:r>
            <a:r>
              <a:rPr lang="en-US" sz="2200" kern="120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Microsoft Confidential – Internal only</a:t>
            </a:r>
          </a:p>
          <a:p>
            <a:pPr algn="ctr">
              <a:lnSpc>
                <a:spcPct val="90000"/>
              </a:lnSpc>
              <a:spcBef>
                <a:spcPts val="1200"/>
              </a:spcBef>
              <a:spcAft>
                <a:spcPts val="600"/>
              </a:spcAft>
            </a:pPr>
            <a:r>
              <a:rPr lang="en-US" sz="2200" kern="120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DO NOT </a:t>
            </a:r>
            <a:r>
              <a:rPr lang="en-US" sz="2200">
                <a:gradFill>
                  <a:gsLst>
                    <a:gs pos="2917">
                      <a:schemeClr val="tx1"/>
                    </a:gs>
                    <a:gs pos="30000">
                      <a:schemeClr val="tx1"/>
                    </a:gs>
                  </a:gsLst>
                  <a:lin ang="5400000" scaled="0"/>
                </a:gradFill>
              </a:rPr>
              <a:t>post Microsoft Ready content to any blogs or external websites</a:t>
            </a:r>
          </a:p>
          <a:p>
            <a:pPr algn="ctr">
              <a:lnSpc>
                <a:spcPct val="90000"/>
              </a:lnSpc>
              <a:spcBef>
                <a:spcPts val="1200"/>
              </a:spcBef>
              <a:spcAft>
                <a:spcPts val="600"/>
              </a:spcAft>
            </a:pPr>
            <a:r>
              <a:rPr lang="en-US" sz="2200" kern="120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DO NOT </a:t>
            </a:r>
            <a:r>
              <a:rPr lang="en-US" sz="2200">
                <a:gradFill>
                  <a:gsLst>
                    <a:gs pos="2917">
                      <a:schemeClr val="tx1"/>
                    </a:gs>
                    <a:gs pos="30000">
                      <a:schemeClr val="tx1"/>
                    </a:gs>
                  </a:gsLst>
                  <a:lin ang="5400000" scaled="0"/>
                </a:gradFill>
              </a:rPr>
              <a:t>take photos or video of sessions or slides throughout the Microsoft Ready event</a:t>
            </a:r>
          </a:p>
          <a:p>
            <a:pPr algn="ctr">
              <a:lnSpc>
                <a:spcPct val="90000"/>
              </a:lnSpc>
              <a:spcBef>
                <a:spcPts val="1200"/>
              </a:spcBef>
              <a:spcAft>
                <a:spcPts val="600"/>
              </a:spcAft>
            </a:pPr>
            <a:r>
              <a:rPr lang="en-US" sz="2200">
                <a:gradFill>
                  <a:gsLst>
                    <a:gs pos="2917">
                      <a:schemeClr val="tx1"/>
                    </a:gs>
                    <a:gs pos="30000">
                      <a:schemeClr val="tx1"/>
                    </a:gs>
                  </a:gsLst>
                  <a:lin ang="5400000" scaled="0"/>
                </a:gradFill>
              </a:rPr>
              <a:t>Content will be available to internal audiences on-demand post-event</a:t>
            </a:r>
          </a:p>
        </p:txBody>
      </p:sp>
    </p:spTree>
    <p:extLst>
      <p:ext uri="{BB962C8B-B14F-4D97-AF65-F5344CB8AC3E}">
        <p14:creationId xmlns:p14="http://schemas.microsoft.com/office/powerpoint/2010/main" val="349361437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212849"/>
            <a:ext cx="12434888"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3" tIns="46633" rIns="46633" bIns="46633" numCol="1" spcCol="0" rtlCol="0" fromWordArt="0" anchor="ctr" anchorCtr="0" forceAA="0" compatLnSpc="1">
            <a:prstTxWarp prst="textNoShape">
              <a:avLst/>
            </a:prstTxWarp>
            <a:noAutofit/>
          </a:bodyPr>
          <a:lstStyle/>
          <a:p>
            <a:pPr algn="ctr" defTabSz="932379" fontAlgn="base">
              <a:spcBef>
                <a:spcPct val="0"/>
              </a:spcBef>
              <a:spcAft>
                <a:spcPct val="0"/>
              </a:spcAft>
            </a:pPr>
            <a:endParaRPr lang="en-US" sz="180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03" y="1221158"/>
            <a:ext cx="11885682" cy="2266774"/>
          </a:xfrm>
        </p:spPr>
        <p:txBody>
          <a:bodyPr/>
          <a:lstStyle>
            <a:lvl1pPr marL="0" indent="0">
              <a:buNone/>
              <a:defRPr sz="3300">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46518"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84549"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81448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508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61495687"/>
      </p:ext>
    </p:extLst>
  </p:cSld>
  <p:clrMapOvr>
    <a:masterClrMapping/>
  </p:clrMapOvr>
  <p:transition spd="med">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04" y="6220609"/>
            <a:ext cx="4571417" cy="477054"/>
          </a:xfrm>
          <a:prstGeom prst="rect">
            <a:avLst/>
          </a:prstGeom>
          <a:noFill/>
          <a:ln w="12700">
            <a:noFill/>
            <a:miter lim="800000"/>
            <a:headEnd type="none" w="sm" len="sm"/>
            <a:tailEnd type="none" w="sm" len="sm"/>
          </a:ln>
          <a:effectLst/>
        </p:spPr>
        <p:txBody>
          <a:bodyPr vert="horz" wrap="square" lIns="182857" tIns="182857" rIns="182857" bIns="182857" numCol="1" anchor="t" anchorCtr="0" compatLnSpc="1">
            <a:prstTxWarp prst="textNoShape">
              <a:avLst/>
            </a:prstTxWarp>
            <a:spAutoFit/>
          </a:bodyPr>
          <a:lstStyle/>
          <a:p>
            <a:pPr defTabSz="932197"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a:stretch>
            <a:fillRect/>
          </a:stretch>
        </p:blipFill>
        <p:spPr bwMode="black">
          <a:xfrm>
            <a:off x="460630" y="479425"/>
            <a:ext cx="1451658" cy="310896"/>
          </a:xfrm>
          <a:prstGeom prst="rect">
            <a:avLst/>
          </a:prstGeom>
        </p:spPr>
      </p:pic>
    </p:spTree>
    <p:extLst>
      <p:ext uri="{BB962C8B-B14F-4D97-AF65-F5344CB8AC3E}">
        <p14:creationId xmlns:p14="http://schemas.microsoft.com/office/powerpoint/2010/main" val="55533912"/>
      </p:ext>
    </p:extLst>
  </p:cSld>
  <p:clrMapOvr>
    <a:overrideClrMapping bg1="dk1" tx1="lt1" bg2="dk2" tx2="lt2" accent1="accent1" accent2="accent2" accent3="accent3" accent4="accent4" accent5="accent5" accent6="accent6" hlink="hlink" folHlink="folHlink"/>
  </p:clrMapOvr>
  <p:transition spd="med">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03" y="1212850"/>
            <a:ext cx="11885683" cy="2443746"/>
          </a:xfrm>
          <a:prstGeom prst="rect">
            <a:avLst/>
          </a:prstGeom>
        </p:spPr>
        <p:txBody>
          <a:bodyPr/>
          <a:lstStyle>
            <a:lvl1pPr marL="290484" indent="-290484">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443" indent="-280960">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927" indent="-290484">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504" indent="-22857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081" indent="-22857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363076"/>
            <a:ext cx="12434889"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2172372344"/>
      </p:ext>
    </p:extLst>
  </p:cSld>
  <p:clrMapOvr>
    <a:overrideClrMapping bg1="dk1" tx1="lt1" bg2="dk2" tx2="lt2" accent1="accent1" accent2="accent2" accent3="accent3" accent4="accent4" accent5="accent5" accent6="accent6" hlink="hlink" folHlink="folHlink"/>
  </p:clrMapOvr>
  <p:transition spd="med">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800"/>
            </a:lvl1pPr>
          </a:lstStyle>
          <a:p>
            <a:r>
              <a:rPr lang="en-US" dirty="0"/>
              <a:t>Click to edit Master title style</a:t>
            </a:r>
          </a:p>
        </p:txBody>
      </p:sp>
      <p:sp>
        <p:nvSpPr>
          <p:cNvPr id="4" name="Text Placeholder 3"/>
          <p:cNvSpPr>
            <a:spLocks noGrp="1"/>
          </p:cNvSpPr>
          <p:nvPr>
            <p:ph type="body" sz="quarter" idx="10"/>
          </p:nvPr>
        </p:nvSpPr>
        <p:spPr>
          <a:xfrm>
            <a:off x="365597" y="1211287"/>
            <a:ext cx="5608081" cy="1812804"/>
          </a:xfrm>
        </p:spPr>
        <p:txBody>
          <a:bodyPr wrap="square">
            <a:spAutoFit/>
          </a:bodyPr>
          <a:lstStyle>
            <a:lvl1pPr marL="287293" indent="-287293">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081" indent="-233158">
              <a:defRPr sz="1800"/>
            </a:lvl2pPr>
            <a:lvl3pPr marL="699475" indent="-168392">
              <a:tabLst/>
              <a:defRPr sz="1800"/>
            </a:lvl3pPr>
            <a:lvl4pPr marL="880818" indent="-181345">
              <a:defRPr sz="1600"/>
            </a:lvl4pPr>
            <a:lvl5pPr marL="1049211" indent="-168392">
              <a:tabLst/>
              <a:defRPr sz="16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461209" y="1211287"/>
            <a:ext cx="5608081" cy="1812804"/>
          </a:xfrm>
        </p:spPr>
        <p:txBody>
          <a:bodyPr wrap="square">
            <a:spAutoFit/>
          </a:bodyPr>
          <a:lstStyle>
            <a:lvl1pPr marL="287293" indent="-287293">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081" indent="-233158">
              <a:defRPr sz="1800"/>
            </a:lvl2pPr>
            <a:lvl3pPr marL="699475" indent="-168392">
              <a:tabLst/>
              <a:defRPr sz="1800"/>
            </a:lvl3pPr>
            <a:lvl4pPr marL="880818" indent="-181345">
              <a:defRPr sz="1600"/>
            </a:lvl4pPr>
            <a:lvl5pPr marL="1049211" indent="-168392">
              <a:tabLst/>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98371309"/>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userDrawn="1">
  <p:cSld name="Interior1">
    <p:spTree>
      <p:nvGrpSpPr>
        <p:cNvPr id="1" name=""/>
        <p:cNvGrpSpPr/>
        <p:nvPr/>
      </p:nvGrpSpPr>
      <p:grpSpPr>
        <a:xfrm>
          <a:off x="0" y="0"/>
          <a:ext cx="0" cy="0"/>
          <a:chOff x="0" y="0"/>
          <a:chExt cx="0" cy="0"/>
        </a:xfrm>
      </p:grpSpPr>
      <p:sp>
        <p:nvSpPr>
          <p:cNvPr id="13" name="Content Placeholder 2"/>
          <p:cNvSpPr>
            <a:spLocks noGrp="1"/>
          </p:cNvSpPr>
          <p:nvPr>
            <p:ph idx="1" hasCustomPrompt="1"/>
          </p:nvPr>
        </p:nvSpPr>
        <p:spPr>
          <a:xfrm>
            <a:off x="151623" y="1384413"/>
            <a:ext cx="12164837" cy="2490233"/>
          </a:xfrm>
          <a:prstGeom prst="rect">
            <a:avLst/>
          </a:prstGeom>
        </p:spPr>
        <p:txBody>
          <a:bodyPr lIns="182880" tIns="182880" rIns="182880" bIns="182880"/>
          <a:lstStyle>
            <a:lvl1pPr marL="0" indent="0">
              <a:spcBef>
                <a:spcPts val="1360"/>
              </a:spcBef>
              <a:buFont typeface="Arial"/>
              <a:buNone/>
              <a:defRPr sz="3264" baseline="0">
                <a:solidFill>
                  <a:schemeClr val="tx1"/>
                </a:solidFill>
                <a:latin typeface="Segoe UI Light"/>
                <a:cs typeface="Segoe UI Light"/>
              </a:defRPr>
            </a:lvl1pPr>
            <a:lvl2pPr marL="901442" indent="-466263">
              <a:spcBef>
                <a:spcPts val="1360"/>
              </a:spcBef>
              <a:buFont typeface="Arial" panose="020B0604020202020204" pitchFamily="34" charset="0"/>
              <a:buChar char="•"/>
              <a:defRPr sz="3264">
                <a:solidFill>
                  <a:schemeClr val="tx1"/>
                </a:solidFill>
                <a:latin typeface="Segoe UI Light"/>
                <a:cs typeface="Segoe UI Light"/>
              </a:defRPr>
            </a:lvl2pPr>
            <a:lvl3pPr marL="1243369">
              <a:spcBef>
                <a:spcPts val="1360"/>
              </a:spcBef>
              <a:buFont typeface="Arial"/>
              <a:buChar char="•"/>
              <a:defRPr sz="2992">
                <a:solidFill>
                  <a:schemeClr val="tx1"/>
                </a:solidFill>
                <a:latin typeface="Segoe UI Light"/>
                <a:cs typeface="Segoe UI Light"/>
              </a:defRPr>
            </a:lvl3pPr>
            <a:lvl4pPr marL="1740716">
              <a:spcBef>
                <a:spcPts val="1360"/>
              </a:spcBef>
              <a:buFont typeface="Arial"/>
              <a:buChar char="•"/>
              <a:defRPr sz="2720" baseline="0">
                <a:solidFill>
                  <a:schemeClr val="tx1"/>
                </a:solidFill>
                <a:latin typeface="Segoe UI Light"/>
                <a:cs typeface="Segoe UI Light"/>
              </a:defRPr>
            </a:lvl4pPr>
            <a:lvl5pPr marL="1989389" indent="248674">
              <a:spcBef>
                <a:spcPts val="1360"/>
              </a:spcBef>
              <a:buFont typeface="Arial"/>
              <a:buChar char="•"/>
              <a:tabLst>
                <a:tab pos="2178054" algn="l"/>
              </a:tabLst>
              <a:defRPr sz="2448" baseline="0">
                <a:solidFill>
                  <a:schemeClr val="tx1"/>
                </a:solidFill>
                <a:latin typeface="Segoe UI Light"/>
                <a:cs typeface="Segoe UI Light"/>
              </a:defRPr>
            </a:lvl5pPr>
          </a:lstStyle>
          <a:p>
            <a:pPr lvl="1"/>
            <a:r>
              <a:rPr lang="en-US"/>
              <a:t>Bullet first level</a:t>
            </a:r>
          </a:p>
          <a:p>
            <a:pPr lvl="2"/>
            <a:r>
              <a:rPr lang="en-US"/>
              <a:t>Bullet second level</a:t>
            </a:r>
          </a:p>
          <a:p>
            <a:pPr lvl="3"/>
            <a:r>
              <a:rPr lang="en-US"/>
              <a:t>Bullet third level</a:t>
            </a:r>
          </a:p>
          <a:p>
            <a:pPr lvl="4"/>
            <a:r>
              <a:rPr lang="en-US"/>
              <a:t>Bullet fourth level</a:t>
            </a:r>
          </a:p>
        </p:txBody>
      </p:sp>
      <p:sp>
        <p:nvSpPr>
          <p:cNvPr id="2" name="Title 1"/>
          <p:cNvSpPr>
            <a:spLocks noGrp="1"/>
          </p:cNvSpPr>
          <p:nvPr>
            <p:ph type="title"/>
          </p:nvPr>
        </p:nvSpPr>
        <p:spPr>
          <a:xfrm>
            <a:off x="151623" y="2"/>
            <a:ext cx="10725091" cy="1351411"/>
          </a:xfrm>
        </p:spPr>
        <p:txBody>
          <a:bodyPr/>
          <a:lstStyle/>
          <a:p>
            <a:r>
              <a:rPr lang="en-US"/>
              <a:t>Click to edit Master title style</a:t>
            </a:r>
          </a:p>
        </p:txBody>
      </p:sp>
    </p:spTree>
    <p:extLst>
      <p:ext uri="{BB962C8B-B14F-4D97-AF65-F5344CB8AC3E}">
        <p14:creationId xmlns:p14="http://schemas.microsoft.com/office/powerpoint/2010/main" val="2166675871"/>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Walkin-Generic">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3"/>
          <a:stretch>
            <a:fillRect/>
          </a:stretch>
        </p:blipFill>
        <p:spPr>
          <a:xfrm>
            <a:off x="466383" y="6209084"/>
            <a:ext cx="1447909" cy="310896"/>
          </a:xfrm>
          <a:prstGeom prst="rect">
            <a:avLst/>
          </a:prstGeom>
        </p:spPr>
      </p:pic>
    </p:spTree>
    <p:extLst>
      <p:ext uri="{BB962C8B-B14F-4D97-AF65-F5344CB8AC3E}">
        <p14:creationId xmlns:p14="http://schemas.microsoft.com/office/powerpoint/2010/main" val="109646671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itle Slid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3"/>
          <a:stretch>
            <a:fillRect/>
          </a:stretch>
        </p:blipFill>
        <p:spPr>
          <a:xfrm>
            <a:off x="466383" y="6209084"/>
            <a:ext cx="1447909" cy="310896"/>
          </a:xfrm>
          <a:prstGeom prst="rect">
            <a:avLst/>
          </a:prstGeom>
        </p:spPr>
      </p:pic>
      <p:pic>
        <p:nvPicPr>
          <p:cNvPr id="16" name="Picture 15" hidden="1"/>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bwMode="black">
          <a:xfrm>
            <a:off x="459172" y="6240963"/>
            <a:ext cx="1278347" cy="274137"/>
          </a:xfrm>
          <a:prstGeom prst="rect">
            <a:avLst/>
          </a:prstGeom>
        </p:spPr>
      </p:pic>
      <p:sp>
        <p:nvSpPr>
          <p:cNvPr id="8" name="Title 1"/>
          <p:cNvSpPr>
            <a:spLocks noGrp="1"/>
          </p:cNvSpPr>
          <p:nvPr>
            <p:ph type="title" hasCustomPrompt="1"/>
          </p:nvPr>
        </p:nvSpPr>
        <p:spPr bwMode="white">
          <a:xfrm>
            <a:off x="274667" y="1679645"/>
            <a:ext cx="9142769" cy="1828786"/>
          </a:xfrm>
          <a:noFill/>
        </p:spPr>
        <p:txBody>
          <a:bodyPr lIns="146304" tIns="91440" rIns="146304" bIns="91440" anchor="t" anchorCtr="0"/>
          <a:lstStyle>
            <a:lvl1pPr>
              <a:defRPr sz="5399" spc="-100" baseline="0">
                <a:gradFill>
                  <a:gsLst>
                    <a:gs pos="100000">
                      <a:schemeClr val="tx2"/>
                    </a:gs>
                    <a:gs pos="0">
                      <a:schemeClr val="tx2"/>
                    </a:gs>
                  </a:gsLst>
                  <a:lin ang="5400000" scaled="0"/>
                </a:gradFill>
              </a:defRPr>
            </a:lvl1pPr>
          </a:lstStyle>
          <a:p>
            <a:r>
              <a:rPr lang="en-US" dirty="0"/>
              <a:t>Presentation title</a:t>
            </a:r>
          </a:p>
        </p:txBody>
      </p:sp>
      <p:sp>
        <p:nvSpPr>
          <p:cNvPr id="9" name="Text Placeholder 4"/>
          <p:cNvSpPr>
            <a:spLocks noGrp="1"/>
          </p:cNvSpPr>
          <p:nvPr>
            <p:ph type="body" sz="quarter" idx="12" hasCustomPrompt="1"/>
          </p:nvPr>
        </p:nvSpPr>
        <p:spPr bwMode="white">
          <a:xfrm>
            <a:off x="274666" y="3509753"/>
            <a:ext cx="7314204" cy="1828007"/>
          </a:xfrm>
          <a:noFill/>
        </p:spPr>
        <p:txBody>
          <a:bodyPr lIns="146304" tIns="109728" rIns="146304" bIns="109728">
            <a:noAutofit/>
          </a:bodyPr>
          <a:lstStyle>
            <a:lvl1pPr marL="0" indent="0">
              <a:spcBef>
                <a:spcPts val="0"/>
              </a:spcBef>
              <a:buNone/>
              <a:defRPr sz="3199" spc="0" baseline="0">
                <a:gradFill>
                  <a:gsLst>
                    <a:gs pos="91000">
                      <a:schemeClr val="tx1"/>
                    </a:gs>
                    <a:gs pos="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44427248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03" y="1212851"/>
            <a:ext cx="11885684"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39199512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03" y="1212851"/>
            <a:ext cx="11885684"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10826301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03" y="1212850"/>
            <a:ext cx="11885684" cy="2092881"/>
          </a:xfrm>
        </p:spPr>
        <p:txBody>
          <a:bodyPr>
            <a:spAutoFit/>
          </a:bodyPr>
          <a:lstStyle>
            <a:lvl1pPr>
              <a:defRPr sz="3999">
                <a:gradFill>
                  <a:gsLst>
                    <a:gs pos="1250">
                      <a:schemeClr val="tx2"/>
                    </a:gs>
                    <a:gs pos="99000">
                      <a:schemeClr val="tx2"/>
                    </a:gs>
                  </a:gsLst>
                  <a:lin ang="5400000" scaled="0"/>
                </a:gradFill>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9803250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03" y="1212850"/>
            <a:ext cx="11885684" cy="2092881"/>
          </a:xfrm>
        </p:spPr>
        <p:txBody>
          <a:bodyPr>
            <a:spAutoFit/>
          </a:bodyPr>
          <a:lstStyle>
            <a:lvl1pPr>
              <a:defRPr sz="3999"/>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00596376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05" y="1212849"/>
            <a:ext cx="5485699" cy="1914370"/>
          </a:xfrm>
        </p:spPr>
        <p:txBody>
          <a:bodyPr wrap="square">
            <a:spAutoFit/>
          </a:bodyPr>
          <a:lstStyle>
            <a:lvl1pPr marL="0" indent="0">
              <a:spcBef>
                <a:spcPts val="1224"/>
              </a:spcBef>
              <a:buClr>
                <a:schemeClr val="tx1"/>
              </a:buClr>
              <a:buFont typeface="Wingdings" pitchFamily="2" charset="2"/>
              <a:buNone/>
              <a:defRPr sz="3199">
                <a:gradFill>
                  <a:gsLst>
                    <a:gs pos="1250">
                      <a:schemeClr val="tx2"/>
                    </a:gs>
                    <a:gs pos="99000">
                      <a:schemeClr val="tx2"/>
                    </a:gs>
                  </a:gsLst>
                  <a:lin ang="5400000" scaled="0"/>
                </a:gra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4587" y="1212849"/>
            <a:ext cx="5485699" cy="1914370"/>
          </a:xfrm>
        </p:spPr>
        <p:txBody>
          <a:bodyPr wrap="square">
            <a:spAutoFit/>
          </a:bodyPr>
          <a:lstStyle>
            <a:lvl1pPr marL="0" indent="0">
              <a:spcBef>
                <a:spcPts val="1224"/>
              </a:spcBef>
              <a:buClr>
                <a:schemeClr val="tx1"/>
              </a:buClr>
              <a:buFont typeface="Wingdings" pitchFamily="2" charset="2"/>
              <a:buNone/>
              <a:defRPr sz="3199">
                <a:gradFill>
                  <a:gsLst>
                    <a:gs pos="1250">
                      <a:schemeClr val="tx2"/>
                    </a:gs>
                    <a:gs pos="99000">
                      <a:schemeClr val="tx2"/>
                    </a:gs>
                  </a:gsLst>
                  <a:lin ang="5400000" scaled="0"/>
                </a:gra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5438517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05" y="1212849"/>
            <a:ext cx="5485699" cy="1914370"/>
          </a:xfrm>
        </p:spPr>
        <p:txBody>
          <a:bodyPr wrap="square">
            <a:spAutoFit/>
          </a:bodyPr>
          <a:lstStyle>
            <a:lvl1pPr marL="0" indent="0">
              <a:spcBef>
                <a:spcPts val="1224"/>
              </a:spcBef>
              <a:buClr>
                <a:schemeClr val="tx1"/>
              </a:buClr>
              <a:buFont typeface="Wingdings" pitchFamily="2" charset="2"/>
              <a:buNone/>
              <a:defRPr sz="31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4587" y="1212849"/>
            <a:ext cx="5485699" cy="1914370"/>
          </a:xfrm>
        </p:spPr>
        <p:txBody>
          <a:bodyPr wrap="square">
            <a:spAutoFit/>
          </a:bodyPr>
          <a:lstStyle>
            <a:lvl1pPr marL="0" indent="0">
              <a:spcBef>
                <a:spcPts val="1224"/>
              </a:spcBef>
              <a:buClr>
                <a:schemeClr val="tx1"/>
              </a:buClr>
              <a:buFont typeface="Wingdings" pitchFamily="2" charset="2"/>
              <a:buNone/>
              <a:defRPr sz="31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64840281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05" y="1212849"/>
            <a:ext cx="5485699" cy="2425279"/>
          </a:xfrm>
        </p:spPr>
        <p:txBody>
          <a:bodyPr wrap="square">
            <a:spAutoFit/>
          </a:bodyPr>
          <a:lstStyle>
            <a:lvl1pPr marL="287282" indent="-287282">
              <a:spcBef>
                <a:spcPts val="1224"/>
              </a:spcBef>
              <a:buClr>
                <a:schemeClr val="tx2"/>
              </a:buClr>
              <a:buFont typeface="Arial" pitchFamily="34" charset="0"/>
              <a:buChar char="•"/>
              <a:defRPr sz="3199">
                <a:gradFill>
                  <a:gsLst>
                    <a:gs pos="1250">
                      <a:schemeClr val="tx2"/>
                    </a:gs>
                    <a:gs pos="99000">
                      <a:schemeClr val="tx2"/>
                    </a:gs>
                  </a:gsLst>
                  <a:lin ang="5400000" scaled="0"/>
                </a:gra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4587" y="1212849"/>
            <a:ext cx="5485699" cy="2425279"/>
          </a:xfrm>
        </p:spPr>
        <p:txBody>
          <a:bodyPr wrap="square">
            <a:spAutoFit/>
          </a:bodyPr>
          <a:lstStyle>
            <a:lvl1pPr marL="287282" indent="-287282">
              <a:spcBef>
                <a:spcPts val="1224"/>
              </a:spcBef>
              <a:buClr>
                <a:schemeClr val="tx2"/>
              </a:buClr>
              <a:buFont typeface="Arial" pitchFamily="34" charset="0"/>
              <a:buChar char="•"/>
              <a:defRPr sz="3199">
                <a:gradFill>
                  <a:gsLst>
                    <a:gs pos="1250">
                      <a:schemeClr val="tx2"/>
                    </a:gs>
                    <a:gs pos="99000">
                      <a:schemeClr val="tx2"/>
                    </a:gs>
                  </a:gsLst>
                  <a:lin ang="5400000" scaled="0"/>
                </a:gra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64225094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800"/>
            </a:lvl1pPr>
          </a:lstStyle>
          <a:p>
            <a:r>
              <a:rPr lang="en-US" dirty="0"/>
              <a:t>Click to edit Master title style</a:t>
            </a:r>
          </a:p>
        </p:txBody>
      </p:sp>
      <p:sp>
        <p:nvSpPr>
          <p:cNvPr id="4" name="Text Placeholder 3"/>
          <p:cNvSpPr>
            <a:spLocks noGrp="1"/>
          </p:cNvSpPr>
          <p:nvPr>
            <p:ph type="body" sz="quarter" idx="10"/>
          </p:nvPr>
        </p:nvSpPr>
        <p:spPr>
          <a:xfrm>
            <a:off x="366003" y="1211287"/>
            <a:ext cx="5608081" cy="1812804"/>
          </a:xfrm>
        </p:spPr>
        <p:txBody>
          <a:bodyPr wrap="square">
            <a:spAutoFit/>
          </a:bodyPr>
          <a:lstStyle>
            <a:lvl1pPr marL="287293" indent="-287293">
              <a:spcBef>
                <a:spcPts val="1224"/>
              </a:spcBef>
              <a:buClr>
                <a:schemeClr val="tx1"/>
              </a:buClr>
              <a:buFont typeface="Arial" pitchFamily="34" charset="0"/>
              <a:buChar char="•"/>
              <a:defRPr sz="3200"/>
            </a:lvl1pPr>
            <a:lvl2pPr marL="531081" indent="-233158">
              <a:defRPr sz="1800"/>
            </a:lvl2pPr>
            <a:lvl3pPr marL="699475" indent="-168392">
              <a:tabLst/>
              <a:defRPr sz="1800"/>
            </a:lvl3pPr>
            <a:lvl4pPr marL="880818" indent="-181345">
              <a:defRPr sz="1600"/>
            </a:lvl4pPr>
            <a:lvl5pPr marL="1049211" indent="-168392">
              <a:tabLst/>
              <a:defRPr sz="16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461209" y="1211287"/>
            <a:ext cx="5608081" cy="1812804"/>
          </a:xfrm>
        </p:spPr>
        <p:txBody>
          <a:bodyPr wrap="square">
            <a:spAutoFit/>
          </a:bodyPr>
          <a:lstStyle>
            <a:lvl1pPr marL="287293" indent="-287293">
              <a:spcBef>
                <a:spcPts val="1224"/>
              </a:spcBef>
              <a:buClr>
                <a:schemeClr val="tx1"/>
              </a:buClr>
              <a:buFont typeface="Arial" pitchFamily="34" charset="0"/>
              <a:buChar char="•"/>
              <a:defRPr sz="3200"/>
            </a:lvl1pPr>
            <a:lvl2pPr marL="531081" indent="-233158">
              <a:defRPr sz="1800"/>
            </a:lvl2pPr>
            <a:lvl3pPr marL="699475" indent="-168392">
              <a:tabLst/>
              <a:defRPr sz="1800"/>
            </a:lvl3pPr>
            <a:lvl4pPr marL="880818" indent="-181345">
              <a:defRPr sz="1600"/>
            </a:lvl4pPr>
            <a:lvl5pPr marL="1049211" indent="-168392">
              <a:tabLst/>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9362577"/>
      </p:ext>
    </p:extLst>
  </p:cSld>
  <p:clrMapOvr>
    <a:masterClrMapping/>
  </p:clrMapOvr>
  <p:transitio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05" y="1212849"/>
            <a:ext cx="5485699" cy="2425279"/>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4587" y="1212849"/>
            <a:ext cx="5485699" cy="2425279"/>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04778618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161140056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Demo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4" y="1209974"/>
            <a:ext cx="8227249" cy="1181862"/>
          </a:xfrm>
          <a:noFill/>
        </p:spPr>
        <p:txBody>
          <a:bodyPr wrap="square" tIns="91440" bIns="91440" anchor="t" anchorCtr="0">
            <a:spAutoFit/>
          </a:bodyPr>
          <a:lstStyle>
            <a:lvl1pPr>
              <a:defRPr sz="7198" spc="-100" baseline="0">
                <a:gradFill>
                  <a:gsLst>
                    <a:gs pos="8850">
                      <a:schemeClr val="tx1"/>
                    </a:gs>
                    <a:gs pos="23894">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04" y="3954463"/>
            <a:ext cx="8228548" cy="738664"/>
          </a:xfrm>
          <a:noFill/>
        </p:spPr>
        <p:txBody>
          <a:bodyPr wrap="square" lIns="182880" tIns="146304" rIns="182880" bIns="146304">
            <a:spAutoFit/>
          </a:bodyPr>
          <a:lstStyle>
            <a:lvl1pPr marL="0" indent="0">
              <a:spcBef>
                <a:spcPts val="0"/>
              </a:spcBef>
              <a:buNone/>
              <a:defRPr sz="3199" spc="0" baseline="0">
                <a:gradFill>
                  <a:gsLst>
                    <a:gs pos="8850">
                      <a:schemeClr val="tx1"/>
                    </a:gs>
                    <a:gs pos="23894">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11670775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Video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4" y="1209974"/>
            <a:ext cx="8228548" cy="1181862"/>
          </a:xfrm>
          <a:noFill/>
        </p:spPr>
        <p:txBody>
          <a:bodyPr wrap="square" tIns="91440" bIns="91440" anchor="t" anchorCtr="0">
            <a:spAutoFit/>
          </a:bodyPr>
          <a:lstStyle>
            <a:lvl1pPr>
              <a:defRPr sz="7198" spc="-100" baseline="0">
                <a:gradFill>
                  <a:gsLst>
                    <a:gs pos="10619">
                      <a:schemeClr val="tx1"/>
                    </a:gs>
                    <a:gs pos="26549">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145460139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3" y="2125663"/>
            <a:ext cx="11885684"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52806756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3" y="2125663"/>
            <a:ext cx="11885684" cy="1181862"/>
          </a:xfrm>
          <a:noFill/>
        </p:spPr>
        <p:txBody>
          <a:bodyPr tIns="91440" bIns="91440" anchor="t" anchorCtr="0">
            <a:spAutoFit/>
          </a:bodyPr>
          <a:lstStyle>
            <a:lvl1pPr>
              <a:defRPr sz="7198" spc="-100" baseline="0">
                <a:gradFill>
                  <a:gsLst>
                    <a:gs pos="89381">
                      <a:schemeClr val="tx1"/>
                    </a:gs>
                    <a:gs pos="6700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07963516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50-50 Right Photo Layou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5" y="1241426"/>
            <a:ext cx="5485699" cy="2012859"/>
          </a:xfrm>
        </p:spPr>
        <p:txBody>
          <a:bodyPr>
            <a:spAutoFit/>
          </a:bodyPr>
          <a:lstStyle>
            <a:lvl1pPr>
              <a:defRPr sz="6599"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031" y="0"/>
            <a:ext cx="6215857" cy="6992587"/>
          </a:xfrm>
          <a:blipFill>
            <a:blip r:embed="rId2"/>
            <a:stretch>
              <a:fillRect/>
            </a:stretch>
          </a:blipFill>
        </p:spPr>
        <p:txBody>
          <a:bodyPr tIns="548640" anchor="ctr" anchorCtr="0">
            <a:noAutofit/>
          </a:bodyPr>
          <a:lstStyle>
            <a:lvl1pPr marL="0" indent="0" algn="ctr">
              <a:buNone/>
              <a:defRPr sz="1599"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176952437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3768189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8287181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4888"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2" tIns="46632" rIns="46632" bIns="46632"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18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03" y="1221158"/>
            <a:ext cx="11885682" cy="1995931"/>
          </a:xfrm>
        </p:spPr>
        <p:txBody>
          <a:bodyPr/>
          <a:lstStyle>
            <a:lvl1pPr marL="0" indent="0">
              <a:buNone/>
              <a:defRPr sz="3299">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48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4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40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795"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49013903"/>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800"/>
            </a:lvl1pPr>
          </a:lstStyle>
          <a:p>
            <a:r>
              <a:rPr lang="en-US" dirty="0"/>
              <a:t>Click to edit Master title style</a:t>
            </a:r>
          </a:p>
        </p:txBody>
      </p:sp>
    </p:spTree>
    <p:extLst>
      <p:ext uri="{BB962C8B-B14F-4D97-AF65-F5344CB8AC3E}">
        <p14:creationId xmlns:p14="http://schemas.microsoft.com/office/powerpoint/2010/main" val="3311135705"/>
      </p:ext>
    </p:extLst>
  </p:cSld>
  <p:clrMapOvr>
    <a:masterClrMapping/>
  </p:clrMapOvr>
  <p:transition>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Closing logo slide_color">
    <p:bg>
      <p:bgRef idx="1001">
        <a:schemeClr val="bg1"/>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03" y="6294477"/>
            <a:ext cx="11885682" cy="403187"/>
          </a:xfrm>
          <a:prstGeom prst="rect">
            <a:avLst/>
          </a:prstGeom>
          <a:noFill/>
          <a:ln w="12700">
            <a:noFill/>
            <a:miter lim="800000"/>
            <a:headEnd type="none" w="sm" len="sm"/>
            <a:tailEnd type="none" w="sm" len="sm"/>
          </a:ln>
          <a:effectLst/>
        </p:spPr>
        <p:txBody>
          <a:bodyPr vert="horz" wrap="square" lIns="182854" tIns="146283" rIns="182854" bIns="146283" numCol="1" anchor="t" anchorCtr="0" compatLnSpc="1">
            <a:prstTxWarp prst="textNoShape">
              <a:avLst/>
            </a:prstTxWarp>
            <a:spAutoFit/>
          </a:bodyPr>
          <a:lstStyle/>
          <a:p>
            <a:pPr defTabSz="932111" eaLnBrk="0" hangingPunct="0"/>
            <a:r>
              <a:rPr lang="en-US" sz="700" dirty="0">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userDrawn="1"/>
        </p:nvPicPr>
        <p:blipFill rotWithShape="1">
          <a:blip r:embed="rId2" cstate="screen">
            <a:extLst>
              <a:ext uri="{28A0092B-C50C-407E-A947-70E740481C1C}">
                <a14:useLocalDpi xmlns:a14="http://schemas.microsoft.com/office/drawing/2010/main"/>
              </a:ext>
            </a:extLst>
          </a:blip>
          <a:srcRect b="1380"/>
          <a:stretch/>
        </p:blipFill>
        <p:spPr bwMode="invGray">
          <a:xfrm>
            <a:off x="457142" y="479425"/>
            <a:ext cx="1449754" cy="306604"/>
          </a:xfrm>
          <a:prstGeom prst="rect">
            <a:avLst/>
          </a:prstGeom>
        </p:spPr>
      </p:pic>
    </p:spTree>
    <p:extLst>
      <p:ext uri="{BB962C8B-B14F-4D97-AF65-F5344CB8AC3E}">
        <p14:creationId xmlns:p14="http://schemas.microsoft.com/office/powerpoint/2010/main" val="381492019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03" y="1212851"/>
            <a:ext cx="11885684" cy="2443746"/>
          </a:xfrm>
          <a:prstGeom prst="rect">
            <a:avLst/>
          </a:prstGeom>
        </p:spPr>
        <p:txBody>
          <a:bodyPr/>
          <a:lstStyle>
            <a:lvl1pPr marL="290457" indent="-290457">
              <a:buClr>
                <a:schemeClr val="tx1"/>
              </a:buClr>
              <a:buSzPct val="90000"/>
              <a:buFont typeface="Arial" pitchFamily="34" charset="0"/>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90" indent="-280935">
              <a:buClr>
                <a:schemeClr val="tx1"/>
              </a:buClr>
              <a:buSzPct val="90000"/>
              <a:buFont typeface="Arial" pitchFamily="34" charset="0"/>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47" indent="-290457">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04" indent="-22855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960" indent="-22855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363076"/>
            <a:ext cx="12434889"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76357193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Walkin-Amsterdam">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3"/>
          <a:stretch>
            <a:fillRect/>
          </a:stretch>
        </p:blipFill>
        <p:spPr>
          <a:xfrm>
            <a:off x="466383" y="6209084"/>
            <a:ext cx="1447909" cy="310896"/>
          </a:xfrm>
          <a:prstGeom prst="rect">
            <a:avLst/>
          </a:prstGeom>
        </p:spPr>
      </p:pic>
    </p:spTree>
    <p:extLst>
      <p:ext uri="{BB962C8B-B14F-4D97-AF65-F5344CB8AC3E}">
        <p14:creationId xmlns:p14="http://schemas.microsoft.com/office/powerpoint/2010/main" val="157182691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Walkin-Bangalor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3"/>
          <a:stretch>
            <a:fillRect/>
          </a:stretch>
        </p:blipFill>
        <p:spPr>
          <a:xfrm>
            <a:off x="466383" y="6209084"/>
            <a:ext cx="1447909" cy="310896"/>
          </a:xfrm>
          <a:prstGeom prst="rect">
            <a:avLst/>
          </a:prstGeom>
        </p:spPr>
      </p:pic>
    </p:spTree>
    <p:extLst>
      <p:ext uri="{BB962C8B-B14F-4D97-AF65-F5344CB8AC3E}">
        <p14:creationId xmlns:p14="http://schemas.microsoft.com/office/powerpoint/2010/main" val="310760876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Walkin-Birmingham">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3"/>
          <a:stretch>
            <a:fillRect/>
          </a:stretch>
        </p:blipFill>
        <p:spPr>
          <a:xfrm>
            <a:off x="466383" y="6209084"/>
            <a:ext cx="1447909" cy="310896"/>
          </a:xfrm>
          <a:prstGeom prst="rect">
            <a:avLst/>
          </a:prstGeom>
        </p:spPr>
      </p:pic>
    </p:spTree>
    <p:extLst>
      <p:ext uri="{BB962C8B-B14F-4D97-AF65-F5344CB8AC3E}">
        <p14:creationId xmlns:p14="http://schemas.microsoft.com/office/powerpoint/2010/main" val="221300525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Walkin-Chicago">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3"/>
          <a:stretch>
            <a:fillRect/>
          </a:stretch>
        </p:blipFill>
        <p:spPr>
          <a:xfrm>
            <a:off x="466383" y="6209084"/>
            <a:ext cx="1447909" cy="310896"/>
          </a:xfrm>
          <a:prstGeom prst="rect">
            <a:avLst/>
          </a:prstGeom>
        </p:spPr>
      </p:pic>
    </p:spTree>
    <p:extLst>
      <p:ext uri="{BB962C8B-B14F-4D97-AF65-F5344CB8AC3E}">
        <p14:creationId xmlns:p14="http://schemas.microsoft.com/office/powerpoint/2010/main" val="20600773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Walkin-Copenhagen">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3"/>
          <a:stretch>
            <a:fillRect/>
          </a:stretch>
        </p:blipFill>
        <p:spPr>
          <a:xfrm>
            <a:off x="466383" y="6209084"/>
            <a:ext cx="1447909" cy="310896"/>
          </a:xfrm>
          <a:prstGeom prst="rect">
            <a:avLst/>
          </a:prstGeom>
        </p:spPr>
      </p:pic>
    </p:spTree>
    <p:extLst>
      <p:ext uri="{BB962C8B-B14F-4D97-AF65-F5344CB8AC3E}">
        <p14:creationId xmlns:p14="http://schemas.microsoft.com/office/powerpoint/2010/main" val="181509367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Walkin-Frankfurt">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3"/>
          <a:stretch>
            <a:fillRect/>
          </a:stretch>
        </p:blipFill>
        <p:spPr>
          <a:xfrm>
            <a:off x="466383" y="6209084"/>
            <a:ext cx="1447909" cy="310896"/>
          </a:xfrm>
          <a:prstGeom prst="rect">
            <a:avLst/>
          </a:prstGeom>
        </p:spPr>
      </p:pic>
    </p:spTree>
    <p:extLst>
      <p:ext uri="{BB962C8B-B14F-4D97-AF65-F5344CB8AC3E}">
        <p14:creationId xmlns:p14="http://schemas.microsoft.com/office/powerpoint/2010/main" val="1169598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Walkin-Johannesburg">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3"/>
          <a:stretch>
            <a:fillRect/>
          </a:stretch>
        </p:blipFill>
        <p:spPr>
          <a:xfrm>
            <a:off x="466383" y="6209084"/>
            <a:ext cx="1447909" cy="310896"/>
          </a:xfrm>
          <a:prstGeom prst="rect">
            <a:avLst/>
          </a:prstGeom>
        </p:spPr>
      </p:pic>
    </p:spTree>
    <p:extLst>
      <p:ext uri="{BB962C8B-B14F-4D97-AF65-F5344CB8AC3E}">
        <p14:creationId xmlns:p14="http://schemas.microsoft.com/office/powerpoint/2010/main" val="171368282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Walkin-Mexico City">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3"/>
          <a:stretch>
            <a:fillRect/>
          </a:stretch>
        </p:blipFill>
        <p:spPr>
          <a:xfrm>
            <a:off x="466383" y="6209084"/>
            <a:ext cx="1447909" cy="310896"/>
          </a:xfrm>
          <a:prstGeom prst="rect">
            <a:avLst/>
          </a:prstGeom>
        </p:spPr>
      </p:pic>
    </p:spTree>
    <p:extLst>
      <p:ext uri="{BB962C8B-B14F-4D97-AF65-F5344CB8AC3E}">
        <p14:creationId xmlns:p14="http://schemas.microsoft.com/office/powerpoint/2010/main" val="62672215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slideLayout" Target="../slideLayouts/slideLayout29.xml"/><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slideLayout" Target="../slideLayouts/slideLayout28.x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slideLayout" Target="../slideLayouts/slideLayout27.xml"/><Relationship Id="rId5" Type="http://schemas.openxmlformats.org/officeDocument/2006/relationships/slideLayout" Target="../slideLayouts/slideLayout21.xml"/><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7.xml"/><Relationship Id="rId13" Type="http://schemas.openxmlformats.org/officeDocument/2006/relationships/slideLayout" Target="../slideLayouts/slideLayout42.xml"/><Relationship Id="rId18" Type="http://schemas.openxmlformats.org/officeDocument/2006/relationships/slideLayout" Target="../slideLayouts/slideLayout47.xml"/><Relationship Id="rId3" Type="http://schemas.openxmlformats.org/officeDocument/2006/relationships/slideLayout" Target="../slideLayouts/slideLayout32.xml"/><Relationship Id="rId21" Type="http://schemas.openxmlformats.org/officeDocument/2006/relationships/slideLayout" Target="../slideLayouts/slideLayout50.xml"/><Relationship Id="rId7" Type="http://schemas.openxmlformats.org/officeDocument/2006/relationships/slideLayout" Target="../slideLayouts/slideLayout36.xml"/><Relationship Id="rId12" Type="http://schemas.openxmlformats.org/officeDocument/2006/relationships/slideLayout" Target="../slideLayouts/slideLayout41.xml"/><Relationship Id="rId17" Type="http://schemas.openxmlformats.org/officeDocument/2006/relationships/slideLayout" Target="../slideLayouts/slideLayout46.xml"/><Relationship Id="rId2" Type="http://schemas.openxmlformats.org/officeDocument/2006/relationships/slideLayout" Target="../slideLayouts/slideLayout31.xml"/><Relationship Id="rId16" Type="http://schemas.openxmlformats.org/officeDocument/2006/relationships/slideLayout" Target="../slideLayouts/slideLayout45.xml"/><Relationship Id="rId20" Type="http://schemas.openxmlformats.org/officeDocument/2006/relationships/slideLayout" Target="../slideLayouts/slideLayout49.xml"/><Relationship Id="rId1" Type="http://schemas.openxmlformats.org/officeDocument/2006/relationships/slideLayout" Target="../slideLayouts/slideLayout30.xml"/><Relationship Id="rId6" Type="http://schemas.openxmlformats.org/officeDocument/2006/relationships/slideLayout" Target="../slideLayouts/slideLayout35.xml"/><Relationship Id="rId11" Type="http://schemas.openxmlformats.org/officeDocument/2006/relationships/slideLayout" Target="../slideLayouts/slideLayout40.xml"/><Relationship Id="rId5" Type="http://schemas.openxmlformats.org/officeDocument/2006/relationships/slideLayout" Target="../slideLayouts/slideLayout34.xml"/><Relationship Id="rId15" Type="http://schemas.openxmlformats.org/officeDocument/2006/relationships/slideLayout" Target="../slideLayouts/slideLayout44.xml"/><Relationship Id="rId10" Type="http://schemas.openxmlformats.org/officeDocument/2006/relationships/slideLayout" Target="../slideLayouts/slideLayout39.xml"/><Relationship Id="rId19" Type="http://schemas.openxmlformats.org/officeDocument/2006/relationships/slideLayout" Target="../slideLayouts/slideLayout48.xml"/><Relationship Id="rId4" Type="http://schemas.openxmlformats.org/officeDocument/2006/relationships/slideLayout" Target="../slideLayouts/slideLayout33.xml"/><Relationship Id="rId9" Type="http://schemas.openxmlformats.org/officeDocument/2006/relationships/slideLayout" Target="../slideLayouts/slideLayout38.xml"/><Relationship Id="rId14" Type="http://schemas.openxmlformats.org/officeDocument/2006/relationships/slideLayout" Target="../slideLayouts/slideLayout43.xml"/><Relationship Id="rId22"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58.xml"/><Relationship Id="rId13" Type="http://schemas.openxmlformats.org/officeDocument/2006/relationships/slideLayout" Target="../slideLayouts/slideLayout63.xml"/><Relationship Id="rId18" Type="http://schemas.openxmlformats.org/officeDocument/2006/relationships/slideLayout" Target="../slideLayouts/slideLayout68.xml"/><Relationship Id="rId3" Type="http://schemas.openxmlformats.org/officeDocument/2006/relationships/slideLayout" Target="../slideLayouts/slideLayout53.xml"/><Relationship Id="rId21" Type="http://schemas.openxmlformats.org/officeDocument/2006/relationships/theme" Target="../theme/theme4.xml"/><Relationship Id="rId7" Type="http://schemas.openxmlformats.org/officeDocument/2006/relationships/slideLayout" Target="../slideLayouts/slideLayout57.xml"/><Relationship Id="rId12" Type="http://schemas.openxmlformats.org/officeDocument/2006/relationships/slideLayout" Target="../slideLayouts/slideLayout62.xml"/><Relationship Id="rId17" Type="http://schemas.openxmlformats.org/officeDocument/2006/relationships/slideLayout" Target="../slideLayouts/slideLayout67.xml"/><Relationship Id="rId2" Type="http://schemas.openxmlformats.org/officeDocument/2006/relationships/slideLayout" Target="../slideLayouts/slideLayout52.xml"/><Relationship Id="rId16" Type="http://schemas.openxmlformats.org/officeDocument/2006/relationships/slideLayout" Target="../slideLayouts/slideLayout66.xml"/><Relationship Id="rId20" Type="http://schemas.openxmlformats.org/officeDocument/2006/relationships/slideLayout" Target="../slideLayouts/slideLayout70.xml"/><Relationship Id="rId1" Type="http://schemas.openxmlformats.org/officeDocument/2006/relationships/slideLayout" Target="../slideLayouts/slideLayout51.xml"/><Relationship Id="rId6" Type="http://schemas.openxmlformats.org/officeDocument/2006/relationships/slideLayout" Target="../slideLayouts/slideLayout56.xml"/><Relationship Id="rId11" Type="http://schemas.openxmlformats.org/officeDocument/2006/relationships/slideLayout" Target="../slideLayouts/slideLayout61.xml"/><Relationship Id="rId5" Type="http://schemas.openxmlformats.org/officeDocument/2006/relationships/slideLayout" Target="../slideLayouts/slideLayout55.xml"/><Relationship Id="rId15" Type="http://schemas.openxmlformats.org/officeDocument/2006/relationships/slideLayout" Target="../slideLayouts/slideLayout65.xml"/><Relationship Id="rId10" Type="http://schemas.openxmlformats.org/officeDocument/2006/relationships/slideLayout" Target="../slideLayouts/slideLayout60.xml"/><Relationship Id="rId19" Type="http://schemas.openxmlformats.org/officeDocument/2006/relationships/slideLayout" Target="../slideLayouts/slideLayout69.xml"/><Relationship Id="rId4" Type="http://schemas.openxmlformats.org/officeDocument/2006/relationships/slideLayout" Target="../slideLayouts/slideLayout54.xml"/><Relationship Id="rId9" Type="http://schemas.openxmlformats.org/officeDocument/2006/relationships/slideLayout" Target="../slideLayouts/slideLayout59.xml"/><Relationship Id="rId14" Type="http://schemas.openxmlformats.org/officeDocument/2006/relationships/slideLayout" Target="../slideLayouts/slideLayout64.xml"/><Relationship Id="rId22" Type="http://schemas.openxmlformats.org/officeDocument/2006/relationships/image" Target="../media/image16.emf"/></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78.xml"/><Relationship Id="rId13" Type="http://schemas.openxmlformats.org/officeDocument/2006/relationships/slideLayout" Target="../slideLayouts/slideLayout83.xml"/><Relationship Id="rId18" Type="http://schemas.openxmlformats.org/officeDocument/2006/relationships/slideLayout" Target="../slideLayouts/slideLayout88.xml"/><Relationship Id="rId26" Type="http://schemas.openxmlformats.org/officeDocument/2006/relationships/slideLayout" Target="../slideLayouts/slideLayout96.xml"/><Relationship Id="rId39" Type="http://schemas.openxmlformats.org/officeDocument/2006/relationships/slideLayout" Target="../slideLayouts/slideLayout109.xml"/><Relationship Id="rId3" Type="http://schemas.openxmlformats.org/officeDocument/2006/relationships/slideLayout" Target="../slideLayouts/slideLayout73.xml"/><Relationship Id="rId21" Type="http://schemas.openxmlformats.org/officeDocument/2006/relationships/slideLayout" Target="../slideLayouts/slideLayout91.xml"/><Relationship Id="rId34" Type="http://schemas.openxmlformats.org/officeDocument/2006/relationships/slideLayout" Target="../slideLayouts/slideLayout104.xml"/><Relationship Id="rId7" Type="http://schemas.openxmlformats.org/officeDocument/2006/relationships/slideLayout" Target="../slideLayouts/slideLayout77.xml"/><Relationship Id="rId12" Type="http://schemas.openxmlformats.org/officeDocument/2006/relationships/slideLayout" Target="../slideLayouts/slideLayout82.xml"/><Relationship Id="rId17" Type="http://schemas.openxmlformats.org/officeDocument/2006/relationships/slideLayout" Target="../slideLayouts/slideLayout87.xml"/><Relationship Id="rId25" Type="http://schemas.openxmlformats.org/officeDocument/2006/relationships/slideLayout" Target="../slideLayouts/slideLayout95.xml"/><Relationship Id="rId33" Type="http://schemas.openxmlformats.org/officeDocument/2006/relationships/slideLayout" Target="../slideLayouts/slideLayout103.xml"/><Relationship Id="rId38" Type="http://schemas.openxmlformats.org/officeDocument/2006/relationships/slideLayout" Target="../slideLayouts/slideLayout108.xml"/><Relationship Id="rId2" Type="http://schemas.openxmlformats.org/officeDocument/2006/relationships/slideLayout" Target="../slideLayouts/slideLayout72.xml"/><Relationship Id="rId16" Type="http://schemas.openxmlformats.org/officeDocument/2006/relationships/slideLayout" Target="../slideLayouts/slideLayout86.xml"/><Relationship Id="rId20" Type="http://schemas.openxmlformats.org/officeDocument/2006/relationships/slideLayout" Target="../slideLayouts/slideLayout90.xml"/><Relationship Id="rId29" Type="http://schemas.openxmlformats.org/officeDocument/2006/relationships/slideLayout" Target="../slideLayouts/slideLayout99.xml"/><Relationship Id="rId41" Type="http://schemas.openxmlformats.org/officeDocument/2006/relationships/theme" Target="../theme/theme5.xml"/><Relationship Id="rId1" Type="http://schemas.openxmlformats.org/officeDocument/2006/relationships/slideLayout" Target="../slideLayouts/slideLayout71.xml"/><Relationship Id="rId6" Type="http://schemas.openxmlformats.org/officeDocument/2006/relationships/slideLayout" Target="../slideLayouts/slideLayout76.xml"/><Relationship Id="rId11" Type="http://schemas.openxmlformats.org/officeDocument/2006/relationships/slideLayout" Target="../slideLayouts/slideLayout81.xml"/><Relationship Id="rId24" Type="http://schemas.openxmlformats.org/officeDocument/2006/relationships/slideLayout" Target="../slideLayouts/slideLayout94.xml"/><Relationship Id="rId32" Type="http://schemas.openxmlformats.org/officeDocument/2006/relationships/slideLayout" Target="../slideLayouts/slideLayout102.xml"/><Relationship Id="rId37" Type="http://schemas.openxmlformats.org/officeDocument/2006/relationships/slideLayout" Target="../slideLayouts/slideLayout107.xml"/><Relationship Id="rId40" Type="http://schemas.openxmlformats.org/officeDocument/2006/relationships/slideLayout" Target="../slideLayouts/slideLayout110.xml"/><Relationship Id="rId5" Type="http://schemas.openxmlformats.org/officeDocument/2006/relationships/slideLayout" Target="../slideLayouts/slideLayout75.xml"/><Relationship Id="rId15" Type="http://schemas.openxmlformats.org/officeDocument/2006/relationships/slideLayout" Target="../slideLayouts/slideLayout85.xml"/><Relationship Id="rId23" Type="http://schemas.openxmlformats.org/officeDocument/2006/relationships/slideLayout" Target="../slideLayouts/slideLayout93.xml"/><Relationship Id="rId28" Type="http://schemas.openxmlformats.org/officeDocument/2006/relationships/slideLayout" Target="../slideLayouts/slideLayout98.xml"/><Relationship Id="rId36" Type="http://schemas.openxmlformats.org/officeDocument/2006/relationships/slideLayout" Target="../slideLayouts/slideLayout106.xml"/><Relationship Id="rId10" Type="http://schemas.openxmlformats.org/officeDocument/2006/relationships/slideLayout" Target="../slideLayouts/slideLayout80.xml"/><Relationship Id="rId19" Type="http://schemas.openxmlformats.org/officeDocument/2006/relationships/slideLayout" Target="../slideLayouts/slideLayout89.xml"/><Relationship Id="rId31" Type="http://schemas.openxmlformats.org/officeDocument/2006/relationships/slideLayout" Target="../slideLayouts/slideLayout101.xml"/><Relationship Id="rId4" Type="http://schemas.openxmlformats.org/officeDocument/2006/relationships/slideLayout" Target="../slideLayouts/slideLayout74.xml"/><Relationship Id="rId9" Type="http://schemas.openxmlformats.org/officeDocument/2006/relationships/slideLayout" Target="../slideLayouts/slideLayout79.xml"/><Relationship Id="rId14" Type="http://schemas.openxmlformats.org/officeDocument/2006/relationships/slideLayout" Target="../slideLayouts/slideLayout84.xml"/><Relationship Id="rId22" Type="http://schemas.openxmlformats.org/officeDocument/2006/relationships/slideLayout" Target="../slideLayouts/slideLayout92.xml"/><Relationship Id="rId27" Type="http://schemas.openxmlformats.org/officeDocument/2006/relationships/slideLayout" Target="../slideLayouts/slideLayout97.xml"/><Relationship Id="rId30" Type="http://schemas.openxmlformats.org/officeDocument/2006/relationships/slideLayout" Target="../slideLayouts/slideLayout100.xml"/><Relationship Id="rId35" Type="http://schemas.openxmlformats.org/officeDocument/2006/relationships/slideLayout" Target="../slideLayouts/slideLayout105.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18.xml"/><Relationship Id="rId13" Type="http://schemas.openxmlformats.org/officeDocument/2006/relationships/slideLayout" Target="../slideLayouts/slideLayout123.xml"/><Relationship Id="rId18" Type="http://schemas.openxmlformats.org/officeDocument/2006/relationships/slideLayout" Target="../slideLayouts/slideLayout128.xml"/><Relationship Id="rId3" Type="http://schemas.openxmlformats.org/officeDocument/2006/relationships/slideLayout" Target="../slideLayouts/slideLayout113.xml"/><Relationship Id="rId21" Type="http://schemas.openxmlformats.org/officeDocument/2006/relationships/slideLayout" Target="../slideLayouts/slideLayout131.xml"/><Relationship Id="rId7" Type="http://schemas.openxmlformats.org/officeDocument/2006/relationships/slideLayout" Target="../slideLayouts/slideLayout117.xml"/><Relationship Id="rId12" Type="http://schemas.openxmlformats.org/officeDocument/2006/relationships/slideLayout" Target="../slideLayouts/slideLayout122.xml"/><Relationship Id="rId17" Type="http://schemas.openxmlformats.org/officeDocument/2006/relationships/slideLayout" Target="../slideLayouts/slideLayout127.xml"/><Relationship Id="rId2" Type="http://schemas.openxmlformats.org/officeDocument/2006/relationships/slideLayout" Target="../slideLayouts/slideLayout112.xml"/><Relationship Id="rId16" Type="http://schemas.openxmlformats.org/officeDocument/2006/relationships/slideLayout" Target="../slideLayouts/slideLayout126.xml"/><Relationship Id="rId20" Type="http://schemas.openxmlformats.org/officeDocument/2006/relationships/slideLayout" Target="../slideLayouts/slideLayout130.xml"/><Relationship Id="rId1" Type="http://schemas.openxmlformats.org/officeDocument/2006/relationships/slideLayout" Target="../slideLayouts/slideLayout111.xml"/><Relationship Id="rId6" Type="http://schemas.openxmlformats.org/officeDocument/2006/relationships/slideLayout" Target="../slideLayouts/slideLayout116.xml"/><Relationship Id="rId11" Type="http://schemas.openxmlformats.org/officeDocument/2006/relationships/slideLayout" Target="../slideLayouts/slideLayout121.xml"/><Relationship Id="rId5" Type="http://schemas.openxmlformats.org/officeDocument/2006/relationships/slideLayout" Target="../slideLayouts/slideLayout115.xml"/><Relationship Id="rId15" Type="http://schemas.openxmlformats.org/officeDocument/2006/relationships/slideLayout" Target="../slideLayouts/slideLayout125.xml"/><Relationship Id="rId10" Type="http://schemas.openxmlformats.org/officeDocument/2006/relationships/slideLayout" Target="../slideLayouts/slideLayout120.xml"/><Relationship Id="rId19" Type="http://schemas.openxmlformats.org/officeDocument/2006/relationships/slideLayout" Target="../slideLayouts/slideLayout129.xml"/><Relationship Id="rId4" Type="http://schemas.openxmlformats.org/officeDocument/2006/relationships/slideLayout" Target="../slideLayouts/slideLayout114.xml"/><Relationship Id="rId9" Type="http://schemas.openxmlformats.org/officeDocument/2006/relationships/slideLayout" Target="../slideLayouts/slideLayout119.xml"/><Relationship Id="rId14" Type="http://schemas.openxmlformats.org/officeDocument/2006/relationships/slideLayout" Target="../slideLayouts/slideLayout124.xml"/><Relationship Id="rId22"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39.xml"/><Relationship Id="rId13" Type="http://schemas.openxmlformats.org/officeDocument/2006/relationships/slideLayout" Target="../slideLayouts/slideLayout144.xml"/><Relationship Id="rId18" Type="http://schemas.openxmlformats.org/officeDocument/2006/relationships/slideLayout" Target="../slideLayouts/slideLayout149.xml"/><Relationship Id="rId26" Type="http://schemas.openxmlformats.org/officeDocument/2006/relationships/slideLayout" Target="../slideLayouts/slideLayout157.xml"/><Relationship Id="rId39" Type="http://schemas.openxmlformats.org/officeDocument/2006/relationships/slideLayout" Target="../slideLayouts/slideLayout170.xml"/><Relationship Id="rId3" Type="http://schemas.openxmlformats.org/officeDocument/2006/relationships/slideLayout" Target="../slideLayouts/slideLayout134.xml"/><Relationship Id="rId21" Type="http://schemas.openxmlformats.org/officeDocument/2006/relationships/slideLayout" Target="../slideLayouts/slideLayout152.xml"/><Relationship Id="rId34" Type="http://schemas.openxmlformats.org/officeDocument/2006/relationships/slideLayout" Target="../slideLayouts/slideLayout165.xml"/><Relationship Id="rId7" Type="http://schemas.openxmlformats.org/officeDocument/2006/relationships/slideLayout" Target="../slideLayouts/slideLayout138.xml"/><Relationship Id="rId12" Type="http://schemas.openxmlformats.org/officeDocument/2006/relationships/slideLayout" Target="../slideLayouts/slideLayout143.xml"/><Relationship Id="rId17" Type="http://schemas.openxmlformats.org/officeDocument/2006/relationships/slideLayout" Target="../slideLayouts/slideLayout148.xml"/><Relationship Id="rId25" Type="http://schemas.openxmlformats.org/officeDocument/2006/relationships/slideLayout" Target="../slideLayouts/slideLayout156.xml"/><Relationship Id="rId33" Type="http://schemas.openxmlformats.org/officeDocument/2006/relationships/slideLayout" Target="../slideLayouts/slideLayout164.xml"/><Relationship Id="rId38" Type="http://schemas.openxmlformats.org/officeDocument/2006/relationships/slideLayout" Target="../slideLayouts/slideLayout169.xml"/><Relationship Id="rId2" Type="http://schemas.openxmlformats.org/officeDocument/2006/relationships/slideLayout" Target="../slideLayouts/slideLayout133.xml"/><Relationship Id="rId16" Type="http://schemas.openxmlformats.org/officeDocument/2006/relationships/slideLayout" Target="../slideLayouts/slideLayout147.xml"/><Relationship Id="rId20" Type="http://schemas.openxmlformats.org/officeDocument/2006/relationships/slideLayout" Target="../slideLayouts/slideLayout151.xml"/><Relationship Id="rId29" Type="http://schemas.openxmlformats.org/officeDocument/2006/relationships/slideLayout" Target="../slideLayouts/slideLayout160.xml"/><Relationship Id="rId1" Type="http://schemas.openxmlformats.org/officeDocument/2006/relationships/slideLayout" Target="../slideLayouts/slideLayout132.xml"/><Relationship Id="rId6" Type="http://schemas.openxmlformats.org/officeDocument/2006/relationships/slideLayout" Target="../slideLayouts/slideLayout137.xml"/><Relationship Id="rId11" Type="http://schemas.openxmlformats.org/officeDocument/2006/relationships/slideLayout" Target="../slideLayouts/slideLayout142.xml"/><Relationship Id="rId24" Type="http://schemas.openxmlformats.org/officeDocument/2006/relationships/slideLayout" Target="../slideLayouts/slideLayout155.xml"/><Relationship Id="rId32" Type="http://schemas.openxmlformats.org/officeDocument/2006/relationships/slideLayout" Target="../slideLayouts/slideLayout163.xml"/><Relationship Id="rId37" Type="http://schemas.openxmlformats.org/officeDocument/2006/relationships/slideLayout" Target="../slideLayouts/slideLayout168.xml"/><Relationship Id="rId40" Type="http://schemas.openxmlformats.org/officeDocument/2006/relationships/theme" Target="../theme/theme7.xml"/><Relationship Id="rId5" Type="http://schemas.openxmlformats.org/officeDocument/2006/relationships/slideLayout" Target="../slideLayouts/slideLayout136.xml"/><Relationship Id="rId15" Type="http://schemas.openxmlformats.org/officeDocument/2006/relationships/slideLayout" Target="../slideLayouts/slideLayout146.xml"/><Relationship Id="rId23" Type="http://schemas.openxmlformats.org/officeDocument/2006/relationships/slideLayout" Target="../slideLayouts/slideLayout154.xml"/><Relationship Id="rId28" Type="http://schemas.openxmlformats.org/officeDocument/2006/relationships/slideLayout" Target="../slideLayouts/slideLayout159.xml"/><Relationship Id="rId36" Type="http://schemas.openxmlformats.org/officeDocument/2006/relationships/slideLayout" Target="../slideLayouts/slideLayout167.xml"/><Relationship Id="rId10" Type="http://schemas.openxmlformats.org/officeDocument/2006/relationships/slideLayout" Target="../slideLayouts/slideLayout141.xml"/><Relationship Id="rId19" Type="http://schemas.openxmlformats.org/officeDocument/2006/relationships/slideLayout" Target="../slideLayouts/slideLayout150.xml"/><Relationship Id="rId31" Type="http://schemas.openxmlformats.org/officeDocument/2006/relationships/slideLayout" Target="../slideLayouts/slideLayout162.xml"/><Relationship Id="rId4" Type="http://schemas.openxmlformats.org/officeDocument/2006/relationships/slideLayout" Target="../slideLayouts/slideLayout135.xml"/><Relationship Id="rId9" Type="http://schemas.openxmlformats.org/officeDocument/2006/relationships/slideLayout" Target="../slideLayouts/slideLayout140.xml"/><Relationship Id="rId14" Type="http://schemas.openxmlformats.org/officeDocument/2006/relationships/slideLayout" Target="../slideLayouts/slideLayout145.xml"/><Relationship Id="rId22" Type="http://schemas.openxmlformats.org/officeDocument/2006/relationships/slideLayout" Target="../slideLayouts/slideLayout153.xml"/><Relationship Id="rId27" Type="http://schemas.openxmlformats.org/officeDocument/2006/relationships/slideLayout" Target="../slideLayouts/slideLayout158.xml"/><Relationship Id="rId30" Type="http://schemas.openxmlformats.org/officeDocument/2006/relationships/slideLayout" Target="../slideLayouts/slideLayout161.xml"/><Relationship Id="rId35" Type="http://schemas.openxmlformats.org/officeDocument/2006/relationships/slideLayout" Target="../slideLayouts/slideLayout166.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78.xml"/><Relationship Id="rId13" Type="http://schemas.openxmlformats.org/officeDocument/2006/relationships/slideLayout" Target="../slideLayouts/slideLayout183.xml"/><Relationship Id="rId18" Type="http://schemas.openxmlformats.org/officeDocument/2006/relationships/slideLayout" Target="../slideLayouts/slideLayout188.xml"/><Relationship Id="rId26" Type="http://schemas.openxmlformats.org/officeDocument/2006/relationships/slideLayout" Target="../slideLayouts/slideLayout196.xml"/><Relationship Id="rId3" Type="http://schemas.openxmlformats.org/officeDocument/2006/relationships/slideLayout" Target="../slideLayouts/slideLayout173.xml"/><Relationship Id="rId21" Type="http://schemas.openxmlformats.org/officeDocument/2006/relationships/slideLayout" Target="../slideLayouts/slideLayout191.xml"/><Relationship Id="rId7" Type="http://schemas.openxmlformats.org/officeDocument/2006/relationships/slideLayout" Target="../slideLayouts/slideLayout177.xml"/><Relationship Id="rId12" Type="http://schemas.openxmlformats.org/officeDocument/2006/relationships/slideLayout" Target="../slideLayouts/slideLayout182.xml"/><Relationship Id="rId17" Type="http://schemas.openxmlformats.org/officeDocument/2006/relationships/slideLayout" Target="../slideLayouts/slideLayout187.xml"/><Relationship Id="rId25" Type="http://schemas.openxmlformats.org/officeDocument/2006/relationships/slideLayout" Target="../slideLayouts/slideLayout195.xml"/><Relationship Id="rId33" Type="http://schemas.openxmlformats.org/officeDocument/2006/relationships/image" Target="../media/image47.png"/><Relationship Id="rId2" Type="http://schemas.openxmlformats.org/officeDocument/2006/relationships/slideLayout" Target="../slideLayouts/slideLayout172.xml"/><Relationship Id="rId16" Type="http://schemas.openxmlformats.org/officeDocument/2006/relationships/slideLayout" Target="../slideLayouts/slideLayout186.xml"/><Relationship Id="rId20" Type="http://schemas.openxmlformats.org/officeDocument/2006/relationships/slideLayout" Target="../slideLayouts/slideLayout190.xml"/><Relationship Id="rId29" Type="http://schemas.openxmlformats.org/officeDocument/2006/relationships/slideLayout" Target="../slideLayouts/slideLayout199.xml"/><Relationship Id="rId1" Type="http://schemas.openxmlformats.org/officeDocument/2006/relationships/slideLayout" Target="../slideLayouts/slideLayout171.xml"/><Relationship Id="rId6" Type="http://schemas.openxmlformats.org/officeDocument/2006/relationships/slideLayout" Target="../slideLayouts/slideLayout176.xml"/><Relationship Id="rId11" Type="http://schemas.openxmlformats.org/officeDocument/2006/relationships/slideLayout" Target="../slideLayouts/slideLayout181.xml"/><Relationship Id="rId24" Type="http://schemas.openxmlformats.org/officeDocument/2006/relationships/slideLayout" Target="../slideLayouts/slideLayout194.xml"/><Relationship Id="rId32" Type="http://schemas.openxmlformats.org/officeDocument/2006/relationships/theme" Target="../theme/theme8.xml"/><Relationship Id="rId5" Type="http://schemas.openxmlformats.org/officeDocument/2006/relationships/slideLayout" Target="../slideLayouts/slideLayout175.xml"/><Relationship Id="rId15" Type="http://schemas.openxmlformats.org/officeDocument/2006/relationships/slideLayout" Target="../slideLayouts/slideLayout185.xml"/><Relationship Id="rId23" Type="http://schemas.openxmlformats.org/officeDocument/2006/relationships/slideLayout" Target="../slideLayouts/slideLayout193.xml"/><Relationship Id="rId28" Type="http://schemas.openxmlformats.org/officeDocument/2006/relationships/slideLayout" Target="../slideLayouts/slideLayout198.xml"/><Relationship Id="rId10" Type="http://schemas.openxmlformats.org/officeDocument/2006/relationships/slideLayout" Target="../slideLayouts/slideLayout180.xml"/><Relationship Id="rId19" Type="http://schemas.openxmlformats.org/officeDocument/2006/relationships/slideLayout" Target="../slideLayouts/slideLayout189.xml"/><Relationship Id="rId31" Type="http://schemas.openxmlformats.org/officeDocument/2006/relationships/slideLayout" Target="../slideLayouts/slideLayout201.xml"/><Relationship Id="rId4" Type="http://schemas.openxmlformats.org/officeDocument/2006/relationships/slideLayout" Target="../slideLayouts/slideLayout174.xml"/><Relationship Id="rId9" Type="http://schemas.openxmlformats.org/officeDocument/2006/relationships/slideLayout" Target="../slideLayouts/slideLayout179.xml"/><Relationship Id="rId14" Type="http://schemas.openxmlformats.org/officeDocument/2006/relationships/slideLayout" Target="../slideLayouts/slideLayout184.xml"/><Relationship Id="rId22" Type="http://schemas.openxmlformats.org/officeDocument/2006/relationships/slideLayout" Target="../slideLayouts/slideLayout192.xml"/><Relationship Id="rId27" Type="http://schemas.openxmlformats.org/officeDocument/2006/relationships/slideLayout" Target="../slideLayouts/slideLayout197.xml"/><Relationship Id="rId30" Type="http://schemas.openxmlformats.org/officeDocument/2006/relationships/slideLayout" Target="../slideLayouts/slideLayout200.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209.xml"/><Relationship Id="rId13" Type="http://schemas.openxmlformats.org/officeDocument/2006/relationships/theme" Target="../theme/theme9.xml"/><Relationship Id="rId18" Type="http://schemas.openxmlformats.org/officeDocument/2006/relationships/image" Target="../media/image53.png"/><Relationship Id="rId3" Type="http://schemas.openxmlformats.org/officeDocument/2006/relationships/slideLayout" Target="../slideLayouts/slideLayout204.xml"/><Relationship Id="rId7" Type="http://schemas.openxmlformats.org/officeDocument/2006/relationships/slideLayout" Target="../slideLayouts/slideLayout208.xml"/><Relationship Id="rId12" Type="http://schemas.openxmlformats.org/officeDocument/2006/relationships/slideLayout" Target="../slideLayouts/slideLayout213.xml"/><Relationship Id="rId17" Type="http://schemas.openxmlformats.org/officeDocument/2006/relationships/image" Target="../media/image52.emf"/><Relationship Id="rId2" Type="http://schemas.openxmlformats.org/officeDocument/2006/relationships/slideLayout" Target="../slideLayouts/slideLayout203.xml"/><Relationship Id="rId16" Type="http://schemas.openxmlformats.org/officeDocument/2006/relationships/oleObject" Target="../embeddings/oleObject1.bin"/><Relationship Id="rId1" Type="http://schemas.openxmlformats.org/officeDocument/2006/relationships/slideLayout" Target="../slideLayouts/slideLayout202.xml"/><Relationship Id="rId6" Type="http://schemas.openxmlformats.org/officeDocument/2006/relationships/slideLayout" Target="../slideLayouts/slideLayout207.xml"/><Relationship Id="rId11" Type="http://schemas.openxmlformats.org/officeDocument/2006/relationships/slideLayout" Target="../slideLayouts/slideLayout212.xml"/><Relationship Id="rId5" Type="http://schemas.openxmlformats.org/officeDocument/2006/relationships/slideLayout" Target="../slideLayouts/slideLayout206.xml"/><Relationship Id="rId15" Type="http://schemas.openxmlformats.org/officeDocument/2006/relationships/tags" Target="../tags/tag1.xml"/><Relationship Id="rId10" Type="http://schemas.openxmlformats.org/officeDocument/2006/relationships/slideLayout" Target="../slideLayouts/slideLayout211.xml"/><Relationship Id="rId4" Type="http://schemas.openxmlformats.org/officeDocument/2006/relationships/slideLayout" Target="../slideLayouts/slideLayout205.xml"/><Relationship Id="rId9" Type="http://schemas.openxmlformats.org/officeDocument/2006/relationships/slideLayout" Target="../slideLayouts/slideLayout210.xml"/><Relationship Id="rId14" Type="http://schemas.openxmlformats.org/officeDocument/2006/relationships/vmlDrawing" Target="../drawings/vmlDrawing1.v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66169" y="295278"/>
            <a:ext cx="11702551"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366168" y="1212855"/>
            <a:ext cx="11702553" cy="265515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90270825"/>
      </p:ext>
    </p:extLst>
  </p:cSld>
  <p:clrMap bg1="lt1" tx1="dk1" bg2="lt2" tx2="dk2" accent1="accent1" accent2="accent2" accent3="accent3" accent4="accent4" accent5="accent5" accent6="accent6" hlink="hlink" folHlink="folHlink"/>
  <p:sldLayoutIdLst>
    <p:sldLayoutId id="2147484170" r:id="rId1"/>
    <p:sldLayoutId id="2147484087" r:id="rId2"/>
    <p:sldLayoutId id="2147484107" r:id="rId3"/>
    <p:sldLayoutId id="2147484086" r:id="rId4"/>
    <p:sldLayoutId id="2147484099" r:id="rId5"/>
    <p:sldLayoutId id="2147484100" r:id="rId6"/>
    <p:sldLayoutId id="2147484106" r:id="rId7"/>
    <p:sldLayoutId id="2147484089" r:id="rId8"/>
    <p:sldLayoutId id="2147484092" r:id="rId9"/>
    <p:sldLayoutId id="2147484130" r:id="rId10"/>
    <p:sldLayoutId id="2147484093" r:id="rId11"/>
    <p:sldLayoutId id="2147484195" r:id="rId12"/>
    <p:sldLayoutId id="2147484290" r:id="rId13"/>
    <p:sldLayoutId id="2147484411" r:id="rId14"/>
    <p:sldLayoutId id="2147484452" r:id="rId15"/>
    <p:sldLayoutId id="2147484498" r:id="rId16"/>
  </p:sldLayoutIdLst>
  <p:transition>
    <p:fade/>
  </p:transition>
  <p:txStyles>
    <p:titleStyle>
      <a:lvl1pPr algn="l" defTabSz="932594" rtl="0" eaLnBrk="1" latinLnBrk="0" hangingPunct="1">
        <a:lnSpc>
          <a:spcPct val="90000"/>
        </a:lnSpc>
        <a:spcBef>
          <a:spcPct val="0"/>
        </a:spcBef>
        <a:buNone/>
        <a:defRPr lang="en-US" sz="5867" b="0" kern="1200" cap="none" spc="-101"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46" marR="0" indent="-342846" algn="l" defTabSz="932594" rtl="0" eaLnBrk="1" fontAlgn="auto" latinLnBrk="0" hangingPunct="1">
        <a:lnSpc>
          <a:spcPct val="90000"/>
        </a:lnSpc>
        <a:spcBef>
          <a:spcPct val="20000"/>
        </a:spcBef>
        <a:spcAft>
          <a:spcPts val="0"/>
        </a:spcAft>
        <a:buClrTx/>
        <a:buSzPct val="90000"/>
        <a:buFont typeface="Arial" pitchFamily="34" charset="0"/>
        <a:buChar char="•"/>
        <a:tabLst/>
        <a:defRPr sz="4800" kern="1200" spc="0" baseline="0">
          <a:gradFill>
            <a:gsLst>
              <a:gs pos="1250">
                <a:schemeClr val="tx1"/>
              </a:gs>
              <a:gs pos="100000">
                <a:schemeClr val="tx1"/>
              </a:gs>
            </a:gsLst>
            <a:lin ang="5400000" scaled="0"/>
          </a:gradFill>
          <a:latin typeface="+mj-lt"/>
          <a:ea typeface="+mn-ea"/>
          <a:cs typeface="+mn-cs"/>
        </a:defRPr>
      </a:lvl1pPr>
      <a:lvl2pPr marL="615935" marR="0" indent="-273044" algn="l" defTabSz="932594" rtl="0" eaLnBrk="1" fontAlgn="auto" latinLnBrk="0" hangingPunct="1">
        <a:lnSpc>
          <a:spcPct val="90000"/>
        </a:lnSpc>
        <a:spcBef>
          <a:spcPct val="20000"/>
        </a:spcBef>
        <a:spcAft>
          <a:spcPts val="0"/>
        </a:spcAft>
        <a:buClrTx/>
        <a:buSzPct val="90000"/>
        <a:buFont typeface="Arial" pitchFamily="34" charset="0"/>
        <a:buChar char="•"/>
        <a:tabLst/>
        <a:defRPr sz="3200" kern="1200" spc="0" baseline="0">
          <a:gradFill>
            <a:gsLst>
              <a:gs pos="1250">
                <a:schemeClr val="tx1"/>
              </a:gs>
              <a:gs pos="100000">
                <a:schemeClr val="tx1"/>
              </a:gs>
            </a:gsLst>
            <a:lin ang="5400000" scaled="0"/>
          </a:gradFill>
          <a:latin typeface="+mn-lt"/>
          <a:ea typeface="+mn-ea"/>
          <a:cs typeface="+mn-cs"/>
        </a:defRPr>
      </a:lvl2pPr>
      <a:lvl3pPr marL="840296" marR="0" indent="-226478" algn="l" defTabSz="932594" rtl="0" eaLnBrk="1" fontAlgn="auto" latinLnBrk="0" hangingPunct="1">
        <a:lnSpc>
          <a:spcPct val="90000"/>
        </a:lnSpc>
        <a:spcBef>
          <a:spcPct val="20000"/>
        </a:spcBef>
        <a:spcAft>
          <a:spcPts val="0"/>
        </a:spcAft>
        <a:buClrTx/>
        <a:buSzPct val="90000"/>
        <a:buFont typeface="Arial" pitchFamily="34" charset="0"/>
        <a:buChar char="•"/>
        <a:tabLst/>
        <a:defRPr sz="2667" kern="1200" spc="0" baseline="0">
          <a:gradFill>
            <a:gsLst>
              <a:gs pos="1250">
                <a:schemeClr val="tx1"/>
              </a:gs>
              <a:gs pos="100000">
                <a:schemeClr val="tx1"/>
              </a:gs>
            </a:gsLst>
            <a:lin ang="5400000" scaled="0"/>
          </a:gradFill>
          <a:latin typeface="+mn-lt"/>
          <a:ea typeface="+mn-ea"/>
          <a:cs typeface="+mn-cs"/>
        </a:defRPr>
      </a:lvl3pPr>
      <a:lvl4pPr marL="1064657" marR="0" indent="-226478" algn="l" defTabSz="93259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4pPr>
      <a:lvl5pPr marL="1219170" marR="0" indent="-226478" algn="l" defTabSz="93259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5pPr>
      <a:lvl6pPr marL="2564633" indent="-233149" algn="l" defTabSz="93259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932" indent="-233149" algn="l" defTabSz="93259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229" indent="-233149" algn="l" defTabSz="93259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528" indent="-233149" algn="l" defTabSz="932594"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94" rtl="0" eaLnBrk="1" latinLnBrk="0" hangingPunct="1">
        <a:defRPr sz="1800" kern="1200">
          <a:solidFill>
            <a:schemeClr val="tx1"/>
          </a:solidFill>
          <a:latin typeface="+mn-lt"/>
          <a:ea typeface="+mn-ea"/>
          <a:cs typeface="+mn-cs"/>
        </a:defRPr>
      </a:lvl1pPr>
      <a:lvl2pPr marL="466298" algn="l" defTabSz="932594" rtl="0" eaLnBrk="1" latinLnBrk="0" hangingPunct="1">
        <a:defRPr sz="1800" kern="1200">
          <a:solidFill>
            <a:schemeClr val="tx1"/>
          </a:solidFill>
          <a:latin typeface="+mn-lt"/>
          <a:ea typeface="+mn-ea"/>
          <a:cs typeface="+mn-cs"/>
        </a:defRPr>
      </a:lvl2pPr>
      <a:lvl3pPr marL="932594" algn="l" defTabSz="932594" rtl="0" eaLnBrk="1" latinLnBrk="0" hangingPunct="1">
        <a:defRPr sz="1800" kern="1200">
          <a:solidFill>
            <a:schemeClr val="tx1"/>
          </a:solidFill>
          <a:latin typeface="+mn-lt"/>
          <a:ea typeface="+mn-ea"/>
          <a:cs typeface="+mn-cs"/>
        </a:defRPr>
      </a:lvl3pPr>
      <a:lvl4pPr marL="1398892" algn="l" defTabSz="932594" rtl="0" eaLnBrk="1" latinLnBrk="0" hangingPunct="1">
        <a:defRPr sz="1800" kern="1200">
          <a:solidFill>
            <a:schemeClr val="tx1"/>
          </a:solidFill>
          <a:latin typeface="+mn-lt"/>
          <a:ea typeface="+mn-ea"/>
          <a:cs typeface="+mn-cs"/>
        </a:defRPr>
      </a:lvl4pPr>
      <a:lvl5pPr marL="1865188" algn="l" defTabSz="932594" rtl="0" eaLnBrk="1" latinLnBrk="0" hangingPunct="1">
        <a:defRPr sz="1800" kern="1200">
          <a:solidFill>
            <a:schemeClr val="tx1"/>
          </a:solidFill>
          <a:latin typeface="+mn-lt"/>
          <a:ea typeface="+mn-ea"/>
          <a:cs typeface="+mn-cs"/>
        </a:defRPr>
      </a:lvl5pPr>
      <a:lvl6pPr marL="2331487" algn="l" defTabSz="932594" rtl="0" eaLnBrk="1" latinLnBrk="0" hangingPunct="1">
        <a:defRPr sz="1800" kern="1200">
          <a:solidFill>
            <a:schemeClr val="tx1"/>
          </a:solidFill>
          <a:latin typeface="+mn-lt"/>
          <a:ea typeface="+mn-ea"/>
          <a:cs typeface="+mn-cs"/>
        </a:defRPr>
      </a:lvl6pPr>
      <a:lvl7pPr marL="2797783" algn="l" defTabSz="932594" rtl="0" eaLnBrk="1" latinLnBrk="0" hangingPunct="1">
        <a:defRPr sz="1800" kern="1200">
          <a:solidFill>
            <a:schemeClr val="tx1"/>
          </a:solidFill>
          <a:latin typeface="+mn-lt"/>
          <a:ea typeface="+mn-ea"/>
          <a:cs typeface="+mn-cs"/>
        </a:defRPr>
      </a:lvl7pPr>
      <a:lvl8pPr marL="3264080" algn="l" defTabSz="932594" rtl="0" eaLnBrk="1" latinLnBrk="0" hangingPunct="1">
        <a:defRPr sz="1800" kern="1200">
          <a:solidFill>
            <a:schemeClr val="tx1"/>
          </a:solidFill>
          <a:latin typeface="+mn-lt"/>
          <a:ea typeface="+mn-ea"/>
          <a:cs typeface="+mn-cs"/>
        </a:defRPr>
      </a:lvl8pPr>
      <a:lvl9pPr marL="3730379" algn="l" defTabSz="932594"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userDrawn="1">
          <p15:clr>
            <a:srgbClr val="5ACBF0"/>
          </p15:clr>
        </p15:guide>
        <p15:guide id="2" pos="231" userDrawn="1">
          <p15:clr>
            <a:srgbClr val="5ACBF0"/>
          </p15:clr>
        </p15:guide>
        <p15:guide id="3" pos="999" userDrawn="1">
          <p15:clr>
            <a:srgbClr val="5ACBF0"/>
          </p15:clr>
        </p15:guide>
        <p15:guide id="4" pos="1767" userDrawn="1">
          <p15:clr>
            <a:srgbClr val="5ACBF0"/>
          </p15:clr>
        </p15:guide>
        <p15:guide id="5" pos="2535" userDrawn="1">
          <p15:clr>
            <a:srgbClr val="5ACBF0"/>
          </p15:clr>
        </p15:guide>
        <p15:guide id="6" pos="3303" userDrawn="1">
          <p15:clr>
            <a:srgbClr val="5ACBF0"/>
          </p15:clr>
        </p15:guide>
        <p15:guide id="8" pos="4070" userDrawn="1">
          <p15:clr>
            <a:srgbClr val="5ACBF0"/>
          </p15:clr>
        </p15:guide>
        <p15:guide id="9" pos="4838" userDrawn="1">
          <p15:clr>
            <a:srgbClr val="5ACBF0"/>
          </p15:clr>
        </p15:guide>
        <p15:guide id="11" pos="5606" userDrawn="1">
          <p15:clr>
            <a:srgbClr val="5ACBF0"/>
          </p15:clr>
        </p15:guide>
        <p15:guide id="12" pos="6374" userDrawn="1">
          <p15:clr>
            <a:srgbClr val="5ACBF0"/>
          </p15:clr>
        </p15:guide>
        <p15:guide id="14" pos="7142" userDrawn="1">
          <p15:clr>
            <a:srgbClr val="5ACBF0"/>
          </p15:clr>
        </p15:guide>
        <p15:guide id="15" pos="7602" userDrawn="1">
          <p15:clr>
            <a:srgbClr val="5ACBF0"/>
          </p15:clr>
        </p15:guide>
        <p15:guide id="16" pos="384" userDrawn="1">
          <p15:clr>
            <a:srgbClr val="C35EA4"/>
          </p15:clr>
        </p15:guide>
        <p15:guide id="17" pos="7449" userDrawn="1">
          <p15:clr>
            <a:srgbClr val="C35EA4"/>
          </p15:clr>
        </p15:guide>
        <p15:guide id="18" orient="horz" pos="763" userDrawn="1">
          <p15:clr>
            <a:srgbClr val="5ACBF0"/>
          </p15:clr>
        </p15:guide>
        <p15:guide id="19" orient="horz" pos="1339" userDrawn="1">
          <p15:clr>
            <a:srgbClr val="5ACBF0"/>
          </p15:clr>
        </p15:guide>
        <p15:guide id="20" orient="horz" pos="1915" userDrawn="1">
          <p15:clr>
            <a:srgbClr val="5ACBF0"/>
          </p15:clr>
        </p15:guide>
        <p15:guide id="21" orient="horz" pos="2491" userDrawn="1">
          <p15:clr>
            <a:srgbClr val="5ACBF0"/>
          </p15:clr>
        </p15:guide>
        <p15:guide id="22" orient="horz" pos="3067" userDrawn="1">
          <p15:clr>
            <a:srgbClr val="5ACBF0"/>
          </p15:clr>
        </p15:guide>
        <p15:guide id="23" orient="horz" pos="3643" userDrawn="1">
          <p15:clr>
            <a:srgbClr val="5ACBF0"/>
          </p15:clr>
        </p15:guide>
        <p15:guide id="24" orient="horz" pos="4219" userDrawn="1">
          <p15:clr>
            <a:srgbClr val="5ACBF0"/>
          </p15:clr>
        </p15:guide>
        <p15:guide id="25" orient="horz" pos="302" userDrawn="1">
          <p15:clr>
            <a:srgbClr val="C35EA4"/>
          </p15:clr>
        </p15:guide>
        <p15:guide id="26" orient="horz" pos="4104" userDrawn="1">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3">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04" y="295275"/>
            <a:ext cx="11888047" cy="91757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4606" y="1212851"/>
            <a:ext cx="11885681" cy="2228302"/>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44767391"/>
      </p:ext>
    </p:extLst>
  </p:cSld>
  <p:clrMap bg1="dk1" tx1="lt1" bg2="dk2" tx2="lt2" accent1="accent1" accent2="accent2" accent3="accent3" accent4="accent4" accent5="accent5" accent6="accent6" hlink="hlink" folHlink="folHlink"/>
  <p:sldLayoutIdLst>
    <p:sldLayoutId id="2147484292" r:id="rId1"/>
    <p:sldLayoutId id="2147484293" r:id="rId2"/>
    <p:sldLayoutId id="2147484294" r:id="rId3"/>
    <p:sldLayoutId id="2147484295" r:id="rId4"/>
    <p:sldLayoutId id="2147484296" r:id="rId5"/>
    <p:sldLayoutId id="2147484297" r:id="rId6"/>
    <p:sldLayoutId id="2147484298" r:id="rId7"/>
    <p:sldLayoutId id="2147484299" r:id="rId8"/>
    <p:sldLayoutId id="2147484300" r:id="rId9"/>
    <p:sldLayoutId id="2147484301" r:id="rId10"/>
    <p:sldLayoutId id="2147484302" r:id="rId11"/>
    <p:sldLayoutId id="2147484303" r:id="rId12"/>
    <p:sldLayoutId id="2147484304" r:id="rId13"/>
  </p:sldLayoutIdLst>
  <p:transition>
    <p:fade/>
  </p:transition>
  <p:txStyles>
    <p:titleStyle>
      <a:lvl1pPr algn="l" defTabSz="932563" rtl="0" eaLnBrk="1" latinLnBrk="0" hangingPunct="1">
        <a:lnSpc>
          <a:spcPct val="90000"/>
        </a:lnSpc>
        <a:spcBef>
          <a:spcPct val="0"/>
        </a:spcBef>
        <a:buNone/>
        <a:defRPr lang="en-US" sz="5399" b="0" kern="1200" cap="none" spc="-102" baseline="0" dirty="0" smtClean="0">
          <a:ln w="3175">
            <a:noFill/>
          </a:ln>
          <a:solidFill>
            <a:schemeClr val="tx1"/>
          </a:solidFill>
          <a:effectLst/>
          <a:latin typeface="+mj-lt"/>
          <a:ea typeface="+mn-ea"/>
          <a:cs typeface="Segoe UI" pitchFamily="34" charset="0"/>
        </a:defRPr>
      </a:lvl1pPr>
    </p:titleStyle>
    <p:bodyStyle>
      <a:lvl1pPr marL="342834" marR="0" indent="-342834"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72" kern="1200" spc="0" baseline="0">
          <a:solidFill>
            <a:schemeClr val="tx1"/>
          </a:solidFill>
          <a:latin typeface="+mj-lt"/>
          <a:ea typeface="+mn-ea"/>
          <a:cs typeface="+mn-cs"/>
        </a:defRPr>
      </a:lvl1pPr>
      <a:lvl2pPr marL="584088" marR="0" indent="-241253"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48" kern="1200" spc="0" baseline="0">
          <a:solidFill>
            <a:schemeClr val="tx1"/>
          </a:soli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48" kern="1200" spc="0" baseline="0">
          <a:solidFill>
            <a:schemeClr val="tx1"/>
          </a:soli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40" kern="1200" spc="0" baseline="0">
          <a:solidFill>
            <a:schemeClr val="tx1"/>
          </a:soli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40" kern="1200" spc="0" baseline="0">
          <a:solidFill>
            <a:schemeClr val="tx1"/>
          </a:soli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04" y="295276"/>
            <a:ext cx="11888047" cy="91757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4606" y="1212852"/>
            <a:ext cx="11885681"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5" name="Group 4"/>
          <p:cNvGrpSpPr/>
          <p:nvPr userDrawn="1"/>
        </p:nvGrpSpPr>
        <p:grpSpPr>
          <a:xfrm>
            <a:off x="12612584" y="-8396"/>
            <a:ext cx="960287" cy="5775362"/>
            <a:chOff x="12614198" y="-8396"/>
            <a:chExt cx="960410" cy="5775362"/>
          </a:xfrm>
        </p:grpSpPr>
        <p:grpSp>
          <p:nvGrpSpPr>
            <p:cNvPr id="37" name="Group 36"/>
            <p:cNvGrpSpPr/>
            <p:nvPr userDrawn="1"/>
          </p:nvGrpSpPr>
          <p:grpSpPr>
            <a:xfrm>
              <a:off x="12614198" y="-8396"/>
              <a:ext cx="960410" cy="5755249"/>
              <a:chOff x="12614198" y="-8396"/>
              <a:chExt cx="960410" cy="5755249"/>
            </a:xfrm>
          </p:grpSpPr>
          <p:grpSp>
            <p:nvGrpSpPr>
              <p:cNvPr id="33" name="Group 32"/>
              <p:cNvGrpSpPr/>
              <p:nvPr userDrawn="1"/>
            </p:nvGrpSpPr>
            <p:grpSpPr>
              <a:xfrm rot="5400000">
                <a:off x="11576883" y="1040117"/>
                <a:ext cx="2708636" cy="634005"/>
                <a:chOff x="1581150" y="4543426"/>
                <a:chExt cx="2708636" cy="634005"/>
              </a:xfrm>
            </p:grpSpPr>
            <p:sp>
              <p:nvSpPr>
                <p:cNvPr id="3" name="Rectangle 2"/>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32200" fontAlgn="base">
                    <a:lnSpc>
                      <a:spcPct val="100000"/>
                    </a:lnSpc>
                    <a:spcBef>
                      <a:spcPct val="0"/>
                    </a:spcBef>
                    <a:spcAft>
                      <a:spcPct val="0"/>
                    </a:spcAft>
                  </a:pPr>
                  <a:r>
                    <a:rPr lang="en-US" sz="500" b="1" kern="1200" baseline="0">
                      <a:gradFill>
                        <a:gsLst>
                          <a:gs pos="0">
                            <a:srgbClr val="FFFFFF"/>
                          </a:gs>
                          <a:gs pos="100000">
                            <a:srgbClr val="FFFFFF"/>
                          </a:gs>
                        </a:gsLst>
                        <a:lin ang="5400000" scaled="0"/>
                      </a:gradFill>
                      <a:latin typeface="+mn-lt"/>
                      <a:ea typeface="Segoe UI" pitchFamily="34" charset="0"/>
                      <a:cs typeface="Segoe UI" pitchFamily="34" charset="0"/>
                    </a:rPr>
                    <a:t>Purple</a:t>
                  </a:r>
                </a:p>
                <a:p>
                  <a:pPr algn="l" defTabSz="932200" fontAlgn="base">
                    <a:lnSpc>
                      <a:spcPct val="100000"/>
                    </a:lnSpc>
                    <a:spcBef>
                      <a:spcPct val="0"/>
                    </a:spcBef>
                    <a:spcAft>
                      <a:spcPct val="0"/>
                    </a:spcAft>
                  </a:pPr>
                  <a:r>
                    <a:rPr lang="en-US" sz="500">
                      <a:gradFill>
                        <a:gsLst>
                          <a:gs pos="0">
                            <a:srgbClr val="FFFFFF"/>
                          </a:gs>
                          <a:gs pos="100000">
                            <a:srgbClr val="FFFFFF"/>
                          </a:gs>
                        </a:gsLst>
                        <a:lin ang="5400000" scaled="0"/>
                      </a:gradFill>
                      <a:ea typeface="Segoe UI" pitchFamily="34" charset="0"/>
                      <a:cs typeface="Segoe UI" pitchFamily="34" charset="0"/>
                    </a:rPr>
                    <a:t>R:</a:t>
                  </a:r>
                  <a:r>
                    <a:rPr lang="en-US" sz="500" baseline="0">
                      <a:gradFill>
                        <a:gsLst>
                          <a:gs pos="0">
                            <a:srgbClr val="FFFFFF"/>
                          </a:gs>
                          <a:gs pos="100000">
                            <a:srgbClr val="FFFFFF"/>
                          </a:gs>
                        </a:gsLst>
                        <a:lin ang="5400000" scaled="0"/>
                      </a:gradFill>
                      <a:ea typeface="Segoe UI" pitchFamily="34" charset="0"/>
                      <a:cs typeface="Segoe UI" pitchFamily="34" charset="0"/>
                    </a:rPr>
                    <a:t>0 G:45 B:145</a:t>
                  </a:r>
                  <a:endParaRPr lang="en-US" sz="500">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1581150" y="4887665"/>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32200" fontAlgn="base">
                    <a:lnSpc>
                      <a:spcPct val="100000"/>
                    </a:lnSpc>
                    <a:spcBef>
                      <a:spcPct val="0"/>
                    </a:spcBef>
                    <a:spcAft>
                      <a:spcPct val="0"/>
                    </a:spcAft>
                  </a:pPr>
                  <a:r>
                    <a:rPr lang="en-US" sz="500" b="1" kern="1200" baseline="0">
                      <a:gradFill>
                        <a:gsLst>
                          <a:gs pos="0">
                            <a:srgbClr val="FFFFFF"/>
                          </a:gs>
                          <a:gs pos="100000">
                            <a:srgbClr val="FFFFFF"/>
                          </a:gs>
                        </a:gsLst>
                        <a:lin ang="5400000" scaled="0"/>
                      </a:gradFill>
                      <a:latin typeface="+mn-lt"/>
                      <a:ea typeface="Segoe UI" pitchFamily="34" charset="0"/>
                      <a:cs typeface="Segoe UI" pitchFamily="34" charset="0"/>
                    </a:rPr>
                    <a:t>Dark Purple</a:t>
                  </a:r>
                </a:p>
                <a:p>
                  <a:pPr algn="l" defTabSz="932200" fontAlgn="base">
                    <a:lnSpc>
                      <a:spcPct val="100000"/>
                    </a:lnSpc>
                    <a:spcBef>
                      <a:spcPct val="0"/>
                    </a:spcBef>
                    <a:spcAft>
                      <a:spcPct val="0"/>
                    </a:spcAft>
                  </a:pPr>
                  <a:r>
                    <a:rPr lang="en-US" sz="500">
                      <a:gradFill>
                        <a:gsLst>
                          <a:gs pos="0">
                            <a:srgbClr val="FFFFFF"/>
                          </a:gs>
                          <a:gs pos="100000">
                            <a:srgbClr val="FFFFFF"/>
                          </a:gs>
                        </a:gsLst>
                        <a:lin ang="5400000" scaled="0"/>
                      </a:gradFill>
                      <a:ea typeface="Segoe UI" pitchFamily="34" charset="0"/>
                      <a:cs typeface="Segoe UI" pitchFamily="34" charset="0"/>
                    </a:rPr>
                    <a:t>R:</a:t>
                  </a:r>
                  <a:r>
                    <a:rPr lang="en-US" sz="500" baseline="0">
                      <a:gradFill>
                        <a:gsLst>
                          <a:gs pos="0">
                            <a:srgbClr val="FFFFFF"/>
                          </a:gs>
                          <a:gs pos="100000">
                            <a:srgbClr val="FFFFFF"/>
                          </a:gs>
                        </a:gsLst>
                        <a:lin ang="5400000" scaled="0"/>
                      </a:gradFill>
                      <a:ea typeface="Segoe UI" pitchFamily="34" charset="0"/>
                      <a:cs typeface="Segoe UI" pitchFamily="34" charset="0"/>
                    </a:rPr>
                    <a:t>50 G:20 B:90</a:t>
                  </a:r>
                  <a:endParaRPr lang="en-US" sz="500">
                    <a:gradFill>
                      <a:gsLst>
                        <a:gs pos="0">
                          <a:srgbClr val="FFFFFF"/>
                        </a:gs>
                        <a:gs pos="100000">
                          <a:srgbClr val="FFFFFF"/>
                        </a:gs>
                      </a:gsLst>
                      <a:lin ang="5400000" scaled="0"/>
                    </a:gradFill>
                    <a:ea typeface="Segoe UI" pitchFamily="34" charset="0"/>
                    <a:cs typeface="Segoe UI" pitchFamily="34" charset="0"/>
                  </a:endParaRPr>
                </a:p>
              </p:txBody>
            </p:sp>
            <p:sp>
              <p:nvSpPr>
                <p:cNvPr id="15" name="Rectangle 14"/>
                <p:cNvSpPr/>
                <p:nvPr userDrawn="1"/>
              </p:nvSpPr>
              <p:spPr bwMode="auto">
                <a:xfrm>
                  <a:off x="3419856" y="4543426"/>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00" rtl="0" eaLnBrk="1" fontAlgn="base" latinLnBrk="0" hangingPunct="1">
                    <a:lnSpc>
                      <a:spcPct val="100000"/>
                    </a:lnSpc>
                    <a:spcBef>
                      <a:spcPct val="0"/>
                    </a:spcBef>
                    <a:spcAft>
                      <a:spcPct val="0"/>
                    </a:spcAft>
                  </a:pPr>
                  <a:r>
                    <a:rPr lang="en-US" sz="500" b="1" kern="1200" baseline="0">
                      <a:gradFill>
                        <a:gsLst>
                          <a:gs pos="1775">
                            <a:schemeClr val="bg1"/>
                          </a:gs>
                          <a:gs pos="14000">
                            <a:schemeClr val="bg1"/>
                          </a:gs>
                        </a:gsLst>
                        <a:lin ang="5400000" scaled="0"/>
                      </a:gradFill>
                      <a:latin typeface="+mn-lt"/>
                      <a:ea typeface="Segoe UI" pitchFamily="34" charset="0"/>
                      <a:cs typeface="Segoe UI" pitchFamily="34" charset="0"/>
                    </a:rPr>
                    <a:t>Dark Blue</a:t>
                  </a:r>
                </a:p>
                <a:p>
                  <a:pPr algn="l" defTabSz="932200" fontAlgn="base">
                    <a:lnSpc>
                      <a:spcPct val="100000"/>
                    </a:lnSpc>
                    <a:spcBef>
                      <a:spcPct val="0"/>
                    </a:spcBef>
                    <a:spcAft>
                      <a:spcPct val="0"/>
                    </a:spcAft>
                  </a:pPr>
                  <a:r>
                    <a:rPr lang="en-US" sz="500">
                      <a:gradFill>
                        <a:gsLst>
                          <a:gs pos="1775">
                            <a:schemeClr val="bg1"/>
                          </a:gs>
                          <a:gs pos="14000">
                            <a:schemeClr val="bg1"/>
                          </a:gs>
                        </a:gsLst>
                        <a:lin ang="5400000" scaled="0"/>
                      </a:gradFill>
                      <a:ea typeface="Segoe UI" pitchFamily="34" charset="0"/>
                      <a:cs typeface="Segoe UI" pitchFamily="34" charset="0"/>
                    </a:rPr>
                    <a:t>R:</a:t>
                  </a:r>
                  <a:r>
                    <a:rPr lang="en-US" sz="500" baseline="0">
                      <a:gradFill>
                        <a:gsLst>
                          <a:gs pos="1775">
                            <a:schemeClr val="bg1"/>
                          </a:gs>
                          <a:gs pos="14000">
                            <a:schemeClr val="bg1"/>
                          </a:gs>
                        </a:gsLst>
                        <a:lin ang="5400000" scaled="0"/>
                      </a:gradFill>
                      <a:ea typeface="Segoe UI" pitchFamily="34" charset="0"/>
                      <a:cs typeface="Segoe UI" pitchFamily="34" charset="0"/>
                    </a:rPr>
                    <a:t>0 G:32 B:80</a:t>
                  </a:r>
                  <a:endParaRPr lang="en-US" sz="500">
                    <a:gradFill>
                      <a:gsLst>
                        <a:gs pos="1775">
                          <a:schemeClr val="bg1"/>
                        </a:gs>
                        <a:gs pos="14000">
                          <a:schemeClr val="bg1"/>
                        </a:gs>
                      </a:gsLst>
                      <a:lin ang="5400000" scaled="0"/>
                    </a:gradFill>
                    <a:ea typeface="Segoe UI" pitchFamily="34" charset="0"/>
                    <a:cs typeface="Segoe UI" pitchFamily="34" charset="0"/>
                  </a:endParaRPr>
                </a:p>
              </p:txBody>
            </p:sp>
            <p:sp>
              <p:nvSpPr>
                <p:cNvPr id="16" name="Rectangle 15"/>
                <p:cNvSpPr/>
                <p:nvPr userDrawn="1"/>
              </p:nvSpPr>
              <p:spPr bwMode="auto">
                <a:xfrm>
                  <a:off x="2498744" y="4882896"/>
                  <a:ext cx="869930" cy="28976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00" rtl="0" eaLnBrk="1" fontAlgn="base" latinLnBrk="0" hangingPunct="1">
                    <a:lnSpc>
                      <a:spcPct val="100000"/>
                    </a:lnSpc>
                    <a:spcBef>
                      <a:spcPct val="0"/>
                    </a:spcBef>
                    <a:spcAft>
                      <a:spcPct val="0"/>
                    </a:spcAft>
                  </a:pPr>
                  <a:r>
                    <a:rPr lang="en-US" sz="500" b="1" kern="1200" baseline="0">
                      <a:gradFill>
                        <a:gsLst>
                          <a:gs pos="0">
                            <a:srgbClr val="FFFFFF"/>
                          </a:gs>
                          <a:gs pos="100000">
                            <a:srgbClr val="FFFFFF"/>
                          </a:gs>
                        </a:gsLst>
                        <a:lin ang="5400000" scaled="0"/>
                      </a:gradFill>
                      <a:latin typeface="+mn-lt"/>
                      <a:ea typeface="Segoe UI" pitchFamily="34" charset="0"/>
                      <a:cs typeface="Segoe UI" pitchFamily="34" charset="0"/>
                    </a:rPr>
                    <a:t>Magenta</a:t>
                  </a:r>
                </a:p>
                <a:p>
                  <a:pPr algn="l" defTabSz="932200" fontAlgn="base">
                    <a:lnSpc>
                      <a:spcPct val="100000"/>
                    </a:lnSpc>
                    <a:spcBef>
                      <a:spcPct val="0"/>
                    </a:spcBef>
                    <a:spcAft>
                      <a:spcPct val="0"/>
                    </a:spcAft>
                  </a:pPr>
                  <a:r>
                    <a:rPr lang="en-US" sz="500">
                      <a:gradFill>
                        <a:gsLst>
                          <a:gs pos="2092">
                            <a:srgbClr val="F8F8F8"/>
                          </a:gs>
                          <a:gs pos="10042">
                            <a:srgbClr val="F8F8F8"/>
                          </a:gs>
                        </a:gsLst>
                        <a:lin ang="5400000" scaled="0"/>
                      </a:gradFill>
                      <a:ea typeface="Segoe UI" pitchFamily="34" charset="0"/>
                      <a:cs typeface="Segoe UI" pitchFamily="34" charset="0"/>
                    </a:rPr>
                    <a:t>R:</a:t>
                  </a:r>
                  <a:r>
                    <a:rPr lang="en-US" sz="500" baseline="0">
                      <a:gradFill>
                        <a:gsLst>
                          <a:gs pos="2092">
                            <a:srgbClr val="F8F8F8"/>
                          </a:gs>
                          <a:gs pos="10042">
                            <a:srgbClr val="F8F8F8"/>
                          </a:gs>
                        </a:gsLst>
                        <a:lin ang="5400000" scaled="0"/>
                      </a:gradFill>
                      <a:ea typeface="Segoe UI" pitchFamily="34" charset="0"/>
                      <a:cs typeface="Segoe UI" pitchFamily="34" charset="0"/>
                    </a:rPr>
                    <a:t>180 G:0 B:158</a:t>
                  </a:r>
                  <a:endParaRPr lang="en-US" sz="500">
                    <a:gradFill>
                      <a:gsLst>
                        <a:gs pos="2092">
                          <a:srgbClr val="F8F8F8"/>
                        </a:gs>
                        <a:gs pos="10042">
                          <a:srgbClr val="F8F8F8"/>
                        </a:gs>
                      </a:gsLst>
                      <a:lin ang="5400000" scaled="0"/>
                    </a:gradFill>
                    <a:ea typeface="Segoe UI" pitchFamily="34" charset="0"/>
                    <a:cs typeface="Segoe UI" pitchFamily="34" charset="0"/>
                  </a:endParaRPr>
                </a:p>
              </p:txBody>
            </p:sp>
            <p:sp>
              <p:nvSpPr>
                <p:cNvPr id="17" name="Rectangle 16"/>
                <p:cNvSpPr/>
                <p:nvPr userDrawn="1"/>
              </p:nvSpPr>
              <p:spPr bwMode="auto">
                <a:xfrm>
                  <a:off x="3413144" y="4882895"/>
                  <a:ext cx="869930" cy="289766"/>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00" rtl="0" eaLnBrk="1" fontAlgn="base" latinLnBrk="0" hangingPunct="1">
                    <a:lnSpc>
                      <a:spcPct val="100000"/>
                    </a:lnSpc>
                    <a:spcBef>
                      <a:spcPct val="0"/>
                    </a:spcBef>
                    <a:spcAft>
                      <a:spcPct val="0"/>
                    </a:spcAft>
                  </a:pPr>
                  <a:r>
                    <a:rPr lang="en-US" sz="500" b="1" kern="1200" baseline="0">
                      <a:gradFill>
                        <a:gsLst>
                          <a:gs pos="0">
                            <a:srgbClr val="FFFFFF"/>
                          </a:gs>
                          <a:gs pos="100000">
                            <a:srgbClr val="FFFFFF"/>
                          </a:gs>
                        </a:gsLst>
                        <a:lin ang="5400000" scaled="0"/>
                      </a:gradFill>
                      <a:latin typeface="+mn-lt"/>
                      <a:ea typeface="Segoe UI" pitchFamily="34" charset="0"/>
                      <a:cs typeface="Segoe UI" pitchFamily="34" charset="0"/>
                    </a:rPr>
                    <a:t>Dark Gray</a:t>
                  </a:r>
                </a:p>
                <a:p>
                  <a:pPr algn="l" defTabSz="932200" fontAlgn="base">
                    <a:lnSpc>
                      <a:spcPct val="100000"/>
                    </a:lnSpc>
                    <a:spcBef>
                      <a:spcPct val="0"/>
                    </a:spcBef>
                    <a:spcAft>
                      <a:spcPct val="0"/>
                    </a:spcAft>
                  </a:pPr>
                  <a:r>
                    <a:rPr lang="en-US" sz="500">
                      <a:gradFill>
                        <a:gsLst>
                          <a:gs pos="2092">
                            <a:srgbClr val="F8F8F8"/>
                          </a:gs>
                          <a:gs pos="10042">
                            <a:srgbClr val="F8F8F8"/>
                          </a:gs>
                        </a:gsLst>
                        <a:lin ang="5400000" scaled="0"/>
                      </a:gradFill>
                      <a:ea typeface="Segoe UI" pitchFamily="34" charset="0"/>
                      <a:cs typeface="Segoe UI" pitchFamily="34" charset="0"/>
                    </a:rPr>
                    <a:t>R:</a:t>
                  </a:r>
                  <a:r>
                    <a:rPr lang="en-US" sz="500" baseline="0">
                      <a:gradFill>
                        <a:gsLst>
                          <a:gs pos="2092">
                            <a:srgbClr val="F8F8F8"/>
                          </a:gs>
                          <a:gs pos="10042">
                            <a:srgbClr val="F8F8F8"/>
                          </a:gs>
                        </a:gsLst>
                        <a:lin ang="5400000" scaled="0"/>
                      </a:gradFill>
                      <a:ea typeface="Segoe UI" pitchFamily="34" charset="0"/>
                      <a:cs typeface="Segoe UI" pitchFamily="34" charset="0"/>
                    </a:rPr>
                    <a:t>80 G:80 B:80</a:t>
                  </a:r>
                  <a:endParaRPr lang="en-US" sz="500">
                    <a:gradFill>
                      <a:gsLst>
                        <a:gs pos="2092">
                          <a:srgbClr val="F8F8F8"/>
                        </a:gs>
                        <a:gs pos="10042">
                          <a:srgbClr val="F8F8F8"/>
                        </a:gs>
                      </a:gsLst>
                      <a:lin ang="5400000" scaled="0"/>
                    </a:gradFill>
                    <a:ea typeface="Segoe UI" pitchFamily="34" charset="0"/>
                    <a:cs typeface="Segoe UI" pitchFamily="34" charset="0"/>
                  </a:endParaRPr>
                </a:p>
              </p:txBody>
            </p:sp>
            <p:sp>
              <p:nvSpPr>
                <p:cNvPr id="18" name="Rectangle 17"/>
                <p:cNvSpPr/>
                <p:nvPr userDrawn="1"/>
              </p:nvSpPr>
              <p:spPr bwMode="auto">
                <a:xfrm>
                  <a:off x="2498745" y="4543428"/>
                  <a:ext cx="869930" cy="289766"/>
                </a:xfrm>
                <a:prstGeom prst="rect">
                  <a:avLst/>
                </a:prstGeom>
                <a:solidFill>
                  <a:srgbClr val="3076B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00" rtl="0" eaLnBrk="1" fontAlgn="base" latinLnBrk="0" hangingPunct="1">
                    <a:lnSpc>
                      <a:spcPct val="100000"/>
                    </a:lnSpc>
                    <a:spcBef>
                      <a:spcPct val="0"/>
                    </a:spcBef>
                    <a:spcAft>
                      <a:spcPct val="0"/>
                    </a:spcAft>
                  </a:pPr>
                  <a:r>
                    <a:rPr lang="en-US" sz="500" b="1" kern="1200" baseline="0">
                      <a:gradFill>
                        <a:gsLst>
                          <a:gs pos="0">
                            <a:srgbClr val="FFFFFF"/>
                          </a:gs>
                          <a:gs pos="100000">
                            <a:srgbClr val="FFFFFF"/>
                          </a:gs>
                        </a:gsLst>
                        <a:lin ang="5400000" scaled="0"/>
                      </a:gradFill>
                      <a:latin typeface="+mn-lt"/>
                      <a:ea typeface="Segoe UI" pitchFamily="34" charset="0"/>
                      <a:cs typeface="Segoe UI" pitchFamily="34" charset="0"/>
                    </a:rPr>
                    <a:t>Blue</a:t>
                  </a:r>
                </a:p>
                <a:p>
                  <a:pPr algn="l" defTabSz="932200" fontAlgn="base">
                    <a:lnSpc>
                      <a:spcPct val="100000"/>
                    </a:lnSpc>
                    <a:spcBef>
                      <a:spcPct val="0"/>
                    </a:spcBef>
                    <a:spcAft>
                      <a:spcPct val="0"/>
                    </a:spcAft>
                  </a:pPr>
                  <a:r>
                    <a:rPr lang="en-US" sz="500">
                      <a:gradFill>
                        <a:gsLst>
                          <a:gs pos="2092">
                            <a:srgbClr val="F8F8F8"/>
                          </a:gs>
                          <a:gs pos="10042">
                            <a:srgbClr val="F8F8F8"/>
                          </a:gs>
                        </a:gsLst>
                        <a:lin ang="5400000" scaled="0"/>
                      </a:gradFill>
                      <a:ea typeface="Segoe UI" pitchFamily="34" charset="0"/>
                      <a:cs typeface="Segoe UI" pitchFamily="34" charset="0"/>
                    </a:rPr>
                    <a:t>R:</a:t>
                  </a:r>
                  <a:r>
                    <a:rPr lang="en-US" sz="500" baseline="0">
                      <a:gradFill>
                        <a:gsLst>
                          <a:gs pos="2092">
                            <a:srgbClr val="F8F8F8"/>
                          </a:gs>
                          <a:gs pos="10042">
                            <a:srgbClr val="F8F8F8"/>
                          </a:gs>
                        </a:gsLst>
                        <a:lin ang="5400000" scaled="0"/>
                      </a:gradFill>
                      <a:ea typeface="Segoe UI" pitchFamily="34" charset="0"/>
                      <a:cs typeface="Segoe UI" pitchFamily="34" charset="0"/>
                    </a:rPr>
                    <a:t>0 G:120 B:215</a:t>
                  </a:r>
                  <a:endParaRPr lang="en-US" sz="500">
                    <a:gradFill>
                      <a:gsLst>
                        <a:gs pos="2092">
                          <a:srgbClr val="F8F8F8"/>
                        </a:gs>
                        <a:gs pos="10042">
                          <a:srgbClr val="F8F8F8"/>
                        </a:gs>
                      </a:gsLst>
                      <a:lin ang="5400000" scaled="0"/>
                    </a:gradFill>
                    <a:ea typeface="Segoe UI" pitchFamily="34" charset="0"/>
                    <a:cs typeface="Segoe UI" pitchFamily="34" charset="0"/>
                  </a:endParaRPr>
                </a:p>
              </p:txBody>
            </p:sp>
          </p:grpSp>
          <p:sp>
            <p:nvSpPr>
              <p:cNvPr id="34" name="TextBox 33"/>
              <p:cNvSpPr txBox="1"/>
              <p:nvPr userDrawn="1"/>
            </p:nvSpPr>
            <p:spPr>
              <a:xfrm rot="5400000">
                <a:off x="12979639" y="256928"/>
                <a:ext cx="860293" cy="329645"/>
              </a:xfrm>
              <a:prstGeom prst="rect">
                <a:avLst/>
              </a:prstGeom>
              <a:noFill/>
            </p:spPr>
            <p:txBody>
              <a:bodyPr wrap="none" lIns="0" tIns="91440" rIns="182880" bIns="91440" rtlCol="0">
                <a:spAutoFit/>
              </a:bodyPr>
              <a:lstStyle/>
              <a:p>
                <a:pPr>
                  <a:lnSpc>
                    <a:spcPct val="90000"/>
                  </a:lnSpc>
                  <a:spcAft>
                    <a:spcPts val="600"/>
                  </a:spcAft>
                </a:pPr>
                <a:r>
                  <a:rPr lang="en-US" sz="1000">
                    <a:gradFill>
                      <a:gsLst>
                        <a:gs pos="2917">
                          <a:schemeClr val="tx1"/>
                        </a:gs>
                        <a:gs pos="30000">
                          <a:schemeClr val="tx1"/>
                        </a:gs>
                      </a:gsLst>
                      <a:lin ang="5400000" scaled="0"/>
                    </a:gradFill>
                  </a:rPr>
                  <a:t>Main colors</a:t>
                </a:r>
              </a:p>
            </p:txBody>
          </p:sp>
          <p:sp>
            <p:nvSpPr>
              <p:cNvPr id="35" name="TextBox 34"/>
              <p:cNvSpPr txBox="1"/>
              <p:nvPr userDrawn="1"/>
            </p:nvSpPr>
            <p:spPr>
              <a:xfrm rot="5400000">
                <a:off x="11715628" y="4227340"/>
                <a:ext cx="2709380" cy="329645"/>
              </a:xfrm>
              <a:prstGeom prst="rect">
                <a:avLst/>
              </a:prstGeom>
              <a:noFill/>
            </p:spPr>
            <p:txBody>
              <a:bodyPr wrap="none" lIns="0" tIns="91440" rIns="182880" bIns="91440" rtlCol="0">
                <a:spAutoFit/>
              </a:bodyPr>
              <a:lstStyle/>
              <a:p>
                <a:pPr>
                  <a:lnSpc>
                    <a:spcPct val="90000"/>
                  </a:lnSpc>
                  <a:spcAft>
                    <a:spcPts val="600"/>
                  </a:spcAft>
                </a:pPr>
                <a:r>
                  <a:rPr lang="en-US" sz="1000">
                    <a:gradFill>
                      <a:gsLst>
                        <a:gs pos="2917">
                          <a:schemeClr val="tx1"/>
                        </a:gs>
                        <a:gs pos="30000">
                          <a:schemeClr val="tx1"/>
                        </a:gs>
                      </a:gsLst>
                      <a:lin ang="5400000" scaled="0"/>
                    </a:gradFill>
                  </a:rPr>
                  <a:t>Secondary colors (use only when</a:t>
                </a:r>
                <a:r>
                  <a:rPr lang="en-US" sz="1000" baseline="0">
                    <a:gradFill>
                      <a:gsLst>
                        <a:gs pos="2917">
                          <a:schemeClr val="tx1"/>
                        </a:gs>
                        <a:gs pos="30000">
                          <a:schemeClr val="tx1"/>
                        </a:gs>
                      </a:gsLst>
                      <a:lin ang="5400000" scaled="0"/>
                    </a:gradFill>
                  </a:rPr>
                  <a:t> necessary)</a:t>
                </a:r>
                <a:endParaRPr lang="en-US" sz="1000">
                  <a:gradFill>
                    <a:gsLst>
                      <a:gs pos="2917">
                        <a:schemeClr val="tx1"/>
                      </a:gs>
                      <a:gs pos="30000">
                        <a:schemeClr val="tx1"/>
                      </a:gs>
                    </a:gsLst>
                    <a:lin ang="5400000" scaled="0"/>
                  </a:gradFill>
                </a:endParaRPr>
              </a:p>
            </p:txBody>
          </p:sp>
        </p:grpSp>
        <p:sp>
          <p:nvSpPr>
            <p:cNvPr id="19" name="Rectangle 18"/>
            <p:cNvSpPr/>
            <p:nvPr userDrawn="1"/>
          </p:nvSpPr>
          <p:spPr bwMode="auto">
            <a:xfrm rot="5400000">
              <a:off x="12328887" y="4272718"/>
              <a:ext cx="869930" cy="289766"/>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00" rtl="0" eaLnBrk="1" fontAlgn="base" latinLnBrk="0" hangingPunct="1">
                <a:lnSpc>
                  <a:spcPct val="100000"/>
                </a:lnSpc>
                <a:spcBef>
                  <a:spcPct val="0"/>
                </a:spcBef>
                <a:spcAft>
                  <a:spcPct val="0"/>
                </a:spcAft>
              </a:pPr>
              <a:r>
                <a:rPr lang="en-US" sz="500" b="1" kern="1200" baseline="0">
                  <a:gradFill>
                    <a:gsLst>
                      <a:gs pos="18584">
                        <a:srgbClr val="FFFFFF"/>
                      </a:gs>
                      <a:gs pos="52000">
                        <a:srgbClr val="FFFFFF"/>
                      </a:gs>
                    </a:gsLst>
                    <a:lin ang="5400000" scaled="0"/>
                  </a:gradFill>
                  <a:latin typeface="+mn-lt"/>
                  <a:ea typeface="Segoe UI" pitchFamily="34" charset="0"/>
                  <a:cs typeface="Segoe UI" pitchFamily="34" charset="0"/>
                </a:rPr>
                <a:t>Mid Blue</a:t>
              </a:r>
            </a:p>
            <a:p>
              <a:pPr algn="l" defTabSz="932200" fontAlgn="base">
                <a:lnSpc>
                  <a:spcPct val="100000"/>
                </a:lnSpc>
                <a:spcBef>
                  <a:spcPct val="0"/>
                </a:spcBef>
                <a:spcAft>
                  <a:spcPct val="0"/>
                </a:spcAft>
              </a:pPr>
              <a:r>
                <a:rPr lang="en-US" sz="500">
                  <a:gradFill>
                    <a:gsLst>
                      <a:gs pos="18584">
                        <a:srgbClr val="FFFFFF"/>
                      </a:gs>
                      <a:gs pos="52000">
                        <a:srgbClr val="FFFFFF"/>
                      </a:gs>
                    </a:gsLst>
                    <a:lin ang="5400000" scaled="0"/>
                  </a:gradFill>
                  <a:ea typeface="Segoe UI" pitchFamily="34" charset="0"/>
                  <a:cs typeface="Segoe UI" pitchFamily="34" charset="0"/>
                </a:rPr>
                <a:t>R:0</a:t>
              </a:r>
              <a:r>
                <a:rPr lang="en-US" sz="500" baseline="0">
                  <a:gradFill>
                    <a:gsLst>
                      <a:gs pos="18584">
                        <a:srgbClr val="FFFFFF"/>
                      </a:gs>
                      <a:gs pos="52000">
                        <a:srgbClr val="FFFFFF"/>
                      </a:gs>
                    </a:gsLst>
                    <a:lin ang="5400000" scaled="0"/>
                  </a:gradFill>
                  <a:ea typeface="Segoe UI" pitchFamily="34" charset="0"/>
                  <a:cs typeface="Segoe UI" pitchFamily="34" charset="0"/>
                </a:rPr>
                <a:t> G:24 B:143</a:t>
              </a:r>
              <a:endParaRPr lang="en-US" sz="500">
                <a:gradFill>
                  <a:gsLst>
                    <a:gs pos="18584">
                      <a:srgbClr val="FFFFFF"/>
                    </a:gs>
                    <a:gs pos="52000">
                      <a:srgbClr val="FFFFFF"/>
                    </a:gs>
                  </a:gsLst>
                  <a:lin ang="5400000" scaled="0"/>
                </a:gradFill>
                <a:ea typeface="Segoe UI" pitchFamily="34" charset="0"/>
                <a:cs typeface="Segoe UI" pitchFamily="34" charset="0"/>
              </a:endParaRPr>
            </a:p>
          </p:txBody>
        </p:sp>
        <p:sp>
          <p:nvSpPr>
            <p:cNvPr id="20" name="Rectangle 19"/>
            <p:cNvSpPr/>
            <p:nvPr userDrawn="1"/>
          </p:nvSpPr>
          <p:spPr bwMode="auto">
            <a:xfrm rot="5400000">
              <a:off x="12328887" y="5187118"/>
              <a:ext cx="869930" cy="289766"/>
            </a:xfrm>
            <a:prstGeom prst="rect">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00" rtl="0" eaLnBrk="1" fontAlgn="base" latinLnBrk="0" hangingPunct="1">
                <a:lnSpc>
                  <a:spcPct val="100000"/>
                </a:lnSpc>
                <a:spcBef>
                  <a:spcPct val="0"/>
                </a:spcBef>
                <a:spcAft>
                  <a:spcPct val="0"/>
                </a:spcAft>
              </a:pPr>
              <a:r>
                <a:rPr lang="en-US" sz="500" b="1" kern="1200" baseline="0">
                  <a:gradFill>
                    <a:gsLst>
                      <a:gs pos="0">
                        <a:srgbClr val="FFFFFF"/>
                      </a:gs>
                      <a:gs pos="100000">
                        <a:srgbClr val="FFFFFF"/>
                      </a:gs>
                    </a:gsLst>
                    <a:lin ang="5400000" scaled="0"/>
                  </a:gradFill>
                  <a:latin typeface="+mn-lt"/>
                  <a:ea typeface="Segoe UI" pitchFamily="34" charset="0"/>
                  <a:cs typeface="Segoe UI" pitchFamily="34" charset="0"/>
                </a:rPr>
                <a:t>Green</a:t>
              </a:r>
            </a:p>
            <a:p>
              <a:pPr algn="l" defTabSz="932200" fontAlgn="base">
                <a:lnSpc>
                  <a:spcPct val="100000"/>
                </a:lnSpc>
                <a:spcBef>
                  <a:spcPct val="0"/>
                </a:spcBef>
                <a:spcAft>
                  <a:spcPct val="0"/>
                </a:spcAft>
              </a:pPr>
              <a:r>
                <a:rPr lang="en-US" sz="500">
                  <a:gradFill>
                    <a:gsLst>
                      <a:gs pos="2092">
                        <a:srgbClr val="F8F8F8"/>
                      </a:gs>
                      <a:gs pos="10042">
                        <a:srgbClr val="F8F8F8"/>
                      </a:gs>
                    </a:gsLst>
                    <a:lin ang="5400000" scaled="0"/>
                  </a:gradFill>
                  <a:ea typeface="Segoe UI" pitchFamily="34" charset="0"/>
                  <a:cs typeface="Segoe UI" pitchFamily="34" charset="0"/>
                </a:rPr>
                <a:t>R:</a:t>
              </a:r>
              <a:r>
                <a:rPr lang="en-US" sz="500" baseline="0">
                  <a:gradFill>
                    <a:gsLst>
                      <a:gs pos="2092">
                        <a:srgbClr val="F8F8F8"/>
                      </a:gs>
                      <a:gs pos="10042">
                        <a:srgbClr val="F8F8F8"/>
                      </a:gs>
                    </a:gsLst>
                    <a:lin ang="5400000" scaled="0"/>
                  </a:gradFill>
                  <a:ea typeface="Segoe UI" pitchFamily="34" charset="0"/>
                  <a:cs typeface="Segoe UI" pitchFamily="34" charset="0"/>
                </a:rPr>
                <a:t>16 G:124 B:16</a:t>
              </a:r>
            </a:p>
          </p:txBody>
        </p:sp>
        <p:sp>
          <p:nvSpPr>
            <p:cNvPr id="21" name="Rectangle 20"/>
            <p:cNvSpPr/>
            <p:nvPr userDrawn="1"/>
          </p:nvSpPr>
          <p:spPr bwMode="auto">
            <a:xfrm rot="5400000">
              <a:off x="12328886" y="3353996"/>
              <a:ext cx="869930" cy="28976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00" rtl="0" eaLnBrk="1" fontAlgn="base" latinLnBrk="0" hangingPunct="1">
                <a:lnSpc>
                  <a:spcPct val="100000"/>
                </a:lnSpc>
                <a:spcBef>
                  <a:spcPct val="0"/>
                </a:spcBef>
                <a:spcAft>
                  <a:spcPct val="0"/>
                </a:spcAft>
              </a:pPr>
              <a:r>
                <a:rPr lang="en-US" sz="500" b="1" kern="1200" baseline="0">
                  <a:gradFill>
                    <a:gsLst>
                      <a:gs pos="66272">
                        <a:srgbClr val="000000"/>
                      </a:gs>
                      <a:gs pos="44000">
                        <a:srgbClr val="000000"/>
                      </a:gs>
                    </a:gsLst>
                    <a:lin ang="5400000" scaled="1"/>
                  </a:gradFill>
                  <a:latin typeface="+mn-lt"/>
                  <a:ea typeface="Segoe UI" pitchFamily="34" charset="0"/>
                  <a:cs typeface="Segoe UI" pitchFamily="34" charset="0"/>
                </a:rPr>
                <a:t>Light Blue</a:t>
              </a:r>
            </a:p>
            <a:p>
              <a:pPr algn="l" defTabSz="932200" fontAlgn="base">
                <a:lnSpc>
                  <a:spcPct val="100000"/>
                </a:lnSpc>
                <a:spcBef>
                  <a:spcPct val="0"/>
                </a:spcBef>
                <a:spcAft>
                  <a:spcPct val="0"/>
                </a:spcAft>
              </a:pPr>
              <a:r>
                <a:rPr lang="en-US" sz="500">
                  <a:gradFill>
                    <a:gsLst>
                      <a:gs pos="66272">
                        <a:srgbClr val="000000"/>
                      </a:gs>
                      <a:gs pos="44000">
                        <a:srgbClr val="000000"/>
                      </a:gs>
                    </a:gsLst>
                    <a:lin ang="5400000" scaled="1"/>
                  </a:gradFill>
                  <a:ea typeface="Segoe UI" pitchFamily="34" charset="0"/>
                  <a:cs typeface="Segoe UI" pitchFamily="34" charset="0"/>
                </a:rPr>
                <a:t>R:0</a:t>
              </a:r>
              <a:r>
                <a:rPr lang="en-US" sz="500" baseline="0">
                  <a:gradFill>
                    <a:gsLst>
                      <a:gs pos="66272">
                        <a:srgbClr val="000000"/>
                      </a:gs>
                      <a:gs pos="44000">
                        <a:srgbClr val="000000"/>
                      </a:gs>
                    </a:gsLst>
                    <a:lin ang="5400000" scaled="1"/>
                  </a:gradFill>
                  <a:ea typeface="Segoe UI" pitchFamily="34" charset="0"/>
                  <a:cs typeface="Segoe UI" pitchFamily="34" charset="0"/>
                </a:rPr>
                <a:t> G:188 B:242</a:t>
              </a:r>
              <a:endParaRPr lang="en-US" sz="500">
                <a:gradFill>
                  <a:gsLst>
                    <a:gs pos="66272">
                      <a:srgbClr val="000000"/>
                    </a:gs>
                    <a:gs pos="44000">
                      <a:srgbClr val="000000"/>
                    </a:gs>
                  </a:gsLst>
                  <a:lin ang="5400000" scaled="1"/>
                </a:gradFill>
                <a:ea typeface="Segoe UI" pitchFamily="34" charset="0"/>
                <a:cs typeface="Segoe UI" pitchFamily="34" charset="0"/>
              </a:endParaRPr>
            </a:p>
          </p:txBody>
        </p:sp>
      </p:grpSp>
    </p:spTree>
    <p:extLst>
      <p:ext uri="{BB962C8B-B14F-4D97-AF65-F5344CB8AC3E}">
        <p14:creationId xmlns:p14="http://schemas.microsoft.com/office/powerpoint/2010/main" val="4169390877"/>
      </p:ext>
    </p:extLst>
  </p:cSld>
  <p:clrMap bg1="lt1" tx1="dk1" bg2="lt2" tx2="dk2" accent1="accent1" accent2="accent2" accent3="accent3" accent4="accent4" accent5="accent5" accent6="accent6" hlink="hlink" folHlink="folHlink"/>
  <p:sldLayoutIdLst>
    <p:sldLayoutId id="2147484306" r:id="rId1"/>
    <p:sldLayoutId id="2147484307" r:id="rId2"/>
    <p:sldLayoutId id="2147484308" r:id="rId3"/>
    <p:sldLayoutId id="2147484309" r:id="rId4"/>
    <p:sldLayoutId id="2147484310" r:id="rId5"/>
    <p:sldLayoutId id="2147484311" r:id="rId6"/>
    <p:sldLayoutId id="2147484312" r:id="rId7"/>
    <p:sldLayoutId id="2147484313" r:id="rId8"/>
    <p:sldLayoutId id="2147484314" r:id="rId9"/>
    <p:sldLayoutId id="2147484315" r:id="rId10"/>
    <p:sldLayoutId id="2147484316" r:id="rId11"/>
    <p:sldLayoutId id="2147484317" r:id="rId12"/>
    <p:sldLayoutId id="2147484318" r:id="rId13"/>
    <p:sldLayoutId id="2147484319" r:id="rId14"/>
    <p:sldLayoutId id="2147484320" r:id="rId15"/>
    <p:sldLayoutId id="2147484321" r:id="rId16"/>
    <p:sldLayoutId id="2147484322" r:id="rId17"/>
    <p:sldLayoutId id="2147484323" r:id="rId18"/>
    <p:sldLayoutId id="2147484324" r:id="rId19"/>
    <p:sldLayoutId id="2147484325" r:id="rId20"/>
    <p:sldLayoutId id="2147484326" r:id="rId21"/>
  </p:sldLayoutIdLst>
  <p:transition>
    <p:fade/>
  </p:transition>
  <p:txStyles>
    <p:titleStyle>
      <a:lvl1pPr algn="l" defTabSz="932470" rtl="0" eaLnBrk="1" latinLnBrk="0" hangingPunct="1">
        <a:lnSpc>
          <a:spcPct val="90000"/>
        </a:lnSpc>
        <a:spcBef>
          <a:spcPct val="0"/>
        </a:spcBef>
        <a:buNone/>
        <a:defRPr lang="en-US" sz="47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00" marR="0" indent="-342800" algn="l" defTabSz="932470" rtl="0" eaLnBrk="1" fontAlgn="auto" latinLnBrk="0" hangingPunct="1">
        <a:lnSpc>
          <a:spcPct val="90000"/>
        </a:lnSpc>
        <a:spcBef>
          <a:spcPct val="20000"/>
        </a:spcBef>
        <a:spcAft>
          <a:spcPts val="0"/>
        </a:spcAft>
        <a:buClrTx/>
        <a:buSzPct val="90000"/>
        <a:buFont typeface="Arial" pitchFamily="34" charset="0"/>
        <a:buChar char="•"/>
        <a:tabLst/>
        <a:defRPr sz="3999" kern="1200" spc="0" baseline="0">
          <a:gradFill>
            <a:gsLst>
              <a:gs pos="1250">
                <a:schemeClr val="tx1"/>
              </a:gs>
              <a:gs pos="100000">
                <a:schemeClr val="tx1"/>
              </a:gs>
            </a:gsLst>
            <a:lin ang="5400000" scaled="0"/>
          </a:gradFill>
          <a:latin typeface="+mj-lt"/>
          <a:ea typeface="+mn-ea"/>
          <a:cs typeface="+mn-cs"/>
        </a:defRPr>
      </a:lvl1pPr>
      <a:lvl2pPr marL="584030" marR="0" indent="-241229" algn="l" defTabSz="932470"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866" marR="0" indent="-228534" algn="l" defTabSz="932470"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400" marR="0" indent="-228534" algn="l" defTabSz="932470"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6932" marR="0" indent="-228534" algn="l" defTabSz="932470"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292" indent="-233118" algn="l" defTabSz="93247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527" indent="-233118" algn="l" defTabSz="93247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6762" indent="-233118" algn="l" defTabSz="93247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2998" indent="-233118" algn="l" defTabSz="93247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470" rtl="0" eaLnBrk="1" latinLnBrk="0" hangingPunct="1">
        <a:defRPr sz="1800" kern="1200">
          <a:solidFill>
            <a:schemeClr val="tx1"/>
          </a:solidFill>
          <a:latin typeface="+mn-lt"/>
          <a:ea typeface="+mn-ea"/>
          <a:cs typeface="+mn-cs"/>
        </a:defRPr>
      </a:lvl1pPr>
      <a:lvl2pPr marL="466234" algn="l" defTabSz="932470" rtl="0" eaLnBrk="1" latinLnBrk="0" hangingPunct="1">
        <a:defRPr sz="1800" kern="1200">
          <a:solidFill>
            <a:schemeClr val="tx1"/>
          </a:solidFill>
          <a:latin typeface="+mn-lt"/>
          <a:ea typeface="+mn-ea"/>
          <a:cs typeface="+mn-cs"/>
        </a:defRPr>
      </a:lvl2pPr>
      <a:lvl3pPr marL="932470" algn="l" defTabSz="932470" rtl="0" eaLnBrk="1" latinLnBrk="0" hangingPunct="1">
        <a:defRPr sz="1800" kern="1200">
          <a:solidFill>
            <a:schemeClr val="tx1"/>
          </a:solidFill>
          <a:latin typeface="+mn-lt"/>
          <a:ea typeface="+mn-ea"/>
          <a:cs typeface="+mn-cs"/>
        </a:defRPr>
      </a:lvl3pPr>
      <a:lvl4pPr marL="1398704" algn="l" defTabSz="932470" rtl="0" eaLnBrk="1" latinLnBrk="0" hangingPunct="1">
        <a:defRPr sz="1800" kern="1200">
          <a:solidFill>
            <a:schemeClr val="tx1"/>
          </a:solidFill>
          <a:latin typeface="+mn-lt"/>
          <a:ea typeface="+mn-ea"/>
          <a:cs typeface="+mn-cs"/>
        </a:defRPr>
      </a:lvl4pPr>
      <a:lvl5pPr marL="1864939" algn="l" defTabSz="932470" rtl="0" eaLnBrk="1" latinLnBrk="0" hangingPunct="1">
        <a:defRPr sz="1800" kern="1200">
          <a:solidFill>
            <a:schemeClr val="tx1"/>
          </a:solidFill>
          <a:latin typeface="+mn-lt"/>
          <a:ea typeface="+mn-ea"/>
          <a:cs typeface="+mn-cs"/>
        </a:defRPr>
      </a:lvl5pPr>
      <a:lvl6pPr marL="2331175" algn="l" defTabSz="932470" rtl="0" eaLnBrk="1" latinLnBrk="0" hangingPunct="1">
        <a:defRPr sz="1800" kern="1200">
          <a:solidFill>
            <a:schemeClr val="tx1"/>
          </a:solidFill>
          <a:latin typeface="+mn-lt"/>
          <a:ea typeface="+mn-ea"/>
          <a:cs typeface="+mn-cs"/>
        </a:defRPr>
      </a:lvl6pPr>
      <a:lvl7pPr marL="2797409" algn="l" defTabSz="932470" rtl="0" eaLnBrk="1" latinLnBrk="0" hangingPunct="1">
        <a:defRPr sz="1800" kern="1200">
          <a:solidFill>
            <a:schemeClr val="tx1"/>
          </a:solidFill>
          <a:latin typeface="+mn-lt"/>
          <a:ea typeface="+mn-ea"/>
          <a:cs typeface="+mn-cs"/>
        </a:defRPr>
      </a:lvl7pPr>
      <a:lvl8pPr marL="3263644" algn="l" defTabSz="932470" rtl="0" eaLnBrk="1" latinLnBrk="0" hangingPunct="1">
        <a:defRPr sz="1800" kern="1200">
          <a:solidFill>
            <a:schemeClr val="tx1"/>
          </a:solidFill>
          <a:latin typeface="+mn-lt"/>
          <a:ea typeface="+mn-ea"/>
          <a:cs typeface="+mn-cs"/>
        </a:defRPr>
      </a:lvl8pPr>
      <a:lvl9pPr marL="3729880" algn="l" defTabSz="93247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04" y="295275"/>
            <a:ext cx="11888047" cy="91757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4605" y="1212851"/>
            <a:ext cx="11885681" cy="2308324"/>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2"/>
          <a:stretch>
            <a:fillRect/>
          </a:stretch>
        </p:blipFill>
        <p:spPr>
          <a:xfrm rot="5400000">
            <a:off x="9370153" y="3072353"/>
            <a:ext cx="6995160" cy="849818"/>
          </a:xfrm>
          <a:prstGeom prst="rect">
            <a:avLst/>
          </a:prstGeom>
        </p:spPr>
      </p:pic>
    </p:spTree>
    <p:extLst>
      <p:ext uri="{BB962C8B-B14F-4D97-AF65-F5344CB8AC3E}">
        <p14:creationId xmlns:p14="http://schemas.microsoft.com/office/powerpoint/2010/main" val="3056890739"/>
      </p:ext>
    </p:extLst>
  </p:cSld>
  <p:clrMap bg1="lt1" tx1="dk1" bg2="lt2" tx2="dk2" accent1="accent1" accent2="accent2" accent3="accent3" accent4="accent4" accent5="accent5" accent6="accent6" hlink="hlink" folHlink="folHlink"/>
  <p:sldLayoutIdLst>
    <p:sldLayoutId id="2147484328" r:id="rId1"/>
    <p:sldLayoutId id="2147484329" r:id="rId2"/>
    <p:sldLayoutId id="2147484330" r:id="rId3"/>
    <p:sldLayoutId id="2147484331" r:id="rId4"/>
    <p:sldLayoutId id="2147484332" r:id="rId5"/>
    <p:sldLayoutId id="2147484333" r:id="rId6"/>
    <p:sldLayoutId id="2147484334" r:id="rId7"/>
    <p:sldLayoutId id="2147484335" r:id="rId8"/>
    <p:sldLayoutId id="2147484336" r:id="rId9"/>
    <p:sldLayoutId id="2147484337" r:id="rId10"/>
    <p:sldLayoutId id="2147484338" r:id="rId11"/>
    <p:sldLayoutId id="2147484339" r:id="rId12"/>
    <p:sldLayoutId id="2147484340" r:id="rId13"/>
    <p:sldLayoutId id="2147484341" r:id="rId14"/>
    <p:sldLayoutId id="2147484342" r:id="rId15"/>
    <p:sldLayoutId id="2147484343" r:id="rId16"/>
    <p:sldLayoutId id="2147484344" r:id="rId17"/>
    <p:sldLayoutId id="2147484345" r:id="rId18"/>
    <p:sldLayoutId id="2147484346" r:id="rId19"/>
    <p:sldLayoutId id="2147484347" r:id="rId20"/>
  </p:sldLayoutIdLst>
  <p:transition>
    <p:fade/>
  </p:transition>
  <p:txStyles>
    <p:titleStyle>
      <a:lvl1pPr algn="l" defTabSz="932649"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577" marR="0" indent="-228577" algn="l" defTabSz="932649"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154" marR="0" indent="-228577" algn="l" defTabSz="932649"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731" marR="0" indent="-228577" algn="l" defTabSz="932649"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309" marR="0" indent="-228577" algn="l" defTabSz="932649"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2886" marR="0" indent="-228577" algn="l" defTabSz="932649"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4783" indent="-233163" algn="l" defTabSz="932649"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109" indent="-233163" algn="l" defTabSz="932649"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433" indent="-233163" algn="l" defTabSz="932649"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759" indent="-233163" algn="l" defTabSz="932649"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649" rtl="0" eaLnBrk="1" latinLnBrk="0" hangingPunct="1">
        <a:defRPr sz="1800" kern="1200">
          <a:solidFill>
            <a:schemeClr val="tx1"/>
          </a:solidFill>
          <a:latin typeface="+mn-lt"/>
          <a:ea typeface="+mn-ea"/>
          <a:cs typeface="+mn-cs"/>
        </a:defRPr>
      </a:lvl1pPr>
      <a:lvl2pPr marL="466324" algn="l" defTabSz="932649" rtl="0" eaLnBrk="1" latinLnBrk="0" hangingPunct="1">
        <a:defRPr sz="1800" kern="1200">
          <a:solidFill>
            <a:schemeClr val="tx1"/>
          </a:solidFill>
          <a:latin typeface="+mn-lt"/>
          <a:ea typeface="+mn-ea"/>
          <a:cs typeface="+mn-cs"/>
        </a:defRPr>
      </a:lvl2pPr>
      <a:lvl3pPr marL="932649" algn="l" defTabSz="932649" rtl="0" eaLnBrk="1" latinLnBrk="0" hangingPunct="1">
        <a:defRPr sz="1800" kern="1200">
          <a:solidFill>
            <a:schemeClr val="tx1"/>
          </a:solidFill>
          <a:latin typeface="+mn-lt"/>
          <a:ea typeface="+mn-ea"/>
          <a:cs typeface="+mn-cs"/>
        </a:defRPr>
      </a:lvl3pPr>
      <a:lvl4pPr marL="1398973" algn="l" defTabSz="932649" rtl="0" eaLnBrk="1" latinLnBrk="0" hangingPunct="1">
        <a:defRPr sz="1800" kern="1200">
          <a:solidFill>
            <a:schemeClr val="tx1"/>
          </a:solidFill>
          <a:latin typeface="+mn-lt"/>
          <a:ea typeface="+mn-ea"/>
          <a:cs typeface="+mn-cs"/>
        </a:defRPr>
      </a:lvl4pPr>
      <a:lvl5pPr marL="1865297" algn="l" defTabSz="932649" rtl="0" eaLnBrk="1" latinLnBrk="0" hangingPunct="1">
        <a:defRPr sz="1800" kern="1200">
          <a:solidFill>
            <a:schemeClr val="tx1"/>
          </a:solidFill>
          <a:latin typeface="+mn-lt"/>
          <a:ea typeface="+mn-ea"/>
          <a:cs typeface="+mn-cs"/>
        </a:defRPr>
      </a:lvl5pPr>
      <a:lvl6pPr marL="2331623" algn="l" defTabSz="932649" rtl="0" eaLnBrk="1" latinLnBrk="0" hangingPunct="1">
        <a:defRPr sz="1800" kern="1200">
          <a:solidFill>
            <a:schemeClr val="tx1"/>
          </a:solidFill>
          <a:latin typeface="+mn-lt"/>
          <a:ea typeface="+mn-ea"/>
          <a:cs typeface="+mn-cs"/>
        </a:defRPr>
      </a:lvl6pPr>
      <a:lvl7pPr marL="2797946" algn="l" defTabSz="932649" rtl="0" eaLnBrk="1" latinLnBrk="0" hangingPunct="1">
        <a:defRPr sz="1800" kern="1200">
          <a:solidFill>
            <a:schemeClr val="tx1"/>
          </a:solidFill>
          <a:latin typeface="+mn-lt"/>
          <a:ea typeface="+mn-ea"/>
          <a:cs typeface="+mn-cs"/>
        </a:defRPr>
      </a:lvl7pPr>
      <a:lvl8pPr marL="3264271" algn="l" defTabSz="932649" rtl="0" eaLnBrk="1" latinLnBrk="0" hangingPunct="1">
        <a:defRPr sz="1800" kern="1200">
          <a:solidFill>
            <a:schemeClr val="tx1"/>
          </a:solidFill>
          <a:latin typeface="+mn-lt"/>
          <a:ea typeface="+mn-ea"/>
          <a:cs typeface="+mn-cs"/>
        </a:defRPr>
      </a:lvl8pPr>
      <a:lvl9pPr marL="3730596" algn="l" defTabSz="932649"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04" y="295275"/>
            <a:ext cx="11888047"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06" y="1212851"/>
            <a:ext cx="11885681" cy="2092881"/>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3" name="Group 2"/>
          <p:cNvGrpSpPr/>
          <p:nvPr userDrawn="1"/>
        </p:nvGrpSpPr>
        <p:grpSpPr>
          <a:xfrm>
            <a:off x="12617354" y="-8395"/>
            <a:ext cx="955519" cy="5775363"/>
            <a:chOff x="12618967" y="-8396"/>
            <a:chExt cx="955641" cy="5775363"/>
          </a:xfrm>
        </p:grpSpPr>
        <p:grpSp>
          <p:nvGrpSpPr>
            <p:cNvPr id="26" name="Group 25"/>
            <p:cNvGrpSpPr/>
            <p:nvPr userDrawn="1"/>
          </p:nvGrpSpPr>
          <p:grpSpPr>
            <a:xfrm rot="5400000">
              <a:off x="11584220" y="1040742"/>
              <a:ext cx="2698730" cy="629236"/>
              <a:chOff x="1584344" y="4543426"/>
              <a:chExt cx="2698730" cy="629236"/>
            </a:xfrm>
          </p:grpSpPr>
          <p:sp>
            <p:nvSpPr>
              <p:cNvPr id="37" name="Rectangle 36"/>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32293" fontAlgn="base">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Blue</a:t>
                </a:r>
              </a:p>
              <a:p>
                <a:pPr algn="l" defTabSz="932293" fontAlgn="base">
                  <a:lnSpc>
                    <a:spcPct val="100000"/>
                  </a:lnSpc>
                  <a:spcBef>
                    <a:spcPct val="0"/>
                  </a:spcBef>
                  <a:spcAft>
                    <a:spcPct val="0"/>
                  </a:spcAft>
                </a:pPr>
                <a:r>
                  <a:rPr lang="en-US" sz="500" dirty="0">
                    <a:gradFill>
                      <a:gsLst>
                        <a:gs pos="0">
                          <a:srgbClr val="FFFFFF"/>
                        </a:gs>
                        <a:gs pos="100000">
                          <a:srgbClr val="FFFFFF"/>
                        </a:gs>
                      </a:gsLst>
                      <a:lin ang="5400000" scaled="0"/>
                    </a:gradFill>
                    <a:ea typeface="Segoe UI" pitchFamily="34" charset="0"/>
                    <a:cs typeface="Segoe UI" pitchFamily="34" charset="0"/>
                  </a:rPr>
                  <a:t>R:0 G:120 B:215</a:t>
                </a:r>
              </a:p>
            </p:txBody>
          </p:sp>
          <p:sp>
            <p:nvSpPr>
              <p:cNvPr id="41" name="Rectangle 40"/>
              <p:cNvSpPr/>
              <p:nvPr userDrawn="1"/>
            </p:nvSpPr>
            <p:spPr bwMode="auto">
              <a:xfrm>
                <a:off x="2505456" y="4543427"/>
                <a:ext cx="869930" cy="28976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32293" fontAlgn="base">
                  <a:lnSpc>
                    <a:spcPct val="100000"/>
                  </a:lnSpc>
                  <a:spcBef>
                    <a:spcPct val="0"/>
                  </a:spcBef>
                  <a:spcAft>
                    <a:spcPct val="0"/>
                  </a:spcAft>
                </a:pPr>
                <a:r>
                  <a:rPr lang="en-US" sz="500" b="1" kern="1200" baseline="0" dirty="0">
                    <a:gradFill>
                      <a:gsLst>
                        <a:gs pos="0">
                          <a:srgbClr val="161616"/>
                        </a:gs>
                        <a:gs pos="100000">
                          <a:srgbClr val="161616"/>
                        </a:gs>
                      </a:gsLst>
                      <a:lin ang="5400000" scaled="0"/>
                    </a:gradFill>
                    <a:latin typeface="+mn-lt"/>
                    <a:ea typeface="Segoe UI" pitchFamily="34" charset="0"/>
                    <a:cs typeface="Segoe UI" pitchFamily="34" charset="0"/>
                  </a:rPr>
                  <a:t>Light Blue</a:t>
                </a:r>
              </a:p>
              <a:p>
                <a:pPr marL="0" algn="l" defTabSz="932293" rtl="0" eaLnBrk="1" fontAlgn="base" latinLnBrk="0" hangingPunct="1">
                  <a:lnSpc>
                    <a:spcPct val="100000"/>
                  </a:lnSpc>
                  <a:spcBef>
                    <a:spcPct val="0"/>
                  </a:spcBef>
                  <a:spcAft>
                    <a:spcPct val="0"/>
                  </a:spcAft>
                </a:pPr>
                <a:r>
                  <a:rPr lang="en-US" sz="500" kern="1200" dirty="0">
                    <a:gradFill>
                      <a:gsLst>
                        <a:gs pos="0">
                          <a:srgbClr val="161616"/>
                        </a:gs>
                        <a:gs pos="100000">
                          <a:srgbClr val="161616"/>
                        </a:gs>
                      </a:gsLst>
                      <a:lin ang="5400000" scaled="0"/>
                    </a:gradFill>
                    <a:latin typeface="+mn-lt"/>
                    <a:ea typeface="Segoe UI" pitchFamily="34" charset="0"/>
                    <a:cs typeface="Segoe UI" pitchFamily="34" charset="0"/>
                  </a:rPr>
                  <a:t>R:0 G:188 B:242</a:t>
                </a:r>
              </a:p>
            </p:txBody>
          </p:sp>
          <p:sp>
            <p:nvSpPr>
              <p:cNvPr id="42" name="Rectangle 41"/>
              <p:cNvSpPr/>
              <p:nvPr userDrawn="1"/>
            </p:nvSpPr>
            <p:spPr bwMode="auto">
              <a:xfrm>
                <a:off x="3413144" y="4543426"/>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Orange</a:t>
                </a:r>
              </a:p>
              <a:p>
                <a:pPr marL="0" algn="l" defTabSz="932293" rtl="0" eaLnBrk="1" fontAlgn="base" latinLnBrk="0" hangingPunct="1">
                  <a:lnSpc>
                    <a:spcPct val="100000"/>
                  </a:lnSpc>
                  <a:spcBef>
                    <a:spcPct val="0"/>
                  </a:spcBef>
                  <a:spcAft>
                    <a:spcPct val="0"/>
                  </a:spcAft>
                </a:pPr>
                <a:r>
                  <a:rPr lang="en-US" sz="500" kern="1200" dirty="0">
                    <a:gradFill>
                      <a:gsLst>
                        <a:gs pos="2092">
                          <a:srgbClr val="F8F8F8"/>
                        </a:gs>
                        <a:gs pos="10042">
                          <a:srgbClr val="F8F8F8"/>
                        </a:gs>
                      </a:gsLst>
                      <a:lin ang="5400000" scaled="0"/>
                    </a:gradFill>
                    <a:latin typeface="+mn-lt"/>
                    <a:ea typeface="Segoe UI" pitchFamily="34" charset="0"/>
                    <a:cs typeface="Segoe UI" pitchFamily="34" charset="0"/>
                  </a:rPr>
                  <a:t>R:80 G:80 B:80</a:t>
                </a:r>
              </a:p>
            </p:txBody>
          </p:sp>
          <p:sp>
            <p:nvSpPr>
              <p:cNvPr id="43" name="Rectangle 42"/>
              <p:cNvSpPr/>
              <p:nvPr userDrawn="1"/>
            </p:nvSpPr>
            <p:spPr bwMode="auto">
              <a:xfrm>
                <a:off x="2498744" y="4882896"/>
                <a:ext cx="869930" cy="28976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dirty="0">
                    <a:gradFill>
                      <a:gsLst>
                        <a:gs pos="37168">
                          <a:srgbClr val="292929"/>
                        </a:gs>
                        <a:gs pos="72000">
                          <a:srgbClr val="292929"/>
                        </a:gs>
                      </a:gsLst>
                      <a:lin ang="5400000" scaled="0"/>
                    </a:gradFill>
                    <a:latin typeface="+mn-lt"/>
                    <a:ea typeface="Segoe UI" pitchFamily="34" charset="0"/>
                    <a:cs typeface="Segoe UI" pitchFamily="34" charset="0"/>
                  </a:rPr>
                  <a:t>Yellow</a:t>
                </a:r>
              </a:p>
              <a:p>
                <a:pPr marL="0" algn="l" defTabSz="932293" rtl="0" eaLnBrk="1" fontAlgn="base" latinLnBrk="0" hangingPunct="1">
                  <a:lnSpc>
                    <a:spcPct val="100000"/>
                  </a:lnSpc>
                  <a:spcBef>
                    <a:spcPct val="0"/>
                  </a:spcBef>
                  <a:spcAft>
                    <a:spcPct val="0"/>
                  </a:spcAft>
                </a:pPr>
                <a:r>
                  <a:rPr lang="en-US" sz="500" kern="1200" dirty="0">
                    <a:gradFill>
                      <a:gsLst>
                        <a:gs pos="37168">
                          <a:srgbClr val="292929"/>
                        </a:gs>
                        <a:gs pos="72000">
                          <a:srgbClr val="292929"/>
                        </a:gs>
                      </a:gsLst>
                      <a:lin ang="5400000" scaled="0"/>
                    </a:gradFill>
                    <a:latin typeface="+mn-lt"/>
                    <a:ea typeface="Segoe UI" pitchFamily="34" charset="0"/>
                    <a:cs typeface="Segoe UI" pitchFamily="34" charset="0"/>
                  </a:rPr>
                  <a:t>R:255 G:185 B:0</a:t>
                </a:r>
              </a:p>
            </p:txBody>
          </p:sp>
          <p:sp>
            <p:nvSpPr>
              <p:cNvPr id="44" name="Rectangle 43"/>
              <p:cNvSpPr/>
              <p:nvPr userDrawn="1"/>
            </p:nvSpPr>
            <p:spPr bwMode="auto">
              <a:xfrm>
                <a:off x="3413144" y="4882895"/>
                <a:ext cx="869930" cy="289766"/>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dirty="0">
                    <a:gradFill>
                      <a:gsLst>
                        <a:gs pos="37168">
                          <a:srgbClr val="292929"/>
                        </a:gs>
                        <a:gs pos="72000">
                          <a:srgbClr val="292929"/>
                        </a:gs>
                      </a:gsLst>
                      <a:lin ang="5400000" scaled="0"/>
                    </a:gradFill>
                    <a:latin typeface="+mn-lt"/>
                    <a:ea typeface="Segoe UI" pitchFamily="34" charset="0"/>
                    <a:cs typeface="Segoe UI" pitchFamily="34" charset="0"/>
                  </a:rPr>
                  <a:t>Light Orange</a:t>
                </a:r>
              </a:p>
              <a:p>
                <a:pPr marL="0" algn="l" defTabSz="932293" rtl="0" eaLnBrk="1" fontAlgn="base" latinLnBrk="0" hangingPunct="1">
                  <a:lnSpc>
                    <a:spcPct val="100000"/>
                  </a:lnSpc>
                  <a:spcBef>
                    <a:spcPct val="0"/>
                  </a:spcBef>
                  <a:spcAft>
                    <a:spcPct val="0"/>
                  </a:spcAft>
                </a:pPr>
                <a:r>
                  <a:rPr lang="en-US" sz="500" kern="1200" dirty="0">
                    <a:gradFill>
                      <a:gsLst>
                        <a:gs pos="37168">
                          <a:srgbClr val="292929"/>
                        </a:gs>
                        <a:gs pos="72000">
                          <a:srgbClr val="292929"/>
                        </a:gs>
                      </a:gsLst>
                      <a:lin ang="5400000" scaled="0"/>
                    </a:gradFill>
                    <a:latin typeface="+mn-lt"/>
                    <a:ea typeface="Segoe UI" pitchFamily="34" charset="0"/>
                    <a:cs typeface="Segoe UI" pitchFamily="34" charset="0"/>
                  </a:rPr>
                  <a:t>R:255 G:140 B:0</a:t>
                </a:r>
              </a:p>
            </p:txBody>
          </p:sp>
          <p:sp>
            <p:nvSpPr>
              <p:cNvPr id="45" name="Rectangle 44"/>
              <p:cNvSpPr/>
              <p:nvPr userDrawn="1"/>
            </p:nvSpPr>
            <p:spPr bwMode="auto">
              <a:xfrm>
                <a:off x="1584344" y="4882896"/>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dirty="0">
                    <a:gradFill>
                      <a:gsLst>
                        <a:gs pos="37168">
                          <a:srgbClr val="292929"/>
                        </a:gs>
                        <a:gs pos="72000">
                          <a:srgbClr val="292929"/>
                        </a:gs>
                      </a:gsLst>
                      <a:lin ang="5400000" scaled="0"/>
                    </a:gradFill>
                    <a:latin typeface="+mn-lt"/>
                    <a:ea typeface="Segoe UI" pitchFamily="34" charset="0"/>
                    <a:cs typeface="Segoe UI" pitchFamily="34" charset="0"/>
                  </a:rPr>
                  <a:t>Gray</a:t>
                </a:r>
              </a:p>
              <a:p>
                <a:pPr algn="l" defTabSz="932293" fontAlgn="base">
                  <a:lnSpc>
                    <a:spcPct val="100000"/>
                  </a:lnSpc>
                  <a:spcBef>
                    <a:spcPct val="0"/>
                  </a:spcBef>
                  <a:spcAft>
                    <a:spcPct val="0"/>
                  </a:spcAft>
                </a:pPr>
                <a:r>
                  <a:rPr lang="en-US" sz="500" dirty="0">
                    <a:gradFill>
                      <a:gsLst>
                        <a:gs pos="37168">
                          <a:srgbClr val="292929"/>
                        </a:gs>
                        <a:gs pos="72000">
                          <a:srgbClr val="292929"/>
                        </a:gs>
                      </a:gsLst>
                      <a:lin ang="5400000" scaled="0"/>
                    </a:gradFill>
                    <a:ea typeface="Segoe UI" pitchFamily="34" charset="0"/>
                    <a:cs typeface="Segoe UI" pitchFamily="34" charset="0"/>
                  </a:rPr>
                  <a:t>R:</a:t>
                </a:r>
                <a:r>
                  <a:rPr lang="en-US" sz="500" baseline="0" dirty="0">
                    <a:gradFill>
                      <a:gsLst>
                        <a:gs pos="37168">
                          <a:srgbClr val="292929"/>
                        </a:gs>
                        <a:gs pos="72000">
                          <a:srgbClr val="292929"/>
                        </a:gs>
                      </a:gsLst>
                      <a:lin ang="5400000" scaled="0"/>
                    </a:gradFill>
                    <a:ea typeface="Segoe UI" pitchFamily="34" charset="0"/>
                    <a:cs typeface="Segoe UI" pitchFamily="34" charset="0"/>
                  </a:rPr>
                  <a:t>210 G:210 B:210</a:t>
                </a:r>
                <a:endParaRPr lang="en-US" sz="500" dirty="0">
                  <a:gradFill>
                    <a:gsLst>
                      <a:gs pos="37168">
                        <a:srgbClr val="292929"/>
                      </a:gs>
                      <a:gs pos="72000">
                        <a:srgbClr val="292929"/>
                      </a:gs>
                    </a:gsLst>
                    <a:lin ang="5400000" scaled="0"/>
                  </a:gradFill>
                  <a:ea typeface="Segoe UI" pitchFamily="34" charset="0"/>
                  <a:cs typeface="Segoe UI" pitchFamily="34" charset="0"/>
                </a:endParaRPr>
              </a:p>
            </p:txBody>
          </p:sp>
        </p:grpSp>
        <p:sp>
          <p:nvSpPr>
            <p:cNvPr id="28" name="TextBox 27"/>
            <p:cNvSpPr txBox="1"/>
            <p:nvPr userDrawn="1"/>
          </p:nvSpPr>
          <p:spPr>
            <a:xfrm rot="5400000">
              <a:off x="12979639" y="256928"/>
              <a:ext cx="860293" cy="329645"/>
            </a:xfrm>
            <a:prstGeom prst="rect">
              <a:avLst/>
            </a:prstGeom>
            <a:noFill/>
          </p:spPr>
          <p:txBody>
            <a:bodyPr wrap="none" lIns="0" tIns="91440" rIns="182880" bIns="91440" rtlCol="0">
              <a:spAutoFit/>
            </a:bodyPr>
            <a:lstStyle/>
            <a:p>
              <a:pPr marL="0" algn="l" defTabSz="932563" rtl="0" eaLnBrk="1" latinLnBrk="0" hangingPunct="1">
                <a:lnSpc>
                  <a:spcPct val="90000"/>
                </a:lnSpc>
                <a:spcAft>
                  <a:spcPts val="600"/>
                </a:spcAft>
              </a:pPr>
              <a:r>
                <a:rPr lang="en-US" sz="1000" kern="1200" dirty="0">
                  <a:gradFill>
                    <a:gsLst>
                      <a:gs pos="82301">
                        <a:srgbClr val="292929"/>
                      </a:gs>
                      <a:gs pos="62000">
                        <a:srgbClr val="292929"/>
                      </a:gs>
                    </a:gsLst>
                    <a:lin ang="5400000" scaled="0"/>
                  </a:gradFill>
                  <a:latin typeface="+mn-lt"/>
                  <a:ea typeface="+mn-ea"/>
                  <a:cs typeface="+mn-cs"/>
                </a:rPr>
                <a:t>Main colors</a:t>
              </a:r>
            </a:p>
          </p:txBody>
        </p:sp>
        <p:sp>
          <p:nvSpPr>
            <p:cNvPr id="32" name="TextBox 31"/>
            <p:cNvSpPr txBox="1"/>
            <p:nvPr userDrawn="1"/>
          </p:nvSpPr>
          <p:spPr>
            <a:xfrm rot="5400000">
              <a:off x="11715628" y="4227340"/>
              <a:ext cx="2709380" cy="329645"/>
            </a:xfrm>
            <a:prstGeom prst="rect">
              <a:avLst/>
            </a:prstGeom>
            <a:noFill/>
          </p:spPr>
          <p:txBody>
            <a:bodyPr wrap="none" lIns="0" tIns="91440" rIns="182880" bIns="91440" rtlCol="0">
              <a:spAutoFit/>
            </a:bodyPr>
            <a:lstStyle/>
            <a:p>
              <a:pPr marL="0" algn="l" defTabSz="932563" rtl="0" eaLnBrk="1" latinLnBrk="0" hangingPunct="1">
                <a:lnSpc>
                  <a:spcPct val="90000"/>
                </a:lnSpc>
                <a:spcAft>
                  <a:spcPts val="600"/>
                </a:spcAft>
              </a:pPr>
              <a:r>
                <a:rPr lang="en-US" sz="1000" kern="1200" dirty="0">
                  <a:gradFill>
                    <a:gsLst>
                      <a:gs pos="82301">
                        <a:srgbClr val="292929"/>
                      </a:gs>
                      <a:gs pos="62000">
                        <a:srgbClr val="292929"/>
                      </a:gs>
                    </a:gsLst>
                    <a:lin ang="5400000" scaled="0"/>
                  </a:gradFill>
                  <a:latin typeface="+mn-lt"/>
                  <a:ea typeface="+mn-ea"/>
                  <a:cs typeface="+mn-cs"/>
                </a:rPr>
                <a:t>Secondary colors (use only when necessary)</a:t>
              </a:r>
            </a:p>
          </p:txBody>
        </p:sp>
        <p:sp>
          <p:nvSpPr>
            <p:cNvPr id="22" name="Rectangle 21"/>
            <p:cNvSpPr/>
            <p:nvPr userDrawn="1"/>
          </p:nvSpPr>
          <p:spPr bwMode="auto">
            <a:xfrm rot="5400000">
              <a:off x="12328888" y="5187119"/>
              <a:ext cx="869930" cy="289766"/>
            </a:xfrm>
            <a:prstGeom prst="rect">
              <a:avLst/>
            </a:prstGeom>
            <a:solidFill>
              <a:srgbClr val="A8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Dark Red</a:t>
              </a:r>
            </a:p>
            <a:p>
              <a:pPr algn="l" defTabSz="932293"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a:t>
              </a:r>
              <a:r>
                <a:rPr lang="en-US" sz="500" baseline="0" dirty="0">
                  <a:gradFill>
                    <a:gsLst>
                      <a:gs pos="2092">
                        <a:srgbClr val="F8F8F8"/>
                      </a:gs>
                      <a:gs pos="10042">
                        <a:srgbClr val="F8F8F8"/>
                      </a:gs>
                    </a:gsLst>
                    <a:lin ang="5400000" scaled="0"/>
                  </a:gradFill>
                  <a:ea typeface="Segoe UI" pitchFamily="34" charset="0"/>
                  <a:cs typeface="Segoe UI" pitchFamily="34" charset="0"/>
                </a:rPr>
                <a:t>168 G:0 B:0</a:t>
              </a:r>
              <a:endParaRPr lang="en-US" sz="500" dirty="0">
                <a:gradFill>
                  <a:gsLst>
                    <a:gs pos="2092">
                      <a:srgbClr val="F8F8F8"/>
                    </a:gs>
                    <a:gs pos="10042">
                      <a:srgbClr val="F8F8F8"/>
                    </a:gs>
                  </a:gsLst>
                  <a:lin ang="5400000" scaled="0"/>
                </a:gradFill>
                <a:ea typeface="Segoe UI" pitchFamily="34" charset="0"/>
                <a:cs typeface="Segoe UI" pitchFamily="34" charset="0"/>
              </a:endParaRPr>
            </a:p>
          </p:txBody>
        </p:sp>
        <p:sp>
          <p:nvSpPr>
            <p:cNvPr id="23" name="Rectangle 22"/>
            <p:cNvSpPr/>
            <p:nvPr userDrawn="1"/>
          </p:nvSpPr>
          <p:spPr bwMode="auto">
            <a:xfrm rot="5400000">
              <a:off x="12328888" y="3353997"/>
              <a:ext cx="869930" cy="289766"/>
            </a:xfrm>
            <a:prstGeom prst="rect">
              <a:avLst/>
            </a:prstGeom>
            <a:solidFill>
              <a:srgbClr val="E6E6E6"/>
            </a:solidFill>
            <a:ln w="3175">
              <a:solidFill>
                <a:srgbClr val="16161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dirty="0">
                  <a:gradFill>
                    <a:gsLst>
                      <a:gs pos="37168">
                        <a:srgbClr val="161616"/>
                      </a:gs>
                      <a:gs pos="72000">
                        <a:srgbClr val="161616"/>
                      </a:gs>
                    </a:gsLst>
                    <a:lin ang="5400000" scaled="0"/>
                  </a:gradFill>
                  <a:latin typeface="+mn-lt"/>
                  <a:ea typeface="Segoe UI" pitchFamily="34" charset="0"/>
                  <a:cs typeface="Segoe UI" pitchFamily="34" charset="0"/>
                </a:rPr>
                <a:t>Light Gray</a:t>
              </a:r>
            </a:p>
            <a:p>
              <a:pPr algn="l" defTabSz="932293" fontAlgn="base">
                <a:lnSpc>
                  <a:spcPct val="100000"/>
                </a:lnSpc>
                <a:spcBef>
                  <a:spcPct val="0"/>
                </a:spcBef>
                <a:spcAft>
                  <a:spcPct val="0"/>
                </a:spcAft>
              </a:pPr>
              <a:r>
                <a:rPr lang="en-US" sz="500" dirty="0">
                  <a:gradFill>
                    <a:gsLst>
                      <a:gs pos="37168">
                        <a:srgbClr val="161616"/>
                      </a:gs>
                      <a:gs pos="72000">
                        <a:srgbClr val="161616"/>
                      </a:gs>
                    </a:gsLst>
                    <a:lin ang="5400000" scaled="0"/>
                  </a:gradFill>
                  <a:ea typeface="Segoe UI" pitchFamily="34" charset="0"/>
                  <a:cs typeface="Segoe UI" pitchFamily="34" charset="0"/>
                </a:rPr>
                <a:t>R:16</a:t>
              </a:r>
              <a:r>
                <a:rPr lang="en-US" sz="500" baseline="0" dirty="0">
                  <a:gradFill>
                    <a:gsLst>
                      <a:gs pos="37168">
                        <a:srgbClr val="161616"/>
                      </a:gs>
                      <a:gs pos="72000">
                        <a:srgbClr val="161616"/>
                      </a:gs>
                    </a:gsLst>
                    <a:lin ang="5400000" scaled="0"/>
                  </a:gradFill>
                  <a:ea typeface="Segoe UI" pitchFamily="34" charset="0"/>
                  <a:cs typeface="Segoe UI" pitchFamily="34" charset="0"/>
                </a:rPr>
                <a:t> G:124 B:16</a:t>
              </a:r>
              <a:endParaRPr lang="en-US" sz="500" dirty="0">
                <a:gradFill>
                  <a:gsLst>
                    <a:gs pos="37168">
                      <a:srgbClr val="161616"/>
                    </a:gs>
                    <a:gs pos="72000">
                      <a:srgbClr val="161616"/>
                    </a:gs>
                  </a:gsLst>
                  <a:lin ang="5400000" scaled="0"/>
                </a:gradFill>
                <a:ea typeface="Segoe UI" pitchFamily="34" charset="0"/>
                <a:cs typeface="Segoe UI" pitchFamily="34" charset="0"/>
              </a:endParaRPr>
            </a:p>
          </p:txBody>
        </p:sp>
        <p:sp>
          <p:nvSpPr>
            <p:cNvPr id="24" name="Rectangle 23"/>
            <p:cNvSpPr/>
            <p:nvPr userDrawn="1"/>
          </p:nvSpPr>
          <p:spPr bwMode="auto">
            <a:xfrm rot="5400000">
              <a:off x="12328888" y="4272719"/>
              <a:ext cx="869930" cy="289766"/>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Dark Blue</a:t>
              </a:r>
            </a:p>
            <a:p>
              <a:pPr algn="l" defTabSz="932293"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0 G32 B80</a:t>
              </a:r>
            </a:p>
          </p:txBody>
        </p:sp>
      </p:grpSp>
    </p:spTree>
    <p:extLst>
      <p:ext uri="{BB962C8B-B14F-4D97-AF65-F5344CB8AC3E}">
        <p14:creationId xmlns:p14="http://schemas.microsoft.com/office/powerpoint/2010/main" val="1238502174"/>
      </p:ext>
    </p:extLst>
  </p:cSld>
  <p:clrMap bg1="lt1" tx1="dk1" bg2="lt2" tx2="dk2" accent1="accent1" accent2="accent2" accent3="accent3" accent4="accent4" accent5="accent5" accent6="accent6" hlink="hlink" folHlink="folHlink"/>
  <p:sldLayoutIdLst>
    <p:sldLayoutId id="2147484349" r:id="rId1"/>
    <p:sldLayoutId id="2147484350" r:id="rId2"/>
    <p:sldLayoutId id="2147484351" r:id="rId3"/>
    <p:sldLayoutId id="2147484352" r:id="rId4"/>
    <p:sldLayoutId id="2147484353" r:id="rId5"/>
    <p:sldLayoutId id="2147484354" r:id="rId6"/>
    <p:sldLayoutId id="2147484355" r:id="rId7"/>
    <p:sldLayoutId id="2147484356" r:id="rId8"/>
    <p:sldLayoutId id="2147484357" r:id="rId9"/>
    <p:sldLayoutId id="2147484358" r:id="rId10"/>
    <p:sldLayoutId id="2147484359" r:id="rId11"/>
    <p:sldLayoutId id="2147484360" r:id="rId12"/>
    <p:sldLayoutId id="2147484361" r:id="rId13"/>
    <p:sldLayoutId id="2147484362" r:id="rId14"/>
    <p:sldLayoutId id="2147484363" r:id="rId15"/>
    <p:sldLayoutId id="2147484364" r:id="rId16"/>
    <p:sldLayoutId id="2147484365" r:id="rId17"/>
    <p:sldLayoutId id="2147484366" r:id="rId18"/>
    <p:sldLayoutId id="2147484367" r:id="rId19"/>
    <p:sldLayoutId id="2147484368" r:id="rId20"/>
    <p:sldLayoutId id="2147484369" r:id="rId21"/>
    <p:sldLayoutId id="2147484370" r:id="rId22"/>
    <p:sldLayoutId id="2147484371" r:id="rId23"/>
    <p:sldLayoutId id="2147484372" r:id="rId24"/>
    <p:sldLayoutId id="2147484373" r:id="rId25"/>
    <p:sldLayoutId id="2147484374" r:id="rId26"/>
    <p:sldLayoutId id="2147484375" r:id="rId27"/>
    <p:sldLayoutId id="2147484376" r:id="rId28"/>
    <p:sldLayoutId id="2147484377" r:id="rId29"/>
    <p:sldLayoutId id="2147484378" r:id="rId30"/>
    <p:sldLayoutId id="2147484379" r:id="rId31"/>
    <p:sldLayoutId id="2147484380" r:id="rId32"/>
    <p:sldLayoutId id="2147484381" r:id="rId33"/>
    <p:sldLayoutId id="2147484382" r:id="rId34"/>
    <p:sldLayoutId id="2147484383" r:id="rId35"/>
    <p:sldLayoutId id="2147484384" r:id="rId36"/>
    <p:sldLayoutId id="2147484385" r:id="rId37"/>
    <p:sldLayoutId id="2147484386" r:id="rId38"/>
    <p:sldLayoutId id="2147484387" r:id="rId39"/>
    <p:sldLayoutId id="2147484388" r:id="rId40"/>
  </p:sldLayoutIdLst>
  <p:transition>
    <p:fade/>
  </p:transition>
  <p:txStyles>
    <p:titleStyle>
      <a:lvl1pPr algn="l" defTabSz="932563" rtl="0" eaLnBrk="1" latinLnBrk="0" hangingPunct="1">
        <a:lnSpc>
          <a:spcPct val="90000"/>
        </a:lnSpc>
        <a:spcBef>
          <a:spcPct val="0"/>
        </a:spcBef>
        <a:buNone/>
        <a:defRPr lang="en-US" sz="47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34" marR="0" indent="-342834" algn="l" defTabSz="932563" rtl="0" eaLnBrk="1" fontAlgn="auto" latinLnBrk="0" hangingPunct="1">
        <a:lnSpc>
          <a:spcPct val="90000"/>
        </a:lnSpc>
        <a:spcBef>
          <a:spcPct val="20000"/>
        </a:spcBef>
        <a:spcAft>
          <a:spcPts val="0"/>
        </a:spcAft>
        <a:buClrTx/>
        <a:buSzPct val="90000"/>
        <a:buFont typeface="Arial" pitchFamily="34" charset="0"/>
        <a:buChar char="•"/>
        <a:tabLst/>
        <a:defRPr sz="3999" kern="1200" spc="0" baseline="0">
          <a:gradFill>
            <a:gsLst>
              <a:gs pos="1250">
                <a:schemeClr val="tx1"/>
              </a:gs>
              <a:gs pos="100000">
                <a:schemeClr val="tx1"/>
              </a:gs>
            </a:gsLst>
            <a:lin ang="5400000" scaled="0"/>
          </a:gradFill>
          <a:latin typeface="+mj-lt"/>
          <a:ea typeface="+mn-ea"/>
          <a:cs typeface="+mn-cs"/>
        </a:defRPr>
      </a:lvl1pPr>
      <a:lvl2pPr marL="584088" marR="0" indent="-241253" algn="l" defTabSz="932563"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04" y="295275"/>
            <a:ext cx="11888047" cy="91757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4606" y="1212851"/>
            <a:ext cx="11885681"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3" name="Group 2"/>
          <p:cNvGrpSpPr/>
          <p:nvPr userDrawn="1"/>
        </p:nvGrpSpPr>
        <p:grpSpPr>
          <a:xfrm>
            <a:off x="12617354" y="-8395"/>
            <a:ext cx="955519" cy="5775363"/>
            <a:chOff x="12618967" y="-8396"/>
            <a:chExt cx="955641" cy="5775363"/>
          </a:xfrm>
        </p:grpSpPr>
        <p:grpSp>
          <p:nvGrpSpPr>
            <p:cNvPr id="26" name="Group 25"/>
            <p:cNvGrpSpPr/>
            <p:nvPr userDrawn="1"/>
          </p:nvGrpSpPr>
          <p:grpSpPr>
            <a:xfrm rot="5400000">
              <a:off x="11584220" y="1040742"/>
              <a:ext cx="2698730" cy="629236"/>
              <a:chOff x="1584344" y="4543426"/>
              <a:chExt cx="2698730" cy="629236"/>
            </a:xfrm>
          </p:grpSpPr>
          <p:sp>
            <p:nvSpPr>
              <p:cNvPr id="37" name="Rectangle 36"/>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32293" fontAlgn="base">
                  <a:lnSpc>
                    <a:spcPct val="100000"/>
                  </a:lnSpc>
                  <a:spcBef>
                    <a:spcPct val="0"/>
                  </a:spcBef>
                  <a:spcAft>
                    <a:spcPct val="0"/>
                  </a:spcAft>
                </a:pPr>
                <a:r>
                  <a:rPr lang="en-US" sz="500" b="1" kern="1200" baseline="0" err="1">
                    <a:gradFill>
                      <a:gsLst>
                        <a:gs pos="0">
                          <a:srgbClr val="FFFFFF"/>
                        </a:gs>
                        <a:gs pos="100000">
                          <a:srgbClr val="FFFFFF"/>
                        </a:gs>
                      </a:gsLst>
                      <a:lin ang="5400000" scaled="0"/>
                    </a:gradFill>
                    <a:latin typeface="+mn-lt"/>
                    <a:ea typeface="Segoe UI" pitchFamily="34" charset="0"/>
                    <a:cs typeface="Segoe UI" pitchFamily="34" charset="0"/>
                  </a:rPr>
                  <a:t>Oragen</a:t>
                </a:r>
                <a:endParaRPr lang="en-US" sz="500" b="1" kern="1200" baseline="0">
                  <a:gradFill>
                    <a:gsLst>
                      <a:gs pos="0">
                        <a:srgbClr val="FFFFFF"/>
                      </a:gs>
                      <a:gs pos="100000">
                        <a:srgbClr val="FFFFFF"/>
                      </a:gs>
                    </a:gsLst>
                    <a:lin ang="5400000" scaled="0"/>
                  </a:gradFill>
                  <a:latin typeface="+mn-lt"/>
                  <a:ea typeface="Segoe UI" pitchFamily="34" charset="0"/>
                  <a:cs typeface="Segoe UI" pitchFamily="34" charset="0"/>
                </a:endParaRPr>
              </a:p>
              <a:p>
                <a:pPr algn="l" defTabSz="932293" fontAlgn="base">
                  <a:lnSpc>
                    <a:spcPct val="100000"/>
                  </a:lnSpc>
                  <a:spcBef>
                    <a:spcPct val="0"/>
                  </a:spcBef>
                  <a:spcAft>
                    <a:spcPct val="0"/>
                  </a:spcAft>
                </a:pPr>
                <a:r>
                  <a:rPr lang="en-US" sz="500">
                    <a:gradFill>
                      <a:gsLst>
                        <a:gs pos="0">
                          <a:srgbClr val="FFFFFF"/>
                        </a:gs>
                        <a:gs pos="100000">
                          <a:srgbClr val="FFFFFF"/>
                        </a:gs>
                      </a:gsLst>
                      <a:lin ang="5400000" scaled="0"/>
                    </a:gradFill>
                    <a:ea typeface="Segoe UI" pitchFamily="34" charset="0"/>
                    <a:cs typeface="Segoe UI" pitchFamily="34" charset="0"/>
                  </a:rPr>
                  <a:t>R:</a:t>
                </a:r>
                <a:r>
                  <a:rPr lang="en-US" sz="500" baseline="0">
                    <a:gradFill>
                      <a:gsLst>
                        <a:gs pos="0">
                          <a:srgbClr val="FFFFFF"/>
                        </a:gs>
                        <a:gs pos="100000">
                          <a:srgbClr val="FFFFFF"/>
                        </a:gs>
                      </a:gsLst>
                      <a:lin ang="5400000" scaled="0"/>
                    </a:gradFill>
                    <a:ea typeface="Segoe UI" pitchFamily="34" charset="0"/>
                    <a:cs typeface="Segoe UI" pitchFamily="34" charset="0"/>
                  </a:rPr>
                  <a:t>216 G:59 B:1</a:t>
                </a:r>
                <a:endParaRPr lang="en-US" sz="500">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40"/>
              <p:cNvSpPr/>
              <p:nvPr userDrawn="1"/>
            </p:nvSpPr>
            <p:spPr bwMode="auto">
              <a:xfrm>
                <a:off x="2505456" y="4543427"/>
                <a:ext cx="869930" cy="28976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32293" fontAlgn="base">
                  <a:lnSpc>
                    <a:spcPct val="100000"/>
                  </a:lnSpc>
                  <a:spcBef>
                    <a:spcPct val="0"/>
                  </a:spcBef>
                  <a:spcAft>
                    <a:spcPct val="0"/>
                  </a:spcAft>
                </a:pPr>
                <a:r>
                  <a:rPr lang="en-US" sz="500" b="1" kern="1200" baseline="0">
                    <a:gradFill>
                      <a:gsLst>
                        <a:gs pos="0">
                          <a:srgbClr val="FFFFFF"/>
                        </a:gs>
                        <a:gs pos="100000">
                          <a:srgbClr val="FFFFFF"/>
                        </a:gs>
                      </a:gsLst>
                      <a:lin ang="5400000" scaled="0"/>
                    </a:gradFill>
                    <a:latin typeface="+mn-lt"/>
                    <a:ea typeface="Segoe UI" pitchFamily="34" charset="0"/>
                    <a:cs typeface="Segoe UI" pitchFamily="34" charset="0"/>
                  </a:rPr>
                  <a:t>Blue</a:t>
                </a:r>
              </a:p>
              <a:p>
                <a:pPr marL="0" algn="l" defTabSz="932293" rtl="0" eaLnBrk="1" fontAlgn="base" latinLnBrk="0" hangingPunct="1">
                  <a:lnSpc>
                    <a:spcPct val="100000"/>
                  </a:lnSpc>
                  <a:spcBef>
                    <a:spcPct val="0"/>
                  </a:spcBef>
                  <a:spcAft>
                    <a:spcPct val="0"/>
                  </a:spcAft>
                </a:pPr>
                <a:r>
                  <a:rPr lang="en-US" sz="500" kern="1200">
                    <a:gradFill>
                      <a:gsLst>
                        <a:gs pos="2092">
                          <a:srgbClr val="F8F8F8"/>
                        </a:gs>
                        <a:gs pos="10042">
                          <a:srgbClr val="F8F8F8"/>
                        </a:gs>
                      </a:gsLst>
                      <a:lin ang="5400000" scaled="0"/>
                    </a:gradFill>
                    <a:latin typeface="+mn-lt"/>
                    <a:ea typeface="Segoe UI" pitchFamily="34" charset="0"/>
                    <a:cs typeface="Segoe UI" pitchFamily="34" charset="0"/>
                  </a:rPr>
                  <a:t>R:0 G:120 B:215</a:t>
                </a:r>
              </a:p>
            </p:txBody>
          </p:sp>
          <p:sp>
            <p:nvSpPr>
              <p:cNvPr id="42" name="Rectangle 41"/>
              <p:cNvSpPr/>
              <p:nvPr userDrawn="1"/>
            </p:nvSpPr>
            <p:spPr bwMode="auto">
              <a:xfrm>
                <a:off x="3413144" y="4543426"/>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a:gradFill>
                      <a:gsLst>
                        <a:gs pos="0">
                          <a:srgbClr val="FFFFFF"/>
                        </a:gs>
                        <a:gs pos="100000">
                          <a:srgbClr val="FFFFFF"/>
                        </a:gs>
                      </a:gsLst>
                      <a:lin ang="5400000" scaled="0"/>
                    </a:gradFill>
                    <a:latin typeface="+mn-lt"/>
                    <a:ea typeface="Segoe UI" pitchFamily="34" charset="0"/>
                    <a:cs typeface="Segoe UI" pitchFamily="34" charset="0"/>
                  </a:rPr>
                  <a:t>Dark Gray</a:t>
                </a:r>
              </a:p>
              <a:p>
                <a:pPr marL="0" algn="l" defTabSz="932293" rtl="0" eaLnBrk="1" fontAlgn="base" latinLnBrk="0" hangingPunct="1">
                  <a:lnSpc>
                    <a:spcPct val="100000"/>
                  </a:lnSpc>
                  <a:spcBef>
                    <a:spcPct val="0"/>
                  </a:spcBef>
                  <a:spcAft>
                    <a:spcPct val="0"/>
                  </a:spcAft>
                </a:pPr>
                <a:r>
                  <a:rPr lang="en-US" sz="500" kern="1200">
                    <a:gradFill>
                      <a:gsLst>
                        <a:gs pos="2092">
                          <a:srgbClr val="F8F8F8"/>
                        </a:gs>
                        <a:gs pos="10042">
                          <a:srgbClr val="F8F8F8"/>
                        </a:gs>
                      </a:gsLst>
                      <a:lin ang="5400000" scaled="0"/>
                    </a:gradFill>
                    <a:latin typeface="+mn-lt"/>
                    <a:ea typeface="Segoe UI" pitchFamily="34" charset="0"/>
                    <a:cs typeface="Segoe UI" pitchFamily="34" charset="0"/>
                  </a:rPr>
                  <a:t>R:80 G:80 B:80</a:t>
                </a:r>
              </a:p>
            </p:txBody>
          </p:sp>
          <p:sp>
            <p:nvSpPr>
              <p:cNvPr id="43" name="Rectangle 42"/>
              <p:cNvSpPr/>
              <p:nvPr userDrawn="1"/>
            </p:nvSpPr>
            <p:spPr bwMode="auto">
              <a:xfrm>
                <a:off x="2498744" y="4882896"/>
                <a:ext cx="869930" cy="28976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a:gradFill>
                      <a:gsLst>
                        <a:gs pos="37168">
                          <a:srgbClr val="292929"/>
                        </a:gs>
                        <a:gs pos="72000">
                          <a:srgbClr val="292929"/>
                        </a:gs>
                      </a:gsLst>
                      <a:lin ang="5400000" scaled="0"/>
                    </a:gradFill>
                    <a:latin typeface="+mn-lt"/>
                    <a:ea typeface="Segoe UI" pitchFamily="34" charset="0"/>
                    <a:cs typeface="Segoe UI" pitchFamily="34" charset="0"/>
                  </a:rPr>
                  <a:t>Yellow</a:t>
                </a:r>
              </a:p>
              <a:p>
                <a:pPr marL="0" algn="l" defTabSz="932293" rtl="0" eaLnBrk="1" fontAlgn="base" latinLnBrk="0" hangingPunct="1">
                  <a:lnSpc>
                    <a:spcPct val="100000"/>
                  </a:lnSpc>
                  <a:spcBef>
                    <a:spcPct val="0"/>
                  </a:spcBef>
                  <a:spcAft>
                    <a:spcPct val="0"/>
                  </a:spcAft>
                </a:pPr>
                <a:r>
                  <a:rPr lang="en-US" sz="500" kern="1200">
                    <a:gradFill>
                      <a:gsLst>
                        <a:gs pos="37168">
                          <a:srgbClr val="292929"/>
                        </a:gs>
                        <a:gs pos="72000">
                          <a:srgbClr val="292929"/>
                        </a:gs>
                      </a:gsLst>
                      <a:lin ang="5400000" scaled="0"/>
                    </a:gradFill>
                    <a:latin typeface="+mn-lt"/>
                    <a:ea typeface="Segoe UI" pitchFamily="34" charset="0"/>
                    <a:cs typeface="Segoe UI" pitchFamily="34" charset="0"/>
                  </a:rPr>
                  <a:t>R:255 G:185 B:0</a:t>
                </a:r>
              </a:p>
            </p:txBody>
          </p:sp>
          <p:sp>
            <p:nvSpPr>
              <p:cNvPr id="44" name="Rectangle 43"/>
              <p:cNvSpPr/>
              <p:nvPr userDrawn="1"/>
            </p:nvSpPr>
            <p:spPr bwMode="auto">
              <a:xfrm>
                <a:off x="3413144" y="4882895"/>
                <a:ext cx="869930" cy="289766"/>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a:gradFill>
                      <a:gsLst>
                        <a:gs pos="37168">
                          <a:srgbClr val="292929"/>
                        </a:gs>
                        <a:gs pos="72000">
                          <a:srgbClr val="292929"/>
                        </a:gs>
                      </a:gsLst>
                      <a:lin ang="5400000" scaled="0"/>
                    </a:gradFill>
                    <a:latin typeface="+mn-lt"/>
                    <a:ea typeface="Segoe UI" pitchFamily="34" charset="0"/>
                    <a:cs typeface="Segoe UI" pitchFamily="34" charset="0"/>
                  </a:rPr>
                  <a:t>Light Orange</a:t>
                </a:r>
              </a:p>
              <a:p>
                <a:pPr marL="0" algn="l" defTabSz="932293" rtl="0" eaLnBrk="1" fontAlgn="base" latinLnBrk="0" hangingPunct="1">
                  <a:lnSpc>
                    <a:spcPct val="100000"/>
                  </a:lnSpc>
                  <a:spcBef>
                    <a:spcPct val="0"/>
                  </a:spcBef>
                  <a:spcAft>
                    <a:spcPct val="0"/>
                  </a:spcAft>
                </a:pPr>
                <a:r>
                  <a:rPr lang="en-US" sz="500" kern="1200">
                    <a:gradFill>
                      <a:gsLst>
                        <a:gs pos="37168">
                          <a:srgbClr val="292929"/>
                        </a:gs>
                        <a:gs pos="72000">
                          <a:srgbClr val="292929"/>
                        </a:gs>
                      </a:gsLst>
                      <a:lin ang="5400000" scaled="0"/>
                    </a:gradFill>
                    <a:latin typeface="+mn-lt"/>
                    <a:ea typeface="Segoe UI" pitchFamily="34" charset="0"/>
                    <a:cs typeface="Segoe UI" pitchFamily="34" charset="0"/>
                  </a:rPr>
                  <a:t>R:255 G:140 B:0</a:t>
                </a:r>
              </a:p>
            </p:txBody>
          </p:sp>
          <p:sp>
            <p:nvSpPr>
              <p:cNvPr id="45" name="Rectangle 44"/>
              <p:cNvSpPr/>
              <p:nvPr userDrawn="1"/>
            </p:nvSpPr>
            <p:spPr bwMode="auto">
              <a:xfrm>
                <a:off x="1584344" y="4882896"/>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a:gradFill>
                      <a:gsLst>
                        <a:gs pos="37168">
                          <a:srgbClr val="292929"/>
                        </a:gs>
                        <a:gs pos="72000">
                          <a:srgbClr val="292929"/>
                        </a:gs>
                      </a:gsLst>
                      <a:lin ang="5400000" scaled="0"/>
                    </a:gradFill>
                    <a:latin typeface="+mn-lt"/>
                    <a:ea typeface="Segoe UI" pitchFamily="34" charset="0"/>
                    <a:cs typeface="Segoe UI" pitchFamily="34" charset="0"/>
                  </a:rPr>
                  <a:t>Light Gray</a:t>
                </a:r>
              </a:p>
              <a:p>
                <a:pPr algn="l" defTabSz="932293" fontAlgn="base">
                  <a:lnSpc>
                    <a:spcPct val="100000"/>
                  </a:lnSpc>
                  <a:spcBef>
                    <a:spcPct val="0"/>
                  </a:spcBef>
                  <a:spcAft>
                    <a:spcPct val="0"/>
                  </a:spcAft>
                </a:pPr>
                <a:r>
                  <a:rPr lang="en-US" sz="500">
                    <a:gradFill>
                      <a:gsLst>
                        <a:gs pos="37168">
                          <a:srgbClr val="292929"/>
                        </a:gs>
                        <a:gs pos="72000">
                          <a:srgbClr val="292929"/>
                        </a:gs>
                      </a:gsLst>
                      <a:lin ang="5400000" scaled="0"/>
                    </a:gradFill>
                    <a:ea typeface="Segoe UI" pitchFamily="34" charset="0"/>
                    <a:cs typeface="Segoe UI" pitchFamily="34" charset="0"/>
                  </a:rPr>
                  <a:t>R:</a:t>
                </a:r>
                <a:r>
                  <a:rPr lang="en-US" sz="500" baseline="0">
                    <a:gradFill>
                      <a:gsLst>
                        <a:gs pos="37168">
                          <a:srgbClr val="292929"/>
                        </a:gs>
                        <a:gs pos="72000">
                          <a:srgbClr val="292929"/>
                        </a:gs>
                      </a:gsLst>
                      <a:lin ang="5400000" scaled="0"/>
                    </a:gradFill>
                    <a:ea typeface="Segoe UI" pitchFamily="34" charset="0"/>
                    <a:cs typeface="Segoe UI" pitchFamily="34" charset="0"/>
                  </a:rPr>
                  <a:t>210 G:210 B:210</a:t>
                </a:r>
                <a:endParaRPr lang="en-US" sz="500">
                  <a:gradFill>
                    <a:gsLst>
                      <a:gs pos="37168">
                        <a:srgbClr val="292929"/>
                      </a:gs>
                      <a:gs pos="72000">
                        <a:srgbClr val="292929"/>
                      </a:gs>
                    </a:gsLst>
                    <a:lin ang="5400000" scaled="0"/>
                  </a:gradFill>
                  <a:ea typeface="Segoe UI" pitchFamily="34" charset="0"/>
                  <a:cs typeface="Segoe UI" pitchFamily="34" charset="0"/>
                </a:endParaRPr>
              </a:p>
            </p:txBody>
          </p:sp>
        </p:grpSp>
        <p:sp>
          <p:nvSpPr>
            <p:cNvPr id="28" name="TextBox 27"/>
            <p:cNvSpPr txBox="1"/>
            <p:nvPr userDrawn="1"/>
          </p:nvSpPr>
          <p:spPr>
            <a:xfrm rot="5400000">
              <a:off x="12979639" y="256928"/>
              <a:ext cx="860293" cy="329645"/>
            </a:xfrm>
            <a:prstGeom prst="rect">
              <a:avLst/>
            </a:prstGeom>
            <a:noFill/>
          </p:spPr>
          <p:txBody>
            <a:bodyPr wrap="none" lIns="0" tIns="91440" rIns="182880" bIns="91440" rtlCol="0">
              <a:spAutoFit/>
            </a:bodyPr>
            <a:lstStyle/>
            <a:p>
              <a:pPr marL="0" algn="l" defTabSz="932563" rtl="0" eaLnBrk="1" latinLnBrk="0" hangingPunct="1">
                <a:lnSpc>
                  <a:spcPct val="90000"/>
                </a:lnSpc>
                <a:spcAft>
                  <a:spcPts val="600"/>
                </a:spcAft>
              </a:pPr>
              <a:r>
                <a:rPr lang="en-US" sz="1000" kern="1200">
                  <a:gradFill>
                    <a:gsLst>
                      <a:gs pos="82301">
                        <a:srgbClr val="292929"/>
                      </a:gs>
                      <a:gs pos="62000">
                        <a:srgbClr val="292929"/>
                      </a:gs>
                    </a:gsLst>
                    <a:lin ang="5400000" scaled="0"/>
                  </a:gradFill>
                  <a:latin typeface="+mn-lt"/>
                  <a:ea typeface="+mn-ea"/>
                  <a:cs typeface="+mn-cs"/>
                </a:rPr>
                <a:t>Main colors</a:t>
              </a:r>
            </a:p>
          </p:txBody>
        </p:sp>
        <p:sp>
          <p:nvSpPr>
            <p:cNvPr id="32" name="TextBox 31"/>
            <p:cNvSpPr txBox="1"/>
            <p:nvPr userDrawn="1"/>
          </p:nvSpPr>
          <p:spPr>
            <a:xfrm rot="5400000">
              <a:off x="11715628" y="4227340"/>
              <a:ext cx="2709380" cy="329645"/>
            </a:xfrm>
            <a:prstGeom prst="rect">
              <a:avLst/>
            </a:prstGeom>
            <a:noFill/>
          </p:spPr>
          <p:txBody>
            <a:bodyPr wrap="none" lIns="0" tIns="91440" rIns="182880" bIns="91440" rtlCol="0">
              <a:spAutoFit/>
            </a:bodyPr>
            <a:lstStyle/>
            <a:p>
              <a:pPr marL="0" algn="l" defTabSz="932563" rtl="0" eaLnBrk="1" latinLnBrk="0" hangingPunct="1">
                <a:lnSpc>
                  <a:spcPct val="90000"/>
                </a:lnSpc>
                <a:spcAft>
                  <a:spcPts val="600"/>
                </a:spcAft>
              </a:pPr>
              <a:r>
                <a:rPr lang="en-US" sz="1000" kern="1200">
                  <a:gradFill>
                    <a:gsLst>
                      <a:gs pos="82301">
                        <a:srgbClr val="292929"/>
                      </a:gs>
                      <a:gs pos="62000">
                        <a:srgbClr val="292929"/>
                      </a:gs>
                    </a:gsLst>
                    <a:lin ang="5400000" scaled="0"/>
                  </a:gradFill>
                  <a:latin typeface="+mn-lt"/>
                  <a:ea typeface="+mn-ea"/>
                  <a:cs typeface="+mn-cs"/>
                </a:rPr>
                <a:t>Secondary colors (use only when necessary)</a:t>
              </a:r>
            </a:p>
          </p:txBody>
        </p:sp>
        <p:sp>
          <p:nvSpPr>
            <p:cNvPr id="22" name="Rectangle 21"/>
            <p:cNvSpPr/>
            <p:nvPr userDrawn="1"/>
          </p:nvSpPr>
          <p:spPr bwMode="auto">
            <a:xfrm rot="5400000">
              <a:off x="12328888" y="5187119"/>
              <a:ext cx="869930" cy="289766"/>
            </a:xfrm>
            <a:prstGeom prst="rect">
              <a:avLst/>
            </a:prstGeom>
            <a:solidFill>
              <a:srgbClr val="A8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a:gradFill>
                    <a:gsLst>
                      <a:gs pos="0">
                        <a:srgbClr val="FFFFFF"/>
                      </a:gs>
                      <a:gs pos="100000">
                        <a:srgbClr val="FFFFFF"/>
                      </a:gs>
                    </a:gsLst>
                    <a:lin ang="5400000" scaled="0"/>
                  </a:gradFill>
                  <a:latin typeface="+mn-lt"/>
                  <a:ea typeface="Segoe UI" pitchFamily="34" charset="0"/>
                  <a:cs typeface="Segoe UI" pitchFamily="34" charset="0"/>
                </a:rPr>
                <a:t>Dark Red</a:t>
              </a:r>
            </a:p>
            <a:p>
              <a:pPr algn="l" defTabSz="932293" fontAlgn="base">
                <a:lnSpc>
                  <a:spcPct val="100000"/>
                </a:lnSpc>
                <a:spcBef>
                  <a:spcPct val="0"/>
                </a:spcBef>
                <a:spcAft>
                  <a:spcPct val="0"/>
                </a:spcAft>
              </a:pPr>
              <a:r>
                <a:rPr lang="en-US" sz="500">
                  <a:gradFill>
                    <a:gsLst>
                      <a:gs pos="2092">
                        <a:srgbClr val="F8F8F8"/>
                      </a:gs>
                      <a:gs pos="10042">
                        <a:srgbClr val="F8F8F8"/>
                      </a:gs>
                    </a:gsLst>
                    <a:lin ang="5400000" scaled="0"/>
                  </a:gradFill>
                  <a:ea typeface="Segoe UI" pitchFamily="34" charset="0"/>
                  <a:cs typeface="Segoe UI" pitchFamily="34" charset="0"/>
                </a:rPr>
                <a:t>R:</a:t>
              </a:r>
              <a:r>
                <a:rPr lang="en-US" sz="500" baseline="0">
                  <a:gradFill>
                    <a:gsLst>
                      <a:gs pos="2092">
                        <a:srgbClr val="F8F8F8"/>
                      </a:gs>
                      <a:gs pos="10042">
                        <a:srgbClr val="F8F8F8"/>
                      </a:gs>
                    </a:gsLst>
                    <a:lin ang="5400000" scaled="0"/>
                  </a:gradFill>
                  <a:ea typeface="Segoe UI" pitchFamily="34" charset="0"/>
                  <a:cs typeface="Segoe UI" pitchFamily="34" charset="0"/>
                </a:rPr>
                <a:t>168 G:0 B:0</a:t>
              </a:r>
              <a:endParaRPr lang="en-US" sz="500">
                <a:gradFill>
                  <a:gsLst>
                    <a:gs pos="2092">
                      <a:srgbClr val="F8F8F8"/>
                    </a:gs>
                    <a:gs pos="10042">
                      <a:srgbClr val="F8F8F8"/>
                    </a:gs>
                  </a:gsLst>
                  <a:lin ang="5400000" scaled="0"/>
                </a:gradFill>
                <a:ea typeface="Segoe UI" pitchFamily="34" charset="0"/>
                <a:cs typeface="Segoe UI" pitchFamily="34" charset="0"/>
              </a:endParaRPr>
            </a:p>
          </p:txBody>
        </p:sp>
        <p:sp>
          <p:nvSpPr>
            <p:cNvPr id="23" name="Rectangle 22"/>
            <p:cNvSpPr/>
            <p:nvPr userDrawn="1"/>
          </p:nvSpPr>
          <p:spPr bwMode="auto">
            <a:xfrm rot="5400000">
              <a:off x="12328888" y="3353997"/>
              <a:ext cx="869930" cy="28976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a:gradFill>
                    <a:gsLst>
                      <a:gs pos="0">
                        <a:srgbClr val="FFFFFF"/>
                      </a:gs>
                      <a:gs pos="100000">
                        <a:srgbClr val="FFFFFF"/>
                      </a:gs>
                    </a:gsLst>
                    <a:lin ang="5400000" scaled="0"/>
                  </a:gradFill>
                  <a:latin typeface="+mn-lt"/>
                  <a:ea typeface="Segoe UI" pitchFamily="34" charset="0"/>
                  <a:cs typeface="Segoe UI" pitchFamily="34" charset="0"/>
                </a:rPr>
                <a:t>Light Blue</a:t>
              </a:r>
            </a:p>
            <a:p>
              <a:pPr algn="l" defTabSz="932293" fontAlgn="base">
                <a:lnSpc>
                  <a:spcPct val="100000"/>
                </a:lnSpc>
                <a:spcBef>
                  <a:spcPct val="0"/>
                </a:spcBef>
                <a:spcAft>
                  <a:spcPct val="0"/>
                </a:spcAft>
              </a:pPr>
              <a:r>
                <a:rPr lang="en-US" sz="500">
                  <a:gradFill>
                    <a:gsLst>
                      <a:gs pos="2092">
                        <a:srgbClr val="F8F8F8"/>
                      </a:gs>
                      <a:gs pos="10042">
                        <a:srgbClr val="F8F8F8"/>
                      </a:gs>
                    </a:gsLst>
                    <a:lin ang="5400000" scaled="0"/>
                  </a:gradFill>
                  <a:ea typeface="Segoe UI" pitchFamily="34" charset="0"/>
                  <a:cs typeface="Segoe UI" pitchFamily="34" charset="0"/>
                </a:rPr>
                <a:t>R:16</a:t>
              </a:r>
              <a:r>
                <a:rPr lang="en-US" sz="500" baseline="0">
                  <a:gradFill>
                    <a:gsLst>
                      <a:gs pos="2092">
                        <a:srgbClr val="F8F8F8"/>
                      </a:gs>
                      <a:gs pos="10042">
                        <a:srgbClr val="F8F8F8"/>
                      </a:gs>
                    </a:gsLst>
                    <a:lin ang="5400000" scaled="0"/>
                  </a:gradFill>
                  <a:ea typeface="Segoe UI" pitchFamily="34" charset="0"/>
                  <a:cs typeface="Segoe UI" pitchFamily="34" charset="0"/>
                </a:rPr>
                <a:t> G:124 B:16</a:t>
              </a:r>
              <a:endParaRPr lang="en-US" sz="500">
                <a:gradFill>
                  <a:gsLst>
                    <a:gs pos="2092">
                      <a:srgbClr val="F8F8F8"/>
                    </a:gs>
                    <a:gs pos="10042">
                      <a:srgbClr val="F8F8F8"/>
                    </a:gs>
                  </a:gsLst>
                  <a:lin ang="5400000" scaled="0"/>
                </a:gradFill>
                <a:ea typeface="Segoe UI" pitchFamily="34" charset="0"/>
                <a:cs typeface="Segoe UI" pitchFamily="34" charset="0"/>
              </a:endParaRPr>
            </a:p>
          </p:txBody>
        </p:sp>
        <p:sp>
          <p:nvSpPr>
            <p:cNvPr id="24" name="Rectangle 23"/>
            <p:cNvSpPr/>
            <p:nvPr userDrawn="1"/>
          </p:nvSpPr>
          <p:spPr bwMode="auto">
            <a:xfrm rot="5400000">
              <a:off x="12328888" y="4272719"/>
              <a:ext cx="869930" cy="289766"/>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a:gradFill>
                    <a:gsLst>
                      <a:gs pos="0">
                        <a:srgbClr val="FFFFFF"/>
                      </a:gs>
                      <a:gs pos="100000">
                        <a:srgbClr val="FFFFFF"/>
                      </a:gs>
                    </a:gsLst>
                    <a:lin ang="5400000" scaled="0"/>
                  </a:gradFill>
                  <a:latin typeface="+mn-lt"/>
                  <a:ea typeface="Segoe UI" pitchFamily="34" charset="0"/>
                  <a:cs typeface="Segoe UI" pitchFamily="34" charset="0"/>
                </a:rPr>
                <a:t>Dark Blue</a:t>
              </a:r>
            </a:p>
            <a:p>
              <a:pPr algn="l" defTabSz="932293" fontAlgn="base">
                <a:lnSpc>
                  <a:spcPct val="100000"/>
                </a:lnSpc>
                <a:spcBef>
                  <a:spcPct val="0"/>
                </a:spcBef>
                <a:spcAft>
                  <a:spcPct val="0"/>
                </a:spcAft>
              </a:pPr>
              <a:r>
                <a:rPr lang="en-US" sz="500">
                  <a:gradFill>
                    <a:gsLst>
                      <a:gs pos="2092">
                        <a:srgbClr val="F8F8F8"/>
                      </a:gs>
                      <a:gs pos="10042">
                        <a:srgbClr val="F8F8F8"/>
                      </a:gs>
                    </a:gsLst>
                    <a:lin ang="5400000" scaled="0"/>
                  </a:gradFill>
                  <a:ea typeface="Segoe UI" pitchFamily="34" charset="0"/>
                  <a:cs typeface="Segoe UI" pitchFamily="34" charset="0"/>
                </a:rPr>
                <a:t>R0 G32 B80</a:t>
              </a:r>
            </a:p>
          </p:txBody>
        </p:sp>
      </p:grpSp>
    </p:spTree>
    <p:extLst>
      <p:ext uri="{BB962C8B-B14F-4D97-AF65-F5344CB8AC3E}">
        <p14:creationId xmlns:p14="http://schemas.microsoft.com/office/powerpoint/2010/main" val="3056929655"/>
      </p:ext>
    </p:extLst>
  </p:cSld>
  <p:clrMap bg1="lt1" tx1="dk1" bg2="lt2" tx2="dk2" accent1="accent1" accent2="accent2" accent3="accent3" accent4="accent4" accent5="accent5" accent6="accent6" hlink="hlink" folHlink="folHlink"/>
  <p:sldLayoutIdLst>
    <p:sldLayoutId id="2147484390" r:id="rId1"/>
    <p:sldLayoutId id="2147484391" r:id="rId2"/>
    <p:sldLayoutId id="2147484392" r:id="rId3"/>
    <p:sldLayoutId id="2147484393" r:id="rId4"/>
    <p:sldLayoutId id="2147484394" r:id="rId5"/>
    <p:sldLayoutId id="2147484395" r:id="rId6"/>
    <p:sldLayoutId id="2147484396" r:id="rId7"/>
    <p:sldLayoutId id="2147484397" r:id="rId8"/>
    <p:sldLayoutId id="2147484398" r:id="rId9"/>
    <p:sldLayoutId id="2147484399" r:id="rId10"/>
    <p:sldLayoutId id="2147484400" r:id="rId11"/>
    <p:sldLayoutId id="2147484401" r:id="rId12"/>
    <p:sldLayoutId id="2147484402" r:id="rId13"/>
    <p:sldLayoutId id="2147484403" r:id="rId14"/>
    <p:sldLayoutId id="2147484404" r:id="rId15"/>
    <p:sldLayoutId id="2147484405" r:id="rId16"/>
    <p:sldLayoutId id="2147484406" r:id="rId17"/>
    <p:sldLayoutId id="2147484407" r:id="rId18"/>
    <p:sldLayoutId id="2147484408" r:id="rId19"/>
    <p:sldLayoutId id="2147484409" r:id="rId20"/>
    <p:sldLayoutId id="2147484410" r:id="rId21"/>
  </p:sldLayoutIdLst>
  <p:transition>
    <p:fade/>
  </p:transition>
  <p:txStyles>
    <p:titleStyle>
      <a:lvl1pPr algn="l" defTabSz="932563" rtl="0" eaLnBrk="1" latinLnBrk="0" hangingPunct="1">
        <a:lnSpc>
          <a:spcPct val="90000"/>
        </a:lnSpc>
        <a:spcBef>
          <a:spcPct val="0"/>
        </a:spcBef>
        <a:buNone/>
        <a:defRPr lang="en-US" sz="47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34" marR="0" indent="-342834" algn="l" defTabSz="932563" rtl="0" eaLnBrk="1" fontAlgn="auto" latinLnBrk="0" hangingPunct="1">
        <a:lnSpc>
          <a:spcPct val="90000"/>
        </a:lnSpc>
        <a:spcBef>
          <a:spcPct val="20000"/>
        </a:spcBef>
        <a:spcAft>
          <a:spcPts val="0"/>
        </a:spcAft>
        <a:buClrTx/>
        <a:buSzPct val="90000"/>
        <a:buFont typeface="Arial" pitchFamily="34" charset="0"/>
        <a:buChar char="•"/>
        <a:tabLst/>
        <a:defRPr sz="3999" kern="1200" spc="0" baseline="0">
          <a:gradFill>
            <a:gsLst>
              <a:gs pos="1250">
                <a:schemeClr val="tx1"/>
              </a:gs>
              <a:gs pos="100000">
                <a:schemeClr val="tx1"/>
              </a:gs>
            </a:gsLst>
            <a:lin ang="5400000" scaled="0"/>
          </a:gradFill>
          <a:latin typeface="+mj-lt"/>
          <a:ea typeface="+mn-ea"/>
          <a:cs typeface="+mn-cs"/>
        </a:defRPr>
      </a:lvl1pPr>
      <a:lvl2pPr marL="584088" marR="0" indent="-241253" algn="l" defTabSz="932563"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04" y="295275"/>
            <a:ext cx="11888047"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06" y="1212851"/>
            <a:ext cx="11885681"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3" name="Group 2"/>
          <p:cNvGrpSpPr/>
          <p:nvPr/>
        </p:nvGrpSpPr>
        <p:grpSpPr>
          <a:xfrm>
            <a:off x="12617354" y="-8395"/>
            <a:ext cx="955519" cy="5775363"/>
            <a:chOff x="12618967" y="-8396"/>
            <a:chExt cx="955641" cy="5775363"/>
          </a:xfrm>
        </p:grpSpPr>
        <p:grpSp>
          <p:nvGrpSpPr>
            <p:cNvPr id="26" name="Group 25"/>
            <p:cNvGrpSpPr/>
            <p:nvPr userDrawn="1"/>
          </p:nvGrpSpPr>
          <p:grpSpPr>
            <a:xfrm rot="5400000">
              <a:off x="11584220" y="1040742"/>
              <a:ext cx="2698730" cy="629236"/>
              <a:chOff x="1584344" y="4543426"/>
              <a:chExt cx="2698730" cy="629236"/>
            </a:xfrm>
          </p:grpSpPr>
          <p:sp>
            <p:nvSpPr>
              <p:cNvPr id="37" name="Rectangle 36"/>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32293" fontAlgn="base">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Blue</a:t>
                </a:r>
              </a:p>
              <a:p>
                <a:pPr algn="l" defTabSz="932293" fontAlgn="base">
                  <a:lnSpc>
                    <a:spcPct val="100000"/>
                  </a:lnSpc>
                  <a:spcBef>
                    <a:spcPct val="0"/>
                  </a:spcBef>
                  <a:spcAft>
                    <a:spcPct val="0"/>
                  </a:spcAft>
                </a:pPr>
                <a:r>
                  <a:rPr lang="en-US" sz="500" dirty="0">
                    <a:gradFill>
                      <a:gsLst>
                        <a:gs pos="0">
                          <a:srgbClr val="FFFFFF"/>
                        </a:gs>
                        <a:gs pos="100000">
                          <a:srgbClr val="FFFFFF"/>
                        </a:gs>
                      </a:gsLst>
                      <a:lin ang="5400000" scaled="0"/>
                    </a:gradFill>
                    <a:ea typeface="Segoe UI" pitchFamily="34" charset="0"/>
                    <a:cs typeface="Segoe UI" pitchFamily="34" charset="0"/>
                  </a:rPr>
                  <a:t>R:0 G:120 B:215</a:t>
                </a:r>
              </a:p>
            </p:txBody>
          </p:sp>
          <p:sp>
            <p:nvSpPr>
              <p:cNvPr id="41" name="Rectangle 40"/>
              <p:cNvSpPr/>
              <p:nvPr userDrawn="1"/>
            </p:nvSpPr>
            <p:spPr bwMode="auto">
              <a:xfrm>
                <a:off x="2505456" y="4543427"/>
                <a:ext cx="869930" cy="28976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32293" fontAlgn="base">
                  <a:lnSpc>
                    <a:spcPct val="100000"/>
                  </a:lnSpc>
                  <a:spcBef>
                    <a:spcPct val="0"/>
                  </a:spcBef>
                  <a:spcAft>
                    <a:spcPct val="0"/>
                  </a:spcAft>
                </a:pPr>
                <a:r>
                  <a:rPr lang="en-US" sz="500" b="1" kern="1200" baseline="0" dirty="0">
                    <a:gradFill>
                      <a:gsLst>
                        <a:gs pos="0">
                          <a:srgbClr val="161616"/>
                        </a:gs>
                        <a:gs pos="100000">
                          <a:srgbClr val="161616"/>
                        </a:gs>
                      </a:gsLst>
                      <a:lin ang="5400000" scaled="0"/>
                    </a:gradFill>
                    <a:latin typeface="+mn-lt"/>
                    <a:ea typeface="Segoe UI" pitchFamily="34" charset="0"/>
                    <a:cs typeface="Segoe UI" pitchFamily="34" charset="0"/>
                  </a:rPr>
                  <a:t>Light Blue</a:t>
                </a:r>
              </a:p>
              <a:p>
                <a:pPr marL="0" algn="l" defTabSz="932293" rtl="0" eaLnBrk="1" fontAlgn="base" latinLnBrk="0" hangingPunct="1">
                  <a:lnSpc>
                    <a:spcPct val="100000"/>
                  </a:lnSpc>
                  <a:spcBef>
                    <a:spcPct val="0"/>
                  </a:spcBef>
                  <a:spcAft>
                    <a:spcPct val="0"/>
                  </a:spcAft>
                </a:pPr>
                <a:r>
                  <a:rPr lang="en-US" sz="500" kern="1200" dirty="0">
                    <a:gradFill>
                      <a:gsLst>
                        <a:gs pos="0">
                          <a:srgbClr val="161616"/>
                        </a:gs>
                        <a:gs pos="100000">
                          <a:srgbClr val="161616"/>
                        </a:gs>
                      </a:gsLst>
                      <a:lin ang="5400000" scaled="0"/>
                    </a:gradFill>
                    <a:latin typeface="+mn-lt"/>
                    <a:ea typeface="Segoe UI" pitchFamily="34" charset="0"/>
                    <a:cs typeface="Segoe UI" pitchFamily="34" charset="0"/>
                  </a:rPr>
                  <a:t>R:0 G:188 B:242</a:t>
                </a:r>
              </a:p>
            </p:txBody>
          </p:sp>
          <p:sp>
            <p:nvSpPr>
              <p:cNvPr id="42" name="Rectangle 41"/>
              <p:cNvSpPr/>
              <p:nvPr userDrawn="1"/>
            </p:nvSpPr>
            <p:spPr bwMode="auto">
              <a:xfrm>
                <a:off x="3413144" y="4543426"/>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Orange</a:t>
                </a:r>
              </a:p>
              <a:p>
                <a:pPr marL="0" algn="l" defTabSz="932293" rtl="0" eaLnBrk="1" fontAlgn="base" latinLnBrk="0" hangingPunct="1">
                  <a:lnSpc>
                    <a:spcPct val="100000"/>
                  </a:lnSpc>
                  <a:spcBef>
                    <a:spcPct val="0"/>
                  </a:spcBef>
                  <a:spcAft>
                    <a:spcPct val="0"/>
                  </a:spcAft>
                </a:pPr>
                <a:r>
                  <a:rPr lang="en-US" sz="500" kern="1200" dirty="0">
                    <a:gradFill>
                      <a:gsLst>
                        <a:gs pos="2092">
                          <a:srgbClr val="F8F8F8"/>
                        </a:gs>
                        <a:gs pos="10042">
                          <a:srgbClr val="F8F8F8"/>
                        </a:gs>
                      </a:gsLst>
                      <a:lin ang="5400000" scaled="0"/>
                    </a:gradFill>
                    <a:latin typeface="+mn-lt"/>
                    <a:ea typeface="Segoe UI" pitchFamily="34" charset="0"/>
                    <a:cs typeface="Segoe UI" pitchFamily="34" charset="0"/>
                  </a:rPr>
                  <a:t>R:80 G:80 B:80</a:t>
                </a:r>
              </a:p>
            </p:txBody>
          </p:sp>
          <p:sp>
            <p:nvSpPr>
              <p:cNvPr id="43" name="Rectangle 42"/>
              <p:cNvSpPr/>
              <p:nvPr userDrawn="1"/>
            </p:nvSpPr>
            <p:spPr bwMode="auto">
              <a:xfrm>
                <a:off x="2498744" y="4882896"/>
                <a:ext cx="869930" cy="28976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dirty="0">
                    <a:gradFill>
                      <a:gsLst>
                        <a:gs pos="37168">
                          <a:srgbClr val="292929"/>
                        </a:gs>
                        <a:gs pos="72000">
                          <a:srgbClr val="292929"/>
                        </a:gs>
                      </a:gsLst>
                      <a:lin ang="5400000" scaled="0"/>
                    </a:gradFill>
                    <a:latin typeface="+mn-lt"/>
                    <a:ea typeface="Segoe UI" pitchFamily="34" charset="0"/>
                    <a:cs typeface="Segoe UI" pitchFamily="34" charset="0"/>
                  </a:rPr>
                  <a:t>Yellow</a:t>
                </a:r>
              </a:p>
              <a:p>
                <a:pPr marL="0" algn="l" defTabSz="932293" rtl="0" eaLnBrk="1" fontAlgn="base" latinLnBrk="0" hangingPunct="1">
                  <a:lnSpc>
                    <a:spcPct val="100000"/>
                  </a:lnSpc>
                  <a:spcBef>
                    <a:spcPct val="0"/>
                  </a:spcBef>
                  <a:spcAft>
                    <a:spcPct val="0"/>
                  </a:spcAft>
                </a:pPr>
                <a:r>
                  <a:rPr lang="en-US" sz="500" kern="1200" dirty="0">
                    <a:gradFill>
                      <a:gsLst>
                        <a:gs pos="37168">
                          <a:srgbClr val="292929"/>
                        </a:gs>
                        <a:gs pos="72000">
                          <a:srgbClr val="292929"/>
                        </a:gs>
                      </a:gsLst>
                      <a:lin ang="5400000" scaled="0"/>
                    </a:gradFill>
                    <a:latin typeface="+mn-lt"/>
                    <a:ea typeface="Segoe UI" pitchFamily="34" charset="0"/>
                    <a:cs typeface="Segoe UI" pitchFamily="34" charset="0"/>
                  </a:rPr>
                  <a:t>R:255 G:185 B:0</a:t>
                </a:r>
              </a:p>
            </p:txBody>
          </p:sp>
          <p:sp>
            <p:nvSpPr>
              <p:cNvPr id="44" name="Rectangle 43"/>
              <p:cNvSpPr/>
              <p:nvPr userDrawn="1"/>
            </p:nvSpPr>
            <p:spPr bwMode="auto">
              <a:xfrm>
                <a:off x="3413144" y="4882895"/>
                <a:ext cx="869930" cy="289766"/>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dirty="0">
                    <a:gradFill>
                      <a:gsLst>
                        <a:gs pos="37168">
                          <a:srgbClr val="292929"/>
                        </a:gs>
                        <a:gs pos="72000">
                          <a:srgbClr val="292929"/>
                        </a:gs>
                      </a:gsLst>
                      <a:lin ang="5400000" scaled="0"/>
                    </a:gradFill>
                    <a:latin typeface="+mn-lt"/>
                    <a:ea typeface="Segoe UI" pitchFamily="34" charset="0"/>
                    <a:cs typeface="Segoe UI" pitchFamily="34" charset="0"/>
                  </a:rPr>
                  <a:t>Light Orange</a:t>
                </a:r>
              </a:p>
              <a:p>
                <a:pPr marL="0" algn="l" defTabSz="932293" rtl="0" eaLnBrk="1" fontAlgn="base" latinLnBrk="0" hangingPunct="1">
                  <a:lnSpc>
                    <a:spcPct val="100000"/>
                  </a:lnSpc>
                  <a:spcBef>
                    <a:spcPct val="0"/>
                  </a:spcBef>
                  <a:spcAft>
                    <a:spcPct val="0"/>
                  </a:spcAft>
                </a:pPr>
                <a:r>
                  <a:rPr lang="en-US" sz="500" kern="1200" dirty="0">
                    <a:gradFill>
                      <a:gsLst>
                        <a:gs pos="37168">
                          <a:srgbClr val="292929"/>
                        </a:gs>
                        <a:gs pos="72000">
                          <a:srgbClr val="292929"/>
                        </a:gs>
                      </a:gsLst>
                      <a:lin ang="5400000" scaled="0"/>
                    </a:gradFill>
                    <a:latin typeface="+mn-lt"/>
                    <a:ea typeface="Segoe UI" pitchFamily="34" charset="0"/>
                    <a:cs typeface="Segoe UI" pitchFamily="34" charset="0"/>
                  </a:rPr>
                  <a:t>R:255 G:140 B:0</a:t>
                </a:r>
              </a:p>
            </p:txBody>
          </p:sp>
          <p:sp>
            <p:nvSpPr>
              <p:cNvPr id="45" name="Rectangle 44"/>
              <p:cNvSpPr/>
              <p:nvPr userDrawn="1"/>
            </p:nvSpPr>
            <p:spPr bwMode="auto">
              <a:xfrm>
                <a:off x="1584344" y="4882896"/>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dirty="0">
                    <a:gradFill>
                      <a:gsLst>
                        <a:gs pos="37168">
                          <a:srgbClr val="292929"/>
                        </a:gs>
                        <a:gs pos="72000">
                          <a:srgbClr val="292929"/>
                        </a:gs>
                      </a:gsLst>
                      <a:lin ang="5400000" scaled="0"/>
                    </a:gradFill>
                    <a:latin typeface="+mn-lt"/>
                    <a:ea typeface="Segoe UI" pitchFamily="34" charset="0"/>
                    <a:cs typeface="Segoe UI" pitchFamily="34" charset="0"/>
                  </a:rPr>
                  <a:t>Gray</a:t>
                </a:r>
              </a:p>
              <a:p>
                <a:pPr algn="l" defTabSz="932293" fontAlgn="base">
                  <a:lnSpc>
                    <a:spcPct val="100000"/>
                  </a:lnSpc>
                  <a:spcBef>
                    <a:spcPct val="0"/>
                  </a:spcBef>
                  <a:spcAft>
                    <a:spcPct val="0"/>
                  </a:spcAft>
                </a:pPr>
                <a:r>
                  <a:rPr lang="en-US" sz="500" dirty="0">
                    <a:gradFill>
                      <a:gsLst>
                        <a:gs pos="37168">
                          <a:srgbClr val="292929"/>
                        </a:gs>
                        <a:gs pos="72000">
                          <a:srgbClr val="292929"/>
                        </a:gs>
                      </a:gsLst>
                      <a:lin ang="5400000" scaled="0"/>
                    </a:gradFill>
                    <a:ea typeface="Segoe UI" pitchFamily="34" charset="0"/>
                    <a:cs typeface="Segoe UI" pitchFamily="34" charset="0"/>
                  </a:rPr>
                  <a:t>R:</a:t>
                </a:r>
                <a:r>
                  <a:rPr lang="en-US" sz="500" baseline="0" dirty="0">
                    <a:gradFill>
                      <a:gsLst>
                        <a:gs pos="37168">
                          <a:srgbClr val="292929"/>
                        </a:gs>
                        <a:gs pos="72000">
                          <a:srgbClr val="292929"/>
                        </a:gs>
                      </a:gsLst>
                      <a:lin ang="5400000" scaled="0"/>
                    </a:gradFill>
                    <a:ea typeface="Segoe UI" pitchFamily="34" charset="0"/>
                    <a:cs typeface="Segoe UI" pitchFamily="34" charset="0"/>
                  </a:rPr>
                  <a:t>210 G:210 B:210</a:t>
                </a:r>
                <a:endParaRPr lang="en-US" sz="500" dirty="0">
                  <a:gradFill>
                    <a:gsLst>
                      <a:gs pos="37168">
                        <a:srgbClr val="292929"/>
                      </a:gs>
                      <a:gs pos="72000">
                        <a:srgbClr val="292929"/>
                      </a:gs>
                    </a:gsLst>
                    <a:lin ang="5400000" scaled="0"/>
                  </a:gradFill>
                  <a:ea typeface="Segoe UI" pitchFamily="34" charset="0"/>
                  <a:cs typeface="Segoe UI" pitchFamily="34" charset="0"/>
                </a:endParaRPr>
              </a:p>
            </p:txBody>
          </p:sp>
        </p:grpSp>
        <p:sp>
          <p:nvSpPr>
            <p:cNvPr id="28" name="TextBox 27"/>
            <p:cNvSpPr txBox="1"/>
            <p:nvPr userDrawn="1"/>
          </p:nvSpPr>
          <p:spPr>
            <a:xfrm rot="5400000">
              <a:off x="12979639" y="256928"/>
              <a:ext cx="860293" cy="329645"/>
            </a:xfrm>
            <a:prstGeom prst="rect">
              <a:avLst/>
            </a:prstGeom>
            <a:noFill/>
          </p:spPr>
          <p:txBody>
            <a:bodyPr wrap="none" lIns="0" tIns="91440" rIns="182880" bIns="91440" rtlCol="0">
              <a:spAutoFit/>
            </a:bodyPr>
            <a:lstStyle/>
            <a:p>
              <a:pPr marL="0" algn="l" defTabSz="932563" rtl="0" eaLnBrk="1" latinLnBrk="0" hangingPunct="1">
                <a:lnSpc>
                  <a:spcPct val="90000"/>
                </a:lnSpc>
                <a:spcAft>
                  <a:spcPts val="600"/>
                </a:spcAft>
              </a:pPr>
              <a:r>
                <a:rPr lang="en-US" sz="1000" kern="1200" dirty="0">
                  <a:gradFill>
                    <a:gsLst>
                      <a:gs pos="82301">
                        <a:srgbClr val="292929"/>
                      </a:gs>
                      <a:gs pos="62000">
                        <a:srgbClr val="292929"/>
                      </a:gs>
                    </a:gsLst>
                    <a:lin ang="5400000" scaled="0"/>
                  </a:gradFill>
                  <a:latin typeface="+mn-lt"/>
                  <a:ea typeface="+mn-ea"/>
                  <a:cs typeface="+mn-cs"/>
                </a:rPr>
                <a:t>Main colors</a:t>
              </a:r>
            </a:p>
          </p:txBody>
        </p:sp>
        <p:sp>
          <p:nvSpPr>
            <p:cNvPr id="32" name="TextBox 31"/>
            <p:cNvSpPr txBox="1"/>
            <p:nvPr userDrawn="1"/>
          </p:nvSpPr>
          <p:spPr>
            <a:xfrm rot="5400000">
              <a:off x="11715628" y="4227340"/>
              <a:ext cx="2709380" cy="329645"/>
            </a:xfrm>
            <a:prstGeom prst="rect">
              <a:avLst/>
            </a:prstGeom>
            <a:noFill/>
          </p:spPr>
          <p:txBody>
            <a:bodyPr wrap="none" lIns="0" tIns="91440" rIns="182880" bIns="91440" rtlCol="0">
              <a:spAutoFit/>
            </a:bodyPr>
            <a:lstStyle/>
            <a:p>
              <a:pPr marL="0" algn="l" defTabSz="932563" rtl="0" eaLnBrk="1" latinLnBrk="0" hangingPunct="1">
                <a:lnSpc>
                  <a:spcPct val="90000"/>
                </a:lnSpc>
                <a:spcAft>
                  <a:spcPts val="600"/>
                </a:spcAft>
              </a:pPr>
              <a:r>
                <a:rPr lang="en-US" sz="1000" kern="1200" dirty="0">
                  <a:gradFill>
                    <a:gsLst>
                      <a:gs pos="82301">
                        <a:srgbClr val="292929"/>
                      </a:gs>
                      <a:gs pos="62000">
                        <a:srgbClr val="292929"/>
                      </a:gs>
                    </a:gsLst>
                    <a:lin ang="5400000" scaled="0"/>
                  </a:gradFill>
                  <a:latin typeface="+mn-lt"/>
                  <a:ea typeface="+mn-ea"/>
                  <a:cs typeface="+mn-cs"/>
                </a:rPr>
                <a:t>Secondary colors (use only when necessary)</a:t>
              </a:r>
            </a:p>
          </p:txBody>
        </p:sp>
        <p:sp>
          <p:nvSpPr>
            <p:cNvPr id="22" name="Rectangle 21"/>
            <p:cNvSpPr/>
            <p:nvPr userDrawn="1"/>
          </p:nvSpPr>
          <p:spPr bwMode="auto">
            <a:xfrm rot="5400000">
              <a:off x="12328888" y="5187119"/>
              <a:ext cx="869930" cy="289766"/>
            </a:xfrm>
            <a:prstGeom prst="rect">
              <a:avLst/>
            </a:prstGeom>
            <a:solidFill>
              <a:srgbClr val="A8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Dark Red</a:t>
              </a:r>
            </a:p>
            <a:p>
              <a:pPr algn="l" defTabSz="932293"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a:t>
              </a:r>
              <a:r>
                <a:rPr lang="en-US" sz="500" baseline="0" dirty="0">
                  <a:gradFill>
                    <a:gsLst>
                      <a:gs pos="2092">
                        <a:srgbClr val="F8F8F8"/>
                      </a:gs>
                      <a:gs pos="10042">
                        <a:srgbClr val="F8F8F8"/>
                      </a:gs>
                    </a:gsLst>
                    <a:lin ang="5400000" scaled="0"/>
                  </a:gradFill>
                  <a:ea typeface="Segoe UI" pitchFamily="34" charset="0"/>
                  <a:cs typeface="Segoe UI" pitchFamily="34" charset="0"/>
                </a:rPr>
                <a:t>168 G:0 B:0</a:t>
              </a:r>
              <a:endParaRPr lang="en-US" sz="500" dirty="0">
                <a:gradFill>
                  <a:gsLst>
                    <a:gs pos="2092">
                      <a:srgbClr val="F8F8F8"/>
                    </a:gs>
                    <a:gs pos="10042">
                      <a:srgbClr val="F8F8F8"/>
                    </a:gs>
                  </a:gsLst>
                  <a:lin ang="5400000" scaled="0"/>
                </a:gradFill>
                <a:ea typeface="Segoe UI" pitchFamily="34" charset="0"/>
                <a:cs typeface="Segoe UI" pitchFamily="34" charset="0"/>
              </a:endParaRPr>
            </a:p>
          </p:txBody>
        </p:sp>
        <p:sp>
          <p:nvSpPr>
            <p:cNvPr id="23" name="Rectangle 22"/>
            <p:cNvSpPr/>
            <p:nvPr userDrawn="1"/>
          </p:nvSpPr>
          <p:spPr bwMode="auto">
            <a:xfrm rot="5400000">
              <a:off x="12328888" y="3353997"/>
              <a:ext cx="869930" cy="289766"/>
            </a:xfrm>
            <a:prstGeom prst="rect">
              <a:avLst/>
            </a:prstGeom>
            <a:solidFill>
              <a:srgbClr val="E6E6E6"/>
            </a:solidFill>
            <a:ln w="3175">
              <a:solidFill>
                <a:srgbClr val="16161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dirty="0">
                  <a:gradFill>
                    <a:gsLst>
                      <a:gs pos="37168">
                        <a:srgbClr val="161616"/>
                      </a:gs>
                      <a:gs pos="72000">
                        <a:srgbClr val="161616"/>
                      </a:gs>
                    </a:gsLst>
                    <a:lin ang="5400000" scaled="0"/>
                  </a:gradFill>
                  <a:latin typeface="+mn-lt"/>
                  <a:ea typeface="Segoe UI" pitchFamily="34" charset="0"/>
                  <a:cs typeface="Segoe UI" pitchFamily="34" charset="0"/>
                </a:rPr>
                <a:t>Light Gray</a:t>
              </a:r>
            </a:p>
            <a:p>
              <a:pPr algn="l" defTabSz="932293" fontAlgn="base">
                <a:lnSpc>
                  <a:spcPct val="100000"/>
                </a:lnSpc>
                <a:spcBef>
                  <a:spcPct val="0"/>
                </a:spcBef>
                <a:spcAft>
                  <a:spcPct val="0"/>
                </a:spcAft>
              </a:pPr>
              <a:r>
                <a:rPr lang="en-US" sz="500" dirty="0">
                  <a:gradFill>
                    <a:gsLst>
                      <a:gs pos="37168">
                        <a:srgbClr val="161616"/>
                      </a:gs>
                      <a:gs pos="72000">
                        <a:srgbClr val="161616"/>
                      </a:gs>
                    </a:gsLst>
                    <a:lin ang="5400000" scaled="0"/>
                  </a:gradFill>
                  <a:ea typeface="Segoe UI" pitchFamily="34" charset="0"/>
                  <a:cs typeface="Segoe UI" pitchFamily="34" charset="0"/>
                </a:rPr>
                <a:t>R:16</a:t>
              </a:r>
              <a:r>
                <a:rPr lang="en-US" sz="500" baseline="0" dirty="0">
                  <a:gradFill>
                    <a:gsLst>
                      <a:gs pos="37168">
                        <a:srgbClr val="161616"/>
                      </a:gs>
                      <a:gs pos="72000">
                        <a:srgbClr val="161616"/>
                      </a:gs>
                    </a:gsLst>
                    <a:lin ang="5400000" scaled="0"/>
                  </a:gradFill>
                  <a:ea typeface="Segoe UI" pitchFamily="34" charset="0"/>
                  <a:cs typeface="Segoe UI" pitchFamily="34" charset="0"/>
                </a:rPr>
                <a:t> G:124 B:16</a:t>
              </a:r>
              <a:endParaRPr lang="en-US" sz="500" dirty="0">
                <a:gradFill>
                  <a:gsLst>
                    <a:gs pos="37168">
                      <a:srgbClr val="161616"/>
                    </a:gs>
                    <a:gs pos="72000">
                      <a:srgbClr val="161616"/>
                    </a:gs>
                  </a:gsLst>
                  <a:lin ang="5400000" scaled="0"/>
                </a:gradFill>
                <a:ea typeface="Segoe UI" pitchFamily="34" charset="0"/>
                <a:cs typeface="Segoe UI" pitchFamily="34" charset="0"/>
              </a:endParaRPr>
            </a:p>
          </p:txBody>
        </p:sp>
        <p:sp>
          <p:nvSpPr>
            <p:cNvPr id="24" name="Rectangle 23"/>
            <p:cNvSpPr/>
            <p:nvPr userDrawn="1"/>
          </p:nvSpPr>
          <p:spPr bwMode="auto">
            <a:xfrm rot="5400000">
              <a:off x="12328888" y="4272719"/>
              <a:ext cx="869930" cy="289766"/>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Dark Blue</a:t>
              </a:r>
            </a:p>
            <a:p>
              <a:pPr algn="l" defTabSz="932293"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0 G32 B80</a:t>
              </a:r>
            </a:p>
          </p:txBody>
        </p:sp>
      </p:grpSp>
    </p:spTree>
    <p:extLst>
      <p:ext uri="{BB962C8B-B14F-4D97-AF65-F5344CB8AC3E}">
        <p14:creationId xmlns:p14="http://schemas.microsoft.com/office/powerpoint/2010/main" val="1500086737"/>
      </p:ext>
    </p:extLst>
  </p:cSld>
  <p:clrMap bg1="lt1" tx1="dk1" bg2="lt2" tx2="dk2" accent1="accent1" accent2="accent2" accent3="accent3" accent4="accent4" accent5="accent5" accent6="accent6" hlink="hlink" folHlink="folHlink"/>
  <p:sldLayoutIdLst>
    <p:sldLayoutId id="2147484413" r:id="rId1"/>
    <p:sldLayoutId id="2147484414" r:id="rId2"/>
    <p:sldLayoutId id="2147484415" r:id="rId3"/>
    <p:sldLayoutId id="2147484416" r:id="rId4"/>
    <p:sldLayoutId id="2147484417" r:id="rId5"/>
    <p:sldLayoutId id="2147484418" r:id="rId6"/>
    <p:sldLayoutId id="2147484419" r:id="rId7"/>
    <p:sldLayoutId id="2147484420" r:id="rId8"/>
    <p:sldLayoutId id="2147484421" r:id="rId9"/>
    <p:sldLayoutId id="2147484422" r:id="rId10"/>
    <p:sldLayoutId id="2147484423" r:id="rId11"/>
    <p:sldLayoutId id="2147484424" r:id="rId12"/>
    <p:sldLayoutId id="2147484425" r:id="rId13"/>
    <p:sldLayoutId id="2147484426" r:id="rId14"/>
    <p:sldLayoutId id="2147484427" r:id="rId15"/>
    <p:sldLayoutId id="2147484428" r:id="rId16"/>
    <p:sldLayoutId id="2147484429" r:id="rId17"/>
    <p:sldLayoutId id="2147484430" r:id="rId18"/>
    <p:sldLayoutId id="2147484431" r:id="rId19"/>
    <p:sldLayoutId id="2147484432" r:id="rId20"/>
    <p:sldLayoutId id="2147484433" r:id="rId21"/>
    <p:sldLayoutId id="2147484434" r:id="rId22"/>
    <p:sldLayoutId id="2147484435" r:id="rId23"/>
    <p:sldLayoutId id="2147484436" r:id="rId24"/>
    <p:sldLayoutId id="2147484437" r:id="rId25"/>
    <p:sldLayoutId id="2147484438" r:id="rId26"/>
    <p:sldLayoutId id="2147484439" r:id="rId27"/>
    <p:sldLayoutId id="2147484440" r:id="rId28"/>
    <p:sldLayoutId id="2147484441" r:id="rId29"/>
    <p:sldLayoutId id="2147484442" r:id="rId30"/>
    <p:sldLayoutId id="2147484443" r:id="rId31"/>
    <p:sldLayoutId id="2147484444" r:id="rId32"/>
    <p:sldLayoutId id="2147484445" r:id="rId33"/>
    <p:sldLayoutId id="2147484446" r:id="rId34"/>
    <p:sldLayoutId id="2147484447" r:id="rId35"/>
    <p:sldLayoutId id="2147484448" r:id="rId36"/>
    <p:sldLayoutId id="2147484449" r:id="rId37"/>
    <p:sldLayoutId id="2147484450" r:id="rId38"/>
    <p:sldLayoutId id="2147484451" r:id="rId39"/>
  </p:sldLayoutIdLst>
  <p:transition>
    <p:fade/>
  </p:transition>
  <p:txStyles>
    <p:titleStyle>
      <a:lvl1pPr algn="l" defTabSz="932563" rtl="0" eaLnBrk="1" latinLnBrk="0" hangingPunct="1">
        <a:lnSpc>
          <a:spcPct val="90000"/>
        </a:lnSpc>
        <a:spcBef>
          <a:spcPct val="0"/>
        </a:spcBef>
        <a:buNone/>
        <a:defRPr lang="en-US" sz="47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34" marR="0" indent="-342834" algn="l" defTabSz="932563" rtl="0" eaLnBrk="1" fontAlgn="auto" latinLnBrk="0" hangingPunct="1">
        <a:lnSpc>
          <a:spcPct val="90000"/>
        </a:lnSpc>
        <a:spcBef>
          <a:spcPct val="20000"/>
        </a:spcBef>
        <a:spcAft>
          <a:spcPts val="0"/>
        </a:spcAft>
        <a:buClrTx/>
        <a:buSzPct val="90000"/>
        <a:buFont typeface="Arial" pitchFamily="34" charset="0"/>
        <a:buChar char="•"/>
        <a:tabLst/>
        <a:defRPr sz="3999" kern="1200" spc="0" baseline="0">
          <a:gradFill>
            <a:gsLst>
              <a:gs pos="1250">
                <a:schemeClr val="tx1"/>
              </a:gs>
              <a:gs pos="100000">
                <a:schemeClr val="tx1"/>
              </a:gs>
            </a:gsLst>
            <a:lin ang="5400000" scaled="0"/>
          </a:gradFill>
          <a:latin typeface="+mj-lt"/>
          <a:ea typeface="+mn-ea"/>
          <a:cs typeface="+mn-cs"/>
        </a:defRPr>
      </a:lvl1pPr>
      <a:lvl2pPr marL="584088" marR="0" indent="-241253" algn="l" defTabSz="932563"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04" y="295276"/>
            <a:ext cx="11888047"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06" y="1212853"/>
            <a:ext cx="11885681" cy="1905395"/>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p:nvPicPr>
        <p:blipFill>
          <a:blip r:embed="rId33"/>
          <a:stretch>
            <a:fillRect/>
          </a:stretch>
        </p:blipFill>
        <p:spPr>
          <a:xfrm rot="5400000">
            <a:off x="9392254" y="3050571"/>
            <a:ext cx="6995160" cy="894020"/>
          </a:xfrm>
          <a:prstGeom prst="rect">
            <a:avLst/>
          </a:prstGeom>
        </p:spPr>
      </p:pic>
    </p:spTree>
    <p:extLst>
      <p:ext uri="{BB962C8B-B14F-4D97-AF65-F5344CB8AC3E}">
        <p14:creationId xmlns:p14="http://schemas.microsoft.com/office/powerpoint/2010/main" val="3672745323"/>
      </p:ext>
    </p:extLst>
  </p:cSld>
  <p:clrMap bg1="dk1" tx1="lt1" bg2="dk2" tx2="lt2" accent1="accent1" accent2="accent2" accent3="accent3" accent4="accent4" accent5="accent5" accent6="accent6" hlink="hlink" folHlink="folHlink"/>
  <p:sldLayoutIdLst>
    <p:sldLayoutId id="2147484454" r:id="rId1"/>
    <p:sldLayoutId id="2147484455" r:id="rId2"/>
    <p:sldLayoutId id="2147484456" r:id="rId3"/>
    <p:sldLayoutId id="2147484457" r:id="rId4"/>
    <p:sldLayoutId id="2147484458" r:id="rId5"/>
    <p:sldLayoutId id="2147484459" r:id="rId6"/>
    <p:sldLayoutId id="2147484460" r:id="rId7"/>
    <p:sldLayoutId id="2147484461" r:id="rId8"/>
    <p:sldLayoutId id="2147484462" r:id="rId9"/>
    <p:sldLayoutId id="2147484463" r:id="rId10"/>
    <p:sldLayoutId id="2147484464" r:id="rId11"/>
    <p:sldLayoutId id="2147484465" r:id="rId12"/>
    <p:sldLayoutId id="2147484466" r:id="rId13"/>
    <p:sldLayoutId id="2147484467" r:id="rId14"/>
    <p:sldLayoutId id="2147484468" r:id="rId15"/>
    <p:sldLayoutId id="2147484469" r:id="rId16"/>
    <p:sldLayoutId id="2147484470" r:id="rId17"/>
    <p:sldLayoutId id="2147484471" r:id="rId18"/>
    <p:sldLayoutId id="2147484472" r:id="rId19"/>
    <p:sldLayoutId id="2147484473" r:id="rId20"/>
    <p:sldLayoutId id="2147484474" r:id="rId21"/>
    <p:sldLayoutId id="2147484475" r:id="rId22"/>
    <p:sldLayoutId id="2147484476" r:id="rId23"/>
    <p:sldLayoutId id="2147484477" r:id="rId24"/>
    <p:sldLayoutId id="2147484478" r:id="rId25"/>
    <p:sldLayoutId id="2147484479" r:id="rId26"/>
    <p:sldLayoutId id="2147484480" r:id="rId27"/>
    <p:sldLayoutId id="2147484481" r:id="rId28"/>
    <p:sldLayoutId id="2147484482" r:id="rId29"/>
    <p:sldLayoutId id="2147484483" r:id="rId30"/>
    <p:sldLayoutId id="2147484484" r:id="rId31"/>
  </p:sldLayoutIdLst>
  <p:transition>
    <p:fade/>
  </p:transition>
  <p:txStyles>
    <p:titleStyle>
      <a:lvl1pPr algn="l" defTabSz="932470" rtl="0" eaLnBrk="1" latinLnBrk="0" hangingPunct="1">
        <a:lnSpc>
          <a:spcPct val="90000"/>
        </a:lnSpc>
        <a:spcBef>
          <a:spcPct val="0"/>
        </a:spcBef>
        <a:buNone/>
        <a:defRPr lang="en-US" sz="4488"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00" marR="0" indent="-342800" algn="l" defTabSz="932470" rtl="0" eaLnBrk="1" fontAlgn="auto" latinLnBrk="0" hangingPunct="1">
        <a:lnSpc>
          <a:spcPct val="90000"/>
        </a:lnSpc>
        <a:spcBef>
          <a:spcPct val="20000"/>
        </a:spcBef>
        <a:spcAft>
          <a:spcPts val="0"/>
        </a:spcAft>
        <a:buClrTx/>
        <a:buSzPct val="90000"/>
        <a:buFont typeface="Arial" pitchFamily="34" charset="0"/>
        <a:buChar char="•"/>
        <a:tabLst/>
        <a:defRPr sz="3672" kern="1200" spc="0" baseline="0">
          <a:gradFill>
            <a:gsLst>
              <a:gs pos="1250">
                <a:schemeClr val="tx1"/>
              </a:gs>
              <a:gs pos="100000">
                <a:schemeClr val="tx1"/>
              </a:gs>
            </a:gsLst>
            <a:lin ang="5400000" scaled="0"/>
          </a:gradFill>
          <a:latin typeface="+mj-lt"/>
          <a:ea typeface="+mn-ea"/>
          <a:cs typeface="+mn-cs"/>
        </a:defRPr>
      </a:lvl1pPr>
      <a:lvl2pPr marL="584030" marR="0" indent="-241229" algn="l" defTabSz="932470" rtl="0" eaLnBrk="1" fontAlgn="auto" latinLnBrk="0" hangingPunct="1">
        <a:lnSpc>
          <a:spcPct val="90000"/>
        </a:lnSpc>
        <a:spcBef>
          <a:spcPct val="20000"/>
        </a:spcBef>
        <a:spcAft>
          <a:spcPts val="0"/>
        </a:spcAft>
        <a:buClrTx/>
        <a:buSzPct val="90000"/>
        <a:buFont typeface="Arial" pitchFamily="34" charset="0"/>
        <a:buChar char="•"/>
        <a:tabLst/>
        <a:defRPr sz="2040" kern="1200" spc="0" baseline="0">
          <a:gradFill>
            <a:gsLst>
              <a:gs pos="1250">
                <a:schemeClr val="tx1"/>
              </a:gs>
              <a:gs pos="100000">
                <a:schemeClr val="tx1"/>
              </a:gs>
            </a:gsLst>
            <a:lin ang="5400000" scaled="0"/>
          </a:gradFill>
          <a:latin typeface="+mn-lt"/>
          <a:ea typeface="+mn-ea"/>
          <a:cs typeface="+mn-cs"/>
        </a:defRPr>
      </a:lvl2pPr>
      <a:lvl3pPr marL="799866" marR="0" indent="-228534" algn="l" defTabSz="932470" rtl="0" eaLnBrk="1" fontAlgn="auto" latinLnBrk="0" hangingPunct="1">
        <a:lnSpc>
          <a:spcPct val="90000"/>
        </a:lnSpc>
        <a:spcBef>
          <a:spcPct val="20000"/>
        </a:spcBef>
        <a:spcAft>
          <a:spcPts val="0"/>
        </a:spcAft>
        <a:buClrTx/>
        <a:buSzPct val="90000"/>
        <a:buFont typeface="Arial" pitchFamily="34" charset="0"/>
        <a:buChar char="•"/>
        <a:tabLst/>
        <a:defRPr sz="1836" kern="1200" spc="0" baseline="0">
          <a:gradFill>
            <a:gsLst>
              <a:gs pos="1250">
                <a:schemeClr val="tx1"/>
              </a:gs>
              <a:gs pos="100000">
                <a:schemeClr val="tx1"/>
              </a:gs>
            </a:gsLst>
            <a:lin ang="5400000" scaled="0"/>
          </a:gradFill>
          <a:latin typeface="+mn-lt"/>
          <a:ea typeface="+mn-ea"/>
          <a:cs typeface="+mn-cs"/>
        </a:defRPr>
      </a:lvl3pPr>
      <a:lvl4pPr marL="1028400" marR="0" indent="-228534" algn="l" defTabSz="932470" rtl="0" eaLnBrk="1" fontAlgn="auto" latinLnBrk="0" hangingPunct="1">
        <a:lnSpc>
          <a:spcPct val="90000"/>
        </a:lnSpc>
        <a:spcBef>
          <a:spcPct val="20000"/>
        </a:spcBef>
        <a:spcAft>
          <a:spcPts val="0"/>
        </a:spcAft>
        <a:buClrTx/>
        <a:buSzPct val="90000"/>
        <a:buFont typeface="Arial" pitchFamily="34" charset="0"/>
        <a:buChar char="•"/>
        <a:tabLst/>
        <a:defRPr sz="1632" kern="1200" spc="0" baseline="0">
          <a:gradFill>
            <a:gsLst>
              <a:gs pos="1250">
                <a:schemeClr val="tx1"/>
              </a:gs>
              <a:gs pos="100000">
                <a:schemeClr val="tx1"/>
              </a:gs>
            </a:gsLst>
            <a:lin ang="5400000" scaled="0"/>
          </a:gradFill>
          <a:latin typeface="+mn-lt"/>
          <a:ea typeface="+mn-ea"/>
          <a:cs typeface="+mn-cs"/>
        </a:defRPr>
      </a:lvl4pPr>
      <a:lvl5pPr marL="1256932" marR="0" indent="-228534" algn="l" defTabSz="932470" rtl="0" eaLnBrk="1" fontAlgn="auto" latinLnBrk="0" hangingPunct="1">
        <a:lnSpc>
          <a:spcPct val="90000"/>
        </a:lnSpc>
        <a:spcBef>
          <a:spcPct val="20000"/>
        </a:spcBef>
        <a:spcAft>
          <a:spcPts val="0"/>
        </a:spcAft>
        <a:buClrTx/>
        <a:buSzPct val="90000"/>
        <a:buFont typeface="Arial" pitchFamily="34" charset="0"/>
        <a:buChar char="•"/>
        <a:tabLst/>
        <a:defRPr sz="1632" kern="1200" spc="0" baseline="0">
          <a:gradFill>
            <a:gsLst>
              <a:gs pos="1250">
                <a:schemeClr val="tx1"/>
              </a:gs>
              <a:gs pos="100000">
                <a:schemeClr val="tx1"/>
              </a:gs>
            </a:gsLst>
            <a:lin ang="5400000" scaled="0"/>
          </a:gradFill>
          <a:latin typeface="+mn-lt"/>
          <a:ea typeface="+mn-ea"/>
          <a:cs typeface="+mn-cs"/>
        </a:defRPr>
      </a:lvl5pPr>
      <a:lvl6pPr marL="2564292" indent="-233118" algn="l" defTabSz="93247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527" indent="-233118" algn="l" defTabSz="93247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6762" indent="-233118" algn="l" defTabSz="93247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2998" indent="-233118" algn="l" defTabSz="93247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470" rtl="0" eaLnBrk="1" latinLnBrk="0" hangingPunct="1">
        <a:defRPr sz="1800" kern="1200">
          <a:solidFill>
            <a:schemeClr val="tx1"/>
          </a:solidFill>
          <a:latin typeface="+mn-lt"/>
          <a:ea typeface="+mn-ea"/>
          <a:cs typeface="+mn-cs"/>
        </a:defRPr>
      </a:lvl1pPr>
      <a:lvl2pPr marL="466234" algn="l" defTabSz="932470" rtl="0" eaLnBrk="1" latinLnBrk="0" hangingPunct="1">
        <a:defRPr sz="1800" kern="1200">
          <a:solidFill>
            <a:schemeClr val="tx1"/>
          </a:solidFill>
          <a:latin typeface="+mn-lt"/>
          <a:ea typeface="+mn-ea"/>
          <a:cs typeface="+mn-cs"/>
        </a:defRPr>
      </a:lvl2pPr>
      <a:lvl3pPr marL="932470" algn="l" defTabSz="932470" rtl="0" eaLnBrk="1" latinLnBrk="0" hangingPunct="1">
        <a:defRPr sz="1800" kern="1200">
          <a:solidFill>
            <a:schemeClr val="tx1"/>
          </a:solidFill>
          <a:latin typeface="+mn-lt"/>
          <a:ea typeface="+mn-ea"/>
          <a:cs typeface="+mn-cs"/>
        </a:defRPr>
      </a:lvl3pPr>
      <a:lvl4pPr marL="1398704" algn="l" defTabSz="932470" rtl="0" eaLnBrk="1" latinLnBrk="0" hangingPunct="1">
        <a:defRPr sz="1800" kern="1200">
          <a:solidFill>
            <a:schemeClr val="tx1"/>
          </a:solidFill>
          <a:latin typeface="+mn-lt"/>
          <a:ea typeface="+mn-ea"/>
          <a:cs typeface="+mn-cs"/>
        </a:defRPr>
      </a:lvl4pPr>
      <a:lvl5pPr marL="1864939" algn="l" defTabSz="932470" rtl="0" eaLnBrk="1" latinLnBrk="0" hangingPunct="1">
        <a:defRPr sz="1800" kern="1200">
          <a:solidFill>
            <a:schemeClr val="tx1"/>
          </a:solidFill>
          <a:latin typeface="+mn-lt"/>
          <a:ea typeface="+mn-ea"/>
          <a:cs typeface="+mn-cs"/>
        </a:defRPr>
      </a:lvl5pPr>
      <a:lvl6pPr marL="2331175" algn="l" defTabSz="932470" rtl="0" eaLnBrk="1" latinLnBrk="0" hangingPunct="1">
        <a:defRPr sz="1800" kern="1200">
          <a:solidFill>
            <a:schemeClr val="tx1"/>
          </a:solidFill>
          <a:latin typeface="+mn-lt"/>
          <a:ea typeface="+mn-ea"/>
          <a:cs typeface="+mn-cs"/>
        </a:defRPr>
      </a:lvl6pPr>
      <a:lvl7pPr marL="2797409" algn="l" defTabSz="932470" rtl="0" eaLnBrk="1" latinLnBrk="0" hangingPunct="1">
        <a:defRPr sz="1800" kern="1200">
          <a:solidFill>
            <a:schemeClr val="tx1"/>
          </a:solidFill>
          <a:latin typeface="+mn-lt"/>
          <a:ea typeface="+mn-ea"/>
          <a:cs typeface="+mn-cs"/>
        </a:defRPr>
      </a:lvl7pPr>
      <a:lvl8pPr marL="3263644" algn="l" defTabSz="932470" rtl="0" eaLnBrk="1" latinLnBrk="0" hangingPunct="1">
        <a:defRPr sz="1800" kern="1200">
          <a:solidFill>
            <a:schemeClr val="tx1"/>
          </a:solidFill>
          <a:latin typeface="+mn-lt"/>
          <a:ea typeface="+mn-ea"/>
          <a:cs typeface="+mn-cs"/>
        </a:defRPr>
      </a:lvl8pPr>
      <a:lvl9pPr marL="3729880" algn="l" defTabSz="93247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79">
          <p15:clr>
            <a:srgbClr val="C35EA4"/>
          </p15:clr>
        </p15:guide>
        <p15:guide id="17" pos="7400">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5"/>
            </p:custDataLst>
            <p:extLst/>
          </p:nvPr>
        </p:nvGraphicFramePr>
        <p:xfrm>
          <a:off x="1588" y="1590"/>
          <a:ext cx="1587" cy="1587"/>
        </p:xfrm>
        <a:graphic>
          <a:graphicData uri="http://schemas.openxmlformats.org/presentationml/2006/ole">
            <mc:AlternateContent xmlns:mc="http://schemas.openxmlformats.org/markup-compatibility/2006">
              <mc:Choice xmlns:v="urn:schemas-microsoft-com:vml" Requires="v">
                <p:oleObj spid="_x0000_s1029" name="think-cell Slide" r:id="rId16" imgW="377" imgH="377" progId="TCLayout.ActiveDocument.1">
                  <p:embed/>
                </p:oleObj>
              </mc:Choice>
              <mc:Fallback>
                <p:oleObj name="think-cell Slide" r:id="rId16" imgW="377" imgH="377" progId="TCLayout.ActiveDocument.1">
                  <p:embed/>
                  <p:pic>
                    <p:nvPicPr>
                      <p:cNvPr id="4" name="Object 3" hidden="1"/>
                      <p:cNvPicPr/>
                      <p:nvPr/>
                    </p:nvPicPr>
                    <p:blipFill>
                      <a:blip r:embed="rId17"/>
                      <a:stretch>
                        <a:fillRect/>
                      </a:stretch>
                    </p:blipFill>
                    <p:spPr>
                      <a:xfrm>
                        <a:off x="1588" y="1590"/>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274604" y="295277"/>
            <a:ext cx="11887270"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2051" name="Text Placeholder 3"/>
          <p:cNvSpPr>
            <a:spLocks noGrp="1"/>
          </p:cNvSpPr>
          <p:nvPr>
            <p:ph type="body" idx="1"/>
          </p:nvPr>
        </p:nvSpPr>
        <p:spPr bwMode="auto">
          <a:xfrm>
            <a:off x="274604" y="1304927"/>
            <a:ext cx="11885683" cy="2092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182880" tIns="146304" rIns="182880" bIns="146304"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ooter Placeholder 2"/>
          <p:cNvSpPr>
            <a:spLocks noGrp="1"/>
          </p:cNvSpPr>
          <p:nvPr>
            <p:ph type="ftr" sz="quarter" idx="3"/>
          </p:nvPr>
        </p:nvSpPr>
        <p:spPr>
          <a:xfrm>
            <a:off x="457141" y="6565902"/>
            <a:ext cx="3936498" cy="136525"/>
          </a:xfrm>
          <a:prstGeom prst="rect">
            <a:avLst/>
          </a:prstGeom>
        </p:spPr>
        <p:txBody>
          <a:bodyPr vert="horz" lIns="0" tIns="0" rIns="91440" bIns="0" rtlCol="0" anchor="ctr"/>
          <a:lstStyle>
            <a:lvl1pPr marL="0" algn="l" defTabSz="932470" rtl="0" eaLnBrk="1" fontAlgn="auto" latinLnBrk="0" hangingPunct="1">
              <a:spcBef>
                <a:spcPts val="0"/>
              </a:spcBef>
              <a:spcAft>
                <a:spcPts val="0"/>
              </a:spcAft>
              <a:defRPr lang="en-US" sz="900" kern="1200" dirty="0" smtClean="0">
                <a:solidFill>
                  <a:srgbClr val="505050"/>
                </a:solidFill>
                <a:latin typeface="+mn-lt"/>
                <a:ea typeface="+mn-ea"/>
                <a:cs typeface="+mn-cs"/>
              </a:defRPr>
            </a:lvl1pPr>
          </a:lstStyle>
          <a:p>
            <a:pPr>
              <a:defRPr/>
            </a:pPr>
            <a:endParaRPr/>
          </a:p>
        </p:txBody>
      </p:sp>
      <p:sp>
        <p:nvSpPr>
          <p:cNvPr id="5" name="Slide Number Placeholder 4"/>
          <p:cNvSpPr>
            <a:spLocks noGrp="1"/>
          </p:cNvSpPr>
          <p:nvPr>
            <p:ph type="sldNum" sz="quarter" idx="4"/>
          </p:nvPr>
        </p:nvSpPr>
        <p:spPr>
          <a:xfrm>
            <a:off x="11593621" y="6565902"/>
            <a:ext cx="566666" cy="136525"/>
          </a:xfrm>
          <a:prstGeom prst="rect">
            <a:avLst/>
          </a:prstGeom>
        </p:spPr>
        <p:txBody>
          <a:bodyPr vert="horz" lIns="91440" tIns="0" rIns="0" bIns="0" rtlCol="0" anchor="ctr"/>
          <a:lstStyle>
            <a:lvl1pPr algn="r" defTabSz="932470" fontAlgn="auto">
              <a:spcBef>
                <a:spcPts val="0"/>
              </a:spcBef>
              <a:spcAft>
                <a:spcPts val="0"/>
              </a:spcAft>
              <a:defRPr lang="en-US" sz="900" b="0" kern="1200">
                <a:solidFill>
                  <a:srgbClr val="505050"/>
                </a:solidFill>
                <a:latin typeface="+mn-lt"/>
                <a:ea typeface="+mn-ea"/>
                <a:cs typeface="+mn-cs"/>
              </a:defRPr>
            </a:lvl1pPr>
          </a:lstStyle>
          <a:p>
            <a:pPr>
              <a:defRPr/>
            </a:pPr>
            <a:fld id="{75FAD755-3BD0-2447-A9DF-109DAABEFD99}" type="slidenum">
              <a:rPr/>
              <a:pPr>
                <a:defRPr/>
              </a:pPr>
              <a:t>‹#›</a:t>
            </a:fld>
            <a:endParaRPr dirty="0"/>
          </a:p>
        </p:txBody>
      </p:sp>
      <p:pic>
        <p:nvPicPr>
          <p:cNvPr id="6" name="Picture 5"/>
          <p:cNvPicPr>
            <a:picLocks noChangeAspect="1"/>
          </p:cNvPicPr>
          <p:nvPr userDrawn="1"/>
        </p:nvPicPr>
        <p:blipFill>
          <a:blip r:embed="rId18" cstate="print">
            <a:extLst>
              <a:ext uri="{28A0092B-C50C-407E-A947-70E740481C1C}">
                <a14:useLocalDpi xmlns:a14="http://schemas.microsoft.com/office/drawing/2010/main" val="0"/>
              </a:ext>
            </a:extLst>
          </a:blip>
          <a:stretch>
            <a:fillRect/>
          </a:stretch>
        </p:blipFill>
        <p:spPr>
          <a:xfrm rot="5400000">
            <a:off x="10530777" y="1944363"/>
            <a:ext cx="4298019" cy="409299"/>
          </a:xfrm>
          <a:prstGeom prst="rect">
            <a:avLst/>
          </a:prstGeom>
        </p:spPr>
      </p:pic>
    </p:spTree>
    <p:extLst>
      <p:ext uri="{BB962C8B-B14F-4D97-AF65-F5344CB8AC3E}">
        <p14:creationId xmlns:p14="http://schemas.microsoft.com/office/powerpoint/2010/main" val="3475163070"/>
      </p:ext>
    </p:extLst>
  </p:cSld>
  <p:clrMap bg1="lt1" tx1="dk1" bg2="lt2" tx2="dk2" accent1="accent1" accent2="accent2" accent3="accent3" accent4="accent4" accent5="accent5" accent6="accent6" hlink="hlink" folHlink="folHlink"/>
  <p:sldLayoutIdLst>
    <p:sldLayoutId id="2147484486" r:id="rId1"/>
    <p:sldLayoutId id="2147484487" r:id="rId2"/>
    <p:sldLayoutId id="2147484488" r:id="rId3"/>
    <p:sldLayoutId id="2147484489" r:id="rId4"/>
    <p:sldLayoutId id="2147484490" r:id="rId5"/>
    <p:sldLayoutId id="2147484491" r:id="rId6"/>
    <p:sldLayoutId id="2147484492" r:id="rId7"/>
    <p:sldLayoutId id="2147484493" r:id="rId8"/>
    <p:sldLayoutId id="2147484494" r:id="rId9"/>
    <p:sldLayoutId id="2147484495" r:id="rId10"/>
    <p:sldLayoutId id="2147484496" r:id="rId11"/>
    <p:sldLayoutId id="2147484497" r:id="rId12"/>
  </p:sldLayoutIdLst>
  <p:transition>
    <p:fade/>
  </p:transition>
  <p:hf hdr="0" ftr="0" dt="0"/>
  <p:txStyles>
    <p:titleStyle>
      <a:lvl1pPr algn="l" defTabSz="931591" rtl="0" eaLnBrk="1" fontAlgn="base" hangingPunct="1">
        <a:lnSpc>
          <a:spcPct val="90000"/>
        </a:lnSpc>
        <a:spcBef>
          <a:spcPct val="0"/>
        </a:spcBef>
        <a:spcAft>
          <a:spcPct val="0"/>
        </a:spcAft>
        <a:defRPr lang="en-US" sz="5398" kern="1200" spc="-102" dirty="0">
          <a:ln w="3175">
            <a:noFill/>
          </a:ln>
          <a:solidFill>
            <a:schemeClr val="tx2"/>
          </a:solidFill>
          <a:latin typeface="+mj-lt"/>
          <a:ea typeface="ＭＳ Ｐゴシック" charset="0"/>
          <a:cs typeface="Segoe UI" pitchFamily="34" charset="0"/>
        </a:defRPr>
      </a:lvl1pPr>
      <a:lvl2pPr algn="l" defTabSz="931591" rtl="0" eaLnBrk="1" fontAlgn="base" hangingPunct="1">
        <a:lnSpc>
          <a:spcPct val="90000"/>
        </a:lnSpc>
        <a:spcBef>
          <a:spcPct val="0"/>
        </a:spcBef>
        <a:spcAft>
          <a:spcPct val="0"/>
        </a:spcAft>
        <a:defRPr sz="5398">
          <a:solidFill>
            <a:schemeClr val="tx2"/>
          </a:solidFill>
          <a:latin typeface="Segoe UI Light" charset="0"/>
          <a:ea typeface="ＭＳ Ｐゴシック" charset="0"/>
          <a:cs typeface="Segoe UI" charset="0"/>
        </a:defRPr>
      </a:lvl2pPr>
      <a:lvl3pPr algn="l" defTabSz="931591" rtl="0" eaLnBrk="1" fontAlgn="base" hangingPunct="1">
        <a:lnSpc>
          <a:spcPct val="90000"/>
        </a:lnSpc>
        <a:spcBef>
          <a:spcPct val="0"/>
        </a:spcBef>
        <a:spcAft>
          <a:spcPct val="0"/>
        </a:spcAft>
        <a:defRPr sz="5398">
          <a:solidFill>
            <a:schemeClr val="tx2"/>
          </a:solidFill>
          <a:latin typeface="Segoe UI Light" charset="0"/>
          <a:ea typeface="ＭＳ Ｐゴシック" charset="0"/>
          <a:cs typeface="Segoe UI" charset="0"/>
        </a:defRPr>
      </a:lvl3pPr>
      <a:lvl4pPr algn="l" defTabSz="931591" rtl="0" eaLnBrk="1" fontAlgn="base" hangingPunct="1">
        <a:lnSpc>
          <a:spcPct val="90000"/>
        </a:lnSpc>
        <a:spcBef>
          <a:spcPct val="0"/>
        </a:spcBef>
        <a:spcAft>
          <a:spcPct val="0"/>
        </a:spcAft>
        <a:defRPr sz="5398">
          <a:solidFill>
            <a:schemeClr val="tx2"/>
          </a:solidFill>
          <a:latin typeface="Segoe UI Light" charset="0"/>
          <a:ea typeface="ＭＳ Ｐゴシック" charset="0"/>
          <a:cs typeface="Segoe UI" charset="0"/>
        </a:defRPr>
      </a:lvl4pPr>
      <a:lvl5pPr algn="l" defTabSz="931591" rtl="0" eaLnBrk="1" fontAlgn="base" hangingPunct="1">
        <a:lnSpc>
          <a:spcPct val="90000"/>
        </a:lnSpc>
        <a:spcBef>
          <a:spcPct val="0"/>
        </a:spcBef>
        <a:spcAft>
          <a:spcPct val="0"/>
        </a:spcAft>
        <a:defRPr sz="5398">
          <a:solidFill>
            <a:schemeClr val="tx2"/>
          </a:solidFill>
          <a:latin typeface="Segoe UI Light" charset="0"/>
          <a:ea typeface="ＭＳ Ｐゴシック" charset="0"/>
          <a:cs typeface="Segoe UI" charset="0"/>
        </a:defRPr>
      </a:lvl5pPr>
      <a:lvl6pPr marL="457066" algn="l" defTabSz="931591" rtl="0" eaLnBrk="1" fontAlgn="base" hangingPunct="1">
        <a:lnSpc>
          <a:spcPct val="90000"/>
        </a:lnSpc>
        <a:spcBef>
          <a:spcPct val="0"/>
        </a:spcBef>
        <a:spcAft>
          <a:spcPct val="0"/>
        </a:spcAft>
        <a:defRPr sz="5398">
          <a:solidFill>
            <a:schemeClr val="tx2"/>
          </a:solidFill>
          <a:latin typeface="Segoe UI Light" charset="0"/>
          <a:ea typeface="ＭＳ Ｐゴシック" charset="0"/>
          <a:cs typeface="Segoe UI" charset="0"/>
        </a:defRPr>
      </a:lvl6pPr>
      <a:lvl7pPr marL="914133" algn="l" defTabSz="931591" rtl="0" eaLnBrk="1" fontAlgn="base" hangingPunct="1">
        <a:lnSpc>
          <a:spcPct val="90000"/>
        </a:lnSpc>
        <a:spcBef>
          <a:spcPct val="0"/>
        </a:spcBef>
        <a:spcAft>
          <a:spcPct val="0"/>
        </a:spcAft>
        <a:defRPr sz="5398">
          <a:solidFill>
            <a:schemeClr val="tx2"/>
          </a:solidFill>
          <a:latin typeface="Segoe UI Light" charset="0"/>
          <a:ea typeface="ＭＳ Ｐゴシック" charset="0"/>
          <a:cs typeface="Segoe UI" charset="0"/>
        </a:defRPr>
      </a:lvl7pPr>
      <a:lvl8pPr marL="1371199" algn="l" defTabSz="931591" rtl="0" eaLnBrk="1" fontAlgn="base" hangingPunct="1">
        <a:lnSpc>
          <a:spcPct val="90000"/>
        </a:lnSpc>
        <a:spcBef>
          <a:spcPct val="0"/>
        </a:spcBef>
        <a:spcAft>
          <a:spcPct val="0"/>
        </a:spcAft>
        <a:defRPr sz="5398">
          <a:solidFill>
            <a:schemeClr val="tx2"/>
          </a:solidFill>
          <a:latin typeface="Segoe UI Light" charset="0"/>
          <a:ea typeface="ＭＳ Ｐゴシック" charset="0"/>
          <a:cs typeface="Segoe UI" charset="0"/>
        </a:defRPr>
      </a:lvl8pPr>
      <a:lvl9pPr marL="1828266" algn="l" defTabSz="931591" rtl="0" eaLnBrk="1" fontAlgn="base" hangingPunct="1">
        <a:lnSpc>
          <a:spcPct val="90000"/>
        </a:lnSpc>
        <a:spcBef>
          <a:spcPct val="0"/>
        </a:spcBef>
        <a:spcAft>
          <a:spcPct val="0"/>
        </a:spcAft>
        <a:defRPr sz="5398">
          <a:solidFill>
            <a:schemeClr val="tx2"/>
          </a:solidFill>
          <a:latin typeface="Segoe UI Light" charset="0"/>
          <a:ea typeface="ＭＳ Ｐゴシック" charset="0"/>
          <a:cs typeface="Segoe UI" charset="0"/>
        </a:defRPr>
      </a:lvl9pPr>
    </p:titleStyle>
    <p:bodyStyle>
      <a:lvl1pPr marL="342800" indent="-342800" algn="l" defTabSz="931591" rtl="0" eaLnBrk="1" fontAlgn="base" hangingPunct="1">
        <a:lnSpc>
          <a:spcPct val="90000"/>
        </a:lnSpc>
        <a:spcBef>
          <a:spcPct val="20000"/>
        </a:spcBef>
        <a:spcAft>
          <a:spcPct val="0"/>
        </a:spcAft>
        <a:buSzPct val="90000"/>
        <a:buFont typeface="Arial" charset="0"/>
        <a:buChar char="•"/>
        <a:defRPr sz="3999" kern="1200">
          <a:solidFill>
            <a:schemeClr val="tx2"/>
          </a:solidFill>
          <a:latin typeface="+mj-lt"/>
          <a:ea typeface="ＭＳ Ｐゴシック" charset="0"/>
          <a:cs typeface="ＭＳ Ｐゴシック" charset="0"/>
        </a:defRPr>
      </a:lvl1pPr>
      <a:lvl2pPr marL="584030" indent="-241229" algn="l" defTabSz="931591" rtl="0" eaLnBrk="1" fontAlgn="base" hangingPunct="1">
        <a:lnSpc>
          <a:spcPct val="90000"/>
        </a:lnSpc>
        <a:spcBef>
          <a:spcPct val="20000"/>
        </a:spcBef>
        <a:spcAft>
          <a:spcPct val="0"/>
        </a:spcAft>
        <a:buSzPct val="90000"/>
        <a:buFont typeface="Arial" charset="0"/>
        <a:buChar char="•"/>
        <a:defRPr sz="2400" kern="1200">
          <a:solidFill>
            <a:schemeClr val="tx2"/>
          </a:solidFill>
          <a:latin typeface="+mn-lt"/>
          <a:ea typeface="ＭＳ Ｐゴシック" charset="0"/>
          <a:cs typeface="+mn-cs"/>
        </a:defRPr>
      </a:lvl2pPr>
      <a:lvl3pPr marL="799866" indent="-228534" algn="l" defTabSz="931591" rtl="0" eaLnBrk="1" fontAlgn="base" hangingPunct="1">
        <a:lnSpc>
          <a:spcPct val="90000"/>
        </a:lnSpc>
        <a:spcBef>
          <a:spcPct val="20000"/>
        </a:spcBef>
        <a:spcAft>
          <a:spcPct val="0"/>
        </a:spcAft>
        <a:buSzPct val="90000"/>
        <a:buFont typeface="Arial" charset="0"/>
        <a:buChar char="•"/>
        <a:defRPr sz="2000" kern="1200">
          <a:solidFill>
            <a:schemeClr val="tx2"/>
          </a:solidFill>
          <a:latin typeface="+mn-lt"/>
          <a:ea typeface="ＭＳ Ｐゴシック" charset="0"/>
          <a:cs typeface="+mn-cs"/>
        </a:defRPr>
      </a:lvl3pPr>
      <a:lvl4pPr marL="1028400" indent="-228534" algn="l" defTabSz="931591" rtl="0" eaLnBrk="1" fontAlgn="base" hangingPunct="1">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4pPr>
      <a:lvl5pPr marL="1256932" indent="-228534" algn="l" defTabSz="931591" rtl="0" eaLnBrk="1" fontAlgn="base" hangingPunct="1">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5pPr>
      <a:lvl6pPr marL="2564292" indent="-233118" algn="l" defTabSz="93247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527" indent="-233118" algn="l" defTabSz="93247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6762" indent="-233118" algn="l" defTabSz="93247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2998" indent="-233118" algn="l" defTabSz="93247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470" rtl="0" eaLnBrk="1" latinLnBrk="0" hangingPunct="1">
        <a:defRPr sz="1800" kern="1200">
          <a:solidFill>
            <a:schemeClr val="tx1"/>
          </a:solidFill>
          <a:latin typeface="+mn-lt"/>
          <a:ea typeface="+mn-ea"/>
          <a:cs typeface="+mn-cs"/>
        </a:defRPr>
      </a:lvl1pPr>
      <a:lvl2pPr marL="466234" algn="l" defTabSz="932470" rtl="0" eaLnBrk="1" latinLnBrk="0" hangingPunct="1">
        <a:defRPr sz="1800" kern="1200">
          <a:solidFill>
            <a:schemeClr val="tx1"/>
          </a:solidFill>
          <a:latin typeface="+mn-lt"/>
          <a:ea typeface="+mn-ea"/>
          <a:cs typeface="+mn-cs"/>
        </a:defRPr>
      </a:lvl2pPr>
      <a:lvl3pPr marL="932470" algn="l" defTabSz="932470" rtl="0" eaLnBrk="1" latinLnBrk="0" hangingPunct="1">
        <a:defRPr sz="1800" kern="1200">
          <a:solidFill>
            <a:schemeClr val="tx1"/>
          </a:solidFill>
          <a:latin typeface="+mn-lt"/>
          <a:ea typeface="+mn-ea"/>
          <a:cs typeface="+mn-cs"/>
        </a:defRPr>
      </a:lvl3pPr>
      <a:lvl4pPr marL="1398704" algn="l" defTabSz="932470" rtl="0" eaLnBrk="1" latinLnBrk="0" hangingPunct="1">
        <a:defRPr sz="1800" kern="1200">
          <a:solidFill>
            <a:schemeClr val="tx1"/>
          </a:solidFill>
          <a:latin typeface="+mn-lt"/>
          <a:ea typeface="+mn-ea"/>
          <a:cs typeface="+mn-cs"/>
        </a:defRPr>
      </a:lvl4pPr>
      <a:lvl5pPr marL="1864939" algn="l" defTabSz="932470" rtl="0" eaLnBrk="1" latinLnBrk="0" hangingPunct="1">
        <a:defRPr sz="1800" kern="1200">
          <a:solidFill>
            <a:schemeClr val="tx1"/>
          </a:solidFill>
          <a:latin typeface="+mn-lt"/>
          <a:ea typeface="+mn-ea"/>
          <a:cs typeface="+mn-cs"/>
        </a:defRPr>
      </a:lvl5pPr>
      <a:lvl6pPr marL="2331175" algn="l" defTabSz="932470" rtl="0" eaLnBrk="1" latinLnBrk="0" hangingPunct="1">
        <a:defRPr sz="1800" kern="1200">
          <a:solidFill>
            <a:schemeClr val="tx1"/>
          </a:solidFill>
          <a:latin typeface="+mn-lt"/>
          <a:ea typeface="+mn-ea"/>
          <a:cs typeface="+mn-cs"/>
        </a:defRPr>
      </a:lvl6pPr>
      <a:lvl7pPr marL="2797409" algn="l" defTabSz="932470" rtl="0" eaLnBrk="1" latinLnBrk="0" hangingPunct="1">
        <a:defRPr sz="1800" kern="1200">
          <a:solidFill>
            <a:schemeClr val="tx1"/>
          </a:solidFill>
          <a:latin typeface="+mn-lt"/>
          <a:ea typeface="+mn-ea"/>
          <a:cs typeface="+mn-cs"/>
        </a:defRPr>
      </a:lvl7pPr>
      <a:lvl8pPr marL="3263644" algn="l" defTabSz="932470" rtl="0" eaLnBrk="1" latinLnBrk="0" hangingPunct="1">
        <a:defRPr sz="1800" kern="1200">
          <a:solidFill>
            <a:schemeClr val="tx1"/>
          </a:solidFill>
          <a:latin typeface="+mn-lt"/>
          <a:ea typeface="+mn-ea"/>
          <a:cs typeface="+mn-cs"/>
        </a:defRPr>
      </a:lvl8pPr>
      <a:lvl9pPr marL="3729880" algn="l" defTabSz="93247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293">
          <p15:clr>
            <a:srgbClr val="C35EA4"/>
          </p15:clr>
        </p15:guide>
        <p15:guide id="2" pos="7565">
          <p15:clr>
            <a:srgbClr val="C35EA4"/>
          </p15:clr>
        </p15:guide>
        <p15:guide id="3" orient="horz" pos="302">
          <p15:clr>
            <a:srgbClr val="C35EA4"/>
          </p15:clr>
        </p15:guide>
        <p15:guide id="4" orient="horz" pos="815">
          <p15:clr>
            <a:srgbClr val="C35EA4"/>
          </p15:clr>
        </p15:guide>
        <p15:guide id="5" orient="horz" pos="4075">
          <p15:clr>
            <a:srgbClr val="C35EA4"/>
          </p15:clr>
        </p15:guide>
        <p15:guide id="6" orient="horz" pos="763">
          <p15:clr>
            <a:srgbClr val="C35E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0.xml"/></Relationships>
</file>

<file path=ppt/slides/_rels/slide100.xml.rels><?xml version="1.0" encoding="UTF-8" standalone="yes"?>
<Relationships xmlns="http://schemas.openxmlformats.org/package/2006/relationships"><Relationship Id="rId2" Type="http://schemas.openxmlformats.org/officeDocument/2006/relationships/notesSlide" Target="../notesSlides/notesSlide100.xml"/><Relationship Id="rId1" Type="http://schemas.openxmlformats.org/officeDocument/2006/relationships/slideLayout" Target="../slideLayouts/slideLayout10.xml"/></Relationships>
</file>

<file path=ppt/slides/_rels/slide101.xml.rels><?xml version="1.0" encoding="UTF-8" standalone="yes"?>
<Relationships xmlns="http://schemas.openxmlformats.org/package/2006/relationships"><Relationship Id="rId3" Type="http://schemas.openxmlformats.org/officeDocument/2006/relationships/image" Target="../media/image172.png"/><Relationship Id="rId2" Type="http://schemas.openxmlformats.org/officeDocument/2006/relationships/notesSlide" Target="../notesSlides/notesSlide101.xml"/><Relationship Id="rId1" Type="http://schemas.openxmlformats.org/officeDocument/2006/relationships/slideLayout" Target="../slideLayouts/slideLayout9.xml"/></Relationships>
</file>

<file path=ppt/slides/_rels/slide102.xml.rels><?xml version="1.0" encoding="UTF-8" standalone="yes"?>
<Relationships xmlns="http://schemas.openxmlformats.org/package/2006/relationships"><Relationship Id="rId2" Type="http://schemas.openxmlformats.org/officeDocument/2006/relationships/notesSlide" Target="../notesSlides/notesSlide102.xml"/><Relationship Id="rId1" Type="http://schemas.openxmlformats.org/officeDocument/2006/relationships/slideLayout" Target="../slideLayouts/slideLayout9.xml"/></Relationships>
</file>

<file path=ppt/slides/_rels/slide103.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103.xml"/><Relationship Id="rId1" Type="http://schemas.openxmlformats.org/officeDocument/2006/relationships/slideLayout" Target="../slideLayouts/slideLayout9.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104.xml.rels><?xml version="1.0" encoding="UTF-8" standalone="yes"?>
<Relationships xmlns="http://schemas.openxmlformats.org/package/2006/relationships"><Relationship Id="rId2" Type="http://schemas.openxmlformats.org/officeDocument/2006/relationships/notesSlide" Target="../notesSlides/notesSlide104.xml"/><Relationship Id="rId1" Type="http://schemas.openxmlformats.org/officeDocument/2006/relationships/slideLayout" Target="../slideLayouts/slideLayout9.xml"/></Relationships>
</file>

<file path=ppt/slides/_rels/slide105.xml.rels><?xml version="1.0" encoding="UTF-8" standalone="yes"?>
<Relationships xmlns="http://schemas.openxmlformats.org/package/2006/relationships"><Relationship Id="rId2" Type="http://schemas.openxmlformats.org/officeDocument/2006/relationships/notesSlide" Target="../notesSlides/notesSlide105.xml"/><Relationship Id="rId1" Type="http://schemas.openxmlformats.org/officeDocument/2006/relationships/slideLayout" Target="../slideLayouts/slideLayout9.xml"/></Relationships>
</file>

<file path=ppt/slides/_rels/slide106.xml.rels><?xml version="1.0" encoding="UTF-8" standalone="yes"?>
<Relationships xmlns="http://schemas.openxmlformats.org/package/2006/relationships"><Relationship Id="rId2" Type="http://schemas.openxmlformats.org/officeDocument/2006/relationships/notesSlide" Target="../notesSlides/notesSlide106.xml"/><Relationship Id="rId1" Type="http://schemas.openxmlformats.org/officeDocument/2006/relationships/slideLayout" Target="../slideLayouts/slideLayout3.xml"/></Relationships>
</file>

<file path=ppt/slides/_rels/slide107.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107.xml"/><Relationship Id="rId1" Type="http://schemas.openxmlformats.org/officeDocument/2006/relationships/slideLayout" Target="../slideLayouts/slideLayout9.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108.xml.rels><?xml version="1.0" encoding="UTF-8" standalone="yes"?>
<Relationships xmlns="http://schemas.openxmlformats.org/package/2006/relationships"><Relationship Id="rId3" Type="http://schemas.openxmlformats.org/officeDocument/2006/relationships/image" Target="../media/image173.emf"/><Relationship Id="rId2" Type="http://schemas.openxmlformats.org/officeDocument/2006/relationships/notesSlide" Target="../notesSlides/notesSlide108.xml"/><Relationship Id="rId1" Type="http://schemas.openxmlformats.org/officeDocument/2006/relationships/slideLayout" Target="../slideLayouts/slideLayout9.xml"/><Relationship Id="rId4" Type="http://schemas.openxmlformats.org/officeDocument/2006/relationships/image" Target="../media/image174.png"/></Relationships>
</file>

<file path=ppt/slides/_rels/slide109.xml.rels><?xml version="1.0" encoding="UTF-8" standalone="yes"?>
<Relationships xmlns="http://schemas.openxmlformats.org/package/2006/relationships"><Relationship Id="rId3" Type="http://schemas.openxmlformats.org/officeDocument/2006/relationships/image" Target="../media/image173.emf"/><Relationship Id="rId2" Type="http://schemas.openxmlformats.org/officeDocument/2006/relationships/notesSlide" Target="../notesSlides/notesSlide109.xml"/><Relationship Id="rId1" Type="http://schemas.openxmlformats.org/officeDocument/2006/relationships/slideLayout" Target="../slideLayouts/slideLayout9.xml"/><Relationship Id="rId4" Type="http://schemas.openxmlformats.org/officeDocument/2006/relationships/image" Target="../media/image174.png"/></Relationships>
</file>

<file path=ppt/slides/_rels/slide11.xml.rels><?xml version="1.0" encoding="UTF-8" standalone="yes"?>
<Relationships xmlns="http://schemas.openxmlformats.org/package/2006/relationships"><Relationship Id="rId3" Type="http://schemas.openxmlformats.org/officeDocument/2006/relationships/image" Target="../media/image94.png"/><Relationship Id="rId2" Type="http://schemas.openxmlformats.org/officeDocument/2006/relationships/notesSlide" Target="../notesSlides/notesSlide11.xml"/><Relationship Id="rId1" Type="http://schemas.openxmlformats.org/officeDocument/2006/relationships/slideLayout" Target="../slideLayouts/slideLayout14.xml"/><Relationship Id="rId4" Type="http://schemas.openxmlformats.org/officeDocument/2006/relationships/image" Target="../media/image95.png"/></Relationships>
</file>

<file path=ppt/slides/_rels/slide110.xml.rels><?xml version="1.0" encoding="UTF-8" standalone="yes"?>
<Relationships xmlns="http://schemas.openxmlformats.org/package/2006/relationships"><Relationship Id="rId2" Type="http://schemas.openxmlformats.org/officeDocument/2006/relationships/notesSlide" Target="../notesSlides/notesSlide110.xml"/><Relationship Id="rId1" Type="http://schemas.openxmlformats.org/officeDocument/2006/relationships/slideLayout" Target="../slideLayouts/slideLayout3.xml"/></Relationships>
</file>

<file path=ppt/slides/_rels/slide111.xml.rels><?xml version="1.0" encoding="UTF-8" standalone="yes"?>
<Relationships xmlns="http://schemas.openxmlformats.org/package/2006/relationships"><Relationship Id="rId3" Type="http://schemas.openxmlformats.org/officeDocument/2006/relationships/hyperlink" Target="https://blogs.technet.microsoft.com/enterprisemobility/2016/08/12/application-remoting-and-the-cloud/" TargetMode="External"/><Relationship Id="rId2" Type="http://schemas.openxmlformats.org/officeDocument/2006/relationships/notesSlide" Target="../notesSlides/notesSlide111.xml"/><Relationship Id="rId1" Type="http://schemas.openxmlformats.org/officeDocument/2006/relationships/slideLayout" Target="../slideLayouts/slideLayout9.xml"/></Relationships>
</file>

<file path=ppt/slides/_rels/slide112.xml.rels><?xml version="1.0" encoding="UTF-8" standalone="yes"?>
<Relationships xmlns="http://schemas.openxmlformats.org/package/2006/relationships"><Relationship Id="rId2" Type="http://schemas.openxmlformats.org/officeDocument/2006/relationships/notesSlide" Target="../notesSlides/notesSlide112.xml"/><Relationship Id="rId1" Type="http://schemas.openxmlformats.org/officeDocument/2006/relationships/slideLayout" Target="../slideLayouts/slideLayout9.xml"/></Relationships>
</file>

<file path=ppt/slides/_rels/slide113.xml.rels><?xml version="1.0" encoding="UTF-8" standalone="yes"?>
<Relationships xmlns="http://schemas.openxmlformats.org/package/2006/relationships"><Relationship Id="rId2" Type="http://schemas.openxmlformats.org/officeDocument/2006/relationships/notesSlide" Target="../notesSlides/notesSlide113.xml"/><Relationship Id="rId1" Type="http://schemas.openxmlformats.org/officeDocument/2006/relationships/slideLayout" Target="../slideLayouts/slideLayout9.xml"/></Relationships>
</file>

<file path=ppt/slides/_rels/slide114.xml.rels><?xml version="1.0" encoding="UTF-8" standalone="yes"?>
<Relationships xmlns="http://schemas.openxmlformats.org/package/2006/relationships"><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notesSlide" Target="../notesSlides/notesSlide114.xml"/><Relationship Id="rId1" Type="http://schemas.openxmlformats.org/officeDocument/2006/relationships/slideLayout" Target="../slideLayouts/slideLayout9.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_rels/slide115.xml.rels><?xml version="1.0" encoding="UTF-8" standalone="yes"?>
<Relationships xmlns="http://schemas.openxmlformats.org/package/2006/relationships"><Relationship Id="rId2" Type="http://schemas.openxmlformats.org/officeDocument/2006/relationships/notesSlide" Target="../notesSlides/notesSlide115.xml"/><Relationship Id="rId1" Type="http://schemas.openxmlformats.org/officeDocument/2006/relationships/slideLayout" Target="../slideLayouts/slideLayout7.xml"/></Relationships>
</file>

<file path=ppt/slides/_rels/slide116.xml.rels><?xml version="1.0" encoding="UTF-8" standalone="yes"?>
<Relationships xmlns="http://schemas.openxmlformats.org/package/2006/relationships"><Relationship Id="rId3" Type="http://schemas.openxmlformats.org/officeDocument/2006/relationships/image" Target="../media/image121.png"/><Relationship Id="rId2" Type="http://schemas.openxmlformats.org/officeDocument/2006/relationships/notesSlide" Target="../notesSlides/notesSlide116.xml"/><Relationship Id="rId1" Type="http://schemas.openxmlformats.org/officeDocument/2006/relationships/slideLayout" Target="../slideLayouts/slideLayout3.xml"/></Relationships>
</file>

<file path=ppt/slides/_rels/slide117.xml.rels><?xml version="1.0" encoding="UTF-8" standalone="yes"?>
<Relationships xmlns="http://schemas.openxmlformats.org/package/2006/relationships"><Relationship Id="rId2" Type="http://schemas.openxmlformats.org/officeDocument/2006/relationships/notesSlide" Target="../notesSlides/notesSlide117.xml"/><Relationship Id="rId1" Type="http://schemas.openxmlformats.org/officeDocument/2006/relationships/slideLayout" Target="../slideLayouts/slideLayout10.xml"/></Relationships>
</file>

<file path=ppt/slides/_rels/slide118.xml.rels><?xml version="1.0" encoding="UTF-8" standalone="yes"?>
<Relationships xmlns="http://schemas.openxmlformats.org/package/2006/relationships"><Relationship Id="rId8" Type="http://schemas.openxmlformats.org/officeDocument/2006/relationships/image" Target="../media/image180.png"/><Relationship Id="rId13" Type="http://schemas.openxmlformats.org/officeDocument/2006/relationships/image" Target="../media/image185.png"/><Relationship Id="rId18" Type="http://schemas.openxmlformats.org/officeDocument/2006/relationships/image" Target="../media/image190.png"/><Relationship Id="rId3" Type="http://schemas.openxmlformats.org/officeDocument/2006/relationships/image" Target="../media/image175.png"/><Relationship Id="rId21" Type="http://schemas.openxmlformats.org/officeDocument/2006/relationships/image" Target="../media/image193.png"/><Relationship Id="rId7" Type="http://schemas.openxmlformats.org/officeDocument/2006/relationships/image" Target="../media/image179.png"/><Relationship Id="rId12" Type="http://schemas.openxmlformats.org/officeDocument/2006/relationships/image" Target="../media/image184.png"/><Relationship Id="rId17" Type="http://schemas.openxmlformats.org/officeDocument/2006/relationships/image" Target="../media/image189.png"/><Relationship Id="rId25" Type="http://schemas.openxmlformats.org/officeDocument/2006/relationships/image" Target="../media/image197.png"/><Relationship Id="rId2" Type="http://schemas.openxmlformats.org/officeDocument/2006/relationships/notesSlide" Target="../notesSlides/notesSlide118.xml"/><Relationship Id="rId16" Type="http://schemas.openxmlformats.org/officeDocument/2006/relationships/image" Target="../media/image188.png"/><Relationship Id="rId20" Type="http://schemas.openxmlformats.org/officeDocument/2006/relationships/image" Target="../media/image192.png"/><Relationship Id="rId1" Type="http://schemas.openxmlformats.org/officeDocument/2006/relationships/slideLayout" Target="../slideLayouts/slideLayout9.xml"/><Relationship Id="rId6" Type="http://schemas.openxmlformats.org/officeDocument/2006/relationships/image" Target="../media/image178.png"/><Relationship Id="rId11" Type="http://schemas.openxmlformats.org/officeDocument/2006/relationships/image" Target="../media/image183.png"/><Relationship Id="rId24" Type="http://schemas.openxmlformats.org/officeDocument/2006/relationships/image" Target="../media/image196.png"/><Relationship Id="rId5" Type="http://schemas.openxmlformats.org/officeDocument/2006/relationships/image" Target="../media/image177.png"/><Relationship Id="rId15" Type="http://schemas.openxmlformats.org/officeDocument/2006/relationships/image" Target="../media/image187.png"/><Relationship Id="rId23" Type="http://schemas.openxmlformats.org/officeDocument/2006/relationships/image" Target="../media/image195.png"/><Relationship Id="rId10" Type="http://schemas.openxmlformats.org/officeDocument/2006/relationships/image" Target="../media/image182.png"/><Relationship Id="rId19" Type="http://schemas.openxmlformats.org/officeDocument/2006/relationships/image" Target="../media/image191.png"/><Relationship Id="rId4" Type="http://schemas.openxmlformats.org/officeDocument/2006/relationships/image" Target="../media/image176.png"/><Relationship Id="rId9" Type="http://schemas.openxmlformats.org/officeDocument/2006/relationships/image" Target="../media/image181.png"/><Relationship Id="rId14" Type="http://schemas.openxmlformats.org/officeDocument/2006/relationships/image" Target="../media/image186.png"/><Relationship Id="rId22" Type="http://schemas.openxmlformats.org/officeDocument/2006/relationships/image" Target="../media/image194.png"/></Relationships>
</file>

<file path=ppt/slides/_rels/slide119.xml.rels><?xml version="1.0" encoding="UTF-8" standalone="yes"?>
<Relationships xmlns="http://schemas.openxmlformats.org/package/2006/relationships"><Relationship Id="rId8" Type="http://schemas.openxmlformats.org/officeDocument/2006/relationships/image" Target="../media/image180.png"/><Relationship Id="rId3" Type="http://schemas.openxmlformats.org/officeDocument/2006/relationships/image" Target="../media/image192.png"/><Relationship Id="rId7" Type="http://schemas.openxmlformats.org/officeDocument/2006/relationships/image" Target="../media/image201.png"/><Relationship Id="rId2" Type="http://schemas.openxmlformats.org/officeDocument/2006/relationships/notesSlide" Target="../notesSlides/notesSlide119.xml"/><Relationship Id="rId1" Type="http://schemas.openxmlformats.org/officeDocument/2006/relationships/slideLayout" Target="../slideLayouts/slideLayout9.xml"/><Relationship Id="rId6" Type="http://schemas.openxmlformats.org/officeDocument/2006/relationships/image" Target="../media/image200.png"/><Relationship Id="rId5" Type="http://schemas.openxmlformats.org/officeDocument/2006/relationships/image" Target="../media/image199.png"/><Relationship Id="rId4" Type="http://schemas.openxmlformats.org/officeDocument/2006/relationships/image" Target="../media/image198.png"/></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3.xml"/></Relationships>
</file>

<file path=ppt/slides/_rels/slide120.xml.rels><?xml version="1.0" encoding="UTF-8" standalone="yes"?>
<Relationships xmlns="http://schemas.openxmlformats.org/package/2006/relationships"><Relationship Id="rId3" Type="http://schemas.openxmlformats.org/officeDocument/2006/relationships/image" Target="../media/image198.png"/><Relationship Id="rId2" Type="http://schemas.openxmlformats.org/officeDocument/2006/relationships/notesSlide" Target="../notesSlides/notesSlide120.xml"/><Relationship Id="rId1" Type="http://schemas.openxmlformats.org/officeDocument/2006/relationships/slideLayout" Target="../slideLayouts/slideLayout9.xml"/><Relationship Id="rId6" Type="http://schemas.openxmlformats.org/officeDocument/2006/relationships/image" Target="../media/image202.png"/><Relationship Id="rId5" Type="http://schemas.openxmlformats.org/officeDocument/2006/relationships/image" Target="../media/image201.png"/><Relationship Id="rId4" Type="http://schemas.openxmlformats.org/officeDocument/2006/relationships/image" Target="../media/image199.png"/></Relationships>
</file>

<file path=ppt/slides/_rels/slide121.xml.rels><?xml version="1.0" encoding="UTF-8" standalone="yes"?>
<Relationships xmlns="http://schemas.openxmlformats.org/package/2006/relationships"><Relationship Id="rId2" Type="http://schemas.openxmlformats.org/officeDocument/2006/relationships/notesSlide" Target="../notesSlides/notesSlide121.xml"/><Relationship Id="rId1" Type="http://schemas.openxmlformats.org/officeDocument/2006/relationships/slideLayout" Target="../slideLayouts/slideLayout9.xml"/></Relationships>
</file>

<file path=ppt/slides/_rels/slide122.xml.rels><?xml version="1.0" encoding="UTF-8" standalone="yes"?>
<Relationships xmlns="http://schemas.openxmlformats.org/package/2006/relationships"><Relationship Id="rId3" Type="http://schemas.openxmlformats.org/officeDocument/2006/relationships/image" Target="../media/image203.png"/><Relationship Id="rId2" Type="http://schemas.openxmlformats.org/officeDocument/2006/relationships/notesSlide" Target="../notesSlides/notesSlide122.xml"/><Relationship Id="rId1" Type="http://schemas.openxmlformats.org/officeDocument/2006/relationships/slideLayout" Target="../slideLayouts/slideLayout9.xml"/><Relationship Id="rId4" Type="http://schemas.openxmlformats.org/officeDocument/2006/relationships/image" Target="../media/image121.png"/></Relationships>
</file>

<file path=ppt/slides/_rels/slide123.xml.rels><?xml version="1.0" encoding="UTF-8" standalone="yes"?>
<Relationships xmlns="http://schemas.openxmlformats.org/package/2006/relationships"><Relationship Id="rId2" Type="http://schemas.openxmlformats.org/officeDocument/2006/relationships/notesSlide" Target="../notesSlides/notesSlide123.xml"/><Relationship Id="rId1" Type="http://schemas.openxmlformats.org/officeDocument/2006/relationships/slideLayout" Target="../slideLayouts/slideLayout3.xml"/></Relationships>
</file>

<file path=ppt/slides/_rels/slide124.xml.rels><?xml version="1.0" encoding="UTF-8" standalone="yes"?>
<Relationships xmlns="http://schemas.openxmlformats.org/package/2006/relationships"><Relationship Id="rId2" Type="http://schemas.openxmlformats.org/officeDocument/2006/relationships/notesSlide" Target="../notesSlides/notesSlide124.xml"/><Relationship Id="rId1" Type="http://schemas.openxmlformats.org/officeDocument/2006/relationships/slideLayout" Target="../slideLayouts/slideLayout9.xml"/></Relationships>
</file>

<file path=ppt/slides/_rels/slide125.xml.rels><?xml version="1.0" encoding="UTF-8" standalone="yes"?>
<Relationships xmlns="http://schemas.openxmlformats.org/package/2006/relationships"><Relationship Id="rId2" Type="http://schemas.openxmlformats.org/officeDocument/2006/relationships/notesSlide" Target="../notesSlides/notesSlide125.xml"/><Relationship Id="rId1" Type="http://schemas.openxmlformats.org/officeDocument/2006/relationships/slideLayout" Target="../slideLayouts/slideLayout3.xml"/></Relationships>
</file>

<file path=ppt/slides/_rels/slide126.xml.rels><?xml version="1.0" encoding="UTF-8" standalone="yes"?>
<Relationships xmlns="http://schemas.openxmlformats.org/package/2006/relationships"><Relationship Id="rId2" Type="http://schemas.openxmlformats.org/officeDocument/2006/relationships/notesSlide" Target="../notesSlides/notesSlide126.xml"/><Relationship Id="rId1" Type="http://schemas.openxmlformats.org/officeDocument/2006/relationships/slideLayout" Target="../slideLayouts/slideLayout3.xml"/></Relationships>
</file>

<file path=ppt/slides/_rels/slide127.xml.rels><?xml version="1.0" encoding="UTF-8" standalone="yes"?>
<Relationships xmlns="http://schemas.openxmlformats.org/package/2006/relationships"><Relationship Id="rId2" Type="http://schemas.openxmlformats.org/officeDocument/2006/relationships/notesSlide" Target="../notesSlides/notesSlide127.xml"/><Relationship Id="rId1" Type="http://schemas.openxmlformats.org/officeDocument/2006/relationships/slideLayout" Target="../slideLayouts/slideLayout3.xml"/></Relationships>
</file>

<file path=ppt/slides/_rels/slide128.xml.rels><?xml version="1.0" encoding="UTF-8" standalone="yes"?>
<Relationships xmlns="http://schemas.openxmlformats.org/package/2006/relationships"><Relationship Id="rId2" Type="http://schemas.openxmlformats.org/officeDocument/2006/relationships/notesSlide" Target="../notesSlides/notesSlide128.xml"/><Relationship Id="rId1" Type="http://schemas.openxmlformats.org/officeDocument/2006/relationships/slideLayout" Target="../slideLayouts/slideLayout3.xml"/></Relationships>
</file>

<file path=ppt/slides/_rels/slide129.xml.rels><?xml version="1.0" encoding="UTF-8" standalone="yes"?>
<Relationships xmlns="http://schemas.openxmlformats.org/package/2006/relationships"><Relationship Id="rId2" Type="http://schemas.openxmlformats.org/officeDocument/2006/relationships/notesSlide" Target="../notesSlides/notesSlide129.xml"/><Relationship Id="rId1" Type="http://schemas.openxmlformats.org/officeDocument/2006/relationships/slideLayout" Target="../slideLayouts/slideLayout10.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9.xml"/></Relationships>
</file>

<file path=ppt/slides/_rels/slide130.xml.rels><?xml version="1.0" encoding="UTF-8" standalone="yes"?>
<Relationships xmlns="http://schemas.openxmlformats.org/package/2006/relationships"><Relationship Id="rId2" Type="http://schemas.openxmlformats.org/officeDocument/2006/relationships/notesSlide" Target="../notesSlides/notesSlide130.xml"/><Relationship Id="rId1" Type="http://schemas.openxmlformats.org/officeDocument/2006/relationships/slideLayout" Target="../slideLayouts/slideLayout6.xml"/></Relationships>
</file>

<file path=ppt/slides/_rels/slide131.xml.rels><?xml version="1.0" encoding="UTF-8" standalone="yes"?>
<Relationships xmlns="http://schemas.openxmlformats.org/package/2006/relationships"><Relationship Id="rId3" Type="http://schemas.openxmlformats.org/officeDocument/2006/relationships/diagramData" Target="../diagrams/data5.xml"/><Relationship Id="rId7" Type="http://schemas.microsoft.com/office/2007/relationships/diagramDrawing" Target="../diagrams/drawing5.xml"/><Relationship Id="rId2" Type="http://schemas.openxmlformats.org/officeDocument/2006/relationships/notesSlide" Target="../notesSlides/notesSlide131.xml"/><Relationship Id="rId1" Type="http://schemas.openxmlformats.org/officeDocument/2006/relationships/slideLayout" Target="../slideLayouts/slideLayout9.xml"/><Relationship Id="rId6" Type="http://schemas.openxmlformats.org/officeDocument/2006/relationships/diagramColors" Target="../diagrams/colors5.xml"/><Relationship Id="rId5" Type="http://schemas.openxmlformats.org/officeDocument/2006/relationships/diagramQuickStyle" Target="../diagrams/quickStyle5.xml"/><Relationship Id="rId4" Type="http://schemas.openxmlformats.org/officeDocument/2006/relationships/diagramLayout" Target="../diagrams/layout5.xml"/></Relationships>
</file>

<file path=ppt/slides/_rels/slide132.xml.rels><?xml version="1.0" encoding="UTF-8" standalone="yes"?>
<Relationships xmlns="http://schemas.openxmlformats.org/package/2006/relationships"><Relationship Id="rId3" Type="http://schemas.openxmlformats.org/officeDocument/2006/relationships/image" Target="../media/image204.png"/><Relationship Id="rId2" Type="http://schemas.openxmlformats.org/officeDocument/2006/relationships/notesSlide" Target="../notesSlides/notesSlide132.xml"/><Relationship Id="rId1" Type="http://schemas.openxmlformats.org/officeDocument/2006/relationships/slideLayout" Target="../slideLayouts/slideLayout9.xml"/><Relationship Id="rId6" Type="http://schemas.openxmlformats.org/officeDocument/2006/relationships/image" Target="../media/image207.png"/><Relationship Id="rId5" Type="http://schemas.openxmlformats.org/officeDocument/2006/relationships/image" Target="../media/image206.png"/><Relationship Id="rId4" Type="http://schemas.openxmlformats.org/officeDocument/2006/relationships/image" Target="../media/image205.png"/></Relationships>
</file>

<file path=ppt/slides/_rels/slide133.xml.rels><?xml version="1.0" encoding="UTF-8" standalone="yes"?>
<Relationships xmlns="http://schemas.openxmlformats.org/package/2006/relationships"><Relationship Id="rId2" Type="http://schemas.openxmlformats.org/officeDocument/2006/relationships/notesSlide" Target="../notesSlides/notesSlide133.xml"/><Relationship Id="rId1" Type="http://schemas.openxmlformats.org/officeDocument/2006/relationships/slideLayout" Target="../slideLayouts/slideLayout3.xml"/></Relationships>
</file>

<file path=ppt/slides/_rels/slide134.xml.rels><?xml version="1.0" encoding="UTF-8" standalone="yes"?>
<Relationships xmlns="http://schemas.openxmlformats.org/package/2006/relationships"><Relationship Id="rId3" Type="http://schemas.openxmlformats.org/officeDocument/2006/relationships/image" Target="../media/image208.png"/><Relationship Id="rId2" Type="http://schemas.openxmlformats.org/officeDocument/2006/relationships/notesSlide" Target="../notesSlides/notesSlide134.xml"/><Relationship Id="rId1" Type="http://schemas.openxmlformats.org/officeDocument/2006/relationships/slideLayout" Target="../slideLayouts/slideLayout9.xml"/></Relationships>
</file>

<file path=ppt/slides/_rels/slide135.xml.rels><?xml version="1.0" encoding="UTF-8" standalone="yes"?>
<Relationships xmlns="http://schemas.openxmlformats.org/package/2006/relationships"><Relationship Id="rId2" Type="http://schemas.openxmlformats.org/officeDocument/2006/relationships/notesSlide" Target="../notesSlides/notesSlide135.xml"/><Relationship Id="rId1" Type="http://schemas.openxmlformats.org/officeDocument/2006/relationships/slideLayout" Target="../slideLayouts/slideLayout3.xml"/></Relationships>
</file>

<file path=ppt/slides/_rels/slide136.xml.rels><?xml version="1.0" encoding="UTF-8" standalone="yes"?>
<Relationships xmlns="http://schemas.openxmlformats.org/package/2006/relationships"><Relationship Id="rId3" Type="http://schemas.openxmlformats.org/officeDocument/2006/relationships/image" Target="../media/image209.tmp"/><Relationship Id="rId2" Type="http://schemas.openxmlformats.org/officeDocument/2006/relationships/notesSlide" Target="../notesSlides/notesSlide136.xml"/><Relationship Id="rId1" Type="http://schemas.openxmlformats.org/officeDocument/2006/relationships/slideLayout" Target="../slideLayouts/slideLayout9.xml"/><Relationship Id="rId4" Type="http://schemas.openxmlformats.org/officeDocument/2006/relationships/image" Target="../media/image210.png"/></Relationships>
</file>

<file path=ppt/slides/_rels/slide137.xml.rels><?xml version="1.0" encoding="UTF-8" standalone="yes"?>
<Relationships xmlns="http://schemas.openxmlformats.org/package/2006/relationships"><Relationship Id="rId2" Type="http://schemas.openxmlformats.org/officeDocument/2006/relationships/notesSlide" Target="../notesSlides/notesSlide137.xml"/><Relationship Id="rId1" Type="http://schemas.openxmlformats.org/officeDocument/2006/relationships/slideLayout" Target="../slideLayouts/slideLayout3.xml"/></Relationships>
</file>

<file path=ppt/slides/_rels/slide138.xml.rels><?xml version="1.0" encoding="UTF-8" standalone="yes"?>
<Relationships xmlns="http://schemas.openxmlformats.org/package/2006/relationships"><Relationship Id="rId3" Type="http://schemas.openxmlformats.org/officeDocument/2006/relationships/diagramData" Target="../diagrams/data6.xml"/><Relationship Id="rId7" Type="http://schemas.microsoft.com/office/2007/relationships/diagramDrawing" Target="../diagrams/drawing6.xml"/><Relationship Id="rId2" Type="http://schemas.openxmlformats.org/officeDocument/2006/relationships/notesSlide" Target="../notesSlides/notesSlide138.xml"/><Relationship Id="rId1" Type="http://schemas.openxmlformats.org/officeDocument/2006/relationships/slideLayout" Target="../slideLayouts/slideLayout9.xml"/><Relationship Id="rId6" Type="http://schemas.openxmlformats.org/officeDocument/2006/relationships/diagramColors" Target="../diagrams/colors6.xml"/><Relationship Id="rId5" Type="http://schemas.openxmlformats.org/officeDocument/2006/relationships/diagramQuickStyle" Target="../diagrams/quickStyle6.xml"/><Relationship Id="rId4" Type="http://schemas.openxmlformats.org/officeDocument/2006/relationships/diagramLayout" Target="../diagrams/layout6.xml"/></Relationships>
</file>

<file path=ppt/slides/_rels/slide139.xml.rels><?xml version="1.0" encoding="UTF-8" standalone="yes"?>
<Relationships xmlns="http://schemas.openxmlformats.org/package/2006/relationships"><Relationship Id="rId2" Type="http://schemas.openxmlformats.org/officeDocument/2006/relationships/notesSlide" Target="../notesSlides/notesSlide139.xml"/><Relationship Id="rId1" Type="http://schemas.openxmlformats.org/officeDocument/2006/relationships/slideLayout" Target="../slideLayouts/slideLayout9.xml"/></Relationships>
</file>

<file path=ppt/slides/_rels/slide14.xml.rels><?xml version="1.0" encoding="UTF-8" standalone="yes"?>
<Relationships xmlns="http://schemas.openxmlformats.org/package/2006/relationships"><Relationship Id="rId8" Type="http://schemas.openxmlformats.org/officeDocument/2006/relationships/image" Target="../media/image101.png"/><Relationship Id="rId13" Type="http://schemas.openxmlformats.org/officeDocument/2006/relationships/image" Target="../media/image106.emf"/><Relationship Id="rId18" Type="http://schemas.openxmlformats.org/officeDocument/2006/relationships/image" Target="../media/image111.png"/><Relationship Id="rId3" Type="http://schemas.openxmlformats.org/officeDocument/2006/relationships/image" Target="../media/image96.png"/><Relationship Id="rId7" Type="http://schemas.openxmlformats.org/officeDocument/2006/relationships/image" Target="../media/image100.emf"/><Relationship Id="rId12" Type="http://schemas.openxmlformats.org/officeDocument/2006/relationships/image" Target="../media/image105.png"/><Relationship Id="rId17" Type="http://schemas.openxmlformats.org/officeDocument/2006/relationships/image" Target="../media/image110.emf"/><Relationship Id="rId2" Type="http://schemas.openxmlformats.org/officeDocument/2006/relationships/notesSlide" Target="../notesSlides/notesSlide14.xml"/><Relationship Id="rId16" Type="http://schemas.openxmlformats.org/officeDocument/2006/relationships/image" Target="../media/image109.emf"/><Relationship Id="rId1" Type="http://schemas.openxmlformats.org/officeDocument/2006/relationships/slideLayout" Target="../slideLayouts/slideLayout64.xml"/><Relationship Id="rId6" Type="http://schemas.openxmlformats.org/officeDocument/2006/relationships/image" Target="../media/image99.emf"/><Relationship Id="rId11" Type="http://schemas.openxmlformats.org/officeDocument/2006/relationships/image" Target="../media/image104.emf"/><Relationship Id="rId5" Type="http://schemas.openxmlformats.org/officeDocument/2006/relationships/image" Target="../media/image98.emf"/><Relationship Id="rId15" Type="http://schemas.openxmlformats.org/officeDocument/2006/relationships/image" Target="../media/image108.png"/><Relationship Id="rId10" Type="http://schemas.openxmlformats.org/officeDocument/2006/relationships/image" Target="../media/image103.emf"/><Relationship Id="rId4" Type="http://schemas.openxmlformats.org/officeDocument/2006/relationships/image" Target="../media/image97.emf"/><Relationship Id="rId9" Type="http://schemas.openxmlformats.org/officeDocument/2006/relationships/image" Target="../media/image102.png"/><Relationship Id="rId14" Type="http://schemas.openxmlformats.org/officeDocument/2006/relationships/image" Target="../media/image107.emf"/></Relationships>
</file>

<file path=ppt/slides/_rels/slide140.xml.rels><?xml version="1.0" encoding="UTF-8" standalone="yes"?>
<Relationships xmlns="http://schemas.openxmlformats.org/package/2006/relationships"><Relationship Id="rId3" Type="http://schemas.openxmlformats.org/officeDocument/2006/relationships/diagramData" Target="../diagrams/data7.xml"/><Relationship Id="rId7" Type="http://schemas.microsoft.com/office/2007/relationships/diagramDrawing" Target="../diagrams/drawing7.xml"/><Relationship Id="rId2" Type="http://schemas.openxmlformats.org/officeDocument/2006/relationships/notesSlide" Target="../notesSlides/notesSlide140.xml"/><Relationship Id="rId1" Type="http://schemas.openxmlformats.org/officeDocument/2006/relationships/slideLayout" Target="../slideLayouts/slideLayout9.xml"/><Relationship Id="rId6" Type="http://schemas.openxmlformats.org/officeDocument/2006/relationships/diagramColors" Target="../diagrams/colors7.xml"/><Relationship Id="rId5" Type="http://schemas.openxmlformats.org/officeDocument/2006/relationships/diagramQuickStyle" Target="../diagrams/quickStyle7.xml"/><Relationship Id="rId4" Type="http://schemas.openxmlformats.org/officeDocument/2006/relationships/diagramLayout" Target="../diagrams/layout7.xml"/></Relationships>
</file>

<file path=ppt/slides/_rels/slide141.xml.rels><?xml version="1.0" encoding="UTF-8" standalone="yes"?>
<Relationships xmlns="http://schemas.openxmlformats.org/package/2006/relationships"><Relationship Id="rId2" Type="http://schemas.openxmlformats.org/officeDocument/2006/relationships/notesSlide" Target="../notesSlides/notesSlide141.xml"/><Relationship Id="rId1" Type="http://schemas.openxmlformats.org/officeDocument/2006/relationships/slideLayout" Target="../slideLayouts/slideLayout9.xml"/></Relationships>
</file>

<file path=ppt/slides/_rels/slide142.xml.rels><?xml version="1.0" encoding="UTF-8" standalone="yes"?>
<Relationships xmlns="http://schemas.openxmlformats.org/package/2006/relationships"><Relationship Id="rId2" Type="http://schemas.openxmlformats.org/officeDocument/2006/relationships/notesSlide" Target="../notesSlides/notesSlide142.xml"/><Relationship Id="rId1" Type="http://schemas.openxmlformats.org/officeDocument/2006/relationships/slideLayout" Target="../slideLayouts/slideLayout9.xml"/></Relationships>
</file>

<file path=ppt/slides/_rels/slide143.xml.rels><?xml version="1.0" encoding="UTF-8" standalone="yes"?>
<Relationships xmlns="http://schemas.openxmlformats.org/package/2006/relationships"><Relationship Id="rId2" Type="http://schemas.openxmlformats.org/officeDocument/2006/relationships/notesSlide" Target="../notesSlides/notesSlide143.xml"/><Relationship Id="rId1" Type="http://schemas.openxmlformats.org/officeDocument/2006/relationships/slideLayout" Target="../slideLayouts/slideLayout9.xml"/></Relationships>
</file>

<file path=ppt/slides/_rels/slide144.xml.rels><?xml version="1.0" encoding="UTF-8" standalone="yes"?>
<Relationships xmlns="http://schemas.openxmlformats.org/package/2006/relationships"><Relationship Id="rId2" Type="http://schemas.openxmlformats.org/officeDocument/2006/relationships/notesSlide" Target="../notesSlides/notesSlide144.xml"/><Relationship Id="rId1" Type="http://schemas.openxmlformats.org/officeDocument/2006/relationships/slideLayout" Target="../slideLayouts/slideLayout9.xml"/></Relationships>
</file>

<file path=ppt/slides/_rels/slide145.xml.rels><?xml version="1.0" encoding="UTF-8" standalone="yes"?>
<Relationships xmlns="http://schemas.openxmlformats.org/package/2006/relationships"><Relationship Id="rId2" Type="http://schemas.openxmlformats.org/officeDocument/2006/relationships/notesSlide" Target="../notesSlides/notesSlide145.xml"/><Relationship Id="rId1" Type="http://schemas.openxmlformats.org/officeDocument/2006/relationships/slideLayout" Target="../slideLayouts/slideLayout3.xml"/></Relationships>
</file>

<file path=ppt/slides/_rels/slide146.xml.rels><?xml version="1.0" encoding="UTF-8" standalone="yes"?>
<Relationships xmlns="http://schemas.openxmlformats.org/package/2006/relationships"><Relationship Id="rId2" Type="http://schemas.openxmlformats.org/officeDocument/2006/relationships/notesSlide" Target="../notesSlides/notesSlide146.xml"/><Relationship Id="rId1" Type="http://schemas.openxmlformats.org/officeDocument/2006/relationships/slideLayout" Target="../slideLayouts/slideLayout3.xml"/></Relationships>
</file>

<file path=ppt/slides/_rels/slide147.xml.rels><?xml version="1.0" encoding="UTF-8" standalone="yes"?>
<Relationships xmlns="http://schemas.openxmlformats.org/package/2006/relationships"><Relationship Id="rId2" Type="http://schemas.openxmlformats.org/officeDocument/2006/relationships/notesSlide" Target="../notesSlides/notesSlide147.xml"/><Relationship Id="rId1" Type="http://schemas.openxmlformats.org/officeDocument/2006/relationships/slideLayout" Target="../slideLayouts/slideLayout3.xml"/></Relationships>
</file>

<file path=ppt/slides/_rels/slide148.xml.rels><?xml version="1.0" encoding="UTF-8" standalone="yes"?>
<Relationships xmlns="http://schemas.openxmlformats.org/package/2006/relationships"><Relationship Id="rId2" Type="http://schemas.openxmlformats.org/officeDocument/2006/relationships/notesSlide" Target="../notesSlides/notesSlide148.xml"/><Relationship Id="rId1" Type="http://schemas.openxmlformats.org/officeDocument/2006/relationships/slideLayout" Target="../slideLayouts/slideLayout9.xml"/></Relationships>
</file>

<file path=ppt/slides/_rels/slide149.xml.rels><?xml version="1.0" encoding="UTF-8" standalone="yes"?>
<Relationships xmlns="http://schemas.openxmlformats.org/package/2006/relationships"><Relationship Id="rId3" Type="http://schemas.openxmlformats.org/officeDocument/2006/relationships/hyperlink" Target="https://docs.microsoft.com/en-us/azure/redis-cache/cache-faq#what-redis-cache-offering-and-size-should-i-use" TargetMode="External"/><Relationship Id="rId2" Type="http://schemas.openxmlformats.org/officeDocument/2006/relationships/notesSlide" Target="../notesSlides/notesSlide149.xml"/><Relationship Id="rId1" Type="http://schemas.openxmlformats.org/officeDocument/2006/relationships/slideLayout" Target="../slideLayouts/slideLayout3.xml"/><Relationship Id="rId6" Type="http://schemas.openxmlformats.org/officeDocument/2006/relationships/hyperlink" Target="https://azure.microsoft.com/en-us/services/virtual-network/" TargetMode="External"/><Relationship Id="rId5" Type="http://schemas.openxmlformats.org/officeDocument/2006/relationships/hyperlink" Target="https://redis.io/topics/cluster-tutorial" TargetMode="External"/><Relationship Id="rId4" Type="http://schemas.openxmlformats.org/officeDocument/2006/relationships/hyperlink" Target="https://redis.io/topics/persistence" TargetMode="External"/></Relationships>
</file>

<file path=ppt/slides/_rels/slide15.xml.rels><?xml version="1.0" encoding="UTF-8" standalone="yes"?>
<Relationships xmlns="http://schemas.openxmlformats.org/package/2006/relationships"><Relationship Id="rId3" Type="http://schemas.openxmlformats.org/officeDocument/2006/relationships/image" Target="../media/image112.png"/><Relationship Id="rId2" Type="http://schemas.openxmlformats.org/officeDocument/2006/relationships/notesSlide" Target="../notesSlides/notesSlide15.xml"/><Relationship Id="rId1" Type="http://schemas.openxmlformats.org/officeDocument/2006/relationships/slideLayout" Target="../slideLayouts/slideLayout170.xml"/><Relationship Id="rId6" Type="http://schemas.openxmlformats.org/officeDocument/2006/relationships/image" Target="../media/image115.png"/><Relationship Id="rId5" Type="http://schemas.openxmlformats.org/officeDocument/2006/relationships/image" Target="../media/image114.png"/><Relationship Id="rId4" Type="http://schemas.openxmlformats.org/officeDocument/2006/relationships/image" Target="../media/image113.PNG"/></Relationships>
</file>

<file path=ppt/slides/_rels/slide150.xml.rels><?xml version="1.0" encoding="UTF-8" standalone="yes"?>
<Relationships xmlns="http://schemas.openxmlformats.org/package/2006/relationships"><Relationship Id="rId2" Type="http://schemas.openxmlformats.org/officeDocument/2006/relationships/notesSlide" Target="../notesSlides/notesSlide150.xml"/><Relationship Id="rId1" Type="http://schemas.openxmlformats.org/officeDocument/2006/relationships/slideLayout" Target="../slideLayouts/slideLayout3.xml"/></Relationships>
</file>

<file path=ppt/slides/_rels/slide151.xml.rels><?xml version="1.0" encoding="UTF-8" standalone="yes"?>
<Relationships xmlns="http://schemas.openxmlformats.org/package/2006/relationships"><Relationship Id="rId2" Type="http://schemas.openxmlformats.org/officeDocument/2006/relationships/notesSlide" Target="../notesSlides/notesSlide151.xml"/><Relationship Id="rId1" Type="http://schemas.openxmlformats.org/officeDocument/2006/relationships/slideLayout" Target="../slideLayouts/slideLayout3.xml"/></Relationships>
</file>

<file path=ppt/slides/_rels/slide152.xml.rels><?xml version="1.0" encoding="UTF-8" standalone="yes"?>
<Relationships xmlns="http://schemas.openxmlformats.org/package/2006/relationships"><Relationship Id="rId2" Type="http://schemas.openxmlformats.org/officeDocument/2006/relationships/notesSlide" Target="../notesSlides/notesSlide152.xml"/><Relationship Id="rId1" Type="http://schemas.openxmlformats.org/officeDocument/2006/relationships/slideLayout" Target="../slideLayouts/slideLayout3.xml"/></Relationships>
</file>

<file path=ppt/slides/_rels/slide153.xml.rels><?xml version="1.0" encoding="UTF-8" standalone="yes"?>
<Relationships xmlns="http://schemas.openxmlformats.org/package/2006/relationships"><Relationship Id="rId3" Type="http://schemas.openxmlformats.org/officeDocument/2006/relationships/diagramData" Target="../diagrams/data8.xml"/><Relationship Id="rId7" Type="http://schemas.microsoft.com/office/2007/relationships/diagramDrawing" Target="../diagrams/drawing8.xml"/><Relationship Id="rId2" Type="http://schemas.openxmlformats.org/officeDocument/2006/relationships/notesSlide" Target="../notesSlides/notesSlide153.xml"/><Relationship Id="rId1" Type="http://schemas.openxmlformats.org/officeDocument/2006/relationships/slideLayout" Target="../slideLayouts/slideLayout9.xml"/><Relationship Id="rId6" Type="http://schemas.openxmlformats.org/officeDocument/2006/relationships/diagramColors" Target="../diagrams/colors8.xml"/><Relationship Id="rId5" Type="http://schemas.openxmlformats.org/officeDocument/2006/relationships/diagramQuickStyle" Target="../diagrams/quickStyle8.xml"/><Relationship Id="rId4" Type="http://schemas.openxmlformats.org/officeDocument/2006/relationships/diagramLayout" Target="../diagrams/layout8.xml"/></Relationships>
</file>

<file path=ppt/slides/_rels/slide154.xml.rels><?xml version="1.0" encoding="UTF-8" standalone="yes"?>
<Relationships xmlns="http://schemas.openxmlformats.org/package/2006/relationships"><Relationship Id="rId2" Type="http://schemas.openxmlformats.org/officeDocument/2006/relationships/notesSlide" Target="../notesSlides/notesSlide154.xml"/><Relationship Id="rId1" Type="http://schemas.openxmlformats.org/officeDocument/2006/relationships/slideLayout" Target="../slideLayouts/slideLayout9.xml"/></Relationships>
</file>

<file path=ppt/slides/_rels/slide155.xml.rels><?xml version="1.0" encoding="UTF-8" standalone="yes"?>
<Relationships xmlns="http://schemas.openxmlformats.org/package/2006/relationships"><Relationship Id="rId3" Type="http://schemas.openxmlformats.org/officeDocument/2006/relationships/image" Target="../media/image211.png"/><Relationship Id="rId2" Type="http://schemas.openxmlformats.org/officeDocument/2006/relationships/notesSlide" Target="../notesSlides/notesSlide155.xml"/><Relationship Id="rId1" Type="http://schemas.openxmlformats.org/officeDocument/2006/relationships/slideLayout" Target="../slideLayouts/slideLayout3.xml"/></Relationships>
</file>

<file path=ppt/slides/_rels/slide156.xml.rels><?xml version="1.0" encoding="UTF-8" standalone="yes"?>
<Relationships xmlns="http://schemas.openxmlformats.org/package/2006/relationships"><Relationship Id="rId2" Type="http://schemas.openxmlformats.org/officeDocument/2006/relationships/notesSlide" Target="../notesSlides/notesSlide156.xml"/><Relationship Id="rId1" Type="http://schemas.openxmlformats.org/officeDocument/2006/relationships/slideLayout" Target="../slideLayouts/slideLayout9.xml"/></Relationships>
</file>

<file path=ppt/slides/_rels/slide157.xml.rels><?xml version="1.0" encoding="UTF-8" standalone="yes"?>
<Relationships xmlns="http://schemas.openxmlformats.org/package/2006/relationships"><Relationship Id="rId2" Type="http://schemas.openxmlformats.org/officeDocument/2006/relationships/notesSlide" Target="../notesSlides/notesSlide157.xml"/><Relationship Id="rId1" Type="http://schemas.openxmlformats.org/officeDocument/2006/relationships/slideLayout" Target="../slideLayouts/slideLayout10.xml"/></Relationships>
</file>

<file path=ppt/slides/_rels/slide158.xml.rels><?xml version="1.0" encoding="UTF-8" standalone="yes"?>
<Relationships xmlns="http://schemas.openxmlformats.org/package/2006/relationships"><Relationship Id="rId2" Type="http://schemas.openxmlformats.org/officeDocument/2006/relationships/notesSlide" Target="../notesSlides/notesSlide158.xml"/><Relationship Id="rId1" Type="http://schemas.openxmlformats.org/officeDocument/2006/relationships/slideLayout" Target="../slideLayouts/slideLayout3.xml"/></Relationships>
</file>

<file path=ppt/slides/_rels/slide159.xml.rels><?xml version="1.0" encoding="UTF-8" standalone="yes"?>
<Relationships xmlns="http://schemas.openxmlformats.org/package/2006/relationships"><Relationship Id="rId3" Type="http://schemas.openxmlformats.org/officeDocument/2006/relationships/hyperlink" Target="https://docs.microsoft.com/en-us/azure/storage/storage-table-design-guide" TargetMode="External"/><Relationship Id="rId2" Type="http://schemas.openxmlformats.org/officeDocument/2006/relationships/notesSlide" Target="../notesSlides/notesSlide159.xml"/><Relationship Id="rId1" Type="http://schemas.openxmlformats.org/officeDocument/2006/relationships/slideLayout" Target="../slideLayouts/slideLayout9.xml"/></Relationships>
</file>

<file path=ppt/slides/_rels/slide16.xml.rels><?xml version="1.0" encoding="UTF-8" standalone="yes"?>
<Relationships xmlns="http://schemas.openxmlformats.org/package/2006/relationships"><Relationship Id="rId3" Type="http://schemas.openxmlformats.org/officeDocument/2006/relationships/image" Target="../media/image116.png"/><Relationship Id="rId2" Type="http://schemas.openxmlformats.org/officeDocument/2006/relationships/notesSlide" Target="../notesSlides/notesSlide16.xml"/><Relationship Id="rId1" Type="http://schemas.openxmlformats.org/officeDocument/2006/relationships/slideLayout" Target="../slideLayouts/slideLayout3.xml"/></Relationships>
</file>

<file path=ppt/slides/_rels/slide160.xml.rels><?xml version="1.0" encoding="UTF-8" standalone="yes"?>
<Relationships xmlns="http://schemas.openxmlformats.org/package/2006/relationships"><Relationship Id="rId2" Type="http://schemas.openxmlformats.org/officeDocument/2006/relationships/notesSlide" Target="../notesSlides/notesSlide160.xml"/><Relationship Id="rId1" Type="http://schemas.openxmlformats.org/officeDocument/2006/relationships/slideLayout" Target="../slideLayouts/slideLayout4.xml"/></Relationships>
</file>

<file path=ppt/slides/_rels/slide161.xml.rels><?xml version="1.0" encoding="UTF-8" standalone="yes"?>
<Relationships xmlns="http://schemas.openxmlformats.org/package/2006/relationships"><Relationship Id="rId2" Type="http://schemas.openxmlformats.org/officeDocument/2006/relationships/notesSlide" Target="../notesSlides/notesSlide161.xml"/><Relationship Id="rId1" Type="http://schemas.openxmlformats.org/officeDocument/2006/relationships/slideLayout" Target="../slideLayouts/slideLayout9.xml"/></Relationships>
</file>

<file path=ppt/slides/_rels/slide162.xml.rels><?xml version="1.0" encoding="UTF-8" standalone="yes"?>
<Relationships xmlns="http://schemas.openxmlformats.org/package/2006/relationships"><Relationship Id="rId2" Type="http://schemas.openxmlformats.org/officeDocument/2006/relationships/notesSlide" Target="../notesSlides/notesSlide162.xml"/><Relationship Id="rId1" Type="http://schemas.openxmlformats.org/officeDocument/2006/relationships/slideLayout" Target="../slideLayouts/slideLayout9.xml"/></Relationships>
</file>

<file path=ppt/slides/_rels/slide163.xml.rels><?xml version="1.0" encoding="UTF-8" standalone="yes"?>
<Relationships xmlns="http://schemas.openxmlformats.org/package/2006/relationships"><Relationship Id="rId8" Type="http://schemas.openxmlformats.org/officeDocument/2006/relationships/image" Target="../media/image213.png"/><Relationship Id="rId3" Type="http://schemas.openxmlformats.org/officeDocument/2006/relationships/image" Target="../media/image188.png"/><Relationship Id="rId7" Type="http://schemas.openxmlformats.org/officeDocument/2006/relationships/image" Target="../media/image212.png"/><Relationship Id="rId2" Type="http://schemas.openxmlformats.org/officeDocument/2006/relationships/notesSlide" Target="../notesSlides/notesSlide163.xml"/><Relationship Id="rId1" Type="http://schemas.openxmlformats.org/officeDocument/2006/relationships/slideLayout" Target="../slideLayouts/slideLayout4.xml"/><Relationship Id="rId6" Type="http://schemas.openxmlformats.org/officeDocument/2006/relationships/image" Target="../media/image186.png"/><Relationship Id="rId5" Type="http://schemas.openxmlformats.org/officeDocument/2006/relationships/image" Target="../media/image185.png"/><Relationship Id="rId4" Type="http://schemas.openxmlformats.org/officeDocument/2006/relationships/image" Target="../media/image187.png"/></Relationships>
</file>

<file path=ppt/slides/_rels/slide164.xml.rels><?xml version="1.0" encoding="UTF-8" standalone="yes"?>
<Relationships xmlns="http://schemas.openxmlformats.org/package/2006/relationships"><Relationship Id="rId2" Type="http://schemas.openxmlformats.org/officeDocument/2006/relationships/notesSlide" Target="../notesSlides/notesSlide164.xml"/><Relationship Id="rId1" Type="http://schemas.openxmlformats.org/officeDocument/2006/relationships/slideLayout" Target="../slideLayouts/slideLayout9.xml"/></Relationships>
</file>

<file path=ppt/slides/_rels/slide165.xml.rels><?xml version="1.0" encoding="UTF-8" standalone="yes"?>
<Relationships xmlns="http://schemas.openxmlformats.org/package/2006/relationships"><Relationship Id="rId2" Type="http://schemas.openxmlformats.org/officeDocument/2006/relationships/notesSlide" Target="../notesSlides/notesSlide165.xml"/><Relationship Id="rId1" Type="http://schemas.openxmlformats.org/officeDocument/2006/relationships/slideLayout" Target="../slideLayouts/slideLayout9.xml"/></Relationships>
</file>

<file path=ppt/slides/_rels/slide166.xml.rels><?xml version="1.0" encoding="UTF-8" standalone="yes"?>
<Relationships xmlns="http://schemas.openxmlformats.org/package/2006/relationships"><Relationship Id="rId2" Type="http://schemas.openxmlformats.org/officeDocument/2006/relationships/notesSlide" Target="../notesSlides/notesSlide166.xml"/><Relationship Id="rId1" Type="http://schemas.openxmlformats.org/officeDocument/2006/relationships/slideLayout" Target="../slideLayouts/slideLayout9.xml"/></Relationships>
</file>

<file path=ppt/slides/_rels/slide167.xml.rels><?xml version="1.0" encoding="UTF-8" standalone="yes"?>
<Relationships xmlns="http://schemas.openxmlformats.org/package/2006/relationships"><Relationship Id="rId2" Type="http://schemas.openxmlformats.org/officeDocument/2006/relationships/notesSlide" Target="../notesSlides/notesSlide167.xml"/><Relationship Id="rId1" Type="http://schemas.openxmlformats.org/officeDocument/2006/relationships/slideLayout" Target="../slideLayouts/slideLayout9.xml"/></Relationships>
</file>

<file path=ppt/slides/_rels/slide168.xml.rels><?xml version="1.0" encoding="UTF-8" standalone="yes"?>
<Relationships xmlns="http://schemas.openxmlformats.org/package/2006/relationships"><Relationship Id="rId2" Type="http://schemas.openxmlformats.org/officeDocument/2006/relationships/notesSlide" Target="../notesSlides/notesSlide168.xml"/><Relationship Id="rId1" Type="http://schemas.openxmlformats.org/officeDocument/2006/relationships/slideLayout" Target="../slideLayouts/slideLayout9.xml"/></Relationships>
</file>

<file path=ppt/slides/_rels/slide169.xml.rels><?xml version="1.0" encoding="UTF-8" standalone="yes"?>
<Relationships xmlns="http://schemas.openxmlformats.org/package/2006/relationships"><Relationship Id="rId2" Type="http://schemas.openxmlformats.org/officeDocument/2006/relationships/notesSlide" Target="../notesSlides/notesSlide169.xml"/><Relationship Id="rId1" Type="http://schemas.openxmlformats.org/officeDocument/2006/relationships/slideLayout" Target="../slideLayouts/slideLayout9.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7.xml"/></Relationships>
</file>

<file path=ppt/slides/_rels/slide170.xml.rels><?xml version="1.0" encoding="UTF-8" standalone="yes"?>
<Relationships xmlns="http://schemas.openxmlformats.org/package/2006/relationships"><Relationship Id="rId3" Type="http://schemas.openxmlformats.org/officeDocument/2006/relationships/image" Target="../media/image214.png"/><Relationship Id="rId2" Type="http://schemas.openxmlformats.org/officeDocument/2006/relationships/notesSlide" Target="../notesSlides/notesSlide170.xml"/><Relationship Id="rId1" Type="http://schemas.openxmlformats.org/officeDocument/2006/relationships/slideLayout" Target="../slideLayouts/slideLayout3.xml"/></Relationships>
</file>

<file path=ppt/slides/_rels/slide171.xml.rels><?xml version="1.0" encoding="UTF-8" standalone="yes"?>
<Relationships xmlns="http://schemas.openxmlformats.org/package/2006/relationships"><Relationship Id="rId2" Type="http://schemas.openxmlformats.org/officeDocument/2006/relationships/notesSlide" Target="../notesSlides/notesSlide171.xml"/><Relationship Id="rId1" Type="http://schemas.openxmlformats.org/officeDocument/2006/relationships/slideLayout" Target="../slideLayouts/slideLayout9.xml"/></Relationships>
</file>

<file path=ppt/slides/_rels/slide172.xml.rels><?xml version="1.0" encoding="UTF-8" standalone="yes"?>
<Relationships xmlns="http://schemas.openxmlformats.org/package/2006/relationships"><Relationship Id="rId2" Type="http://schemas.openxmlformats.org/officeDocument/2006/relationships/notesSlide" Target="../notesSlides/notesSlide172.xml"/><Relationship Id="rId1" Type="http://schemas.openxmlformats.org/officeDocument/2006/relationships/slideLayout" Target="../slideLayouts/slideLayout3.xml"/></Relationships>
</file>

<file path=ppt/slides/_rels/slide173.xml.rels><?xml version="1.0" encoding="UTF-8" standalone="yes"?>
<Relationships xmlns="http://schemas.openxmlformats.org/package/2006/relationships"><Relationship Id="rId3" Type="http://schemas.openxmlformats.org/officeDocument/2006/relationships/image" Target="../media/image215.png"/><Relationship Id="rId2" Type="http://schemas.openxmlformats.org/officeDocument/2006/relationships/notesSlide" Target="../notesSlides/notesSlide173.xml"/><Relationship Id="rId1" Type="http://schemas.openxmlformats.org/officeDocument/2006/relationships/slideLayout" Target="../slideLayouts/slideLayout3.xml"/></Relationships>
</file>

<file path=ppt/slides/_rels/slide174.xml.rels><?xml version="1.0" encoding="UTF-8" standalone="yes"?>
<Relationships xmlns="http://schemas.openxmlformats.org/package/2006/relationships"><Relationship Id="rId2" Type="http://schemas.openxmlformats.org/officeDocument/2006/relationships/notesSlide" Target="../notesSlides/notesSlide174.xml"/><Relationship Id="rId1" Type="http://schemas.openxmlformats.org/officeDocument/2006/relationships/slideLayout" Target="../slideLayouts/slideLayout9.xml"/></Relationships>
</file>

<file path=ppt/slides/_rels/slide175.xml.rels><?xml version="1.0" encoding="UTF-8" standalone="yes"?>
<Relationships xmlns="http://schemas.openxmlformats.org/package/2006/relationships"><Relationship Id="rId3" Type="http://schemas.openxmlformats.org/officeDocument/2006/relationships/image" Target="../media/image216.png"/><Relationship Id="rId2" Type="http://schemas.openxmlformats.org/officeDocument/2006/relationships/notesSlide" Target="../notesSlides/notesSlide175.xml"/><Relationship Id="rId1" Type="http://schemas.openxmlformats.org/officeDocument/2006/relationships/slideLayout" Target="../slideLayouts/slideLayout3.xml"/><Relationship Id="rId5" Type="http://schemas.openxmlformats.org/officeDocument/2006/relationships/image" Target="../media/image218.jpeg"/><Relationship Id="rId4" Type="http://schemas.openxmlformats.org/officeDocument/2006/relationships/image" Target="../media/image217.png"/></Relationships>
</file>

<file path=ppt/slides/_rels/slide176.xml.rels><?xml version="1.0" encoding="UTF-8" standalone="yes"?>
<Relationships xmlns="http://schemas.openxmlformats.org/package/2006/relationships"><Relationship Id="rId3" Type="http://schemas.openxmlformats.org/officeDocument/2006/relationships/image" Target="../media/image219.png"/><Relationship Id="rId2" Type="http://schemas.openxmlformats.org/officeDocument/2006/relationships/notesSlide" Target="../notesSlides/notesSlide176.xml"/><Relationship Id="rId1" Type="http://schemas.openxmlformats.org/officeDocument/2006/relationships/slideLayout" Target="../slideLayouts/slideLayout3.xml"/><Relationship Id="rId4" Type="http://schemas.openxmlformats.org/officeDocument/2006/relationships/image" Target="../media/image220.png"/></Relationships>
</file>

<file path=ppt/slides/_rels/slide177.xml.rels><?xml version="1.0" encoding="UTF-8" standalone="yes"?>
<Relationships xmlns="http://schemas.openxmlformats.org/package/2006/relationships"><Relationship Id="rId3" Type="http://schemas.openxmlformats.org/officeDocument/2006/relationships/image" Target="../media/image221.png"/><Relationship Id="rId2" Type="http://schemas.openxmlformats.org/officeDocument/2006/relationships/notesSlide" Target="../notesSlides/notesSlide177.xml"/><Relationship Id="rId1" Type="http://schemas.openxmlformats.org/officeDocument/2006/relationships/slideLayout" Target="../slideLayouts/slideLayout3.xml"/></Relationships>
</file>

<file path=ppt/slides/_rels/slide178.xml.rels><?xml version="1.0" encoding="UTF-8" standalone="yes"?>
<Relationships xmlns="http://schemas.openxmlformats.org/package/2006/relationships"><Relationship Id="rId3" Type="http://schemas.openxmlformats.org/officeDocument/2006/relationships/image" Target="../media/image222.png"/><Relationship Id="rId2" Type="http://schemas.openxmlformats.org/officeDocument/2006/relationships/notesSlide" Target="../notesSlides/notesSlide178.xml"/><Relationship Id="rId1" Type="http://schemas.openxmlformats.org/officeDocument/2006/relationships/slideLayout" Target="../slideLayouts/slideLayout3.xml"/></Relationships>
</file>

<file path=ppt/slides/_rels/slide179.xml.rels><?xml version="1.0" encoding="UTF-8" standalone="yes"?>
<Relationships xmlns="http://schemas.openxmlformats.org/package/2006/relationships"><Relationship Id="rId2" Type="http://schemas.openxmlformats.org/officeDocument/2006/relationships/notesSlide" Target="../notesSlides/notesSlide179.xml"/><Relationship Id="rId1" Type="http://schemas.openxmlformats.org/officeDocument/2006/relationships/slideLayout" Target="../slideLayouts/slideLayout9.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7.xml"/></Relationships>
</file>

<file path=ppt/slides/_rels/slide180.xml.rels><?xml version="1.0" encoding="UTF-8" standalone="yes"?>
<Relationships xmlns="http://schemas.openxmlformats.org/package/2006/relationships"><Relationship Id="rId2" Type="http://schemas.openxmlformats.org/officeDocument/2006/relationships/notesSlide" Target="../notesSlides/notesSlide180.xml"/><Relationship Id="rId1" Type="http://schemas.openxmlformats.org/officeDocument/2006/relationships/slideLayout" Target="../slideLayouts/slideLayout9.xml"/></Relationships>
</file>

<file path=ppt/slides/_rels/slide181.xml.rels><?xml version="1.0" encoding="UTF-8" standalone="yes"?>
<Relationships xmlns="http://schemas.openxmlformats.org/package/2006/relationships"><Relationship Id="rId2" Type="http://schemas.openxmlformats.org/officeDocument/2006/relationships/notesSlide" Target="../notesSlides/notesSlide181.xml"/><Relationship Id="rId1" Type="http://schemas.openxmlformats.org/officeDocument/2006/relationships/slideLayout" Target="../slideLayouts/slideLayout8.xml"/></Relationships>
</file>

<file path=ppt/slides/_rels/slide182.xml.rels><?xml version="1.0" encoding="UTF-8" standalone="yes"?>
<Relationships xmlns="http://schemas.openxmlformats.org/package/2006/relationships"><Relationship Id="rId2" Type="http://schemas.openxmlformats.org/officeDocument/2006/relationships/notesSlide" Target="../notesSlides/notesSlide182.xml"/><Relationship Id="rId1" Type="http://schemas.openxmlformats.org/officeDocument/2006/relationships/slideLayout" Target="../slideLayouts/slideLayout9.xml"/></Relationships>
</file>

<file path=ppt/slides/_rels/slide183.xml.rels><?xml version="1.0" encoding="UTF-8" standalone="yes"?>
<Relationships xmlns="http://schemas.openxmlformats.org/package/2006/relationships"><Relationship Id="rId2" Type="http://schemas.openxmlformats.org/officeDocument/2006/relationships/notesSlide" Target="../notesSlides/notesSlide183.xml"/><Relationship Id="rId1" Type="http://schemas.openxmlformats.org/officeDocument/2006/relationships/slideLayout" Target="../slideLayouts/slideLayout9.xml"/></Relationships>
</file>

<file path=ppt/slides/_rels/slide184.xml.rels><?xml version="1.0" encoding="UTF-8" standalone="yes"?>
<Relationships xmlns="http://schemas.openxmlformats.org/package/2006/relationships"><Relationship Id="rId3" Type="http://schemas.openxmlformats.org/officeDocument/2006/relationships/image" Target="../media/image223.png"/><Relationship Id="rId2" Type="http://schemas.openxmlformats.org/officeDocument/2006/relationships/notesSlide" Target="../notesSlides/notesSlide184.xml"/><Relationship Id="rId1" Type="http://schemas.openxmlformats.org/officeDocument/2006/relationships/slideLayout" Target="../slideLayouts/slideLayout3.xml"/></Relationships>
</file>

<file path=ppt/slides/_rels/slide185.xml.rels><?xml version="1.0" encoding="UTF-8" standalone="yes"?>
<Relationships xmlns="http://schemas.openxmlformats.org/package/2006/relationships"><Relationship Id="rId3" Type="http://schemas.openxmlformats.org/officeDocument/2006/relationships/image" Target="../media/image224.png"/><Relationship Id="rId2" Type="http://schemas.openxmlformats.org/officeDocument/2006/relationships/notesSlide" Target="../notesSlides/notesSlide185.xml"/><Relationship Id="rId1" Type="http://schemas.openxmlformats.org/officeDocument/2006/relationships/slideLayout" Target="../slideLayouts/slideLayout3.xml"/></Relationships>
</file>

<file path=ppt/slides/_rels/slide186.xml.rels><?xml version="1.0" encoding="UTF-8" standalone="yes"?>
<Relationships xmlns="http://schemas.openxmlformats.org/package/2006/relationships"><Relationship Id="rId3" Type="http://schemas.openxmlformats.org/officeDocument/2006/relationships/image" Target="../media/image225.png"/><Relationship Id="rId2" Type="http://schemas.openxmlformats.org/officeDocument/2006/relationships/notesSlide" Target="../notesSlides/notesSlide186.xml"/><Relationship Id="rId1" Type="http://schemas.openxmlformats.org/officeDocument/2006/relationships/slideLayout" Target="../slideLayouts/slideLayout3.xml"/></Relationships>
</file>

<file path=ppt/slides/_rels/slide187.xml.rels><?xml version="1.0" encoding="UTF-8" standalone="yes"?>
<Relationships xmlns="http://schemas.openxmlformats.org/package/2006/relationships"><Relationship Id="rId3" Type="http://schemas.openxmlformats.org/officeDocument/2006/relationships/image" Target="../media/image226.png"/><Relationship Id="rId2" Type="http://schemas.openxmlformats.org/officeDocument/2006/relationships/notesSlide" Target="../notesSlides/notesSlide187.xml"/><Relationship Id="rId1" Type="http://schemas.openxmlformats.org/officeDocument/2006/relationships/slideLayout" Target="../slideLayouts/slideLayout3.xml"/></Relationships>
</file>

<file path=ppt/slides/_rels/slide188.xml.rels><?xml version="1.0" encoding="UTF-8" standalone="yes"?>
<Relationships xmlns="http://schemas.openxmlformats.org/package/2006/relationships"><Relationship Id="rId3" Type="http://schemas.openxmlformats.org/officeDocument/2006/relationships/image" Target="../media/image227.png"/><Relationship Id="rId2" Type="http://schemas.openxmlformats.org/officeDocument/2006/relationships/notesSlide" Target="../notesSlides/notesSlide188.xml"/><Relationship Id="rId1" Type="http://schemas.openxmlformats.org/officeDocument/2006/relationships/slideLayout" Target="../slideLayouts/slideLayout3.xml"/></Relationships>
</file>

<file path=ppt/slides/_rels/slide189.xml.rels><?xml version="1.0" encoding="UTF-8" standalone="yes"?>
<Relationships xmlns="http://schemas.openxmlformats.org/package/2006/relationships"><Relationship Id="rId3" Type="http://schemas.openxmlformats.org/officeDocument/2006/relationships/image" Target="../media/image228.png"/><Relationship Id="rId2" Type="http://schemas.openxmlformats.org/officeDocument/2006/relationships/notesSlide" Target="../notesSlides/notesSlide189.xml"/><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3.xml"/></Relationships>
</file>

<file path=ppt/slides/_rels/slide190.xml.rels><?xml version="1.0" encoding="UTF-8" standalone="yes"?>
<Relationships xmlns="http://schemas.openxmlformats.org/package/2006/relationships"><Relationship Id="rId3" Type="http://schemas.openxmlformats.org/officeDocument/2006/relationships/image" Target="../media/image229.png"/><Relationship Id="rId2" Type="http://schemas.openxmlformats.org/officeDocument/2006/relationships/notesSlide" Target="../notesSlides/notesSlide190.xml"/><Relationship Id="rId1" Type="http://schemas.openxmlformats.org/officeDocument/2006/relationships/slideLayout" Target="../slideLayouts/slideLayout3.xml"/></Relationships>
</file>

<file path=ppt/slides/_rels/slide191.xml.rels><?xml version="1.0" encoding="UTF-8" standalone="yes"?>
<Relationships xmlns="http://schemas.openxmlformats.org/package/2006/relationships"><Relationship Id="rId2" Type="http://schemas.openxmlformats.org/officeDocument/2006/relationships/notesSlide" Target="../notesSlides/notesSlide191.xml"/><Relationship Id="rId1" Type="http://schemas.openxmlformats.org/officeDocument/2006/relationships/slideLayout" Target="../slideLayouts/slideLayout9.xml"/></Relationships>
</file>

<file path=ppt/slides/_rels/slide192.xml.rels><?xml version="1.0" encoding="UTF-8" standalone="yes"?>
<Relationships xmlns="http://schemas.openxmlformats.org/package/2006/relationships"><Relationship Id="rId2" Type="http://schemas.openxmlformats.org/officeDocument/2006/relationships/notesSlide" Target="../notesSlides/notesSlide192.xml"/><Relationship Id="rId1" Type="http://schemas.openxmlformats.org/officeDocument/2006/relationships/slideLayout" Target="../slideLayouts/slideLayout9.xml"/></Relationships>
</file>

<file path=ppt/slides/_rels/slide193.xml.rels><?xml version="1.0" encoding="UTF-8" standalone="yes"?>
<Relationships xmlns="http://schemas.openxmlformats.org/package/2006/relationships"><Relationship Id="rId2" Type="http://schemas.openxmlformats.org/officeDocument/2006/relationships/notesSlide" Target="../notesSlides/notesSlide193.xml"/><Relationship Id="rId1" Type="http://schemas.openxmlformats.org/officeDocument/2006/relationships/slideLayout" Target="../slideLayouts/slideLayout9.xml"/></Relationships>
</file>

<file path=ppt/slides/_rels/slide194.xml.rels><?xml version="1.0" encoding="UTF-8" standalone="yes"?>
<Relationships xmlns="http://schemas.openxmlformats.org/package/2006/relationships"><Relationship Id="rId3" Type="http://schemas.openxmlformats.org/officeDocument/2006/relationships/image" Target="../media/image230.jpeg"/><Relationship Id="rId2" Type="http://schemas.openxmlformats.org/officeDocument/2006/relationships/notesSlide" Target="../notesSlides/notesSlide194.xml"/><Relationship Id="rId1" Type="http://schemas.openxmlformats.org/officeDocument/2006/relationships/slideLayout" Target="../slideLayouts/slideLayout3.xml"/></Relationships>
</file>

<file path=ppt/slides/_rels/slide195.xml.rels><?xml version="1.0" encoding="UTF-8" standalone="yes"?>
<Relationships xmlns="http://schemas.openxmlformats.org/package/2006/relationships"><Relationship Id="rId2" Type="http://schemas.openxmlformats.org/officeDocument/2006/relationships/notesSlide" Target="../notesSlides/notesSlide195.xml"/><Relationship Id="rId1" Type="http://schemas.openxmlformats.org/officeDocument/2006/relationships/slideLayout" Target="../slideLayouts/slideLayout9.xml"/></Relationships>
</file>

<file path=ppt/slides/_rels/slide196.xml.rels><?xml version="1.0" encoding="UTF-8" standalone="yes"?>
<Relationships xmlns="http://schemas.openxmlformats.org/package/2006/relationships"><Relationship Id="rId2" Type="http://schemas.openxmlformats.org/officeDocument/2006/relationships/notesSlide" Target="../notesSlides/notesSlide196.xml"/><Relationship Id="rId1" Type="http://schemas.openxmlformats.org/officeDocument/2006/relationships/slideLayout" Target="../slideLayouts/slideLayout9.xml"/></Relationships>
</file>

<file path=ppt/slides/_rels/slide197.xml.rels><?xml version="1.0" encoding="UTF-8" standalone="yes"?>
<Relationships xmlns="http://schemas.openxmlformats.org/package/2006/relationships"><Relationship Id="rId2" Type="http://schemas.openxmlformats.org/officeDocument/2006/relationships/notesSlide" Target="../notesSlides/notesSlide197.xml"/><Relationship Id="rId1" Type="http://schemas.openxmlformats.org/officeDocument/2006/relationships/slideLayout" Target="../slideLayouts/slideLayout9.xml"/></Relationships>
</file>

<file path=ppt/slides/_rels/slide198.xml.rels><?xml version="1.0" encoding="UTF-8" standalone="yes"?>
<Relationships xmlns="http://schemas.openxmlformats.org/package/2006/relationships"><Relationship Id="rId2" Type="http://schemas.openxmlformats.org/officeDocument/2006/relationships/notesSlide" Target="../notesSlides/notesSlide198.xml"/><Relationship Id="rId1" Type="http://schemas.openxmlformats.org/officeDocument/2006/relationships/slideLayout" Target="../slideLayouts/slideLayout9.xml"/></Relationships>
</file>

<file path=ppt/slides/_rels/slide2.xml.rels><?xml version="1.0" encoding="UTF-8" standalone="yes"?>
<Relationships xmlns="http://schemas.openxmlformats.org/package/2006/relationships"><Relationship Id="rId13" Type="http://schemas.openxmlformats.org/officeDocument/2006/relationships/image" Target="../media/image71.png"/><Relationship Id="rId18" Type="http://schemas.openxmlformats.org/officeDocument/2006/relationships/image" Target="../media/image76.png"/><Relationship Id="rId26" Type="http://schemas.openxmlformats.org/officeDocument/2006/relationships/image" Target="../media/image84.png"/><Relationship Id="rId39" Type="http://schemas.openxmlformats.org/officeDocument/2006/relationships/slide" Target="slide58.xml"/><Relationship Id="rId3" Type="http://schemas.openxmlformats.org/officeDocument/2006/relationships/image" Target="../media/image61.png"/><Relationship Id="rId21" Type="http://schemas.openxmlformats.org/officeDocument/2006/relationships/image" Target="../media/image79.png"/><Relationship Id="rId34" Type="http://schemas.openxmlformats.org/officeDocument/2006/relationships/slide" Target="slide37.xml"/><Relationship Id="rId42" Type="http://schemas.openxmlformats.org/officeDocument/2006/relationships/slide" Target="slide67.xml"/><Relationship Id="rId47" Type="http://schemas.openxmlformats.org/officeDocument/2006/relationships/slide" Target="slide77.xml"/><Relationship Id="rId50" Type="http://schemas.openxmlformats.org/officeDocument/2006/relationships/slide" Target="slide84.xml"/><Relationship Id="rId7" Type="http://schemas.openxmlformats.org/officeDocument/2006/relationships/image" Target="../media/image65.png"/><Relationship Id="rId12" Type="http://schemas.openxmlformats.org/officeDocument/2006/relationships/image" Target="../media/image70.png"/><Relationship Id="rId17" Type="http://schemas.openxmlformats.org/officeDocument/2006/relationships/image" Target="../media/image75.png"/><Relationship Id="rId25" Type="http://schemas.openxmlformats.org/officeDocument/2006/relationships/image" Target="../media/image83.png"/><Relationship Id="rId33" Type="http://schemas.openxmlformats.org/officeDocument/2006/relationships/slide" Target="slide35.xml"/><Relationship Id="rId38" Type="http://schemas.openxmlformats.org/officeDocument/2006/relationships/slide" Target="slide54.xml"/><Relationship Id="rId46" Type="http://schemas.openxmlformats.org/officeDocument/2006/relationships/slide" Target="slide75.xml"/><Relationship Id="rId2" Type="http://schemas.openxmlformats.org/officeDocument/2006/relationships/notesSlide" Target="../notesSlides/notesSlide2.xml"/><Relationship Id="rId16" Type="http://schemas.openxmlformats.org/officeDocument/2006/relationships/image" Target="../media/image74.png"/><Relationship Id="rId20" Type="http://schemas.openxmlformats.org/officeDocument/2006/relationships/image" Target="../media/image78.png"/><Relationship Id="rId29" Type="http://schemas.openxmlformats.org/officeDocument/2006/relationships/slide" Target="slide10.xml"/><Relationship Id="rId41" Type="http://schemas.openxmlformats.org/officeDocument/2006/relationships/slide" Target="slide65.xml"/><Relationship Id="rId1" Type="http://schemas.openxmlformats.org/officeDocument/2006/relationships/slideLayout" Target="../slideLayouts/slideLayout1.xml"/><Relationship Id="rId6" Type="http://schemas.openxmlformats.org/officeDocument/2006/relationships/image" Target="../media/image64.png"/><Relationship Id="rId11" Type="http://schemas.openxmlformats.org/officeDocument/2006/relationships/image" Target="../media/image69.png"/><Relationship Id="rId24" Type="http://schemas.openxmlformats.org/officeDocument/2006/relationships/image" Target="../media/image82.png"/><Relationship Id="rId32" Type="http://schemas.openxmlformats.org/officeDocument/2006/relationships/slide" Target="slide31.xml"/><Relationship Id="rId37" Type="http://schemas.openxmlformats.org/officeDocument/2006/relationships/slide" Target="slide51.xml"/><Relationship Id="rId40" Type="http://schemas.openxmlformats.org/officeDocument/2006/relationships/slide" Target="slide63.xml"/><Relationship Id="rId45" Type="http://schemas.openxmlformats.org/officeDocument/2006/relationships/slide" Target="slide73.xml"/><Relationship Id="rId5" Type="http://schemas.openxmlformats.org/officeDocument/2006/relationships/image" Target="../media/image63.png"/><Relationship Id="rId15" Type="http://schemas.openxmlformats.org/officeDocument/2006/relationships/image" Target="../media/image73.png"/><Relationship Id="rId23" Type="http://schemas.openxmlformats.org/officeDocument/2006/relationships/image" Target="../media/image81.png"/><Relationship Id="rId28" Type="http://schemas.openxmlformats.org/officeDocument/2006/relationships/slide" Target="slide3.xml"/><Relationship Id="rId36" Type="http://schemas.openxmlformats.org/officeDocument/2006/relationships/slide" Target="slide44.xml"/><Relationship Id="rId49" Type="http://schemas.openxmlformats.org/officeDocument/2006/relationships/slide" Target="slide82.xml"/><Relationship Id="rId10" Type="http://schemas.openxmlformats.org/officeDocument/2006/relationships/image" Target="../media/image68.png"/><Relationship Id="rId19" Type="http://schemas.openxmlformats.org/officeDocument/2006/relationships/image" Target="../media/image77.png"/><Relationship Id="rId31" Type="http://schemas.openxmlformats.org/officeDocument/2006/relationships/slide" Target="slide26.xml"/><Relationship Id="rId44" Type="http://schemas.openxmlformats.org/officeDocument/2006/relationships/slide" Target="slide71.xml"/><Relationship Id="rId4" Type="http://schemas.openxmlformats.org/officeDocument/2006/relationships/image" Target="../media/image62.png"/><Relationship Id="rId9" Type="http://schemas.openxmlformats.org/officeDocument/2006/relationships/image" Target="../media/image67.png"/><Relationship Id="rId14" Type="http://schemas.openxmlformats.org/officeDocument/2006/relationships/image" Target="../media/image72.png"/><Relationship Id="rId22" Type="http://schemas.openxmlformats.org/officeDocument/2006/relationships/image" Target="../media/image80.png"/><Relationship Id="rId27" Type="http://schemas.openxmlformats.org/officeDocument/2006/relationships/image" Target="../media/image85.png"/><Relationship Id="rId30" Type="http://schemas.openxmlformats.org/officeDocument/2006/relationships/slide" Target="slide22.xml"/><Relationship Id="rId35" Type="http://schemas.openxmlformats.org/officeDocument/2006/relationships/slide" Target="slide40.xml"/><Relationship Id="rId43" Type="http://schemas.openxmlformats.org/officeDocument/2006/relationships/slide" Target="slide69.xml"/><Relationship Id="rId48" Type="http://schemas.openxmlformats.org/officeDocument/2006/relationships/slide" Target="slide80.xml"/><Relationship Id="rId8" Type="http://schemas.openxmlformats.org/officeDocument/2006/relationships/image" Target="../media/image66.png"/><Relationship Id="rId51" Type="http://schemas.openxmlformats.org/officeDocument/2006/relationships/slide" Target="slide87.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7.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10.xml"/></Relationships>
</file>

<file path=ppt/slides/_rels/slide23.xml.rels><?xml version="1.0" encoding="UTF-8" standalone="yes"?>
<Relationships xmlns="http://schemas.openxmlformats.org/package/2006/relationships"><Relationship Id="rId3" Type="http://schemas.openxmlformats.org/officeDocument/2006/relationships/image" Target="../media/image117.emf"/><Relationship Id="rId2" Type="http://schemas.openxmlformats.org/officeDocument/2006/relationships/notesSlide" Target="../notesSlides/notesSlide23.xml"/><Relationship Id="rId1" Type="http://schemas.openxmlformats.org/officeDocument/2006/relationships/slideLayout" Target="../slideLayouts/slideLayout9.xml"/><Relationship Id="rId4" Type="http://schemas.openxmlformats.org/officeDocument/2006/relationships/image" Target="../media/image118.emf"/></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9.xml"/></Relationships>
</file>

<file path=ppt/slides/_rels/slide25.xml.rels><?xml version="1.0" encoding="UTF-8" standalone="yes"?>
<Relationships xmlns="http://schemas.openxmlformats.org/package/2006/relationships"><Relationship Id="rId8" Type="http://schemas.openxmlformats.org/officeDocument/2006/relationships/image" Target="../media/image123.png"/><Relationship Id="rId3" Type="http://schemas.openxmlformats.org/officeDocument/2006/relationships/image" Target="../media/image119.png"/><Relationship Id="rId7" Type="http://schemas.openxmlformats.org/officeDocument/2006/relationships/image" Target="../media/image122.png"/><Relationship Id="rId2" Type="http://schemas.openxmlformats.org/officeDocument/2006/relationships/notesSlide" Target="../notesSlides/notesSlide25.xml"/><Relationship Id="rId1" Type="http://schemas.openxmlformats.org/officeDocument/2006/relationships/slideLayout" Target="../slideLayouts/slideLayout7.xml"/><Relationship Id="rId6" Type="http://schemas.openxmlformats.org/officeDocument/2006/relationships/image" Target="../media/image121.png"/><Relationship Id="rId5" Type="http://schemas.openxmlformats.org/officeDocument/2006/relationships/image" Target="../media/image120.png"/><Relationship Id="rId4" Type="http://schemas.microsoft.com/office/2007/relationships/hdphoto" Target="../media/hdphoto2.wdp"/></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10.xml"/></Relationships>
</file>

<file path=ppt/slides/_rels/slide27.xml.rels><?xml version="1.0" encoding="UTF-8" standalone="yes"?>
<Relationships xmlns="http://schemas.openxmlformats.org/package/2006/relationships"><Relationship Id="rId3" Type="http://schemas.openxmlformats.org/officeDocument/2006/relationships/image" Target="../media/image124.png"/><Relationship Id="rId2" Type="http://schemas.openxmlformats.org/officeDocument/2006/relationships/notesSlide" Target="../notesSlides/notesSlide27.xml"/><Relationship Id="rId1" Type="http://schemas.openxmlformats.org/officeDocument/2006/relationships/slideLayout" Target="../slideLayouts/slideLayout3.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3.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0.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3.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10.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9.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3.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11.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10.xml"/></Relationships>
</file>

<file path=ppt/slides/_rels/slide36.xml.rels><?xml version="1.0" encoding="UTF-8" standalone="yes"?>
<Relationships xmlns="http://schemas.openxmlformats.org/package/2006/relationships"><Relationship Id="rId3" Type="http://schemas.openxmlformats.org/officeDocument/2006/relationships/image" Target="../media/image125.png"/><Relationship Id="rId2" Type="http://schemas.openxmlformats.org/officeDocument/2006/relationships/notesSlide" Target="../notesSlides/notesSlide36.xml"/><Relationship Id="rId1" Type="http://schemas.openxmlformats.org/officeDocument/2006/relationships/slideLayout" Target="../slideLayouts/slideLayout5.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10.xml"/></Relationships>
</file>

<file path=ppt/slides/_rels/slide38.xml.rels><?xml version="1.0" encoding="UTF-8" standalone="yes"?>
<Relationships xmlns="http://schemas.openxmlformats.org/package/2006/relationships"><Relationship Id="rId3" Type="http://schemas.openxmlformats.org/officeDocument/2006/relationships/image" Target="../media/image126.png"/><Relationship Id="rId2" Type="http://schemas.openxmlformats.org/officeDocument/2006/relationships/notesSlide" Target="../notesSlides/notesSlide38.xml"/><Relationship Id="rId1" Type="http://schemas.openxmlformats.org/officeDocument/2006/relationships/slideLayout" Target="../slideLayouts/slideLayout9.xml"/></Relationships>
</file>

<file path=ppt/slides/_rels/slide39.xml.rels><?xml version="1.0" encoding="UTF-8" standalone="yes"?>
<Relationships xmlns="http://schemas.openxmlformats.org/package/2006/relationships"><Relationship Id="rId8" Type="http://schemas.openxmlformats.org/officeDocument/2006/relationships/image" Target="../media/image127.png"/><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39.xml"/><Relationship Id="rId1" Type="http://schemas.openxmlformats.org/officeDocument/2006/relationships/slideLayout" Target="../slideLayouts/slideLayout3.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4.xml.rels><?xml version="1.0" encoding="UTF-8" standalone="yes"?>
<Relationships xmlns="http://schemas.openxmlformats.org/package/2006/relationships"><Relationship Id="rId3" Type="http://schemas.openxmlformats.org/officeDocument/2006/relationships/image" Target="../media/image86.jpeg"/><Relationship Id="rId2" Type="http://schemas.openxmlformats.org/officeDocument/2006/relationships/notesSlide" Target="../notesSlides/notesSlide4.xml"/><Relationship Id="rId1" Type="http://schemas.openxmlformats.org/officeDocument/2006/relationships/slideLayout" Target="../slideLayouts/slideLayout81.xml"/><Relationship Id="rId5" Type="http://schemas.openxmlformats.org/officeDocument/2006/relationships/image" Target="../media/image88.jpeg"/><Relationship Id="rId4" Type="http://schemas.openxmlformats.org/officeDocument/2006/relationships/image" Target="../media/image87.jpeg"/></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10.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3.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3.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7.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10.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15.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15.xml"/></Relationships>
</file>

<file path=ppt/slides/_rels/slide47.xml.rels><?xml version="1.0" encoding="UTF-8" standalone="yes"?>
<Relationships xmlns="http://schemas.openxmlformats.org/package/2006/relationships"><Relationship Id="rId3" Type="http://schemas.openxmlformats.org/officeDocument/2006/relationships/image" Target="../media/image128.png"/><Relationship Id="rId2" Type="http://schemas.openxmlformats.org/officeDocument/2006/relationships/notesSlide" Target="../notesSlides/notesSlide47.xml"/><Relationship Id="rId1" Type="http://schemas.openxmlformats.org/officeDocument/2006/relationships/slideLayout" Target="../slideLayouts/slideLayout15.xml"/><Relationship Id="rId6" Type="http://schemas.openxmlformats.org/officeDocument/2006/relationships/image" Target="../media/image131.svg"/><Relationship Id="rId5" Type="http://schemas.openxmlformats.org/officeDocument/2006/relationships/image" Target="../media/image130.png"/><Relationship Id="rId4" Type="http://schemas.openxmlformats.org/officeDocument/2006/relationships/image" Target="../media/image129.svg"/></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15.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15.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20.xml"/></Relationships>
</file>

<file path=ppt/slides/_rels/slide50.xml.rels><?xml version="1.0" encoding="UTF-8" standalone="yes"?>
<Relationships xmlns="http://schemas.openxmlformats.org/package/2006/relationships"><Relationship Id="rId3" Type="http://schemas.openxmlformats.org/officeDocument/2006/relationships/comments" Target="../comments/comment1.xml"/><Relationship Id="rId2" Type="http://schemas.openxmlformats.org/officeDocument/2006/relationships/notesSlide" Target="../notesSlides/notesSlide50.xml"/><Relationship Id="rId1" Type="http://schemas.openxmlformats.org/officeDocument/2006/relationships/slideLayout" Target="../slideLayouts/slideLayout15.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51.xml"/><Relationship Id="rId1" Type="http://schemas.openxmlformats.org/officeDocument/2006/relationships/slideLayout" Target="../slideLayouts/slideLayout10.xml"/></Relationships>
</file>

<file path=ppt/slides/_rels/slide52.xml.rels><?xml version="1.0" encoding="UTF-8" standalone="yes"?>
<Relationships xmlns="http://schemas.openxmlformats.org/package/2006/relationships"><Relationship Id="rId3" Type="http://schemas.openxmlformats.org/officeDocument/2006/relationships/image" Target="../media/image132.emf"/><Relationship Id="rId2" Type="http://schemas.openxmlformats.org/officeDocument/2006/relationships/notesSlide" Target="../notesSlides/notesSlide52.xml"/><Relationship Id="rId1" Type="http://schemas.openxmlformats.org/officeDocument/2006/relationships/slideLayout" Target="../slideLayouts/slideLayout9.xml"/></Relationships>
</file>

<file path=ppt/slides/_rels/slide53.xml.rels><?xml version="1.0" encoding="UTF-8" standalone="yes"?>
<Relationships xmlns="http://schemas.openxmlformats.org/package/2006/relationships"><Relationship Id="rId3" Type="http://schemas.openxmlformats.org/officeDocument/2006/relationships/image" Target="../media/image132.emf"/><Relationship Id="rId2" Type="http://schemas.openxmlformats.org/officeDocument/2006/relationships/notesSlide" Target="../notesSlides/notesSlide53.xml"/><Relationship Id="rId1" Type="http://schemas.openxmlformats.org/officeDocument/2006/relationships/slideLayout" Target="../slideLayouts/slideLayout9.xml"/></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54.xml"/><Relationship Id="rId1" Type="http://schemas.openxmlformats.org/officeDocument/2006/relationships/slideLayout" Target="../slideLayouts/slideLayout10.xml"/></Relationships>
</file>

<file path=ppt/slides/_rels/slide55.xml.rels><?xml version="1.0" encoding="UTF-8" standalone="yes"?>
<Relationships xmlns="http://schemas.openxmlformats.org/package/2006/relationships"><Relationship Id="rId2" Type="http://schemas.openxmlformats.org/officeDocument/2006/relationships/notesSlide" Target="../notesSlides/notesSlide55.xml"/><Relationship Id="rId1" Type="http://schemas.openxmlformats.org/officeDocument/2006/relationships/slideLayout" Target="../slideLayouts/slideLayout196.xml"/></Relationships>
</file>

<file path=ppt/slides/_rels/slide56.xml.rels><?xml version="1.0" encoding="UTF-8" standalone="yes"?>
<Relationships xmlns="http://schemas.openxmlformats.org/package/2006/relationships"><Relationship Id="rId8" Type="http://schemas.openxmlformats.org/officeDocument/2006/relationships/image" Target="../media/image138.png"/><Relationship Id="rId3" Type="http://schemas.openxmlformats.org/officeDocument/2006/relationships/image" Target="../media/image133.png"/><Relationship Id="rId7" Type="http://schemas.openxmlformats.org/officeDocument/2006/relationships/image" Target="../media/image137.png"/><Relationship Id="rId2" Type="http://schemas.openxmlformats.org/officeDocument/2006/relationships/notesSlide" Target="../notesSlides/notesSlide56.xml"/><Relationship Id="rId1" Type="http://schemas.openxmlformats.org/officeDocument/2006/relationships/slideLayout" Target="../slideLayouts/slideLayout206.xml"/><Relationship Id="rId6" Type="http://schemas.openxmlformats.org/officeDocument/2006/relationships/image" Target="../media/image136.png"/><Relationship Id="rId5" Type="http://schemas.openxmlformats.org/officeDocument/2006/relationships/image" Target="../media/image135.png"/><Relationship Id="rId4" Type="http://schemas.openxmlformats.org/officeDocument/2006/relationships/image" Target="../media/image134.png"/><Relationship Id="rId9" Type="http://schemas.openxmlformats.org/officeDocument/2006/relationships/image" Target="../media/image139.png"/></Relationships>
</file>

<file path=ppt/slides/_rels/slide57.xml.rels><?xml version="1.0" encoding="UTF-8" standalone="yes"?>
<Relationships xmlns="http://schemas.openxmlformats.org/package/2006/relationships"><Relationship Id="rId3" Type="http://schemas.openxmlformats.org/officeDocument/2006/relationships/image" Target="../media/image140.png"/><Relationship Id="rId7" Type="http://schemas.openxmlformats.org/officeDocument/2006/relationships/image" Target="../media/image144.png"/><Relationship Id="rId2" Type="http://schemas.openxmlformats.org/officeDocument/2006/relationships/notesSlide" Target="../notesSlides/notesSlide57.xml"/><Relationship Id="rId1" Type="http://schemas.openxmlformats.org/officeDocument/2006/relationships/slideLayout" Target="../slideLayouts/slideLayout3.xml"/><Relationship Id="rId6" Type="http://schemas.openxmlformats.org/officeDocument/2006/relationships/image" Target="../media/image143.png"/><Relationship Id="rId5" Type="http://schemas.openxmlformats.org/officeDocument/2006/relationships/image" Target="../media/image142.png"/><Relationship Id="rId4" Type="http://schemas.openxmlformats.org/officeDocument/2006/relationships/image" Target="../media/image141.png"/></Relationships>
</file>

<file path=ppt/slides/_rels/slide58.xml.rels><?xml version="1.0" encoding="UTF-8" standalone="yes"?>
<Relationships xmlns="http://schemas.openxmlformats.org/package/2006/relationships"><Relationship Id="rId2" Type="http://schemas.openxmlformats.org/officeDocument/2006/relationships/notesSlide" Target="../notesSlides/notesSlide58.xml"/><Relationship Id="rId1" Type="http://schemas.openxmlformats.org/officeDocument/2006/relationships/slideLayout" Target="../slideLayouts/slideLayout10.xml"/></Relationships>
</file>

<file path=ppt/slides/_rels/slide59.xml.rels><?xml version="1.0" encoding="UTF-8" standalone="yes"?>
<Relationships xmlns="http://schemas.openxmlformats.org/package/2006/relationships"><Relationship Id="rId2" Type="http://schemas.openxmlformats.org/officeDocument/2006/relationships/notesSlide" Target="../notesSlides/notesSlide59.xml"/><Relationship Id="rId1" Type="http://schemas.openxmlformats.org/officeDocument/2006/relationships/slideLayout" Target="../slideLayouts/slideLayout14.xml"/></Relationships>
</file>

<file path=ppt/slides/_rels/slide6.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notesSlide" Target="../notesSlides/notesSlide6.xml"/><Relationship Id="rId1" Type="http://schemas.openxmlformats.org/officeDocument/2006/relationships/slideLayout" Target="../slideLayouts/slideLayout9.xml"/></Relationships>
</file>

<file path=ppt/slides/_rels/slide60.xml.rels><?xml version="1.0" encoding="UTF-8" standalone="yes"?>
<Relationships xmlns="http://schemas.openxmlformats.org/package/2006/relationships"><Relationship Id="rId3" Type="http://schemas.openxmlformats.org/officeDocument/2006/relationships/image" Target="../media/image145.png"/><Relationship Id="rId2" Type="http://schemas.openxmlformats.org/officeDocument/2006/relationships/notesSlide" Target="../notesSlides/notesSlide60.xml"/><Relationship Id="rId1" Type="http://schemas.openxmlformats.org/officeDocument/2006/relationships/slideLayout" Target="../slideLayouts/slideLayout14.xml"/></Relationships>
</file>

<file path=ppt/slides/_rels/slide61.xml.rels><?xml version="1.0" encoding="UTF-8" standalone="yes"?>
<Relationships xmlns="http://schemas.openxmlformats.org/package/2006/relationships"><Relationship Id="rId8" Type="http://schemas.openxmlformats.org/officeDocument/2006/relationships/image" Target="../media/image151.png"/><Relationship Id="rId13" Type="http://schemas.openxmlformats.org/officeDocument/2006/relationships/image" Target="../media/image156.png"/><Relationship Id="rId3" Type="http://schemas.openxmlformats.org/officeDocument/2006/relationships/image" Target="../media/image146.png"/><Relationship Id="rId7" Type="http://schemas.openxmlformats.org/officeDocument/2006/relationships/image" Target="../media/image150.jpeg"/><Relationship Id="rId12" Type="http://schemas.openxmlformats.org/officeDocument/2006/relationships/image" Target="../media/image155.emf"/><Relationship Id="rId2" Type="http://schemas.openxmlformats.org/officeDocument/2006/relationships/notesSlide" Target="../notesSlides/notesSlide61.xml"/><Relationship Id="rId1" Type="http://schemas.openxmlformats.org/officeDocument/2006/relationships/slideLayout" Target="../slideLayouts/slideLayout16.xml"/><Relationship Id="rId6" Type="http://schemas.openxmlformats.org/officeDocument/2006/relationships/image" Target="../media/image149.png"/><Relationship Id="rId11" Type="http://schemas.openxmlformats.org/officeDocument/2006/relationships/image" Target="../media/image154.png"/><Relationship Id="rId5" Type="http://schemas.openxmlformats.org/officeDocument/2006/relationships/image" Target="../media/image148.jpeg"/><Relationship Id="rId10" Type="http://schemas.openxmlformats.org/officeDocument/2006/relationships/image" Target="../media/image153.png"/><Relationship Id="rId4" Type="http://schemas.openxmlformats.org/officeDocument/2006/relationships/image" Target="../media/image147.png"/><Relationship Id="rId9" Type="http://schemas.openxmlformats.org/officeDocument/2006/relationships/image" Target="../media/image152.gif"/><Relationship Id="rId14" Type="http://schemas.openxmlformats.org/officeDocument/2006/relationships/image" Target="../media/image157.png"/></Relationships>
</file>

<file path=ppt/slides/_rels/slide62.xml.rels><?xml version="1.0" encoding="UTF-8" standalone="yes"?>
<Relationships xmlns="http://schemas.openxmlformats.org/package/2006/relationships"><Relationship Id="rId3" Type="http://schemas.openxmlformats.org/officeDocument/2006/relationships/image" Target="../media/image158.png"/><Relationship Id="rId2" Type="http://schemas.openxmlformats.org/officeDocument/2006/relationships/notesSlide" Target="../notesSlides/notesSlide62.xml"/><Relationship Id="rId1" Type="http://schemas.openxmlformats.org/officeDocument/2006/relationships/slideLayout" Target="../slideLayouts/slideLayout3.xml"/></Relationships>
</file>

<file path=ppt/slides/_rels/slide63.xml.rels><?xml version="1.0" encoding="UTF-8" standalone="yes"?>
<Relationships xmlns="http://schemas.openxmlformats.org/package/2006/relationships"><Relationship Id="rId2" Type="http://schemas.openxmlformats.org/officeDocument/2006/relationships/notesSlide" Target="../notesSlides/notesSlide63.xml"/><Relationship Id="rId1" Type="http://schemas.openxmlformats.org/officeDocument/2006/relationships/slideLayout" Target="../slideLayouts/slideLayout10.xml"/></Relationships>
</file>

<file path=ppt/slides/_rels/slide64.xml.rels><?xml version="1.0" encoding="UTF-8" standalone="yes"?>
<Relationships xmlns="http://schemas.openxmlformats.org/package/2006/relationships"><Relationship Id="rId3" Type="http://schemas.openxmlformats.org/officeDocument/2006/relationships/image" Target="../media/image159.png"/><Relationship Id="rId2" Type="http://schemas.openxmlformats.org/officeDocument/2006/relationships/notesSlide" Target="../notesSlides/notesSlide64.xml"/><Relationship Id="rId1" Type="http://schemas.openxmlformats.org/officeDocument/2006/relationships/slideLayout" Target="../slideLayouts/slideLayout3.xml"/></Relationships>
</file>

<file path=ppt/slides/_rels/slide65.xml.rels><?xml version="1.0" encoding="UTF-8" standalone="yes"?>
<Relationships xmlns="http://schemas.openxmlformats.org/package/2006/relationships"><Relationship Id="rId2" Type="http://schemas.openxmlformats.org/officeDocument/2006/relationships/notesSlide" Target="../notesSlides/notesSlide65.xml"/><Relationship Id="rId1" Type="http://schemas.openxmlformats.org/officeDocument/2006/relationships/slideLayout" Target="../slideLayouts/slideLayout10.xml"/></Relationships>
</file>

<file path=ppt/slides/_rels/slide66.xml.rels><?xml version="1.0" encoding="UTF-8" standalone="yes"?>
<Relationships xmlns="http://schemas.openxmlformats.org/package/2006/relationships"><Relationship Id="rId3" Type="http://schemas.openxmlformats.org/officeDocument/2006/relationships/image" Target="../media/image160.png"/><Relationship Id="rId2" Type="http://schemas.openxmlformats.org/officeDocument/2006/relationships/notesSlide" Target="../notesSlides/notesSlide66.xml"/><Relationship Id="rId1" Type="http://schemas.openxmlformats.org/officeDocument/2006/relationships/slideLayout" Target="../slideLayouts/slideLayout3.xml"/></Relationships>
</file>

<file path=ppt/slides/_rels/slide67.xml.rels><?xml version="1.0" encoding="UTF-8" standalone="yes"?>
<Relationships xmlns="http://schemas.openxmlformats.org/package/2006/relationships"><Relationship Id="rId2" Type="http://schemas.openxmlformats.org/officeDocument/2006/relationships/notesSlide" Target="../notesSlides/notesSlide67.xml"/><Relationship Id="rId1" Type="http://schemas.openxmlformats.org/officeDocument/2006/relationships/slideLayout" Target="../slideLayouts/slideLayout10.xml"/></Relationships>
</file>

<file path=ppt/slides/_rels/slide68.xml.rels><?xml version="1.0" encoding="UTF-8" standalone="yes"?>
<Relationships xmlns="http://schemas.openxmlformats.org/package/2006/relationships"><Relationship Id="rId3" Type="http://schemas.openxmlformats.org/officeDocument/2006/relationships/image" Target="../media/image161.png"/><Relationship Id="rId2" Type="http://schemas.openxmlformats.org/officeDocument/2006/relationships/notesSlide" Target="../notesSlides/notesSlide68.xml"/><Relationship Id="rId1" Type="http://schemas.openxmlformats.org/officeDocument/2006/relationships/slideLayout" Target="../slideLayouts/slideLayout3.xml"/></Relationships>
</file>

<file path=ppt/slides/_rels/slide69.xml.rels><?xml version="1.0" encoding="UTF-8" standalone="yes"?>
<Relationships xmlns="http://schemas.openxmlformats.org/package/2006/relationships"><Relationship Id="rId2" Type="http://schemas.openxmlformats.org/officeDocument/2006/relationships/notesSlide" Target="../notesSlides/notesSlide69.xml"/><Relationship Id="rId1" Type="http://schemas.openxmlformats.org/officeDocument/2006/relationships/slideLayout" Target="../slideLayouts/slideLayout10.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9.xml"/></Relationships>
</file>

<file path=ppt/slides/_rels/slide70.xml.rels><?xml version="1.0" encoding="UTF-8" standalone="yes"?>
<Relationships xmlns="http://schemas.openxmlformats.org/package/2006/relationships"><Relationship Id="rId3" Type="http://schemas.openxmlformats.org/officeDocument/2006/relationships/image" Target="../media/image162.png"/><Relationship Id="rId2" Type="http://schemas.openxmlformats.org/officeDocument/2006/relationships/notesSlide" Target="../notesSlides/notesSlide70.xml"/><Relationship Id="rId1" Type="http://schemas.openxmlformats.org/officeDocument/2006/relationships/slideLayout" Target="../slideLayouts/slideLayout3.xml"/></Relationships>
</file>

<file path=ppt/slides/_rels/slide71.xml.rels><?xml version="1.0" encoding="UTF-8" standalone="yes"?>
<Relationships xmlns="http://schemas.openxmlformats.org/package/2006/relationships"><Relationship Id="rId2" Type="http://schemas.openxmlformats.org/officeDocument/2006/relationships/notesSlide" Target="../notesSlides/notesSlide71.xml"/><Relationship Id="rId1" Type="http://schemas.openxmlformats.org/officeDocument/2006/relationships/slideLayout" Target="../slideLayouts/slideLayout10.xml"/></Relationships>
</file>

<file path=ppt/slides/_rels/slide72.xml.rels><?xml version="1.0" encoding="UTF-8" standalone="yes"?>
<Relationships xmlns="http://schemas.openxmlformats.org/package/2006/relationships"><Relationship Id="rId3" Type="http://schemas.openxmlformats.org/officeDocument/2006/relationships/image" Target="../media/image163.png"/><Relationship Id="rId2" Type="http://schemas.openxmlformats.org/officeDocument/2006/relationships/notesSlide" Target="../notesSlides/notesSlide72.xml"/><Relationship Id="rId1" Type="http://schemas.openxmlformats.org/officeDocument/2006/relationships/slideLayout" Target="../slideLayouts/slideLayout3.xml"/></Relationships>
</file>

<file path=ppt/slides/_rels/slide73.xml.rels><?xml version="1.0" encoding="UTF-8" standalone="yes"?>
<Relationships xmlns="http://schemas.openxmlformats.org/package/2006/relationships"><Relationship Id="rId2" Type="http://schemas.openxmlformats.org/officeDocument/2006/relationships/notesSlide" Target="../notesSlides/notesSlide73.xml"/><Relationship Id="rId1" Type="http://schemas.openxmlformats.org/officeDocument/2006/relationships/slideLayout" Target="../slideLayouts/slideLayout10.xml"/></Relationships>
</file>

<file path=ppt/slides/_rels/slide74.xml.rels><?xml version="1.0" encoding="UTF-8" standalone="yes"?>
<Relationships xmlns="http://schemas.openxmlformats.org/package/2006/relationships"><Relationship Id="rId3" Type="http://schemas.openxmlformats.org/officeDocument/2006/relationships/image" Target="../media/image164.png"/><Relationship Id="rId2" Type="http://schemas.openxmlformats.org/officeDocument/2006/relationships/notesSlide" Target="../notesSlides/notesSlide74.xml"/><Relationship Id="rId1" Type="http://schemas.openxmlformats.org/officeDocument/2006/relationships/slideLayout" Target="../slideLayouts/slideLayout3.xml"/></Relationships>
</file>

<file path=ppt/slides/_rels/slide75.xml.rels><?xml version="1.0" encoding="UTF-8" standalone="yes"?>
<Relationships xmlns="http://schemas.openxmlformats.org/package/2006/relationships"><Relationship Id="rId2" Type="http://schemas.openxmlformats.org/officeDocument/2006/relationships/notesSlide" Target="../notesSlides/notesSlide75.xml"/><Relationship Id="rId1" Type="http://schemas.openxmlformats.org/officeDocument/2006/relationships/slideLayout" Target="../slideLayouts/slideLayout10.xml"/></Relationships>
</file>

<file path=ppt/slides/_rels/slide76.xml.rels><?xml version="1.0" encoding="UTF-8" standalone="yes"?>
<Relationships xmlns="http://schemas.openxmlformats.org/package/2006/relationships"><Relationship Id="rId3" Type="http://schemas.openxmlformats.org/officeDocument/2006/relationships/image" Target="../media/image165.png"/><Relationship Id="rId2" Type="http://schemas.openxmlformats.org/officeDocument/2006/relationships/notesSlide" Target="../notesSlides/notesSlide76.xml"/><Relationship Id="rId1" Type="http://schemas.openxmlformats.org/officeDocument/2006/relationships/slideLayout" Target="../slideLayouts/slideLayout3.xml"/></Relationships>
</file>

<file path=ppt/slides/_rels/slide77.xml.rels><?xml version="1.0" encoding="UTF-8" standalone="yes"?>
<Relationships xmlns="http://schemas.openxmlformats.org/package/2006/relationships"><Relationship Id="rId2" Type="http://schemas.openxmlformats.org/officeDocument/2006/relationships/notesSlide" Target="../notesSlides/notesSlide77.xml"/><Relationship Id="rId1" Type="http://schemas.openxmlformats.org/officeDocument/2006/relationships/slideLayout" Target="../slideLayouts/slideLayout10.xml"/></Relationships>
</file>

<file path=ppt/slides/_rels/slide78.xml.rels><?xml version="1.0" encoding="UTF-8" standalone="yes"?>
<Relationships xmlns="http://schemas.openxmlformats.org/package/2006/relationships"><Relationship Id="rId2" Type="http://schemas.openxmlformats.org/officeDocument/2006/relationships/notesSlide" Target="../notesSlides/notesSlide78.xml"/><Relationship Id="rId1" Type="http://schemas.openxmlformats.org/officeDocument/2006/relationships/slideLayout" Target="../slideLayouts/slideLayout3.xml"/></Relationships>
</file>

<file path=ppt/slides/_rels/slide79.xml.rels><?xml version="1.0" encoding="UTF-8" standalone="yes"?>
<Relationships xmlns="http://schemas.openxmlformats.org/package/2006/relationships"><Relationship Id="rId3" Type="http://schemas.openxmlformats.org/officeDocument/2006/relationships/image" Target="../media/image166.png"/><Relationship Id="rId2" Type="http://schemas.openxmlformats.org/officeDocument/2006/relationships/notesSlide" Target="../notesSlides/notesSlide79.xml"/><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32.xml"/></Relationships>
</file>

<file path=ppt/slides/_rels/slide80.xml.rels><?xml version="1.0" encoding="UTF-8" standalone="yes"?>
<Relationships xmlns="http://schemas.openxmlformats.org/package/2006/relationships"><Relationship Id="rId2" Type="http://schemas.openxmlformats.org/officeDocument/2006/relationships/notesSlide" Target="../notesSlides/notesSlide80.xml"/><Relationship Id="rId1" Type="http://schemas.openxmlformats.org/officeDocument/2006/relationships/slideLayout" Target="../slideLayouts/slideLayout10.xml"/></Relationships>
</file>

<file path=ppt/slides/_rels/slide81.xml.rels><?xml version="1.0" encoding="UTF-8" standalone="yes"?>
<Relationships xmlns="http://schemas.openxmlformats.org/package/2006/relationships"><Relationship Id="rId3" Type="http://schemas.openxmlformats.org/officeDocument/2006/relationships/image" Target="../media/image167.png"/><Relationship Id="rId2" Type="http://schemas.openxmlformats.org/officeDocument/2006/relationships/notesSlide" Target="../notesSlides/notesSlide81.xml"/><Relationship Id="rId1" Type="http://schemas.openxmlformats.org/officeDocument/2006/relationships/slideLayout" Target="../slideLayouts/slideLayout3.xml"/></Relationships>
</file>

<file path=ppt/slides/_rels/slide82.xml.rels><?xml version="1.0" encoding="UTF-8" standalone="yes"?>
<Relationships xmlns="http://schemas.openxmlformats.org/package/2006/relationships"><Relationship Id="rId2" Type="http://schemas.openxmlformats.org/officeDocument/2006/relationships/notesSlide" Target="../notesSlides/notesSlide82.xml"/><Relationship Id="rId1" Type="http://schemas.openxmlformats.org/officeDocument/2006/relationships/slideLayout" Target="../slideLayouts/slideLayout10.xml"/></Relationships>
</file>

<file path=ppt/slides/_rels/slide83.xml.rels><?xml version="1.0" encoding="UTF-8" standalone="yes"?>
<Relationships xmlns="http://schemas.openxmlformats.org/package/2006/relationships"><Relationship Id="rId2" Type="http://schemas.openxmlformats.org/officeDocument/2006/relationships/notesSlide" Target="../notesSlides/notesSlide83.xml"/><Relationship Id="rId1" Type="http://schemas.openxmlformats.org/officeDocument/2006/relationships/slideLayout" Target="../slideLayouts/slideLayout3.xml"/></Relationships>
</file>

<file path=ppt/slides/_rels/slide84.xml.rels><?xml version="1.0" encoding="UTF-8" standalone="yes"?>
<Relationships xmlns="http://schemas.openxmlformats.org/package/2006/relationships"><Relationship Id="rId2" Type="http://schemas.openxmlformats.org/officeDocument/2006/relationships/notesSlide" Target="../notesSlides/notesSlide84.xml"/><Relationship Id="rId1" Type="http://schemas.openxmlformats.org/officeDocument/2006/relationships/slideLayout" Target="../slideLayouts/slideLayout10.xml"/></Relationships>
</file>

<file path=ppt/slides/_rels/slide85.xml.rels><?xml version="1.0" encoding="UTF-8" standalone="yes"?>
<Relationships xmlns="http://schemas.openxmlformats.org/package/2006/relationships"><Relationship Id="rId3" Type="http://schemas.openxmlformats.org/officeDocument/2006/relationships/image" Target="../media/image168.png"/><Relationship Id="rId2" Type="http://schemas.openxmlformats.org/officeDocument/2006/relationships/notesSlide" Target="../notesSlides/notesSlide85.xml"/><Relationship Id="rId1" Type="http://schemas.openxmlformats.org/officeDocument/2006/relationships/slideLayout" Target="../slideLayouts/slideLayout3.xml"/></Relationships>
</file>

<file path=ppt/slides/_rels/slide86.xml.rels><?xml version="1.0" encoding="UTF-8" standalone="yes"?>
<Relationships xmlns="http://schemas.openxmlformats.org/package/2006/relationships"><Relationship Id="rId2" Type="http://schemas.openxmlformats.org/officeDocument/2006/relationships/notesSlide" Target="../notesSlides/notesSlide86.xml"/><Relationship Id="rId1" Type="http://schemas.openxmlformats.org/officeDocument/2006/relationships/slideLayout" Target="../slideLayouts/slideLayout3.xml"/></Relationships>
</file>

<file path=ppt/slides/_rels/slide87.xml.rels><?xml version="1.0" encoding="UTF-8" standalone="yes"?>
<Relationships xmlns="http://schemas.openxmlformats.org/package/2006/relationships"><Relationship Id="rId3" Type="http://schemas.openxmlformats.org/officeDocument/2006/relationships/hyperlink" Target="http://aka.ms/Azure/Limits" TargetMode="External"/><Relationship Id="rId2" Type="http://schemas.openxmlformats.org/officeDocument/2006/relationships/notesSlide" Target="../notesSlides/notesSlide87.xml"/><Relationship Id="rId1" Type="http://schemas.openxmlformats.org/officeDocument/2006/relationships/slideLayout" Target="../slideLayouts/slideLayout3.xml"/></Relationships>
</file>

<file path=ppt/slides/_rels/slide88.xml.rels><?xml version="1.0" encoding="UTF-8" standalone="yes"?>
<Relationships xmlns="http://schemas.openxmlformats.org/package/2006/relationships"><Relationship Id="rId2" Type="http://schemas.openxmlformats.org/officeDocument/2006/relationships/notesSlide" Target="../notesSlides/notesSlide88.xml"/><Relationship Id="rId1" Type="http://schemas.openxmlformats.org/officeDocument/2006/relationships/slideLayout" Target="../slideLayouts/slideLayout12.xml"/></Relationships>
</file>

<file path=ppt/slides/_rels/slide89.xml.rels><?xml version="1.0" encoding="UTF-8" standalone="yes"?>
<Relationships xmlns="http://schemas.openxmlformats.org/package/2006/relationships"><Relationship Id="rId2" Type="http://schemas.openxmlformats.org/officeDocument/2006/relationships/notesSlide" Target="../notesSlides/notesSlide89.xml"/><Relationship Id="rId1" Type="http://schemas.openxmlformats.org/officeDocument/2006/relationships/slideLayout" Target="../slideLayouts/slideLayout13.xml"/></Relationships>
</file>

<file path=ppt/slides/_rels/slide9.xml.rels><?xml version="1.0" encoding="UTF-8" standalone="yes"?>
<Relationships xmlns="http://schemas.openxmlformats.org/package/2006/relationships"><Relationship Id="rId3" Type="http://schemas.openxmlformats.org/officeDocument/2006/relationships/image" Target="../media/image90.emf"/><Relationship Id="rId2" Type="http://schemas.openxmlformats.org/officeDocument/2006/relationships/notesSlide" Target="../notesSlides/notesSlide9.xml"/><Relationship Id="rId1" Type="http://schemas.openxmlformats.org/officeDocument/2006/relationships/slideLayout" Target="../slideLayouts/slideLayout40.xml"/><Relationship Id="rId6" Type="http://schemas.openxmlformats.org/officeDocument/2006/relationships/image" Target="../media/image93.emf"/><Relationship Id="rId5" Type="http://schemas.openxmlformats.org/officeDocument/2006/relationships/image" Target="../media/image92.emf"/><Relationship Id="rId4" Type="http://schemas.openxmlformats.org/officeDocument/2006/relationships/image" Target="../media/image91.emf"/></Relationships>
</file>

<file path=ppt/slides/_rels/slide90.xml.rels><?xml version="1.0" encoding="UTF-8" standalone="yes"?>
<Relationships xmlns="http://schemas.openxmlformats.org/package/2006/relationships"><Relationship Id="rId3" Type="http://schemas.openxmlformats.org/officeDocument/2006/relationships/image" Target="../media/image169.png"/><Relationship Id="rId2" Type="http://schemas.openxmlformats.org/officeDocument/2006/relationships/notesSlide" Target="../notesSlides/notesSlide90.xml"/><Relationship Id="rId1" Type="http://schemas.openxmlformats.org/officeDocument/2006/relationships/slideLayout" Target="../slideLayouts/slideLayout4.xml"/><Relationship Id="rId5" Type="http://schemas.openxmlformats.org/officeDocument/2006/relationships/comments" Target="../comments/comment2.xml"/><Relationship Id="rId4" Type="http://schemas.openxmlformats.org/officeDocument/2006/relationships/image" Target="../media/image170.jpg"/></Relationships>
</file>

<file path=ppt/slides/_rels/slide91.xml.rels><?xml version="1.0" encoding="UTF-8" standalone="yes"?>
<Relationships xmlns="http://schemas.openxmlformats.org/package/2006/relationships"><Relationship Id="rId2" Type="http://schemas.openxmlformats.org/officeDocument/2006/relationships/notesSlide" Target="../notesSlides/notesSlide91.xml"/><Relationship Id="rId1" Type="http://schemas.openxmlformats.org/officeDocument/2006/relationships/slideLayout" Target="../slideLayouts/slideLayout4.xml"/></Relationships>
</file>

<file path=ppt/slides/_rels/slide92.xml.rels><?xml version="1.0" encoding="UTF-8" standalone="yes"?>
<Relationships xmlns="http://schemas.openxmlformats.org/package/2006/relationships"><Relationship Id="rId2" Type="http://schemas.openxmlformats.org/officeDocument/2006/relationships/notesSlide" Target="../notesSlides/notesSlide92.xml"/><Relationship Id="rId1" Type="http://schemas.openxmlformats.org/officeDocument/2006/relationships/slideLayout" Target="../slideLayouts/slideLayout9.xml"/></Relationships>
</file>

<file path=ppt/slides/_rels/slide93.xml.rels><?xml version="1.0" encoding="UTF-8" standalone="yes"?>
<Relationships xmlns="http://schemas.openxmlformats.org/package/2006/relationships"><Relationship Id="rId3" Type="http://schemas.openxmlformats.org/officeDocument/2006/relationships/image" Target="../media/image171.png"/><Relationship Id="rId2" Type="http://schemas.openxmlformats.org/officeDocument/2006/relationships/notesSlide" Target="../notesSlides/notesSlide93.xml"/><Relationship Id="rId1" Type="http://schemas.openxmlformats.org/officeDocument/2006/relationships/slideLayout" Target="../slideLayouts/slideLayout9.xml"/></Relationships>
</file>

<file path=ppt/slides/_rels/slide94.xml.rels><?xml version="1.0" encoding="UTF-8" standalone="yes"?>
<Relationships xmlns="http://schemas.openxmlformats.org/package/2006/relationships"><Relationship Id="rId2" Type="http://schemas.openxmlformats.org/officeDocument/2006/relationships/notesSlide" Target="../notesSlides/notesSlide94.xml"/><Relationship Id="rId1" Type="http://schemas.openxmlformats.org/officeDocument/2006/relationships/slideLayout" Target="../slideLayouts/slideLayout3.xml"/></Relationships>
</file>

<file path=ppt/slides/_rels/slide95.xml.rels><?xml version="1.0" encoding="UTF-8" standalone="yes"?>
<Relationships xmlns="http://schemas.openxmlformats.org/package/2006/relationships"><Relationship Id="rId2" Type="http://schemas.openxmlformats.org/officeDocument/2006/relationships/notesSlide" Target="../notesSlides/notesSlide95.xml"/><Relationship Id="rId1" Type="http://schemas.openxmlformats.org/officeDocument/2006/relationships/slideLayout" Target="../slideLayouts/slideLayout3.xml"/></Relationships>
</file>

<file path=ppt/slides/_rels/slide96.xml.rels><?xml version="1.0" encoding="UTF-8" standalone="yes"?>
<Relationships xmlns="http://schemas.openxmlformats.org/package/2006/relationships"><Relationship Id="rId2" Type="http://schemas.openxmlformats.org/officeDocument/2006/relationships/notesSlide" Target="../notesSlides/notesSlide96.xml"/><Relationship Id="rId1" Type="http://schemas.openxmlformats.org/officeDocument/2006/relationships/slideLayout" Target="../slideLayouts/slideLayout10.xml"/></Relationships>
</file>

<file path=ppt/slides/_rels/slide97.xml.rels><?xml version="1.0" encoding="UTF-8" standalone="yes"?>
<Relationships xmlns="http://schemas.openxmlformats.org/package/2006/relationships"><Relationship Id="rId2" Type="http://schemas.openxmlformats.org/officeDocument/2006/relationships/notesSlide" Target="../notesSlides/notesSlide97.xml"/><Relationship Id="rId1" Type="http://schemas.openxmlformats.org/officeDocument/2006/relationships/slideLayout" Target="../slideLayouts/slideLayout9.xml"/></Relationships>
</file>

<file path=ppt/slides/_rels/slide98.xml.rels><?xml version="1.0" encoding="UTF-8" standalone="yes"?>
<Relationships xmlns="http://schemas.openxmlformats.org/package/2006/relationships"><Relationship Id="rId2" Type="http://schemas.openxmlformats.org/officeDocument/2006/relationships/notesSlide" Target="../notesSlides/notesSlide98.xml"/><Relationship Id="rId1" Type="http://schemas.openxmlformats.org/officeDocument/2006/relationships/slideLayout" Target="../slideLayouts/slideLayout9.xml"/></Relationships>
</file>

<file path=ppt/slides/_rels/slide99.xml.rels><?xml version="1.0" encoding="UTF-8" standalone="yes"?>
<Relationships xmlns="http://schemas.openxmlformats.org/package/2006/relationships"><Relationship Id="rId2" Type="http://schemas.openxmlformats.org/officeDocument/2006/relationships/notesSlide" Target="../notesSlides/notesSlide99.xml"/><Relationship Id="rId1" Type="http://schemas.openxmlformats.org/officeDocument/2006/relationships/slideLayout" Target="../slideLayouts/slideLayout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66713" y="2275437"/>
            <a:ext cx="6231156" cy="1828800"/>
          </a:xfrm>
        </p:spPr>
        <p:txBody>
          <a:bodyPr/>
          <a:lstStyle/>
          <a:p>
            <a:r>
              <a:rPr lang="en-US" sz="5400" dirty="0">
                <a:latin typeface="Segoe UI Light" charset="0"/>
              </a:rPr>
              <a:t>Azure Solution Alignment Workshop</a:t>
            </a:r>
          </a:p>
        </p:txBody>
      </p:sp>
      <p:sp>
        <p:nvSpPr>
          <p:cNvPr id="3" name="Text Placeholder 2"/>
          <p:cNvSpPr>
            <a:spLocks noGrp="1"/>
          </p:cNvSpPr>
          <p:nvPr>
            <p:ph type="body" sz="quarter" idx="14"/>
          </p:nvPr>
        </p:nvSpPr>
        <p:spPr>
          <a:xfrm>
            <a:off x="366169" y="4227730"/>
            <a:ext cx="6537076" cy="1737360"/>
          </a:xfrm>
        </p:spPr>
        <p:txBody>
          <a:bodyPr vert="horz" wrap="square" lIns="146304" tIns="109728" rIns="146304" bIns="109728" rtlCol="0" anchor="t">
            <a:noAutofit/>
          </a:bodyPr>
          <a:lstStyle/>
          <a:p>
            <a:r>
              <a:rPr lang="en-US" dirty="0"/>
              <a:t>Module 5b – Compute PaaS</a:t>
            </a:r>
          </a:p>
          <a:p>
            <a:endParaRPr lang="en-US" sz="1800" dirty="0">
              <a:latin typeface="+mn-lt"/>
            </a:endParaRPr>
          </a:p>
          <a:p>
            <a:endParaRPr lang="en-US" sz="1800" dirty="0">
              <a:latin typeface="+mn-lt"/>
            </a:endParaRPr>
          </a:p>
        </p:txBody>
      </p:sp>
    </p:spTree>
    <p:extLst>
      <p:ext uri="{BB962C8B-B14F-4D97-AF65-F5344CB8AC3E}">
        <p14:creationId xmlns:p14="http://schemas.microsoft.com/office/powerpoint/2010/main" val="40103231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66168" y="2989432"/>
            <a:ext cx="11702553" cy="1292662"/>
          </a:xfrm>
        </p:spPr>
        <p:txBody>
          <a:bodyPr/>
          <a:lstStyle/>
          <a:p>
            <a:r>
              <a:rPr lang="en-US" dirty="0"/>
              <a:t>Azure </a:t>
            </a:r>
            <a:r>
              <a:rPr lang="en-US"/>
              <a:t>App Services</a:t>
            </a:r>
            <a:endParaRPr lang="en-US" dirty="0"/>
          </a:p>
        </p:txBody>
      </p:sp>
    </p:spTree>
    <p:extLst>
      <p:ext uri="{BB962C8B-B14F-4D97-AF65-F5344CB8AC3E}">
        <p14:creationId xmlns:p14="http://schemas.microsoft.com/office/powerpoint/2010/main" val="117572885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0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366168" y="2989432"/>
            <a:ext cx="6486453" cy="1098762"/>
          </a:xfrm>
        </p:spPr>
        <p:txBody>
          <a:bodyPr/>
          <a:lstStyle/>
          <a:p>
            <a:r>
              <a:rPr lang="en-US" dirty="0"/>
              <a:t>Cloud Services</a:t>
            </a:r>
          </a:p>
        </p:txBody>
      </p:sp>
    </p:spTree>
    <p:extLst>
      <p:ext uri="{BB962C8B-B14F-4D97-AF65-F5344CB8AC3E}">
        <p14:creationId xmlns:p14="http://schemas.microsoft.com/office/powerpoint/2010/main" val="182267959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0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oud Services (classic/legacy)</a:t>
            </a:r>
          </a:p>
        </p:txBody>
      </p:sp>
      <p:sp>
        <p:nvSpPr>
          <p:cNvPr id="29" name="TextBox 28"/>
          <p:cNvSpPr txBox="1"/>
          <p:nvPr/>
        </p:nvSpPr>
        <p:spPr>
          <a:xfrm>
            <a:off x="366169" y="1375914"/>
            <a:ext cx="6667390" cy="4847086"/>
          </a:xfrm>
          <a:prstGeom prst="rect">
            <a:avLst/>
          </a:prstGeom>
          <a:noFill/>
        </p:spPr>
        <p:txBody>
          <a:bodyPr wrap="square" lIns="182828" tIns="146262" rIns="182828" bIns="146262" rtlCol="0">
            <a:noAutofit/>
          </a:bodyPr>
          <a:lstStyle/>
          <a:p>
            <a:pPr defTabSz="932324">
              <a:spcBef>
                <a:spcPct val="20000"/>
              </a:spcBef>
              <a:spcAft>
                <a:spcPts val="1198"/>
              </a:spcAft>
              <a:buSzPct val="80000"/>
            </a:pPr>
            <a:r>
              <a:rPr lang="en-US" sz="3199" spc="-50" dirty="0">
                <a:solidFill>
                  <a:schemeClr val="tx2"/>
                </a:solidFill>
                <a:latin typeface="Segoe UI Light"/>
              </a:rPr>
              <a:t>Cloud Services (in the context of PaaS) </a:t>
            </a:r>
          </a:p>
          <a:p>
            <a:pPr marL="342900" lvl="1" indent="-342900" defTabSz="932594">
              <a:lnSpc>
                <a:spcPct val="90000"/>
              </a:lnSpc>
              <a:spcBef>
                <a:spcPct val="20000"/>
              </a:spcBef>
              <a:buSzPct val="90000"/>
              <a:buFont typeface="Arial" panose="020B0604020202020204" pitchFamily="34" charset="0"/>
              <a:buChar char="•"/>
            </a:pPr>
            <a:r>
              <a:rPr lang="en-US" sz="2000" dirty="0">
                <a:gradFill>
                  <a:gsLst>
                    <a:gs pos="1250">
                      <a:schemeClr val="tx1"/>
                    </a:gs>
                    <a:gs pos="100000">
                      <a:schemeClr val="tx1"/>
                    </a:gs>
                  </a:gsLst>
                  <a:lin ang="5400000" scaled="0"/>
                </a:gradFill>
              </a:rPr>
              <a:t>Units of deployment that contain the roles and instances, which comprise a given application </a:t>
            </a:r>
          </a:p>
          <a:p>
            <a:pPr marL="342900" lvl="1" indent="-342900" defTabSz="932594">
              <a:lnSpc>
                <a:spcPct val="90000"/>
              </a:lnSpc>
              <a:spcBef>
                <a:spcPct val="20000"/>
              </a:spcBef>
              <a:buSzPct val="90000"/>
              <a:buFont typeface="Arial" panose="020B0604020202020204" pitchFamily="34" charset="0"/>
              <a:buChar char="•"/>
            </a:pPr>
            <a:r>
              <a:rPr lang="en-US" sz="2000" dirty="0">
                <a:gradFill>
                  <a:gsLst>
                    <a:gs pos="1250">
                      <a:schemeClr val="tx1"/>
                    </a:gs>
                    <a:gs pos="100000">
                      <a:schemeClr val="tx1"/>
                    </a:gs>
                  </a:gsLst>
                  <a:lin ang="5400000" scaled="0"/>
                </a:gradFill>
              </a:rPr>
              <a:t>The cloud service will bind to the virtual IP (VIP) </a:t>
            </a:r>
            <a:br>
              <a:rPr lang="en-US" sz="2000" dirty="0">
                <a:gradFill>
                  <a:gsLst>
                    <a:gs pos="1250">
                      <a:schemeClr val="tx1"/>
                    </a:gs>
                    <a:gs pos="100000">
                      <a:schemeClr val="tx1"/>
                    </a:gs>
                  </a:gsLst>
                  <a:lin ang="5400000" scaled="0"/>
                </a:gradFill>
              </a:rPr>
            </a:br>
            <a:r>
              <a:rPr lang="en-US" sz="2000" dirty="0">
                <a:gradFill>
                  <a:gsLst>
                    <a:gs pos="1250">
                      <a:schemeClr val="tx1"/>
                    </a:gs>
                    <a:gs pos="100000">
                      <a:schemeClr val="tx1"/>
                    </a:gs>
                  </a:gsLst>
                  <a:lin ang="5400000" scaled="0"/>
                </a:gradFill>
              </a:rPr>
              <a:t>that services requests and load balance requests </a:t>
            </a:r>
            <a:br>
              <a:rPr lang="en-US" sz="2000" dirty="0">
                <a:gradFill>
                  <a:gsLst>
                    <a:gs pos="1250">
                      <a:schemeClr val="tx1"/>
                    </a:gs>
                    <a:gs pos="100000">
                      <a:schemeClr val="tx1"/>
                    </a:gs>
                  </a:gsLst>
                  <a:lin ang="5400000" scaled="0"/>
                </a:gradFill>
              </a:rPr>
            </a:br>
            <a:r>
              <a:rPr lang="en-US" sz="2000" dirty="0">
                <a:gradFill>
                  <a:gsLst>
                    <a:gs pos="1250">
                      <a:schemeClr val="tx1"/>
                    </a:gs>
                    <a:gs pos="100000">
                      <a:schemeClr val="tx1"/>
                    </a:gs>
                  </a:gsLst>
                  <a:lin ang="5400000" scaled="0"/>
                </a:gradFill>
              </a:rPr>
              <a:t>over underlying role instances </a:t>
            </a:r>
          </a:p>
          <a:p>
            <a:pPr defTabSz="932324"/>
            <a:endParaRPr lang="en-US" sz="2000" spc="-50" dirty="0">
              <a:gradFill>
                <a:gsLst>
                  <a:gs pos="0">
                    <a:srgbClr val="505050"/>
                  </a:gs>
                  <a:gs pos="100000">
                    <a:srgbClr val="505050"/>
                  </a:gs>
                </a:gsLst>
                <a:lin ang="0" scaled="0"/>
              </a:gradFill>
            </a:endParaRPr>
          </a:p>
        </p:txBody>
      </p:sp>
      <p:pic>
        <p:nvPicPr>
          <p:cNvPr id="4" name="Picture 3"/>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7169204" y="1625756"/>
            <a:ext cx="4677212" cy="4011251"/>
          </a:xfrm>
          <a:prstGeom prst="rect">
            <a:avLst/>
          </a:prstGeom>
        </p:spPr>
      </p:pic>
    </p:spTree>
    <p:extLst>
      <p:ext uri="{BB962C8B-B14F-4D97-AF65-F5344CB8AC3E}">
        <p14:creationId xmlns:p14="http://schemas.microsoft.com/office/powerpoint/2010/main" val="176711147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0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oud Services Model (classic/legacy)</a:t>
            </a:r>
          </a:p>
        </p:txBody>
      </p:sp>
      <p:sp>
        <p:nvSpPr>
          <p:cNvPr id="29" name="TextBox 28"/>
          <p:cNvSpPr txBox="1"/>
          <p:nvPr/>
        </p:nvSpPr>
        <p:spPr>
          <a:xfrm>
            <a:off x="378868" y="1375914"/>
            <a:ext cx="11411513" cy="5498222"/>
          </a:xfrm>
          <a:prstGeom prst="rect">
            <a:avLst/>
          </a:prstGeom>
          <a:noFill/>
        </p:spPr>
        <p:txBody>
          <a:bodyPr wrap="square" lIns="182828" tIns="146262" rIns="182828" bIns="146262" rtlCol="0">
            <a:noAutofit/>
          </a:bodyPr>
          <a:lstStyle/>
          <a:p>
            <a:pPr defTabSz="932324">
              <a:spcBef>
                <a:spcPct val="20000"/>
              </a:spcBef>
              <a:spcAft>
                <a:spcPts val="1198"/>
              </a:spcAft>
              <a:buSzPct val="80000"/>
            </a:pPr>
            <a:r>
              <a:rPr lang="en-US" sz="3199" spc="-50" dirty="0">
                <a:solidFill>
                  <a:schemeClr val="tx2"/>
                </a:solidFill>
                <a:latin typeface="Segoe UI Light"/>
              </a:rPr>
              <a:t>It is best to understand what Cloud Services represent. At </a:t>
            </a:r>
            <a:br>
              <a:rPr lang="en-US" sz="3199" spc="-50" dirty="0">
                <a:solidFill>
                  <a:schemeClr val="tx2"/>
                </a:solidFill>
                <a:latin typeface="Segoe UI Light"/>
              </a:rPr>
            </a:br>
            <a:r>
              <a:rPr lang="en-US" sz="3199" spc="-50" dirty="0">
                <a:solidFill>
                  <a:schemeClr val="tx2"/>
                </a:solidFill>
                <a:latin typeface="Segoe UI Light"/>
              </a:rPr>
              <a:t>its simplest form, a Cloud Service is a container or package wrapper for applications that are deployed in Azure. </a:t>
            </a:r>
          </a:p>
          <a:p>
            <a:pPr marL="342900" lvl="1" indent="-342900" defTabSz="932594">
              <a:lnSpc>
                <a:spcPct val="90000"/>
              </a:lnSpc>
              <a:spcBef>
                <a:spcPct val="20000"/>
              </a:spcBef>
              <a:buSzPct val="90000"/>
              <a:buFont typeface="Arial" panose="020B0604020202020204" pitchFamily="34" charset="0"/>
              <a:buChar char="•"/>
            </a:pPr>
            <a:r>
              <a:rPr lang="en-US" sz="2000" dirty="0">
                <a:gradFill>
                  <a:gsLst>
                    <a:gs pos="1250">
                      <a:schemeClr val="tx1"/>
                    </a:gs>
                    <a:gs pos="100000">
                      <a:schemeClr val="tx1"/>
                    </a:gs>
                  </a:gsLst>
                  <a:lin ang="5400000" scaled="0"/>
                </a:gradFill>
              </a:rPr>
              <a:t>This cloud service model follows the traditional client application deployment model such as the appx format by modern Windows Applications</a:t>
            </a:r>
          </a:p>
          <a:p>
            <a:pPr marL="342900" lvl="1" indent="-342900" defTabSz="932594">
              <a:lnSpc>
                <a:spcPct val="90000"/>
              </a:lnSpc>
              <a:spcBef>
                <a:spcPct val="20000"/>
              </a:spcBef>
              <a:buSzPct val="90000"/>
              <a:buFont typeface="Arial" panose="020B0604020202020204" pitchFamily="34" charset="0"/>
              <a:buChar char="•"/>
            </a:pPr>
            <a:r>
              <a:rPr lang="en-US" sz="2000" dirty="0">
                <a:gradFill>
                  <a:gsLst>
                    <a:gs pos="1250">
                      <a:schemeClr val="tx1"/>
                    </a:gs>
                    <a:gs pos="100000">
                      <a:schemeClr val="tx1"/>
                    </a:gs>
                  </a:gsLst>
                  <a:lin ang="5400000" scaled="0"/>
                </a:gradFill>
              </a:rPr>
              <a:t>The target and core idea is to build, version, and deploy the service package unit (cloud service)</a:t>
            </a:r>
          </a:p>
          <a:p>
            <a:pPr marL="342900" lvl="1" indent="-342900" defTabSz="932594">
              <a:lnSpc>
                <a:spcPct val="90000"/>
              </a:lnSpc>
              <a:spcBef>
                <a:spcPct val="20000"/>
              </a:spcBef>
              <a:buSzPct val="90000"/>
              <a:buFont typeface="Arial" panose="020B0604020202020204" pitchFamily="34" charset="0"/>
              <a:buChar char="•"/>
            </a:pPr>
            <a:r>
              <a:rPr lang="en-US" sz="2000" dirty="0">
                <a:gradFill>
                  <a:gsLst>
                    <a:gs pos="1250">
                      <a:schemeClr val="tx1"/>
                    </a:gs>
                    <a:gs pos="100000">
                      <a:schemeClr val="tx1"/>
                    </a:gs>
                  </a:gsLst>
                  <a:lin ang="5400000" scaled="0"/>
                </a:gradFill>
              </a:rPr>
              <a:t>This makes it easier for the DevOps or release management team to deploy updates to the cloud service application, as well as rollback unforeseen side effects from an application update</a:t>
            </a:r>
          </a:p>
          <a:p>
            <a:pPr marL="342900" lvl="1" indent="-342900" defTabSz="932594">
              <a:lnSpc>
                <a:spcPct val="90000"/>
              </a:lnSpc>
              <a:spcBef>
                <a:spcPct val="20000"/>
              </a:spcBef>
              <a:buSzPct val="90000"/>
              <a:buFont typeface="Arial" panose="020B0604020202020204" pitchFamily="34" charset="0"/>
              <a:buChar char="•"/>
            </a:pPr>
            <a:r>
              <a:rPr lang="en-US" sz="2000" dirty="0">
                <a:gradFill>
                  <a:gsLst>
                    <a:gs pos="1250">
                      <a:schemeClr val="tx1"/>
                    </a:gs>
                    <a:gs pos="100000">
                      <a:schemeClr val="tx1"/>
                    </a:gs>
                  </a:gsLst>
                  <a:lin ang="5400000" scaled="0"/>
                </a:gradFill>
              </a:rPr>
              <a:t>Scaling cloud services in the PaaS model is trivial, as the application and service definition are both wrapped in a package</a:t>
            </a:r>
          </a:p>
          <a:p>
            <a:pPr marL="342900" lvl="1" indent="-342900" defTabSz="932594">
              <a:lnSpc>
                <a:spcPct val="90000"/>
              </a:lnSpc>
              <a:spcBef>
                <a:spcPct val="20000"/>
              </a:spcBef>
              <a:buSzPct val="90000"/>
              <a:buFont typeface="Arial" panose="020B0604020202020204" pitchFamily="34" charset="0"/>
              <a:buChar char="•"/>
            </a:pPr>
            <a:r>
              <a:rPr lang="en-US" sz="2000" dirty="0">
                <a:gradFill>
                  <a:gsLst>
                    <a:gs pos="1250">
                      <a:schemeClr val="tx1"/>
                    </a:gs>
                    <a:gs pos="100000">
                      <a:schemeClr val="tx1"/>
                    </a:gs>
                  </a:gsLst>
                  <a:lin ang="5400000" scaled="0"/>
                </a:gradFill>
              </a:rPr>
              <a:t>Deploying more instances is simply a matter of telling the Azure fabric how many instances you want </a:t>
            </a:r>
          </a:p>
          <a:p>
            <a:pPr defTabSz="932324"/>
            <a:endParaRPr lang="en-US" sz="2000" spc="-50" dirty="0">
              <a:gradFill>
                <a:gsLst>
                  <a:gs pos="0">
                    <a:srgbClr val="505050"/>
                  </a:gs>
                  <a:gs pos="100000">
                    <a:srgbClr val="505050"/>
                  </a:gs>
                </a:gsLst>
                <a:lin ang="0" scaled="0"/>
              </a:gradFill>
            </a:endParaRPr>
          </a:p>
        </p:txBody>
      </p:sp>
    </p:spTree>
    <p:extLst>
      <p:ext uri="{BB962C8B-B14F-4D97-AF65-F5344CB8AC3E}">
        <p14:creationId xmlns:p14="http://schemas.microsoft.com/office/powerpoint/2010/main" val="398002685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0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Segoe UI Light" panose="020B0502040204020203" pitchFamily="34" charset="0"/>
                <a:cs typeface="Segoe UI Light" panose="020B0502040204020203" pitchFamily="34" charset="0"/>
              </a:rPr>
              <a:t>Cloud Services decisions </a:t>
            </a:r>
            <a:r>
              <a:rPr lang="en-US" dirty="0"/>
              <a:t>(classic/legacy)</a:t>
            </a:r>
          </a:p>
        </p:txBody>
      </p:sp>
      <p:graphicFrame>
        <p:nvGraphicFramePr>
          <p:cNvPr id="3" name="Diagram 2"/>
          <p:cNvGraphicFramePr/>
          <p:nvPr>
            <p:extLst>
              <p:ext uri="{D42A27DB-BD31-4B8C-83A1-F6EECF244321}">
                <p14:modId xmlns:p14="http://schemas.microsoft.com/office/powerpoint/2010/main" val="1176902676"/>
              </p:ext>
            </p:extLst>
          </p:nvPr>
        </p:nvGraphicFramePr>
        <p:xfrm>
          <a:off x="1161825" y="1212853"/>
          <a:ext cx="10026127" cy="525621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 name="Octagon 3"/>
          <p:cNvSpPr/>
          <p:nvPr/>
        </p:nvSpPr>
        <p:spPr>
          <a:xfrm>
            <a:off x="1107200" y="2430463"/>
            <a:ext cx="443098" cy="439889"/>
          </a:xfrm>
          <a:prstGeom prst="octagon">
            <a:avLst/>
          </a:prstGeom>
          <a:solidFill>
            <a:srgbClr val="CC0000"/>
          </a:solidFill>
        </p:spPr>
        <p:style>
          <a:lnRef idx="1">
            <a:schemeClr val="accent2"/>
          </a:lnRef>
          <a:fillRef idx="3">
            <a:schemeClr val="accent2"/>
          </a:fillRef>
          <a:effectRef idx="2">
            <a:schemeClr val="accent2"/>
          </a:effectRef>
          <a:fontRef idx="minor">
            <a:schemeClr val="lt1"/>
          </a:fontRef>
        </p:style>
        <p:txBody>
          <a:bodyPr rot="0" spcFirstLastPara="0" vert="horz" wrap="square" lIns="68583" tIns="34291" rIns="68583" bIns="34291" numCol="1" spcCol="0" rtlCol="0" fromWordArt="0" anchor="ctr" anchorCtr="0" forceAA="0" compatLnSpc="1">
            <a:prstTxWarp prst="textNoShape">
              <a:avLst/>
            </a:prstTxWarp>
            <a:noAutofit/>
          </a:bodyPr>
          <a:lstStyle/>
          <a:p>
            <a:endParaRPr lang="en-US" sz="1350"/>
          </a:p>
        </p:txBody>
      </p:sp>
      <p:sp>
        <p:nvSpPr>
          <p:cNvPr id="5" name="Isosceles Triangle 4"/>
          <p:cNvSpPr>
            <a:spLocks/>
          </p:cNvSpPr>
          <p:nvPr/>
        </p:nvSpPr>
        <p:spPr>
          <a:xfrm>
            <a:off x="1021842" y="4110985"/>
            <a:ext cx="579874" cy="457219"/>
          </a:xfrm>
          <a:prstGeom prst="triangle">
            <a:avLst/>
          </a:prstGeom>
          <a:solidFill>
            <a:srgbClr val="FFFF00"/>
          </a:solidFill>
        </p:spPr>
        <p:style>
          <a:lnRef idx="1">
            <a:schemeClr val="accent6"/>
          </a:lnRef>
          <a:fillRef idx="3">
            <a:schemeClr val="accent6"/>
          </a:fillRef>
          <a:effectRef idx="2">
            <a:schemeClr val="accent6"/>
          </a:effectRef>
          <a:fontRef idx="minor">
            <a:schemeClr val="lt1"/>
          </a:fontRef>
        </p:style>
        <p:txBody>
          <a:bodyPr rot="0" spcFirstLastPara="0" vert="horz" wrap="square" lIns="68583" tIns="34291" rIns="68583" bIns="34291" numCol="1" spcCol="0" rtlCol="0" fromWordArt="0" anchor="ctr" anchorCtr="0" forceAA="0" compatLnSpc="1">
            <a:prstTxWarp prst="textNoShape">
              <a:avLst/>
            </a:prstTxWarp>
            <a:noAutofit/>
          </a:bodyPr>
          <a:lstStyle/>
          <a:p>
            <a:endParaRPr lang="en-US" sz="1350"/>
          </a:p>
        </p:txBody>
      </p:sp>
      <p:sp>
        <p:nvSpPr>
          <p:cNvPr id="6" name="Oval 5"/>
          <p:cNvSpPr>
            <a:spLocks/>
          </p:cNvSpPr>
          <p:nvPr/>
        </p:nvSpPr>
        <p:spPr>
          <a:xfrm>
            <a:off x="1021843" y="5993586"/>
            <a:ext cx="474539" cy="475477"/>
          </a:xfrm>
          <a:prstGeom prst="ellipse">
            <a:avLst/>
          </a:prstGeom>
          <a:solidFill>
            <a:srgbClr val="00B050"/>
          </a:solidFill>
        </p:spPr>
        <p:style>
          <a:lnRef idx="1">
            <a:schemeClr val="accent3"/>
          </a:lnRef>
          <a:fillRef idx="3">
            <a:schemeClr val="accent3"/>
          </a:fillRef>
          <a:effectRef idx="2">
            <a:schemeClr val="accent3"/>
          </a:effectRef>
          <a:fontRef idx="minor">
            <a:schemeClr val="lt1"/>
          </a:fontRef>
        </p:style>
        <p:txBody>
          <a:bodyPr rot="0" spcFirstLastPara="0" vert="horz" wrap="square" lIns="68583" tIns="34291" rIns="68583" bIns="34291" numCol="1" spcCol="0" rtlCol="0" fromWordArt="0" anchor="ctr" anchorCtr="0" forceAA="0" compatLnSpc="1">
            <a:prstTxWarp prst="textNoShape">
              <a:avLst/>
            </a:prstTxWarp>
            <a:noAutofit/>
          </a:bodyPr>
          <a:lstStyle/>
          <a:p>
            <a:endParaRPr lang="en-US" sz="1350"/>
          </a:p>
        </p:txBody>
      </p:sp>
    </p:spTree>
    <p:extLst>
      <p:ext uri="{BB962C8B-B14F-4D97-AF65-F5344CB8AC3E}">
        <p14:creationId xmlns:p14="http://schemas.microsoft.com/office/powerpoint/2010/main" val="4269104818"/>
      </p:ext>
    </p:extLst>
  </p:cSld>
  <p:clrMapOvr>
    <a:masterClrMapping/>
  </p:clrMapOvr>
  <p:transition>
    <p:fade/>
  </p:transition>
</p:sld>
</file>

<file path=ppt/slides/slide10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Web/Worker roles (classic/legacy) overview</a:t>
            </a:r>
          </a:p>
        </p:txBody>
      </p:sp>
      <p:sp>
        <p:nvSpPr>
          <p:cNvPr id="29" name="TextBox 28"/>
          <p:cNvSpPr txBox="1"/>
          <p:nvPr/>
        </p:nvSpPr>
        <p:spPr>
          <a:xfrm>
            <a:off x="378868" y="1375914"/>
            <a:ext cx="9776351" cy="4847086"/>
          </a:xfrm>
          <a:prstGeom prst="rect">
            <a:avLst/>
          </a:prstGeom>
          <a:noFill/>
        </p:spPr>
        <p:txBody>
          <a:bodyPr wrap="square" lIns="182828" tIns="146262" rIns="182828" bIns="146262" rtlCol="0">
            <a:noAutofit/>
          </a:bodyPr>
          <a:lstStyle/>
          <a:p>
            <a:pPr defTabSz="932324">
              <a:spcBef>
                <a:spcPct val="20000"/>
              </a:spcBef>
              <a:spcAft>
                <a:spcPts val="1198"/>
              </a:spcAft>
              <a:buSzPct val="80000"/>
            </a:pPr>
            <a:r>
              <a:rPr lang="en-US" sz="3199" spc="-50" dirty="0">
                <a:solidFill>
                  <a:schemeClr val="tx2"/>
                </a:solidFill>
                <a:latin typeface="Segoe UI Light"/>
              </a:rPr>
              <a:t>Web/Worker a.k.a. Cloud Services is one of the top used Azure Services</a:t>
            </a:r>
          </a:p>
          <a:p>
            <a:pPr defTabSz="932324">
              <a:spcBef>
                <a:spcPct val="20000"/>
              </a:spcBef>
              <a:spcAft>
                <a:spcPts val="1198"/>
              </a:spcAft>
              <a:buSzPct val="80000"/>
            </a:pPr>
            <a:r>
              <a:rPr lang="en-US" sz="3199" spc="-50" dirty="0">
                <a:solidFill>
                  <a:schemeClr val="tx2"/>
                </a:solidFill>
                <a:latin typeface="Segoe UI Light"/>
              </a:rPr>
              <a:t>Extensively used both by external and internal customers</a:t>
            </a:r>
          </a:p>
          <a:p>
            <a:pPr defTabSz="932324">
              <a:spcBef>
                <a:spcPct val="20000"/>
              </a:spcBef>
              <a:spcAft>
                <a:spcPts val="1198"/>
              </a:spcAft>
              <a:buSzPct val="80000"/>
            </a:pPr>
            <a:r>
              <a:rPr lang="en-US" sz="3199" spc="-50" dirty="0">
                <a:solidFill>
                  <a:schemeClr val="tx2"/>
                </a:solidFill>
                <a:latin typeface="Segoe UI Light"/>
              </a:rPr>
              <a:t>Interesting stats about Cloud Service usage:</a:t>
            </a:r>
          </a:p>
          <a:p>
            <a:pPr marL="342900" lvl="1" indent="-342900" defTabSz="932594">
              <a:lnSpc>
                <a:spcPct val="90000"/>
              </a:lnSpc>
              <a:spcBef>
                <a:spcPct val="20000"/>
              </a:spcBef>
              <a:buSzPct val="90000"/>
              <a:buFont typeface="Arial" panose="020B0604020202020204" pitchFamily="34" charset="0"/>
              <a:buChar char="•"/>
            </a:pPr>
            <a:r>
              <a:rPr lang="en-US" sz="2000" dirty="0">
                <a:gradFill>
                  <a:gsLst>
                    <a:gs pos="1250">
                      <a:schemeClr val="tx1"/>
                    </a:gs>
                    <a:gs pos="100000">
                      <a:schemeClr val="tx1"/>
                    </a:gs>
                  </a:gsLst>
                  <a:lin ang="5400000" scaled="0"/>
                </a:gradFill>
              </a:rPr>
              <a:t>50-50 mix of web and worker roles</a:t>
            </a:r>
          </a:p>
          <a:p>
            <a:pPr marL="342900" lvl="1" indent="-342900" defTabSz="932594">
              <a:lnSpc>
                <a:spcPct val="90000"/>
              </a:lnSpc>
              <a:spcBef>
                <a:spcPct val="20000"/>
              </a:spcBef>
              <a:buSzPct val="90000"/>
              <a:buFont typeface="Arial" panose="020B0604020202020204" pitchFamily="34" charset="0"/>
              <a:buChar char="•"/>
            </a:pPr>
            <a:r>
              <a:rPr lang="en-US" sz="2000" dirty="0">
                <a:gradFill>
                  <a:gsLst>
                    <a:gs pos="1250">
                      <a:schemeClr val="tx1"/>
                    </a:gs>
                    <a:gs pos="100000">
                      <a:schemeClr val="tx1"/>
                    </a:gs>
                  </a:gsLst>
                  <a:lin ang="5400000" scaled="0"/>
                </a:gradFill>
              </a:rPr>
              <a:t>20% of cloud service VMs are in </a:t>
            </a:r>
            <a:r>
              <a:rPr lang="en-US" sz="2000" dirty="0" err="1">
                <a:gradFill>
                  <a:gsLst>
                    <a:gs pos="1250">
                      <a:schemeClr val="tx1"/>
                    </a:gs>
                    <a:gs pos="100000">
                      <a:schemeClr val="tx1"/>
                    </a:gs>
                  </a:gsLst>
                  <a:lin ang="5400000" scaled="0"/>
                </a:gradFill>
              </a:rPr>
              <a:t>VNets</a:t>
            </a:r>
            <a:endParaRPr lang="en-US" sz="2000" dirty="0">
              <a:gradFill>
                <a:gsLst>
                  <a:gs pos="1250">
                    <a:schemeClr val="tx1"/>
                  </a:gs>
                  <a:gs pos="100000">
                    <a:schemeClr val="tx1"/>
                  </a:gs>
                </a:gsLst>
                <a:lin ang="5400000" scaled="0"/>
              </a:gradFill>
            </a:endParaRPr>
          </a:p>
          <a:p>
            <a:pPr marL="342900" lvl="1" indent="-342900" defTabSz="932594">
              <a:lnSpc>
                <a:spcPct val="90000"/>
              </a:lnSpc>
              <a:spcBef>
                <a:spcPct val="20000"/>
              </a:spcBef>
              <a:buSzPct val="90000"/>
              <a:buFont typeface="Arial" panose="020B0604020202020204" pitchFamily="34" charset="0"/>
              <a:buChar char="•"/>
            </a:pPr>
            <a:r>
              <a:rPr lang="en-US" sz="2000" dirty="0">
                <a:gradFill>
                  <a:gsLst>
                    <a:gs pos="1250">
                      <a:schemeClr val="tx1"/>
                    </a:gs>
                    <a:gs pos="100000">
                      <a:schemeClr val="tx1"/>
                    </a:gs>
                  </a:gsLst>
                  <a:lin ang="5400000" scaled="0"/>
                </a:gradFill>
              </a:rPr>
              <a:t>Average instances for top 20 external customers: 1599 </a:t>
            </a:r>
          </a:p>
          <a:p>
            <a:pPr marL="342900" lvl="1" indent="-342900" defTabSz="932594">
              <a:lnSpc>
                <a:spcPct val="90000"/>
              </a:lnSpc>
              <a:spcBef>
                <a:spcPct val="20000"/>
              </a:spcBef>
              <a:buSzPct val="90000"/>
              <a:buFont typeface="Arial" panose="020B0604020202020204" pitchFamily="34" charset="0"/>
              <a:buChar char="•"/>
            </a:pPr>
            <a:r>
              <a:rPr lang="en-US" sz="2000" dirty="0">
                <a:gradFill>
                  <a:gsLst>
                    <a:gs pos="1250">
                      <a:schemeClr val="tx1"/>
                    </a:gs>
                    <a:gs pos="100000">
                      <a:schemeClr val="tx1"/>
                    </a:gs>
                  </a:gsLst>
                  <a:lin ang="5400000" scaled="0"/>
                </a:gradFill>
              </a:rPr>
              <a:t>Around 80% of external customers have less than 5 instances</a:t>
            </a:r>
          </a:p>
        </p:txBody>
      </p:sp>
    </p:spTree>
    <p:extLst>
      <p:ext uri="{BB962C8B-B14F-4D97-AF65-F5344CB8AC3E}">
        <p14:creationId xmlns:p14="http://schemas.microsoft.com/office/powerpoint/2010/main" val="310787332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0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Web and Worker roles (classic/legacy)</a:t>
            </a:r>
          </a:p>
        </p:txBody>
      </p:sp>
      <p:sp>
        <p:nvSpPr>
          <p:cNvPr id="29" name="TextBox 28"/>
          <p:cNvSpPr txBox="1"/>
          <p:nvPr/>
        </p:nvSpPr>
        <p:spPr>
          <a:xfrm>
            <a:off x="378868" y="1375914"/>
            <a:ext cx="9776351" cy="1205921"/>
          </a:xfrm>
          <a:prstGeom prst="rect">
            <a:avLst/>
          </a:prstGeom>
          <a:noFill/>
        </p:spPr>
        <p:txBody>
          <a:bodyPr wrap="square" lIns="182828" tIns="146262" rIns="182828" bIns="146262" rtlCol="0">
            <a:noAutofit/>
          </a:bodyPr>
          <a:lstStyle/>
          <a:p>
            <a:pPr marL="342900" lvl="1" indent="-342900" defTabSz="932594">
              <a:lnSpc>
                <a:spcPct val="90000"/>
              </a:lnSpc>
              <a:spcBef>
                <a:spcPct val="20000"/>
              </a:spcBef>
              <a:buSzPct val="90000"/>
              <a:buFont typeface="Arial" panose="020B0604020202020204" pitchFamily="34" charset="0"/>
              <a:buChar char="•"/>
            </a:pPr>
            <a:r>
              <a:rPr lang="en-US" sz="2000" dirty="0">
                <a:gradFill>
                  <a:gsLst>
                    <a:gs pos="1250">
                      <a:schemeClr val="tx1"/>
                    </a:gs>
                    <a:gs pos="100000">
                      <a:schemeClr val="tx1"/>
                    </a:gs>
                  </a:gsLst>
                  <a:lin ang="5400000" scaled="0"/>
                </a:gradFill>
              </a:rPr>
              <a:t>It’s important to remember that this type of PaaS application (Web and Worker roles) have dedicated underlying Virtual Machines per instance. Typically this is transparent, but it’s particularly important from a diagnostics perspective. </a:t>
            </a:r>
          </a:p>
        </p:txBody>
      </p:sp>
      <p:graphicFrame>
        <p:nvGraphicFramePr>
          <p:cNvPr id="4" name="Table 3"/>
          <p:cNvGraphicFramePr>
            <a:graphicFrameLocks noGrp="1"/>
          </p:cNvGraphicFramePr>
          <p:nvPr>
            <p:extLst>
              <p:ext uri="{D42A27DB-BD31-4B8C-83A1-F6EECF244321}">
                <p14:modId xmlns:p14="http://schemas.microsoft.com/office/powerpoint/2010/main" val="717140211"/>
              </p:ext>
            </p:extLst>
          </p:nvPr>
        </p:nvGraphicFramePr>
        <p:xfrm>
          <a:off x="498862" y="2744896"/>
          <a:ext cx="8229599" cy="3200401"/>
        </p:xfrm>
        <a:graphic>
          <a:graphicData uri="http://schemas.openxmlformats.org/drawingml/2006/table">
            <a:tbl>
              <a:tblPr firstRow="1" firstCol="1" bandRow="1">
                <a:tableStyleId>{5C22544A-7EE6-4342-B048-85BDC9FD1C3A}</a:tableStyleId>
              </a:tblPr>
              <a:tblGrid>
                <a:gridCol w="1740878">
                  <a:extLst>
                    <a:ext uri="{9D8B030D-6E8A-4147-A177-3AD203B41FA5}">
                      <a16:colId xmlns:a16="http://schemas.microsoft.com/office/drawing/2014/main" val="20000"/>
                    </a:ext>
                  </a:extLst>
                </a:gridCol>
                <a:gridCol w="6488721">
                  <a:extLst>
                    <a:ext uri="{9D8B030D-6E8A-4147-A177-3AD203B41FA5}">
                      <a16:colId xmlns:a16="http://schemas.microsoft.com/office/drawing/2014/main" val="20001"/>
                    </a:ext>
                  </a:extLst>
                </a:gridCol>
              </a:tblGrid>
              <a:tr h="377840">
                <a:tc>
                  <a:txBody>
                    <a:bodyPr/>
                    <a:lstStyle/>
                    <a:p>
                      <a:pPr marL="0" marR="0" algn="ctr">
                        <a:lnSpc>
                          <a:spcPct val="115000"/>
                        </a:lnSpc>
                        <a:spcBef>
                          <a:spcPts val="600"/>
                        </a:spcBef>
                        <a:spcAft>
                          <a:spcPts val="600"/>
                        </a:spcAft>
                      </a:pPr>
                      <a:r>
                        <a:rPr lang="en-US" sz="1400" b="0" dirty="0">
                          <a:effectLst/>
                          <a:latin typeface="Segoe UI Semibold" panose="020B0702040204020203" pitchFamily="34" charset="0"/>
                          <a:cs typeface="Segoe UI Semibold" panose="020B0702040204020203" pitchFamily="34" charset="0"/>
                        </a:rPr>
                        <a:t>Application type</a:t>
                      </a:r>
                      <a:endParaRPr lang="en-US" sz="1400" b="0" dirty="0">
                        <a:effectLst/>
                        <a:latin typeface="Segoe UI Semibold" panose="020B0702040204020203" pitchFamily="34" charset="0"/>
                        <a:ea typeface="Times New Roman" panose="02020603050405020304" pitchFamily="18" charset="0"/>
                        <a:cs typeface="Segoe UI Semibold" panose="020B0702040204020203" pitchFamily="34" charset="0"/>
                      </a:endParaRPr>
                    </a:p>
                  </a:txBody>
                  <a:tcPr marL="51437" marR="51437" marT="0" marB="0"/>
                </a:tc>
                <a:tc>
                  <a:txBody>
                    <a:bodyPr/>
                    <a:lstStyle/>
                    <a:p>
                      <a:pPr marL="0" marR="0" algn="ctr">
                        <a:lnSpc>
                          <a:spcPct val="115000"/>
                        </a:lnSpc>
                        <a:spcBef>
                          <a:spcPts val="600"/>
                        </a:spcBef>
                        <a:spcAft>
                          <a:spcPts val="600"/>
                        </a:spcAft>
                      </a:pPr>
                      <a:r>
                        <a:rPr lang="en-US" sz="1400" b="0" dirty="0">
                          <a:effectLst/>
                          <a:latin typeface="Segoe UI Semibold" panose="020B0702040204020203" pitchFamily="34" charset="0"/>
                          <a:cs typeface="Segoe UI Semibold" panose="020B0702040204020203" pitchFamily="34" charset="0"/>
                        </a:rPr>
                        <a:t>Description</a:t>
                      </a:r>
                      <a:endParaRPr lang="en-US" sz="1400" b="0" dirty="0">
                        <a:effectLst/>
                        <a:latin typeface="Segoe UI Semibold" panose="020B0702040204020203" pitchFamily="34" charset="0"/>
                        <a:ea typeface="Times New Roman" panose="02020603050405020304" pitchFamily="18" charset="0"/>
                        <a:cs typeface="Segoe UI Semibold" panose="020B0702040204020203" pitchFamily="34" charset="0"/>
                      </a:endParaRPr>
                    </a:p>
                  </a:txBody>
                  <a:tcPr marL="51437" marR="51437" marT="0" marB="0"/>
                </a:tc>
                <a:extLst>
                  <a:ext uri="{0D108BD9-81ED-4DB2-BD59-A6C34878D82A}">
                    <a16:rowId xmlns:a16="http://schemas.microsoft.com/office/drawing/2014/main" val="10000"/>
                  </a:ext>
                </a:extLst>
              </a:tr>
              <a:tr h="1204592">
                <a:tc>
                  <a:txBody>
                    <a:bodyPr/>
                    <a:lstStyle/>
                    <a:p>
                      <a:pPr marL="0" marR="0" algn="ctr">
                        <a:lnSpc>
                          <a:spcPct val="200000"/>
                        </a:lnSpc>
                        <a:spcBef>
                          <a:spcPts val="2400"/>
                        </a:spcBef>
                        <a:spcAft>
                          <a:spcPts val="600"/>
                        </a:spcAft>
                      </a:pPr>
                      <a:r>
                        <a:rPr lang="en-US" sz="1400" b="0" dirty="0">
                          <a:effectLst/>
                          <a:latin typeface="Segoe UI Semibold" panose="020B0702040204020203" pitchFamily="34" charset="0"/>
                          <a:cs typeface="Segoe UI Semibold" panose="020B0702040204020203" pitchFamily="34" charset="0"/>
                        </a:rPr>
                        <a:t>Web role</a:t>
                      </a:r>
                      <a:endParaRPr lang="en-US" sz="1400" b="0" dirty="0">
                        <a:effectLst/>
                        <a:latin typeface="Segoe UI Semibold" panose="020B0702040204020203" pitchFamily="34" charset="0"/>
                        <a:ea typeface="Times New Roman" panose="02020603050405020304" pitchFamily="18" charset="0"/>
                        <a:cs typeface="Segoe UI Semibold" panose="020B0702040204020203" pitchFamily="34" charset="0"/>
                      </a:endParaRPr>
                    </a:p>
                  </a:txBody>
                  <a:tcPr marL="51437" marR="51437" marT="0" marB="0"/>
                </a:tc>
                <a:tc>
                  <a:txBody>
                    <a:bodyPr/>
                    <a:lstStyle/>
                    <a:p>
                      <a:pPr marL="0" marR="0">
                        <a:lnSpc>
                          <a:spcPct val="115000"/>
                        </a:lnSpc>
                        <a:spcBef>
                          <a:spcPts val="600"/>
                        </a:spcBef>
                        <a:spcAft>
                          <a:spcPts val="600"/>
                        </a:spcAft>
                      </a:pPr>
                      <a:r>
                        <a:rPr lang="en-US" sz="1600" dirty="0">
                          <a:effectLst/>
                          <a:latin typeface="+mj-lt"/>
                        </a:rPr>
                        <a:t>This role is used primarily to host and support applications that target IIS and ASP.NET.  The role will be provisioned out of the box with IIS installed and can be used to host front end web based applications.</a:t>
                      </a:r>
                      <a:endParaRPr lang="en-US" sz="1600" dirty="0">
                        <a:effectLst/>
                        <a:latin typeface="+mj-lt"/>
                        <a:ea typeface="Times New Roman" panose="02020603050405020304" pitchFamily="18" charset="0"/>
                        <a:cs typeface="Times New Roman" panose="02020603050405020304" pitchFamily="18" charset="0"/>
                      </a:endParaRPr>
                    </a:p>
                  </a:txBody>
                  <a:tcPr marL="51437" marR="51437" marT="0" marB="0"/>
                </a:tc>
                <a:extLst>
                  <a:ext uri="{0D108BD9-81ED-4DB2-BD59-A6C34878D82A}">
                    <a16:rowId xmlns:a16="http://schemas.microsoft.com/office/drawing/2014/main" val="10001"/>
                  </a:ext>
                </a:extLst>
              </a:tr>
              <a:tr h="1617969">
                <a:tc>
                  <a:txBody>
                    <a:bodyPr/>
                    <a:lstStyle/>
                    <a:p>
                      <a:pPr marL="0" marR="0" algn="ctr">
                        <a:lnSpc>
                          <a:spcPct val="200000"/>
                        </a:lnSpc>
                        <a:spcBef>
                          <a:spcPts val="2400"/>
                        </a:spcBef>
                        <a:spcAft>
                          <a:spcPts val="600"/>
                        </a:spcAft>
                      </a:pPr>
                      <a:r>
                        <a:rPr lang="en-US" sz="1400" b="0" dirty="0">
                          <a:effectLst/>
                          <a:latin typeface="Segoe UI Semibold" panose="020B0702040204020203" pitchFamily="34" charset="0"/>
                          <a:cs typeface="Segoe UI Semibold" panose="020B0702040204020203" pitchFamily="34" charset="0"/>
                        </a:rPr>
                        <a:t>Worker role</a:t>
                      </a:r>
                      <a:endParaRPr lang="en-US" sz="1400" b="0" dirty="0">
                        <a:effectLst/>
                        <a:latin typeface="Segoe UI Semibold" panose="020B0702040204020203" pitchFamily="34" charset="0"/>
                        <a:ea typeface="Times New Roman" panose="02020603050405020304" pitchFamily="18" charset="0"/>
                        <a:cs typeface="Segoe UI Semibold" panose="020B0702040204020203" pitchFamily="34" charset="0"/>
                      </a:endParaRPr>
                    </a:p>
                  </a:txBody>
                  <a:tcPr marL="51437" marR="51437" marT="0" marB="0"/>
                </a:tc>
                <a:tc>
                  <a:txBody>
                    <a:bodyPr/>
                    <a:lstStyle/>
                    <a:p>
                      <a:pPr marL="0" marR="0">
                        <a:lnSpc>
                          <a:spcPct val="115000"/>
                        </a:lnSpc>
                        <a:spcBef>
                          <a:spcPts val="600"/>
                        </a:spcBef>
                        <a:spcAft>
                          <a:spcPts val="600"/>
                        </a:spcAft>
                      </a:pPr>
                      <a:r>
                        <a:rPr lang="en-US" sz="1600" dirty="0">
                          <a:effectLst/>
                          <a:latin typeface="+mj-lt"/>
                        </a:rPr>
                        <a:t>This role is used primarily to host and support service type applications.  These applications target back-end processing workloads. These can be long running processes and can be thought of as Windows Services in the cloud.</a:t>
                      </a:r>
                      <a:endParaRPr lang="en-US" sz="1600" dirty="0">
                        <a:effectLst/>
                        <a:latin typeface="+mj-lt"/>
                        <a:ea typeface="Times New Roman" panose="02020603050405020304" pitchFamily="18" charset="0"/>
                        <a:cs typeface="Times New Roman" panose="02020603050405020304" pitchFamily="18" charset="0"/>
                      </a:endParaRPr>
                    </a:p>
                  </a:txBody>
                  <a:tcPr marL="51437" marR="51437" marT="0" marB="0"/>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273915650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0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8" name="Freeform: Shape 7"/>
          <p:cNvSpPr/>
          <p:nvPr/>
        </p:nvSpPr>
        <p:spPr>
          <a:xfrm>
            <a:off x="5484468" y="2204219"/>
            <a:ext cx="4272719" cy="861986"/>
          </a:xfrm>
          <a:custGeom>
            <a:avLst/>
            <a:gdLst>
              <a:gd name="connsiteX0" fmla="*/ 0 w 3466579"/>
              <a:gd name="connsiteY0" fmla="*/ 0 h 861986"/>
              <a:gd name="connsiteX1" fmla="*/ 3466579 w 3466579"/>
              <a:gd name="connsiteY1" fmla="*/ 0 h 861986"/>
              <a:gd name="connsiteX2" fmla="*/ 3466579 w 3466579"/>
              <a:gd name="connsiteY2" fmla="*/ 861986 h 861986"/>
              <a:gd name="connsiteX3" fmla="*/ 0 w 3466579"/>
              <a:gd name="connsiteY3" fmla="*/ 861986 h 861986"/>
              <a:gd name="connsiteX4" fmla="*/ 0 w 3466579"/>
              <a:gd name="connsiteY4" fmla="*/ 0 h 8619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66579" h="861986">
                <a:moveTo>
                  <a:pt x="0" y="0"/>
                </a:moveTo>
                <a:lnTo>
                  <a:pt x="3466579" y="0"/>
                </a:lnTo>
                <a:lnTo>
                  <a:pt x="3466579" y="861986"/>
                </a:lnTo>
                <a:lnTo>
                  <a:pt x="0" y="861986"/>
                </a:lnTo>
                <a:lnTo>
                  <a:pt x="0" y="0"/>
                </a:lnTo>
                <a:close/>
              </a:path>
            </a:pathLst>
          </a:custGeom>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56032" tIns="146304" rIns="256032" bIns="146304" numCol="1" spcCol="1270" anchor="ctr" anchorCtr="0">
            <a:noAutofit/>
          </a:bodyPr>
          <a:lstStyle/>
          <a:p>
            <a:pPr marL="0" lvl="0" indent="0" algn="ctr" defTabSz="1600200">
              <a:lnSpc>
                <a:spcPct val="90000"/>
              </a:lnSpc>
              <a:spcBef>
                <a:spcPct val="0"/>
              </a:spcBef>
              <a:spcAft>
                <a:spcPct val="35000"/>
              </a:spcAft>
              <a:buNone/>
            </a:pPr>
            <a:r>
              <a:rPr lang="en-US" sz="3600" kern="1200" dirty="0">
                <a:latin typeface="+mj-lt"/>
              </a:rPr>
              <a:t>Worker roles</a:t>
            </a:r>
          </a:p>
        </p:txBody>
      </p:sp>
      <p:sp>
        <p:nvSpPr>
          <p:cNvPr id="2" name="Text Placeholder 1"/>
          <p:cNvSpPr>
            <a:spLocks noGrp="1"/>
          </p:cNvSpPr>
          <p:nvPr>
            <p:ph type="body" sz="quarter" idx="10"/>
          </p:nvPr>
        </p:nvSpPr>
        <p:spPr>
          <a:xfrm>
            <a:off x="366168" y="1212851"/>
            <a:ext cx="11702553" cy="683264"/>
          </a:xfrm>
        </p:spPr>
        <p:txBody>
          <a:bodyPr/>
          <a:lstStyle/>
          <a:p>
            <a:pPr marL="0" indent="0">
              <a:buNone/>
            </a:pPr>
            <a:r>
              <a:rPr lang="en-US" dirty="0"/>
              <a:t>Consider using Web and Worker roles as follows:</a:t>
            </a:r>
          </a:p>
        </p:txBody>
      </p:sp>
      <p:sp>
        <p:nvSpPr>
          <p:cNvPr id="3" name="Title 2"/>
          <p:cNvSpPr>
            <a:spLocks noGrp="1"/>
          </p:cNvSpPr>
          <p:nvPr>
            <p:ph type="title"/>
          </p:nvPr>
        </p:nvSpPr>
        <p:spPr/>
        <p:txBody>
          <a:bodyPr/>
          <a:lstStyle/>
          <a:p>
            <a:r>
              <a:rPr lang="en-US" dirty="0"/>
              <a:t>Web and Worker roles model</a:t>
            </a:r>
          </a:p>
        </p:txBody>
      </p:sp>
      <p:sp>
        <p:nvSpPr>
          <p:cNvPr id="6" name="Freeform: Shape 5"/>
          <p:cNvSpPr/>
          <p:nvPr/>
        </p:nvSpPr>
        <p:spPr>
          <a:xfrm>
            <a:off x="575688" y="2214976"/>
            <a:ext cx="4297526" cy="861986"/>
          </a:xfrm>
          <a:custGeom>
            <a:avLst/>
            <a:gdLst>
              <a:gd name="connsiteX0" fmla="*/ 0 w 3466579"/>
              <a:gd name="connsiteY0" fmla="*/ 0 h 861986"/>
              <a:gd name="connsiteX1" fmla="*/ 3466579 w 3466579"/>
              <a:gd name="connsiteY1" fmla="*/ 0 h 861986"/>
              <a:gd name="connsiteX2" fmla="*/ 3466579 w 3466579"/>
              <a:gd name="connsiteY2" fmla="*/ 861986 h 861986"/>
              <a:gd name="connsiteX3" fmla="*/ 0 w 3466579"/>
              <a:gd name="connsiteY3" fmla="*/ 861986 h 861986"/>
              <a:gd name="connsiteX4" fmla="*/ 0 w 3466579"/>
              <a:gd name="connsiteY4" fmla="*/ 0 h 8619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66579" h="861986">
                <a:moveTo>
                  <a:pt x="0" y="0"/>
                </a:moveTo>
                <a:lnTo>
                  <a:pt x="3466579" y="0"/>
                </a:lnTo>
                <a:lnTo>
                  <a:pt x="3466579" y="861986"/>
                </a:lnTo>
                <a:lnTo>
                  <a:pt x="0" y="861986"/>
                </a:lnTo>
                <a:lnTo>
                  <a:pt x="0" y="0"/>
                </a:lnTo>
                <a:close/>
              </a:path>
            </a:pathLst>
          </a:custGeom>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56032" tIns="146304" rIns="256032" bIns="146304" numCol="1" spcCol="1270" anchor="ctr" anchorCtr="0">
            <a:noAutofit/>
          </a:bodyPr>
          <a:lstStyle/>
          <a:p>
            <a:pPr marL="0" lvl="0" indent="0" algn="ctr" defTabSz="1600200">
              <a:lnSpc>
                <a:spcPct val="90000"/>
              </a:lnSpc>
              <a:spcBef>
                <a:spcPct val="0"/>
              </a:spcBef>
              <a:spcAft>
                <a:spcPct val="35000"/>
              </a:spcAft>
              <a:buNone/>
            </a:pPr>
            <a:r>
              <a:rPr lang="en-US" sz="3600" kern="1200" dirty="0">
                <a:latin typeface="+mj-lt"/>
              </a:rPr>
              <a:t>Web roles</a:t>
            </a:r>
          </a:p>
        </p:txBody>
      </p:sp>
      <p:sp>
        <p:nvSpPr>
          <p:cNvPr id="7" name="Freeform: Shape 6"/>
          <p:cNvSpPr/>
          <p:nvPr/>
        </p:nvSpPr>
        <p:spPr>
          <a:xfrm>
            <a:off x="575688" y="3066205"/>
            <a:ext cx="4297526" cy="3546539"/>
          </a:xfrm>
          <a:custGeom>
            <a:avLst/>
            <a:gdLst>
              <a:gd name="connsiteX0" fmla="*/ 0 w 4423458"/>
              <a:gd name="connsiteY0" fmla="*/ 0 h 3546539"/>
              <a:gd name="connsiteX1" fmla="*/ 4423458 w 4423458"/>
              <a:gd name="connsiteY1" fmla="*/ 0 h 3546539"/>
              <a:gd name="connsiteX2" fmla="*/ 4423458 w 4423458"/>
              <a:gd name="connsiteY2" fmla="*/ 3546539 h 3546539"/>
              <a:gd name="connsiteX3" fmla="*/ 0 w 4423458"/>
              <a:gd name="connsiteY3" fmla="*/ 3546539 h 3546539"/>
              <a:gd name="connsiteX4" fmla="*/ 0 w 4423458"/>
              <a:gd name="connsiteY4" fmla="*/ 0 h 35465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23458" h="3546539">
                <a:moveTo>
                  <a:pt x="0" y="0"/>
                </a:moveTo>
                <a:lnTo>
                  <a:pt x="4423458" y="0"/>
                </a:lnTo>
                <a:lnTo>
                  <a:pt x="4423458" y="3546539"/>
                </a:lnTo>
                <a:lnTo>
                  <a:pt x="0" y="3546539"/>
                </a:lnTo>
                <a:lnTo>
                  <a:pt x="0" y="0"/>
                </a:lnTo>
                <a:close/>
              </a:path>
            </a:pathLst>
          </a:custGeom>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12014" tIns="112014" rIns="149352" bIns="168021" numCol="1" spcCol="1270" anchor="t" anchorCtr="0">
            <a:noAutofit/>
          </a:bodyPr>
          <a:lstStyle/>
          <a:p>
            <a:pPr marL="228600" lvl="1" indent="-228600" algn="l" defTabSz="933450">
              <a:lnSpc>
                <a:spcPct val="90000"/>
              </a:lnSpc>
              <a:spcBef>
                <a:spcPct val="0"/>
              </a:spcBef>
              <a:spcAft>
                <a:spcPct val="15000"/>
              </a:spcAft>
              <a:buChar char="•"/>
            </a:pPr>
            <a:r>
              <a:rPr lang="en-US" sz="2100" kern="1200" dirty="0">
                <a:latin typeface="+mj-lt"/>
              </a:rPr>
              <a:t>Tailored for IIS based applications</a:t>
            </a:r>
          </a:p>
          <a:p>
            <a:pPr marL="228600" lvl="1" indent="-228600" algn="l" defTabSz="933450">
              <a:lnSpc>
                <a:spcPct val="90000"/>
              </a:lnSpc>
              <a:spcBef>
                <a:spcPct val="0"/>
              </a:spcBef>
              <a:spcAft>
                <a:spcPct val="15000"/>
              </a:spcAft>
              <a:buChar char="•"/>
            </a:pPr>
            <a:r>
              <a:rPr lang="en-US" sz="2100" kern="1200" dirty="0">
                <a:latin typeface="+mj-lt"/>
              </a:rPr>
              <a:t>Configure the scale unity for the instance and ensure that multiple (at least 2) are used for production workloads. Performed by setting the configuration in the </a:t>
            </a:r>
            <a:br>
              <a:rPr lang="en-US" sz="2100" kern="1200" dirty="0">
                <a:latin typeface="+mj-lt"/>
              </a:rPr>
            </a:br>
            <a:r>
              <a:rPr lang="en-US" sz="2100" kern="1200" dirty="0">
                <a:latin typeface="+mj-lt"/>
              </a:rPr>
              <a:t>service definition</a:t>
            </a:r>
          </a:p>
        </p:txBody>
      </p:sp>
      <p:sp>
        <p:nvSpPr>
          <p:cNvPr id="9" name="Freeform: Shape 8"/>
          <p:cNvSpPr/>
          <p:nvPr/>
        </p:nvSpPr>
        <p:spPr>
          <a:xfrm>
            <a:off x="5484468" y="3066205"/>
            <a:ext cx="4272719" cy="3546539"/>
          </a:xfrm>
          <a:custGeom>
            <a:avLst/>
            <a:gdLst>
              <a:gd name="connsiteX0" fmla="*/ 0 w 3466579"/>
              <a:gd name="connsiteY0" fmla="*/ 0 h 3546539"/>
              <a:gd name="connsiteX1" fmla="*/ 3466579 w 3466579"/>
              <a:gd name="connsiteY1" fmla="*/ 0 h 3546539"/>
              <a:gd name="connsiteX2" fmla="*/ 3466579 w 3466579"/>
              <a:gd name="connsiteY2" fmla="*/ 3546539 h 3546539"/>
              <a:gd name="connsiteX3" fmla="*/ 0 w 3466579"/>
              <a:gd name="connsiteY3" fmla="*/ 3546539 h 3546539"/>
              <a:gd name="connsiteX4" fmla="*/ 0 w 3466579"/>
              <a:gd name="connsiteY4" fmla="*/ 0 h 35465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66579" h="3546539">
                <a:moveTo>
                  <a:pt x="0" y="0"/>
                </a:moveTo>
                <a:lnTo>
                  <a:pt x="3466579" y="0"/>
                </a:lnTo>
                <a:lnTo>
                  <a:pt x="3466579" y="3546539"/>
                </a:lnTo>
                <a:lnTo>
                  <a:pt x="0" y="3546539"/>
                </a:lnTo>
                <a:lnTo>
                  <a:pt x="0" y="0"/>
                </a:lnTo>
                <a:close/>
              </a:path>
            </a:pathLst>
          </a:custGeom>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01346" tIns="101346" rIns="135128" bIns="152019" numCol="1" spcCol="1270" anchor="t" anchorCtr="0">
            <a:noAutofit/>
          </a:bodyPr>
          <a:lstStyle/>
          <a:p>
            <a:pPr marL="171450" lvl="1" indent="-171450" algn="l" defTabSz="844550">
              <a:lnSpc>
                <a:spcPct val="90000"/>
              </a:lnSpc>
              <a:spcBef>
                <a:spcPct val="0"/>
              </a:spcBef>
              <a:spcAft>
                <a:spcPct val="15000"/>
              </a:spcAft>
              <a:buChar char="•"/>
            </a:pPr>
            <a:r>
              <a:rPr lang="en-US" sz="2100" kern="1200" dirty="0">
                <a:latin typeface="+mj-lt"/>
              </a:rPr>
              <a:t>Tailored for service type applications (non-web based)</a:t>
            </a:r>
          </a:p>
          <a:p>
            <a:pPr marL="171450" lvl="1" indent="-171450" algn="l" defTabSz="844550">
              <a:lnSpc>
                <a:spcPct val="90000"/>
              </a:lnSpc>
              <a:spcBef>
                <a:spcPct val="0"/>
              </a:spcBef>
              <a:spcAft>
                <a:spcPct val="15000"/>
              </a:spcAft>
              <a:buChar char="•"/>
            </a:pPr>
            <a:r>
              <a:rPr lang="en-US" sz="2100" kern="1200" dirty="0">
                <a:latin typeface="+mj-lt"/>
              </a:rPr>
              <a:t>As such, error handling that would be required for a “lights out” service type application should be employed.</a:t>
            </a:r>
          </a:p>
          <a:p>
            <a:pPr marL="171450" lvl="1" indent="-171450" algn="l" defTabSz="844550">
              <a:lnSpc>
                <a:spcPct val="90000"/>
              </a:lnSpc>
              <a:spcBef>
                <a:spcPct val="0"/>
              </a:spcBef>
              <a:spcAft>
                <a:spcPct val="15000"/>
              </a:spcAft>
              <a:buChar char="•"/>
            </a:pPr>
            <a:r>
              <a:rPr lang="en-US" sz="2100" kern="1200" dirty="0">
                <a:latin typeface="+mj-lt"/>
              </a:rPr>
              <a:t>If the exceptions are not handled </a:t>
            </a:r>
            <a:br>
              <a:rPr lang="en-US" sz="2100" kern="1200" dirty="0">
                <a:latin typeface="+mj-lt"/>
              </a:rPr>
            </a:br>
            <a:r>
              <a:rPr lang="en-US" sz="2100" kern="1200" dirty="0">
                <a:latin typeface="+mj-lt"/>
              </a:rPr>
              <a:t>in the service inner loop, the role instance will be restarted, causing downtime for processing</a:t>
            </a:r>
          </a:p>
        </p:txBody>
      </p:sp>
    </p:spTree>
    <p:extLst>
      <p:ext uri="{BB962C8B-B14F-4D97-AF65-F5344CB8AC3E}">
        <p14:creationId xmlns:p14="http://schemas.microsoft.com/office/powerpoint/2010/main" val="421580901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0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Segoe UI Light" panose="020B0502040204020203" pitchFamily="34" charset="0"/>
                <a:cs typeface="Segoe UI Light" panose="020B0502040204020203" pitchFamily="34" charset="0"/>
              </a:rPr>
              <a:t>Web and Worker roles decisions </a:t>
            </a:r>
            <a:br>
              <a:rPr lang="en-US" dirty="0">
                <a:latin typeface="Segoe UI Light" panose="020B0502040204020203" pitchFamily="34" charset="0"/>
                <a:cs typeface="Segoe UI Light" panose="020B0502040204020203" pitchFamily="34" charset="0"/>
              </a:rPr>
            </a:br>
            <a:r>
              <a:rPr lang="en-US" dirty="0">
                <a:latin typeface="Segoe UI Light" panose="020B0502040204020203" pitchFamily="34" charset="0"/>
                <a:cs typeface="Segoe UI Light" panose="020B0502040204020203" pitchFamily="34" charset="0"/>
              </a:rPr>
              <a:t>(classic/legacy)</a:t>
            </a:r>
            <a:endParaRPr lang="en-US" dirty="0"/>
          </a:p>
        </p:txBody>
      </p:sp>
      <p:graphicFrame>
        <p:nvGraphicFramePr>
          <p:cNvPr id="3" name="Diagram 2"/>
          <p:cNvGraphicFramePr/>
          <p:nvPr>
            <p:extLst>
              <p:ext uri="{D42A27DB-BD31-4B8C-83A1-F6EECF244321}">
                <p14:modId xmlns:p14="http://schemas.microsoft.com/office/powerpoint/2010/main" val="1156230978"/>
              </p:ext>
            </p:extLst>
          </p:nvPr>
        </p:nvGraphicFramePr>
        <p:xfrm>
          <a:off x="785307" y="2162287"/>
          <a:ext cx="11498566" cy="430677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 name="Octagon 3"/>
          <p:cNvSpPr/>
          <p:nvPr/>
        </p:nvSpPr>
        <p:spPr>
          <a:xfrm>
            <a:off x="612763" y="3070698"/>
            <a:ext cx="443098" cy="439889"/>
          </a:xfrm>
          <a:prstGeom prst="octagon">
            <a:avLst/>
          </a:prstGeom>
          <a:solidFill>
            <a:srgbClr val="CC0000"/>
          </a:solidFill>
        </p:spPr>
        <p:style>
          <a:lnRef idx="1">
            <a:schemeClr val="accent2"/>
          </a:lnRef>
          <a:fillRef idx="3">
            <a:schemeClr val="accent2"/>
          </a:fillRef>
          <a:effectRef idx="2">
            <a:schemeClr val="accent2"/>
          </a:effectRef>
          <a:fontRef idx="minor">
            <a:schemeClr val="lt1"/>
          </a:fontRef>
        </p:style>
        <p:txBody>
          <a:bodyPr rot="0" spcFirstLastPara="0" vert="horz" wrap="square" lIns="68583" tIns="34291" rIns="68583" bIns="34291" numCol="1" spcCol="0" rtlCol="0" fromWordArt="0" anchor="ctr" anchorCtr="0" forceAA="0" compatLnSpc="1">
            <a:prstTxWarp prst="textNoShape">
              <a:avLst/>
            </a:prstTxWarp>
            <a:noAutofit/>
          </a:bodyPr>
          <a:lstStyle/>
          <a:p>
            <a:endParaRPr lang="en-US" sz="1350"/>
          </a:p>
        </p:txBody>
      </p:sp>
      <p:sp>
        <p:nvSpPr>
          <p:cNvPr id="5" name="Isosceles Triangle 4"/>
          <p:cNvSpPr>
            <a:spLocks/>
          </p:cNvSpPr>
          <p:nvPr/>
        </p:nvSpPr>
        <p:spPr>
          <a:xfrm>
            <a:off x="581322" y="4240077"/>
            <a:ext cx="579874" cy="457219"/>
          </a:xfrm>
          <a:prstGeom prst="triangle">
            <a:avLst/>
          </a:prstGeom>
          <a:solidFill>
            <a:srgbClr val="FFFF00"/>
          </a:solidFill>
        </p:spPr>
        <p:style>
          <a:lnRef idx="1">
            <a:schemeClr val="accent6"/>
          </a:lnRef>
          <a:fillRef idx="3">
            <a:schemeClr val="accent6"/>
          </a:fillRef>
          <a:effectRef idx="2">
            <a:schemeClr val="accent6"/>
          </a:effectRef>
          <a:fontRef idx="minor">
            <a:schemeClr val="lt1"/>
          </a:fontRef>
        </p:style>
        <p:txBody>
          <a:bodyPr rot="0" spcFirstLastPara="0" vert="horz" wrap="square" lIns="68583" tIns="34291" rIns="68583" bIns="34291" numCol="1" spcCol="0" rtlCol="0" fromWordArt="0" anchor="ctr" anchorCtr="0" forceAA="0" compatLnSpc="1">
            <a:prstTxWarp prst="textNoShape">
              <a:avLst/>
            </a:prstTxWarp>
            <a:noAutofit/>
          </a:bodyPr>
          <a:lstStyle/>
          <a:p>
            <a:endParaRPr lang="en-US" sz="1350"/>
          </a:p>
        </p:txBody>
      </p:sp>
      <p:sp>
        <p:nvSpPr>
          <p:cNvPr id="6" name="Oval 5"/>
          <p:cNvSpPr>
            <a:spLocks/>
          </p:cNvSpPr>
          <p:nvPr/>
        </p:nvSpPr>
        <p:spPr>
          <a:xfrm>
            <a:off x="581322" y="5993586"/>
            <a:ext cx="474539" cy="475477"/>
          </a:xfrm>
          <a:prstGeom prst="ellipse">
            <a:avLst/>
          </a:prstGeom>
          <a:solidFill>
            <a:srgbClr val="00B050"/>
          </a:solidFill>
        </p:spPr>
        <p:style>
          <a:lnRef idx="1">
            <a:schemeClr val="accent3"/>
          </a:lnRef>
          <a:fillRef idx="3">
            <a:schemeClr val="accent3"/>
          </a:fillRef>
          <a:effectRef idx="2">
            <a:schemeClr val="accent3"/>
          </a:effectRef>
          <a:fontRef idx="minor">
            <a:schemeClr val="lt1"/>
          </a:fontRef>
        </p:style>
        <p:txBody>
          <a:bodyPr rot="0" spcFirstLastPara="0" vert="horz" wrap="square" lIns="68583" tIns="34291" rIns="68583" bIns="34291" numCol="1" spcCol="0" rtlCol="0" fromWordArt="0" anchor="ctr" anchorCtr="0" forceAA="0" compatLnSpc="1">
            <a:prstTxWarp prst="textNoShape">
              <a:avLst/>
            </a:prstTxWarp>
            <a:noAutofit/>
          </a:bodyPr>
          <a:lstStyle/>
          <a:p>
            <a:endParaRPr lang="en-US" sz="1350"/>
          </a:p>
        </p:txBody>
      </p:sp>
    </p:spTree>
    <p:extLst>
      <p:ext uri="{BB962C8B-B14F-4D97-AF65-F5344CB8AC3E}">
        <p14:creationId xmlns:p14="http://schemas.microsoft.com/office/powerpoint/2010/main" val="613743127"/>
      </p:ext>
    </p:extLst>
  </p:cSld>
  <p:clrMapOvr>
    <a:masterClrMapping/>
  </p:clrMapOvr>
  <p:transition>
    <p:fade/>
  </p:transition>
</p:sld>
</file>

<file path=ppt/slides/slide10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9" name="Text Placeholder 3"/>
          <p:cNvSpPr txBox="1">
            <a:spLocks/>
          </p:cNvSpPr>
          <p:nvPr/>
        </p:nvSpPr>
        <p:spPr>
          <a:xfrm>
            <a:off x="449006" y="1203368"/>
            <a:ext cx="4152043" cy="3497149"/>
          </a:xfrm>
          <a:prstGeom prst="rect">
            <a:avLst/>
          </a:prstGeom>
        </p:spPr>
        <p:txBody>
          <a:bodyPr/>
          <a:lstStyle>
            <a:lvl1pPr marL="342846" marR="0" indent="-342846" algn="l" defTabSz="932594" rtl="0" eaLnBrk="1" fontAlgn="auto" latinLnBrk="0" hangingPunct="1">
              <a:lnSpc>
                <a:spcPct val="90000"/>
              </a:lnSpc>
              <a:spcBef>
                <a:spcPct val="20000"/>
              </a:spcBef>
              <a:spcAft>
                <a:spcPts val="0"/>
              </a:spcAft>
              <a:buClrTx/>
              <a:buSzPct val="90000"/>
              <a:buFont typeface="Arial" pitchFamily="34" charset="0"/>
              <a:buChar char="•"/>
              <a:tabLst/>
              <a:defRPr sz="4800" kern="1200" spc="0" baseline="0">
                <a:gradFill>
                  <a:gsLst>
                    <a:gs pos="1250">
                      <a:schemeClr val="tx1"/>
                    </a:gs>
                    <a:gs pos="100000">
                      <a:schemeClr val="tx1"/>
                    </a:gs>
                  </a:gsLst>
                  <a:lin ang="5400000" scaled="0"/>
                </a:gradFill>
                <a:latin typeface="+mj-lt"/>
                <a:ea typeface="+mn-ea"/>
                <a:cs typeface="+mn-cs"/>
              </a:defRPr>
            </a:lvl1pPr>
            <a:lvl2pPr marL="615935" marR="0" indent="-273044" algn="l" defTabSz="932594" rtl="0" eaLnBrk="1" fontAlgn="auto" latinLnBrk="0" hangingPunct="1">
              <a:lnSpc>
                <a:spcPct val="90000"/>
              </a:lnSpc>
              <a:spcBef>
                <a:spcPct val="20000"/>
              </a:spcBef>
              <a:spcAft>
                <a:spcPts val="0"/>
              </a:spcAft>
              <a:buClrTx/>
              <a:buSzPct val="90000"/>
              <a:buFont typeface="Arial" pitchFamily="34" charset="0"/>
              <a:buChar char="•"/>
              <a:tabLst/>
              <a:defRPr sz="3200" kern="1200" spc="0" baseline="0">
                <a:gradFill>
                  <a:gsLst>
                    <a:gs pos="1250">
                      <a:schemeClr val="tx1"/>
                    </a:gs>
                    <a:gs pos="100000">
                      <a:schemeClr val="tx1"/>
                    </a:gs>
                  </a:gsLst>
                  <a:lin ang="5400000" scaled="0"/>
                </a:gradFill>
                <a:latin typeface="+mn-lt"/>
                <a:ea typeface="+mn-ea"/>
                <a:cs typeface="+mn-cs"/>
              </a:defRPr>
            </a:lvl2pPr>
            <a:lvl3pPr marL="840296" marR="0" indent="-226478" algn="l" defTabSz="932594" rtl="0" eaLnBrk="1" fontAlgn="auto" latinLnBrk="0" hangingPunct="1">
              <a:lnSpc>
                <a:spcPct val="90000"/>
              </a:lnSpc>
              <a:spcBef>
                <a:spcPct val="20000"/>
              </a:spcBef>
              <a:spcAft>
                <a:spcPts val="0"/>
              </a:spcAft>
              <a:buClrTx/>
              <a:buSzPct val="90000"/>
              <a:buFont typeface="Arial" pitchFamily="34" charset="0"/>
              <a:buChar char="•"/>
              <a:tabLst/>
              <a:defRPr sz="2667" kern="1200" spc="0" baseline="0">
                <a:gradFill>
                  <a:gsLst>
                    <a:gs pos="1250">
                      <a:schemeClr val="tx1"/>
                    </a:gs>
                    <a:gs pos="100000">
                      <a:schemeClr val="tx1"/>
                    </a:gs>
                  </a:gsLst>
                  <a:lin ang="5400000" scaled="0"/>
                </a:gradFill>
                <a:latin typeface="+mn-lt"/>
                <a:ea typeface="+mn-ea"/>
                <a:cs typeface="+mn-cs"/>
              </a:defRPr>
            </a:lvl3pPr>
            <a:lvl4pPr marL="1064657" marR="0" indent="-226478" algn="l" defTabSz="93259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4pPr>
            <a:lvl5pPr marL="1219170" marR="0" indent="-226478" algn="l" defTabSz="93259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5pPr>
            <a:lvl6pPr marL="2564633" indent="-233149" algn="l" defTabSz="93259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932" indent="-233149" algn="l" defTabSz="93259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229" indent="-233149" algn="l" defTabSz="93259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528" indent="-233149" algn="l" defTabSz="932594"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2900" lvl="1" indent="-342900"/>
            <a:r>
              <a:rPr lang="en-US" sz="1600" dirty="0"/>
              <a:t>Auto scaling</a:t>
            </a:r>
          </a:p>
          <a:p>
            <a:pPr marL="342900" lvl="1" indent="-342900"/>
            <a:r>
              <a:rPr lang="en-US" sz="1600" dirty="0"/>
              <a:t>Auto OS update</a:t>
            </a:r>
          </a:p>
          <a:p>
            <a:pPr marL="342900" lvl="1" indent="-342900"/>
            <a:r>
              <a:rPr lang="en-US" sz="1600" dirty="0"/>
              <a:t>Public/private peering</a:t>
            </a:r>
          </a:p>
          <a:p>
            <a:pPr marL="342900" lvl="1" indent="-342900"/>
            <a:r>
              <a:rPr lang="en-US" sz="1600" dirty="0"/>
              <a:t>Manage Services, not servers</a:t>
            </a:r>
          </a:p>
          <a:p>
            <a:pPr marL="342900" lvl="1" indent="-342900"/>
            <a:r>
              <a:rPr lang="en-US" sz="1600" dirty="0"/>
              <a:t>Custom plugins</a:t>
            </a:r>
          </a:p>
          <a:p>
            <a:pPr marL="342900" lvl="1" indent="-342900"/>
            <a:r>
              <a:rPr lang="en-US" sz="1600" dirty="0"/>
              <a:t>Package and Deploy</a:t>
            </a:r>
          </a:p>
          <a:p>
            <a:pPr marL="342900" lvl="1" indent="-342900"/>
            <a:r>
              <a:rPr lang="en-US" sz="1600" dirty="0"/>
              <a:t>Cloud Services and service fabric</a:t>
            </a:r>
          </a:p>
          <a:p>
            <a:pPr marL="342900" lvl="1" indent="-342900"/>
            <a:r>
              <a:rPr lang="en-US" sz="1600" dirty="0"/>
              <a:t>App Lifecycle management</a:t>
            </a:r>
          </a:p>
          <a:p>
            <a:pPr marL="342900" lvl="1" indent="-342900"/>
            <a:r>
              <a:rPr lang="en-US" sz="1600" dirty="0"/>
              <a:t>App Monitoring and Healing</a:t>
            </a:r>
          </a:p>
          <a:p>
            <a:pPr marL="285750" indent="-285750">
              <a:lnSpc>
                <a:spcPct val="114000"/>
              </a:lnSpc>
            </a:pPr>
            <a:endParaRPr lang="en-US" sz="1600" kern="0" dirty="0">
              <a:solidFill>
                <a:schemeClr val="tx1"/>
              </a:solidFill>
              <a:latin typeface="+mn-lt"/>
            </a:endParaRPr>
          </a:p>
          <a:p>
            <a:pPr marL="285750" indent="-285750">
              <a:lnSpc>
                <a:spcPct val="114000"/>
              </a:lnSpc>
            </a:pPr>
            <a:endParaRPr lang="en-US" sz="1600" kern="0" dirty="0">
              <a:solidFill>
                <a:schemeClr val="tx1"/>
              </a:solidFill>
              <a:latin typeface="+mn-lt"/>
            </a:endParaRPr>
          </a:p>
          <a:p>
            <a:pPr marL="285750" indent="-285750">
              <a:lnSpc>
                <a:spcPct val="114000"/>
              </a:lnSpc>
            </a:pPr>
            <a:endParaRPr lang="en-US" sz="1600" kern="0" dirty="0">
              <a:solidFill>
                <a:schemeClr val="tx1"/>
              </a:solidFill>
              <a:latin typeface="+mn-lt"/>
            </a:endParaRPr>
          </a:p>
        </p:txBody>
      </p:sp>
      <p:sp>
        <p:nvSpPr>
          <p:cNvPr id="10" name="Title 9"/>
          <p:cNvSpPr>
            <a:spLocks noGrp="1"/>
          </p:cNvSpPr>
          <p:nvPr>
            <p:ph type="title"/>
          </p:nvPr>
        </p:nvSpPr>
        <p:spPr/>
        <p:txBody>
          <a:bodyPr/>
          <a:lstStyle/>
          <a:p>
            <a:r>
              <a:rPr lang="en-US" sz="4400" dirty="0"/>
              <a:t>What do our customers love about Cloud Services?</a:t>
            </a:r>
          </a:p>
        </p:txBody>
      </p:sp>
      <p:sp>
        <p:nvSpPr>
          <p:cNvPr id="20" name="Rectangle 19"/>
          <p:cNvSpPr/>
          <p:nvPr/>
        </p:nvSpPr>
        <p:spPr bwMode="auto">
          <a:xfrm>
            <a:off x="3401306" y="4986159"/>
            <a:ext cx="7638042" cy="567246"/>
          </a:xfrm>
          <a:prstGeom prst="rect">
            <a:avLst/>
          </a:prstGeom>
          <a:solidFill>
            <a:schemeClr val="tx1">
              <a:lumMod val="75000"/>
            </a:schemeClr>
          </a:solidFill>
          <a:ln w="6350" cap="flat" cmpd="sng" algn="ctr">
            <a:noFill/>
            <a:prstDash val="solid"/>
            <a:miter lim="800000"/>
            <a:headEnd type="none" w="med" len="med"/>
            <a:tailEnd type="none" w="med" len="med"/>
          </a:ln>
          <a:effectLst/>
        </p:spPr>
        <p:txBody>
          <a:bodyPr rot="0" spcFirstLastPara="0" vertOverflow="overflow" horzOverflow="overflow" vert="horz" wrap="square" lIns="68561" tIns="68561" rIns="68561" bIns="68561" numCol="1" spcCol="0" rtlCol="0" fromWordArt="0" anchor="t" anchorCtr="0" forceAA="0" compatLnSpc="1">
            <a:prstTxWarp prst="textNoShape">
              <a:avLst/>
            </a:prstTxWarp>
            <a:noAutofit/>
          </a:bodyPr>
          <a:lstStyle/>
          <a:p>
            <a:pPr algn="ctr" defTabSz="698819" fontAlgn="base">
              <a:lnSpc>
                <a:spcPct val="90000"/>
              </a:lnSpc>
            </a:pPr>
            <a:r>
              <a:rPr lang="en-US" sz="1049" kern="0" dirty="0">
                <a:gradFill>
                  <a:gsLst>
                    <a:gs pos="0">
                      <a:srgbClr val="FFFFFF"/>
                    </a:gs>
                    <a:gs pos="100000">
                      <a:srgbClr val="FFFFFF"/>
                    </a:gs>
                  </a:gsLst>
                  <a:lin ang="5400000" scaled="0"/>
                </a:gradFill>
                <a:ea typeface="Segoe UI" pitchFamily="34" charset="0"/>
                <a:cs typeface="Segoe UI" pitchFamily="34" charset="0"/>
              </a:rPr>
              <a:t>Infrastructure Services</a:t>
            </a:r>
          </a:p>
        </p:txBody>
      </p:sp>
      <p:sp>
        <p:nvSpPr>
          <p:cNvPr id="21" name="TextBox 20"/>
          <p:cNvSpPr txBox="1"/>
          <p:nvPr/>
        </p:nvSpPr>
        <p:spPr>
          <a:xfrm>
            <a:off x="4392680" y="4016561"/>
            <a:ext cx="696656" cy="309570"/>
          </a:xfrm>
          <a:prstGeom prst="rect">
            <a:avLst/>
          </a:prstGeom>
          <a:noFill/>
        </p:spPr>
        <p:txBody>
          <a:bodyPr wrap="square" lIns="93243" tIns="46622" rIns="93243" bIns="46622" rtlCol="0">
            <a:spAutoFit/>
          </a:bodyPr>
          <a:lstStyle/>
          <a:p>
            <a:pPr algn="ctr" defTabSz="932511"/>
            <a:r>
              <a:rPr lang="en-US" sz="1400" kern="0" dirty="0">
                <a:solidFill>
                  <a:srgbClr val="404040"/>
                </a:solidFill>
                <a:ea typeface="Arial"/>
                <a:cs typeface="Arial"/>
                <a:sym typeface="Arial"/>
                <a:rtl val="0"/>
              </a:rPr>
              <a:t>Dev</a:t>
            </a:r>
          </a:p>
        </p:txBody>
      </p:sp>
      <p:pic>
        <p:nvPicPr>
          <p:cNvPr id="22" name="Picture 21"/>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4745681" y="3427558"/>
            <a:ext cx="210795" cy="564308"/>
          </a:xfrm>
          <a:prstGeom prst="rect">
            <a:avLst/>
          </a:prstGeom>
        </p:spPr>
      </p:pic>
      <p:sp>
        <p:nvSpPr>
          <p:cNvPr id="23" name="Rectangle 22"/>
          <p:cNvSpPr/>
          <p:nvPr/>
        </p:nvSpPr>
        <p:spPr>
          <a:xfrm>
            <a:off x="8207491" y="3333906"/>
            <a:ext cx="2285708" cy="477796"/>
          </a:xfrm>
          <a:prstGeom prst="rect">
            <a:avLst/>
          </a:prstGeom>
          <a:solidFill>
            <a:srgbClr val="4DA0E2"/>
          </a:solidFill>
          <a:ln>
            <a:noFill/>
          </a:ln>
          <a:effectLst/>
        </p:spPr>
        <p:style>
          <a:lnRef idx="1">
            <a:schemeClr val="accent1"/>
          </a:lnRef>
          <a:fillRef idx="3">
            <a:schemeClr val="accent1"/>
          </a:fillRef>
          <a:effectRef idx="2">
            <a:schemeClr val="accent1"/>
          </a:effectRef>
          <a:fontRef idx="minor">
            <a:schemeClr val="lt1"/>
          </a:fontRef>
        </p:style>
        <p:txBody>
          <a:bodyPr lIns="93243" tIns="46622" rIns="93243" bIns="46622" rtlCol="0" anchor="ctr"/>
          <a:lstStyle/>
          <a:p>
            <a:pPr algn="ctr" defTabSz="932511"/>
            <a:r>
              <a:rPr lang="en-US" sz="1425" kern="0" dirty="0">
                <a:solidFill>
                  <a:srgbClr val="FFFFFF"/>
                </a:solidFill>
                <a:sym typeface="Arial"/>
                <a:rtl val="0"/>
              </a:rPr>
              <a:t>Runtime Platform</a:t>
            </a:r>
          </a:p>
        </p:txBody>
      </p:sp>
      <p:sp>
        <p:nvSpPr>
          <p:cNvPr id="24" name="Rounded Rectangle 47"/>
          <p:cNvSpPr/>
          <p:nvPr/>
        </p:nvSpPr>
        <p:spPr>
          <a:xfrm>
            <a:off x="3990271" y="3231263"/>
            <a:ext cx="6841571" cy="1235480"/>
          </a:xfrm>
          <a:prstGeom prst="roundRect">
            <a:avLst/>
          </a:prstGeom>
          <a:noFill/>
          <a:ln w="19050" cmpd="sng">
            <a:solidFill>
              <a:srgbClr val="139789"/>
            </a:solidFill>
            <a:prstDash val="sysDash"/>
          </a:ln>
          <a:effectLst>
            <a:glow rad="63500">
              <a:srgbClr val="008774">
                <a:alpha val="40000"/>
              </a:srgbClr>
            </a:glow>
          </a:effectLst>
        </p:spPr>
        <p:style>
          <a:lnRef idx="1">
            <a:schemeClr val="accent1"/>
          </a:lnRef>
          <a:fillRef idx="3">
            <a:schemeClr val="accent1"/>
          </a:fillRef>
          <a:effectRef idx="2">
            <a:schemeClr val="accent1"/>
          </a:effectRef>
          <a:fontRef idx="minor">
            <a:schemeClr val="lt1"/>
          </a:fontRef>
        </p:style>
        <p:txBody>
          <a:bodyPr lIns="93243" tIns="46622" rIns="93243" bIns="46622" rtlCol="0" anchor="ctr"/>
          <a:lstStyle/>
          <a:p>
            <a:pPr algn="ctr"/>
            <a:endParaRPr lang="en-US" sz="1125"/>
          </a:p>
        </p:txBody>
      </p:sp>
      <p:sp>
        <p:nvSpPr>
          <p:cNvPr id="25" name="Rectangle 24"/>
          <p:cNvSpPr/>
          <p:nvPr/>
        </p:nvSpPr>
        <p:spPr bwMode="auto">
          <a:xfrm>
            <a:off x="3600792" y="5200825"/>
            <a:ext cx="2280434" cy="282941"/>
          </a:xfrm>
          <a:prstGeom prst="rect">
            <a:avLst/>
          </a:prstGeom>
          <a:solidFill>
            <a:schemeClr val="accent4"/>
          </a:solidFill>
          <a:ln w="6350" cap="flat" cmpd="sng" algn="ctr">
            <a:noFill/>
            <a:prstDash val="solid"/>
            <a:miter lim="800000"/>
            <a:headEnd type="none" w="med" len="med"/>
            <a:tailEnd type="none" w="med" len="med"/>
          </a:ln>
          <a:effectLst/>
        </p:spPr>
        <p:txBody>
          <a:bodyPr rot="0" spcFirstLastPara="0" vertOverflow="overflow" horzOverflow="overflow" vert="horz" wrap="square" lIns="68561" tIns="109652" rIns="68561" bIns="109652" numCol="1" spcCol="0" rtlCol="0" fromWordArt="0" anchor="ctr" anchorCtr="0" forceAA="0" compatLnSpc="1">
            <a:prstTxWarp prst="textNoShape">
              <a:avLst/>
            </a:prstTxWarp>
            <a:noAutofit/>
          </a:bodyPr>
          <a:lstStyle/>
          <a:p>
            <a:pPr algn="ctr" defTabSz="698819" fontAlgn="base">
              <a:lnSpc>
                <a:spcPct val="90000"/>
              </a:lnSpc>
              <a:defRPr/>
            </a:pPr>
            <a:r>
              <a:rPr lang="en-US" sz="900" kern="0" dirty="0">
                <a:gradFill>
                  <a:gsLst>
                    <a:gs pos="0">
                      <a:srgbClr val="FFFFFF"/>
                    </a:gs>
                    <a:gs pos="100000">
                      <a:srgbClr val="FFFFFF"/>
                    </a:gs>
                  </a:gsLst>
                  <a:lin ang="5400000" scaled="0"/>
                </a:gradFill>
                <a:ea typeface="Segoe UI" pitchFamily="34" charset="0"/>
                <a:cs typeface="Segoe UI" pitchFamily="34" charset="0"/>
              </a:rPr>
              <a:t>Compute</a:t>
            </a:r>
          </a:p>
        </p:txBody>
      </p:sp>
      <p:sp>
        <p:nvSpPr>
          <p:cNvPr id="26" name="Rectangle 25"/>
          <p:cNvSpPr/>
          <p:nvPr/>
        </p:nvSpPr>
        <p:spPr bwMode="auto">
          <a:xfrm>
            <a:off x="5993372" y="5203979"/>
            <a:ext cx="2403265" cy="282942"/>
          </a:xfrm>
          <a:prstGeom prst="rect">
            <a:avLst/>
          </a:prstGeom>
          <a:solidFill>
            <a:schemeClr val="accent4"/>
          </a:solidFill>
          <a:ln w="6350" cap="flat" cmpd="sng" algn="ctr">
            <a:noFill/>
            <a:prstDash val="solid"/>
            <a:miter lim="800000"/>
            <a:headEnd type="none" w="med" len="med"/>
            <a:tailEnd type="none" w="med" len="med"/>
          </a:ln>
          <a:effectLst/>
        </p:spPr>
        <p:txBody>
          <a:bodyPr rot="0" spcFirstLastPara="0" vertOverflow="overflow" horzOverflow="overflow" vert="horz" wrap="square" lIns="68561" tIns="109652" rIns="68561" bIns="109652" numCol="1" spcCol="0" rtlCol="0" fromWordArt="0" anchor="ctr" anchorCtr="0" forceAA="0" compatLnSpc="1">
            <a:prstTxWarp prst="textNoShape">
              <a:avLst/>
            </a:prstTxWarp>
            <a:noAutofit/>
          </a:bodyPr>
          <a:lstStyle/>
          <a:p>
            <a:pPr algn="ctr" defTabSz="698819" fontAlgn="base">
              <a:lnSpc>
                <a:spcPct val="90000"/>
              </a:lnSpc>
              <a:defRPr/>
            </a:pPr>
            <a:r>
              <a:rPr lang="en-US" sz="900" kern="0" dirty="0">
                <a:gradFill>
                  <a:gsLst>
                    <a:gs pos="0">
                      <a:srgbClr val="FFFFFF"/>
                    </a:gs>
                    <a:gs pos="100000">
                      <a:srgbClr val="FFFFFF"/>
                    </a:gs>
                  </a:gsLst>
                  <a:lin ang="5400000" scaled="0"/>
                </a:gradFill>
                <a:ea typeface="Segoe UI" pitchFamily="34" charset="0"/>
                <a:cs typeface="Segoe UI" pitchFamily="34" charset="0"/>
              </a:rPr>
              <a:t>Storage</a:t>
            </a:r>
          </a:p>
        </p:txBody>
      </p:sp>
      <p:sp>
        <p:nvSpPr>
          <p:cNvPr id="27" name="Rectangle 26"/>
          <p:cNvSpPr/>
          <p:nvPr/>
        </p:nvSpPr>
        <p:spPr bwMode="auto">
          <a:xfrm>
            <a:off x="8473516" y="5209111"/>
            <a:ext cx="2438802" cy="282942"/>
          </a:xfrm>
          <a:prstGeom prst="rect">
            <a:avLst/>
          </a:prstGeom>
          <a:solidFill>
            <a:schemeClr val="accent4"/>
          </a:solidFill>
          <a:ln w="6350" cap="flat" cmpd="sng" algn="ctr">
            <a:noFill/>
            <a:prstDash val="solid"/>
            <a:miter lim="800000"/>
            <a:headEnd type="none" w="med" len="med"/>
            <a:tailEnd type="none" w="med" len="med"/>
          </a:ln>
          <a:effectLst/>
        </p:spPr>
        <p:txBody>
          <a:bodyPr rot="0" spcFirstLastPara="0" vertOverflow="overflow" horzOverflow="overflow" vert="horz" wrap="square" lIns="68561" tIns="109652" rIns="68561" bIns="109652" numCol="1" spcCol="0" rtlCol="0" fromWordArt="0" anchor="ctr" anchorCtr="0" forceAA="0" compatLnSpc="1">
            <a:prstTxWarp prst="textNoShape">
              <a:avLst/>
            </a:prstTxWarp>
            <a:noAutofit/>
          </a:bodyPr>
          <a:lstStyle/>
          <a:p>
            <a:pPr algn="ctr" defTabSz="698819" fontAlgn="base">
              <a:lnSpc>
                <a:spcPct val="90000"/>
              </a:lnSpc>
              <a:defRPr/>
            </a:pPr>
            <a:r>
              <a:rPr lang="en-US" sz="900" kern="0" dirty="0">
                <a:gradFill>
                  <a:gsLst>
                    <a:gs pos="0">
                      <a:srgbClr val="FFFFFF"/>
                    </a:gs>
                    <a:gs pos="100000">
                      <a:srgbClr val="FFFFFF"/>
                    </a:gs>
                  </a:gsLst>
                  <a:lin ang="5400000" scaled="0"/>
                </a:gradFill>
                <a:ea typeface="Segoe UI" pitchFamily="34" charset="0"/>
                <a:cs typeface="Segoe UI" pitchFamily="34" charset="0"/>
              </a:rPr>
              <a:t>Network</a:t>
            </a:r>
          </a:p>
        </p:txBody>
      </p:sp>
      <p:grpSp>
        <p:nvGrpSpPr>
          <p:cNvPr id="28" name="Group 27"/>
          <p:cNvGrpSpPr/>
          <p:nvPr/>
        </p:nvGrpSpPr>
        <p:grpSpPr>
          <a:xfrm>
            <a:off x="3401307" y="5560528"/>
            <a:ext cx="7639111" cy="718739"/>
            <a:chOff x="8086497" y="4583089"/>
            <a:chExt cx="3734851" cy="958577"/>
          </a:xfrm>
        </p:grpSpPr>
        <p:sp>
          <p:nvSpPr>
            <p:cNvPr id="29" name="Rectangle 28"/>
            <p:cNvSpPr/>
            <p:nvPr/>
          </p:nvSpPr>
          <p:spPr bwMode="auto">
            <a:xfrm>
              <a:off x="8086497" y="4583089"/>
              <a:ext cx="3734851" cy="958223"/>
            </a:xfrm>
            <a:prstGeom prst="rect">
              <a:avLst/>
            </a:prstGeom>
            <a:solidFill>
              <a:srgbClr val="002846"/>
            </a:solidFill>
            <a:ln w="6350" cap="flat" cmpd="sng" algn="ctr">
              <a:noFill/>
              <a:prstDash val="solid"/>
              <a:miter lim="800000"/>
              <a:headEnd type="none" w="med" len="med"/>
              <a:tailEnd type="none" w="med" len="med"/>
            </a:ln>
            <a:effectLst/>
          </p:spPr>
          <p:txBody>
            <a:bodyPr rot="0" spcFirstLastPara="0" vertOverflow="overflow" horzOverflow="overflow" vert="horz" wrap="square" lIns="134427" tIns="68561" rIns="134427" bIns="107541" numCol="1" spcCol="0" rtlCol="0" fromWordArt="0" anchor="t" anchorCtr="0" forceAA="0" compatLnSpc="1">
              <a:prstTxWarp prst="textNoShape">
                <a:avLst/>
              </a:prstTxWarp>
              <a:noAutofit/>
            </a:bodyPr>
            <a:lstStyle/>
            <a:p>
              <a:pPr algn="ctr" defTabSz="685315" fontAlgn="base">
                <a:lnSpc>
                  <a:spcPct val="90000"/>
                </a:lnSpc>
              </a:pPr>
              <a:r>
                <a:rPr lang="en-US" sz="1049" kern="0" dirty="0">
                  <a:gradFill>
                    <a:gsLst>
                      <a:gs pos="0">
                        <a:srgbClr val="FFFFFF"/>
                      </a:gs>
                      <a:gs pos="100000">
                        <a:srgbClr val="FFFFFF"/>
                      </a:gs>
                    </a:gsLst>
                    <a:lin ang="5400000" scaled="0"/>
                  </a:gradFill>
                  <a:latin typeface="Segoe UI"/>
                  <a:ea typeface="Segoe UI" pitchFamily="34" charset="0"/>
                  <a:cs typeface="Segoe UI" pitchFamily="34" charset="0"/>
                </a:rPr>
                <a:t>Azure Global Datacenters</a:t>
              </a:r>
            </a:p>
          </p:txBody>
        </p:sp>
        <p:pic>
          <p:nvPicPr>
            <p:cNvPr id="30" name="Picture 29"/>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8088410" y="4954547"/>
              <a:ext cx="3732415" cy="587119"/>
            </a:xfrm>
            <a:prstGeom prst="rect">
              <a:avLst/>
            </a:prstGeom>
          </p:spPr>
        </p:pic>
      </p:grpSp>
      <p:sp>
        <p:nvSpPr>
          <p:cNvPr id="31" name="Rectangle 30"/>
          <p:cNvSpPr/>
          <p:nvPr/>
        </p:nvSpPr>
        <p:spPr bwMode="auto">
          <a:xfrm>
            <a:off x="8207491" y="3784570"/>
            <a:ext cx="2285708" cy="561179"/>
          </a:xfrm>
          <a:prstGeom prst="rect">
            <a:avLst/>
          </a:prstGeom>
          <a:solidFill>
            <a:schemeClr val="accent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1" rIns="0" bIns="46631" numCol="1" rtlCol="0" anchor="ctr" anchorCtr="0" compatLnSpc="1">
            <a:prstTxWarp prst="textNoShape">
              <a:avLst/>
            </a:prstTxWarp>
          </a:bodyPr>
          <a:lstStyle/>
          <a:p>
            <a:pPr algn="ctr" defTabSz="932379" fontAlgn="base">
              <a:spcBef>
                <a:spcPct val="0"/>
              </a:spcBef>
              <a:spcAft>
                <a:spcPct val="0"/>
              </a:spcAft>
            </a:pPr>
            <a:r>
              <a:rPr lang="en-US" sz="1400" dirty="0">
                <a:gradFill>
                  <a:gsLst>
                    <a:gs pos="0">
                      <a:srgbClr val="FFFFFF"/>
                    </a:gs>
                    <a:gs pos="100000">
                      <a:srgbClr val="FFFFFF"/>
                    </a:gs>
                  </a:gsLst>
                  <a:lin ang="5400000" scaled="0"/>
                </a:gradFill>
                <a:cs typeface="Arial" panose="020B0604020202020204" pitchFamily="34" charset="0"/>
              </a:rPr>
              <a:t>Cloud Services </a:t>
            </a:r>
          </a:p>
        </p:txBody>
      </p:sp>
      <p:sp>
        <p:nvSpPr>
          <p:cNvPr id="32" name="TextBox 31"/>
          <p:cNvSpPr txBox="1"/>
          <p:nvPr/>
        </p:nvSpPr>
        <p:spPr>
          <a:xfrm>
            <a:off x="6333581" y="3500851"/>
            <a:ext cx="1603304" cy="564308"/>
          </a:xfrm>
          <a:prstGeom prst="rect">
            <a:avLst/>
          </a:prstGeom>
          <a:noFill/>
        </p:spPr>
        <p:txBody>
          <a:bodyPr wrap="square" lIns="182857" tIns="146285" rIns="182857" bIns="146285" rtlCol="0">
            <a:noAutofit/>
          </a:bodyPr>
          <a:lstStyle/>
          <a:p>
            <a:pPr>
              <a:lnSpc>
                <a:spcPct val="90000"/>
              </a:lnSpc>
              <a:spcAft>
                <a:spcPts val="600"/>
              </a:spcAft>
            </a:pPr>
            <a:r>
              <a:rPr lang="en-US" sz="2400" dirty="0">
                <a:gradFill>
                  <a:gsLst>
                    <a:gs pos="2917">
                      <a:schemeClr val="tx1"/>
                    </a:gs>
                    <a:gs pos="30000">
                      <a:schemeClr val="tx1"/>
                    </a:gs>
                  </a:gsLst>
                  <a:lin ang="5400000" scaled="0"/>
                </a:gradFill>
              </a:rPr>
              <a:t>ASM</a:t>
            </a:r>
          </a:p>
        </p:txBody>
      </p:sp>
    </p:spTree>
    <p:extLst>
      <p:ext uri="{BB962C8B-B14F-4D97-AF65-F5344CB8AC3E}">
        <p14:creationId xmlns:p14="http://schemas.microsoft.com/office/powerpoint/2010/main" val="138241039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0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0" name="Rectangle 19"/>
          <p:cNvSpPr/>
          <p:nvPr/>
        </p:nvSpPr>
        <p:spPr bwMode="auto">
          <a:xfrm>
            <a:off x="3401306" y="4986159"/>
            <a:ext cx="7638042" cy="567246"/>
          </a:xfrm>
          <a:prstGeom prst="rect">
            <a:avLst/>
          </a:prstGeom>
          <a:solidFill>
            <a:schemeClr val="tx1">
              <a:lumMod val="75000"/>
            </a:schemeClr>
          </a:solidFill>
          <a:ln w="6350" cap="flat" cmpd="sng" algn="ctr">
            <a:noFill/>
            <a:prstDash val="solid"/>
            <a:miter lim="800000"/>
            <a:headEnd type="none" w="med" len="med"/>
            <a:tailEnd type="none" w="med" len="med"/>
          </a:ln>
          <a:effectLst/>
        </p:spPr>
        <p:txBody>
          <a:bodyPr rot="0" spcFirstLastPara="0" vertOverflow="overflow" horzOverflow="overflow" vert="horz" wrap="square" lIns="68561" tIns="68561" rIns="68561" bIns="68561" numCol="1" spcCol="0" rtlCol="0" fromWordArt="0" anchor="t" anchorCtr="0" forceAA="0" compatLnSpc="1">
            <a:prstTxWarp prst="textNoShape">
              <a:avLst/>
            </a:prstTxWarp>
            <a:noAutofit/>
          </a:bodyPr>
          <a:lstStyle/>
          <a:p>
            <a:pPr algn="ctr" defTabSz="698819" fontAlgn="base">
              <a:lnSpc>
                <a:spcPct val="90000"/>
              </a:lnSpc>
            </a:pPr>
            <a:r>
              <a:rPr lang="en-US" sz="1049" kern="0" dirty="0">
                <a:gradFill>
                  <a:gsLst>
                    <a:gs pos="0">
                      <a:srgbClr val="FFFFFF"/>
                    </a:gs>
                    <a:gs pos="100000">
                      <a:srgbClr val="FFFFFF"/>
                    </a:gs>
                  </a:gsLst>
                  <a:lin ang="5400000" scaled="0"/>
                </a:gradFill>
                <a:ea typeface="Segoe UI" pitchFamily="34" charset="0"/>
                <a:cs typeface="Segoe UI" pitchFamily="34" charset="0"/>
              </a:rPr>
              <a:t>Infrastructure Services</a:t>
            </a:r>
          </a:p>
        </p:txBody>
      </p:sp>
      <p:sp>
        <p:nvSpPr>
          <p:cNvPr id="9" name="Text Placeholder 3"/>
          <p:cNvSpPr txBox="1">
            <a:spLocks/>
          </p:cNvSpPr>
          <p:nvPr/>
        </p:nvSpPr>
        <p:spPr>
          <a:xfrm>
            <a:off x="449006" y="1203368"/>
            <a:ext cx="5673458" cy="2608333"/>
          </a:xfrm>
          <a:prstGeom prst="rect">
            <a:avLst/>
          </a:prstGeom>
        </p:spPr>
        <p:txBody>
          <a:bodyPr/>
          <a:lstStyle>
            <a:lvl1pPr marL="342846" marR="0" indent="-342846" algn="l" defTabSz="932594" rtl="0" eaLnBrk="1" fontAlgn="auto" latinLnBrk="0" hangingPunct="1">
              <a:lnSpc>
                <a:spcPct val="90000"/>
              </a:lnSpc>
              <a:spcBef>
                <a:spcPct val="20000"/>
              </a:spcBef>
              <a:spcAft>
                <a:spcPts val="0"/>
              </a:spcAft>
              <a:buClrTx/>
              <a:buSzPct val="90000"/>
              <a:buFont typeface="Arial" pitchFamily="34" charset="0"/>
              <a:buChar char="•"/>
              <a:tabLst/>
              <a:defRPr sz="4800" kern="1200" spc="0" baseline="0">
                <a:gradFill>
                  <a:gsLst>
                    <a:gs pos="1250">
                      <a:schemeClr val="tx1"/>
                    </a:gs>
                    <a:gs pos="100000">
                      <a:schemeClr val="tx1"/>
                    </a:gs>
                  </a:gsLst>
                  <a:lin ang="5400000" scaled="0"/>
                </a:gradFill>
                <a:latin typeface="+mj-lt"/>
                <a:ea typeface="+mn-ea"/>
                <a:cs typeface="+mn-cs"/>
              </a:defRPr>
            </a:lvl1pPr>
            <a:lvl2pPr marL="615935" marR="0" indent="-273044" algn="l" defTabSz="932594" rtl="0" eaLnBrk="1" fontAlgn="auto" latinLnBrk="0" hangingPunct="1">
              <a:lnSpc>
                <a:spcPct val="90000"/>
              </a:lnSpc>
              <a:spcBef>
                <a:spcPct val="20000"/>
              </a:spcBef>
              <a:spcAft>
                <a:spcPts val="0"/>
              </a:spcAft>
              <a:buClrTx/>
              <a:buSzPct val="90000"/>
              <a:buFont typeface="Arial" pitchFamily="34" charset="0"/>
              <a:buChar char="•"/>
              <a:tabLst/>
              <a:defRPr sz="3200" kern="1200" spc="0" baseline="0">
                <a:gradFill>
                  <a:gsLst>
                    <a:gs pos="1250">
                      <a:schemeClr val="tx1"/>
                    </a:gs>
                    <a:gs pos="100000">
                      <a:schemeClr val="tx1"/>
                    </a:gs>
                  </a:gsLst>
                  <a:lin ang="5400000" scaled="0"/>
                </a:gradFill>
                <a:latin typeface="+mn-lt"/>
                <a:ea typeface="+mn-ea"/>
                <a:cs typeface="+mn-cs"/>
              </a:defRPr>
            </a:lvl2pPr>
            <a:lvl3pPr marL="840296" marR="0" indent="-226478" algn="l" defTabSz="932594" rtl="0" eaLnBrk="1" fontAlgn="auto" latinLnBrk="0" hangingPunct="1">
              <a:lnSpc>
                <a:spcPct val="90000"/>
              </a:lnSpc>
              <a:spcBef>
                <a:spcPct val="20000"/>
              </a:spcBef>
              <a:spcAft>
                <a:spcPts val="0"/>
              </a:spcAft>
              <a:buClrTx/>
              <a:buSzPct val="90000"/>
              <a:buFont typeface="Arial" pitchFamily="34" charset="0"/>
              <a:buChar char="•"/>
              <a:tabLst/>
              <a:defRPr sz="2667" kern="1200" spc="0" baseline="0">
                <a:gradFill>
                  <a:gsLst>
                    <a:gs pos="1250">
                      <a:schemeClr val="tx1"/>
                    </a:gs>
                    <a:gs pos="100000">
                      <a:schemeClr val="tx1"/>
                    </a:gs>
                  </a:gsLst>
                  <a:lin ang="5400000" scaled="0"/>
                </a:gradFill>
                <a:latin typeface="+mn-lt"/>
                <a:ea typeface="+mn-ea"/>
                <a:cs typeface="+mn-cs"/>
              </a:defRPr>
            </a:lvl3pPr>
            <a:lvl4pPr marL="1064657" marR="0" indent="-226478" algn="l" defTabSz="93259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4pPr>
            <a:lvl5pPr marL="1219170" marR="0" indent="-226478" algn="l" defTabSz="93259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5pPr>
            <a:lvl6pPr marL="2564633" indent="-233149" algn="l" defTabSz="93259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932" indent="-233149" algn="l" defTabSz="93259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229" indent="-233149" algn="l" defTabSz="93259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528" indent="-233149" algn="l" defTabSz="932594"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2900" lvl="1" indent="-342900"/>
            <a:r>
              <a:rPr lang="en-US" sz="1600" dirty="0"/>
              <a:t>Linux support</a:t>
            </a:r>
          </a:p>
          <a:p>
            <a:pPr marL="342900" lvl="1" indent="-342900"/>
            <a:r>
              <a:rPr lang="en-US" sz="1600" dirty="0"/>
              <a:t>On-premises consistency</a:t>
            </a:r>
          </a:p>
          <a:p>
            <a:pPr marL="342900" lvl="1" indent="-342900"/>
            <a:r>
              <a:rPr lang="en-US" sz="1600" dirty="0"/>
              <a:t>RBAC support</a:t>
            </a:r>
          </a:p>
          <a:p>
            <a:pPr marL="342900" lvl="1" indent="-342900"/>
            <a:r>
              <a:rPr lang="en-US" sz="1600" dirty="0"/>
              <a:t>Automation and moving through DevOps is hard</a:t>
            </a:r>
          </a:p>
          <a:p>
            <a:pPr marL="342900" lvl="1" indent="-342900"/>
            <a:r>
              <a:rPr lang="en-US" sz="1600" dirty="0"/>
              <a:t>Custom OS support</a:t>
            </a:r>
          </a:p>
          <a:p>
            <a:pPr marL="342900" lvl="1" indent="-342900"/>
            <a:r>
              <a:rPr lang="en-US" sz="1600" dirty="0"/>
              <a:t>No flexibility for density</a:t>
            </a:r>
          </a:p>
          <a:p>
            <a:pPr marL="342900" lvl="1" indent="-342900"/>
            <a:r>
              <a:rPr lang="en-US" sz="1600" dirty="0"/>
              <a:t>Implicit vendor lock-in</a:t>
            </a:r>
          </a:p>
          <a:p>
            <a:pPr marL="342900" lvl="1" indent="-342900"/>
            <a:endParaRPr lang="en-US" sz="1600" dirty="0"/>
          </a:p>
          <a:p>
            <a:pPr marL="342900" lvl="1" indent="-342900"/>
            <a:endParaRPr lang="en-US" sz="1600" dirty="0"/>
          </a:p>
          <a:p>
            <a:pPr marL="285750" indent="-285750">
              <a:lnSpc>
                <a:spcPct val="114000"/>
              </a:lnSpc>
            </a:pPr>
            <a:endParaRPr lang="en-US" sz="1600" kern="0" dirty="0">
              <a:solidFill>
                <a:schemeClr val="tx1"/>
              </a:solidFill>
              <a:latin typeface="+mn-lt"/>
            </a:endParaRPr>
          </a:p>
        </p:txBody>
      </p:sp>
      <p:sp>
        <p:nvSpPr>
          <p:cNvPr id="10" name="Title 9"/>
          <p:cNvSpPr>
            <a:spLocks noGrp="1"/>
          </p:cNvSpPr>
          <p:nvPr>
            <p:ph type="title"/>
          </p:nvPr>
        </p:nvSpPr>
        <p:spPr/>
        <p:txBody>
          <a:bodyPr/>
          <a:lstStyle/>
          <a:p>
            <a:r>
              <a:rPr lang="en-US" sz="4400" dirty="0"/>
              <a:t>What are the missing features?</a:t>
            </a:r>
          </a:p>
        </p:txBody>
      </p:sp>
      <p:sp>
        <p:nvSpPr>
          <p:cNvPr id="5" name="TextBox 4"/>
          <p:cNvSpPr txBox="1"/>
          <p:nvPr/>
        </p:nvSpPr>
        <p:spPr>
          <a:xfrm>
            <a:off x="4392680" y="4016561"/>
            <a:ext cx="696656" cy="309570"/>
          </a:xfrm>
          <a:prstGeom prst="rect">
            <a:avLst/>
          </a:prstGeom>
          <a:noFill/>
        </p:spPr>
        <p:txBody>
          <a:bodyPr wrap="square" lIns="93243" tIns="46622" rIns="93243" bIns="46622" rtlCol="0">
            <a:spAutoFit/>
          </a:bodyPr>
          <a:lstStyle/>
          <a:p>
            <a:pPr algn="ctr" defTabSz="932511"/>
            <a:r>
              <a:rPr lang="en-US" sz="1400" kern="0" dirty="0">
                <a:solidFill>
                  <a:srgbClr val="404040"/>
                </a:solidFill>
                <a:ea typeface="Arial"/>
                <a:cs typeface="Arial"/>
                <a:sym typeface="Arial"/>
                <a:rtl val="0"/>
              </a:rPr>
              <a:t>Dev</a:t>
            </a:r>
          </a:p>
        </p:txBody>
      </p:sp>
      <p:pic>
        <p:nvPicPr>
          <p:cNvPr id="6" name="Picture 5"/>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4745681" y="3427558"/>
            <a:ext cx="210795" cy="564308"/>
          </a:xfrm>
          <a:prstGeom prst="rect">
            <a:avLst/>
          </a:prstGeom>
        </p:spPr>
      </p:pic>
      <p:sp>
        <p:nvSpPr>
          <p:cNvPr id="7" name="Rectangle 6"/>
          <p:cNvSpPr/>
          <p:nvPr/>
        </p:nvSpPr>
        <p:spPr>
          <a:xfrm>
            <a:off x="8207491" y="3333906"/>
            <a:ext cx="2285708" cy="477796"/>
          </a:xfrm>
          <a:prstGeom prst="rect">
            <a:avLst/>
          </a:prstGeom>
          <a:solidFill>
            <a:srgbClr val="4DA0E2"/>
          </a:solidFill>
          <a:ln>
            <a:noFill/>
          </a:ln>
          <a:effectLst/>
        </p:spPr>
        <p:style>
          <a:lnRef idx="1">
            <a:schemeClr val="accent1"/>
          </a:lnRef>
          <a:fillRef idx="3">
            <a:schemeClr val="accent1"/>
          </a:fillRef>
          <a:effectRef idx="2">
            <a:schemeClr val="accent1"/>
          </a:effectRef>
          <a:fontRef idx="minor">
            <a:schemeClr val="lt1"/>
          </a:fontRef>
        </p:style>
        <p:txBody>
          <a:bodyPr lIns="93243" tIns="46622" rIns="93243" bIns="46622" rtlCol="0" anchor="ctr"/>
          <a:lstStyle/>
          <a:p>
            <a:pPr algn="ctr" defTabSz="932511"/>
            <a:r>
              <a:rPr lang="en-US" sz="1425" kern="0" dirty="0">
                <a:solidFill>
                  <a:srgbClr val="FFFFFF"/>
                </a:solidFill>
                <a:sym typeface="Arial"/>
                <a:rtl val="0"/>
              </a:rPr>
              <a:t>Runtime Platform</a:t>
            </a:r>
          </a:p>
        </p:txBody>
      </p:sp>
      <p:sp>
        <p:nvSpPr>
          <p:cNvPr id="8" name="Rounded Rectangle 47"/>
          <p:cNvSpPr/>
          <p:nvPr/>
        </p:nvSpPr>
        <p:spPr>
          <a:xfrm>
            <a:off x="3990271" y="3231263"/>
            <a:ext cx="6841571" cy="1235480"/>
          </a:xfrm>
          <a:prstGeom prst="roundRect">
            <a:avLst/>
          </a:prstGeom>
          <a:noFill/>
          <a:ln w="19050" cmpd="sng">
            <a:solidFill>
              <a:srgbClr val="139789"/>
            </a:solidFill>
            <a:prstDash val="sysDash"/>
          </a:ln>
          <a:effectLst>
            <a:glow rad="63500">
              <a:srgbClr val="008774">
                <a:alpha val="40000"/>
              </a:srgbClr>
            </a:glow>
          </a:effectLst>
        </p:spPr>
        <p:style>
          <a:lnRef idx="1">
            <a:schemeClr val="accent1"/>
          </a:lnRef>
          <a:fillRef idx="3">
            <a:schemeClr val="accent1"/>
          </a:fillRef>
          <a:effectRef idx="2">
            <a:schemeClr val="accent1"/>
          </a:effectRef>
          <a:fontRef idx="minor">
            <a:schemeClr val="lt1"/>
          </a:fontRef>
        </p:style>
        <p:txBody>
          <a:bodyPr lIns="93243" tIns="46622" rIns="93243" bIns="46622" rtlCol="0" anchor="ctr"/>
          <a:lstStyle/>
          <a:p>
            <a:pPr algn="ctr"/>
            <a:endParaRPr lang="en-US" sz="1125"/>
          </a:p>
        </p:txBody>
      </p:sp>
      <p:sp>
        <p:nvSpPr>
          <p:cNvPr id="12" name="Rectangle 11"/>
          <p:cNvSpPr/>
          <p:nvPr/>
        </p:nvSpPr>
        <p:spPr bwMode="auto">
          <a:xfrm>
            <a:off x="3600792" y="5200825"/>
            <a:ext cx="2280434" cy="282941"/>
          </a:xfrm>
          <a:prstGeom prst="rect">
            <a:avLst/>
          </a:prstGeom>
          <a:solidFill>
            <a:schemeClr val="accent4"/>
          </a:solidFill>
          <a:ln w="6350" cap="flat" cmpd="sng" algn="ctr">
            <a:noFill/>
            <a:prstDash val="solid"/>
            <a:miter lim="800000"/>
            <a:headEnd type="none" w="med" len="med"/>
            <a:tailEnd type="none" w="med" len="med"/>
          </a:ln>
          <a:effectLst/>
        </p:spPr>
        <p:txBody>
          <a:bodyPr rot="0" spcFirstLastPara="0" vertOverflow="overflow" horzOverflow="overflow" vert="horz" wrap="square" lIns="68561" tIns="109652" rIns="68561" bIns="109652" numCol="1" spcCol="0" rtlCol="0" fromWordArt="0" anchor="ctr" anchorCtr="0" forceAA="0" compatLnSpc="1">
            <a:prstTxWarp prst="textNoShape">
              <a:avLst/>
            </a:prstTxWarp>
            <a:noAutofit/>
          </a:bodyPr>
          <a:lstStyle/>
          <a:p>
            <a:pPr algn="ctr" defTabSz="698819" fontAlgn="base">
              <a:lnSpc>
                <a:spcPct val="90000"/>
              </a:lnSpc>
              <a:defRPr/>
            </a:pPr>
            <a:r>
              <a:rPr lang="en-US" sz="900" kern="0" dirty="0">
                <a:gradFill>
                  <a:gsLst>
                    <a:gs pos="0">
                      <a:srgbClr val="FFFFFF"/>
                    </a:gs>
                    <a:gs pos="100000">
                      <a:srgbClr val="FFFFFF"/>
                    </a:gs>
                  </a:gsLst>
                  <a:lin ang="5400000" scaled="0"/>
                </a:gradFill>
                <a:ea typeface="Segoe UI" pitchFamily="34" charset="0"/>
                <a:cs typeface="Segoe UI" pitchFamily="34" charset="0"/>
              </a:rPr>
              <a:t>Compute</a:t>
            </a:r>
          </a:p>
        </p:txBody>
      </p:sp>
      <p:sp>
        <p:nvSpPr>
          <p:cNvPr id="13" name="Rectangle 12"/>
          <p:cNvSpPr/>
          <p:nvPr/>
        </p:nvSpPr>
        <p:spPr bwMode="auto">
          <a:xfrm>
            <a:off x="5993372" y="5203979"/>
            <a:ext cx="2403265" cy="282942"/>
          </a:xfrm>
          <a:prstGeom prst="rect">
            <a:avLst/>
          </a:prstGeom>
          <a:solidFill>
            <a:schemeClr val="accent4"/>
          </a:solidFill>
          <a:ln w="6350" cap="flat" cmpd="sng" algn="ctr">
            <a:noFill/>
            <a:prstDash val="solid"/>
            <a:miter lim="800000"/>
            <a:headEnd type="none" w="med" len="med"/>
            <a:tailEnd type="none" w="med" len="med"/>
          </a:ln>
          <a:effectLst/>
        </p:spPr>
        <p:txBody>
          <a:bodyPr rot="0" spcFirstLastPara="0" vertOverflow="overflow" horzOverflow="overflow" vert="horz" wrap="square" lIns="68561" tIns="109652" rIns="68561" bIns="109652" numCol="1" spcCol="0" rtlCol="0" fromWordArt="0" anchor="ctr" anchorCtr="0" forceAA="0" compatLnSpc="1">
            <a:prstTxWarp prst="textNoShape">
              <a:avLst/>
            </a:prstTxWarp>
            <a:noAutofit/>
          </a:bodyPr>
          <a:lstStyle/>
          <a:p>
            <a:pPr algn="ctr" defTabSz="698819" fontAlgn="base">
              <a:lnSpc>
                <a:spcPct val="90000"/>
              </a:lnSpc>
              <a:defRPr/>
            </a:pPr>
            <a:r>
              <a:rPr lang="en-US" sz="900" kern="0" dirty="0">
                <a:gradFill>
                  <a:gsLst>
                    <a:gs pos="0">
                      <a:srgbClr val="FFFFFF"/>
                    </a:gs>
                    <a:gs pos="100000">
                      <a:srgbClr val="FFFFFF"/>
                    </a:gs>
                  </a:gsLst>
                  <a:lin ang="5400000" scaled="0"/>
                </a:gradFill>
                <a:ea typeface="Segoe UI" pitchFamily="34" charset="0"/>
                <a:cs typeface="Segoe UI" pitchFamily="34" charset="0"/>
              </a:rPr>
              <a:t>Storage</a:t>
            </a:r>
          </a:p>
        </p:txBody>
      </p:sp>
      <p:sp>
        <p:nvSpPr>
          <p:cNvPr id="14" name="Rectangle 13"/>
          <p:cNvSpPr/>
          <p:nvPr/>
        </p:nvSpPr>
        <p:spPr bwMode="auto">
          <a:xfrm>
            <a:off x="8473516" y="5209111"/>
            <a:ext cx="2438802" cy="282942"/>
          </a:xfrm>
          <a:prstGeom prst="rect">
            <a:avLst/>
          </a:prstGeom>
          <a:solidFill>
            <a:schemeClr val="accent4"/>
          </a:solidFill>
          <a:ln w="6350" cap="flat" cmpd="sng" algn="ctr">
            <a:noFill/>
            <a:prstDash val="solid"/>
            <a:miter lim="800000"/>
            <a:headEnd type="none" w="med" len="med"/>
            <a:tailEnd type="none" w="med" len="med"/>
          </a:ln>
          <a:effectLst/>
        </p:spPr>
        <p:txBody>
          <a:bodyPr rot="0" spcFirstLastPara="0" vertOverflow="overflow" horzOverflow="overflow" vert="horz" wrap="square" lIns="68561" tIns="109652" rIns="68561" bIns="109652" numCol="1" spcCol="0" rtlCol="0" fromWordArt="0" anchor="ctr" anchorCtr="0" forceAA="0" compatLnSpc="1">
            <a:prstTxWarp prst="textNoShape">
              <a:avLst/>
            </a:prstTxWarp>
            <a:noAutofit/>
          </a:bodyPr>
          <a:lstStyle/>
          <a:p>
            <a:pPr algn="ctr" defTabSz="698819" fontAlgn="base">
              <a:lnSpc>
                <a:spcPct val="90000"/>
              </a:lnSpc>
              <a:defRPr/>
            </a:pPr>
            <a:r>
              <a:rPr lang="en-US" sz="900" kern="0" dirty="0">
                <a:gradFill>
                  <a:gsLst>
                    <a:gs pos="0">
                      <a:srgbClr val="FFFFFF"/>
                    </a:gs>
                    <a:gs pos="100000">
                      <a:srgbClr val="FFFFFF"/>
                    </a:gs>
                  </a:gsLst>
                  <a:lin ang="5400000" scaled="0"/>
                </a:gradFill>
                <a:ea typeface="Segoe UI" pitchFamily="34" charset="0"/>
                <a:cs typeface="Segoe UI" pitchFamily="34" charset="0"/>
              </a:rPr>
              <a:t>Network</a:t>
            </a:r>
          </a:p>
        </p:txBody>
      </p:sp>
      <p:grpSp>
        <p:nvGrpSpPr>
          <p:cNvPr id="15" name="Group 14"/>
          <p:cNvGrpSpPr/>
          <p:nvPr/>
        </p:nvGrpSpPr>
        <p:grpSpPr>
          <a:xfrm>
            <a:off x="3401307" y="5560528"/>
            <a:ext cx="7639111" cy="718739"/>
            <a:chOff x="8086497" y="4583089"/>
            <a:chExt cx="3734851" cy="958577"/>
          </a:xfrm>
        </p:grpSpPr>
        <p:sp>
          <p:nvSpPr>
            <p:cNvPr id="16" name="Rectangle 15"/>
            <p:cNvSpPr/>
            <p:nvPr/>
          </p:nvSpPr>
          <p:spPr bwMode="auto">
            <a:xfrm>
              <a:off x="8086497" y="4583089"/>
              <a:ext cx="3734851" cy="958223"/>
            </a:xfrm>
            <a:prstGeom prst="rect">
              <a:avLst/>
            </a:prstGeom>
            <a:solidFill>
              <a:srgbClr val="002846"/>
            </a:solidFill>
            <a:ln w="6350" cap="flat" cmpd="sng" algn="ctr">
              <a:noFill/>
              <a:prstDash val="solid"/>
              <a:miter lim="800000"/>
              <a:headEnd type="none" w="med" len="med"/>
              <a:tailEnd type="none" w="med" len="med"/>
            </a:ln>
            <a:effectLst/>
          </p:spPr>
          <p:txBody>
            <a:bodyPr rot="0" spcFirstLastPara="0" vertOverflow="overflow" horzOverflow="overflow" vert="horz" wrap="square" lIns="134427" tIns="68561" rIns="134427" bIns="107541" numCol="1" spcCol="0" rtlCol="0" fromWordArt="0" anchor="t" anchorCtr="0" forceAA="0" compatLnSpc="1">
              <a:prstTxWarp prst="textNoShape">
                <a:avLst/>
              </a:prstTxWarp>
              <a:noAutofit/>
            </a:bodyPr>
            <a:lstStyle/>
            <a:p>
              <a:pPr algn="ctr" defTabSz="685315" fontAlgn="base">
                <a:lnSpc>
                  <a:spcPct val="90000"/>
                </a:lnSpc>
              </a:pPr>
              <a:r>
                <a:rPr lang="en-US" sz="1049" kern="0" dirty="0">
                  <a:gradFill>
                    <a:gsLst>
                      <a:gs pos="0">
                        <a:srgbClr val="FFFFFF"/>
                      </a:gs>
                      <a:gs pos="100000">
                        <a:srgbClr val="FFFFFF"/>
                      </a:gs>
                    </a:gsLst>
                    <a:lin ang="5400000" scaled="0"/>
                  </a:gradFill>
                  <a:latin typeface="Segoe UI"/>
                  <a:ea typeface="Segoe UI" pitchFamily="34" charset="0"/>
                  <a:cs typeface="Segoe UI" pitchFamily="34" charset="0"/>
                </a:rPr>
                <a:t>Azure Global Datacenters</a:t>
              </a:r>
            </a:p>
          </p:txBody>
        </p:sp>
        <p:pic>
          <p:nvPicPr>
            <p:cNvPr id="17" name="Picture 16"/>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8088410" y="4954547"/>
              <a:ext cx="3732415" cy="587119"/>
            </a:xfrm>
            <a:prstGeom prst="rect">
              <a:avLst/>
            </a:prstGeom>
          </p:spPr>
        </p:pic>
      </p:grpSp>
      <p:sp>
        <p:nvSpPr>
          <p:cNvPr id="18" name="Rectangle 17"/>
          <p:cNvSpPr/>
          <p:nvPr/>
        </p:nvSpPr>
        <p:spPr bwMode="auto">
          <a:xfrm>
            <a:off x="8207491" y="3784570"/>
            <a:ext cx="2285708" cy="561179"/>
          </a:xfrm>
          <a:prstGeom prst="rect">
            <a:avLst/>
          </a:prstGeom>
          <a:solidFill>
            <a:schemeClr val="accent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1" rIns="0" bIns="46631" numCol="1" rtlCol="0" anchor="ctr" anchorCtr="0" compatLnSpc="1">
            <a:prstTxWarp prst="textNoShape">
              <a:avLst/>
            </a:prstTxWarp>
          </a:bodyPr>
          <a:lstStyle/>
          <a:p>
            <a:pPr algn="ctr" defTabSz="932379" fontAlgn="base">
              <a:spcBef>
                <a:spcPct val="0"/>
              </a:spcBef>
              <a:spcAft>
                <a:spcPct val="0"/>
              </a:spcAft>
            </a:pPr>
            <a:r>
              <a:rPr lang="en-US" sz="1400" dirty="0">
                <a:gradFill>
                  <a:gsLst>
                    <a:gs pos="0">
                      <a:srgbClr val="FFFFFF"/>
                    </a:gs>
                    <a:gs pos="100000">
                      <a:srgbClr val="FFFFFF"/>
                    </a:gs>
                  </a:gsLst>
                  <a:lin ang="5400000" scaled="0"/>
                </a:gradFill>
                <a:cs typeface="Arial" panose="020B0604020202020204" pitchFamily="34" charset="0"/>
              </a:rPr>
              <a:t>Cloud Services </a:t>
            </a:r>
          </a:p>
        </p:txBody>
      </p:sp>
      <p:sp>
        <p:nvSpPr>
          <p:cNvPr id="19" name="TextBox 18"/>
          <p:cNvSpPr txBox="1"/>
          <p:nvPr/>
        </p:nvSpPr>
        <p:spPr>
          <a:xfrm>
            <a:off x="6333581" y="3500851"/>
            <a:ext cx="1603304" cy="564308"/>
          </a:xfrm>
          <a:prstGeom prst="rect">
            <a:avLst/>
          </a:prstGeom>
          <a:noFill/>
        </p:spPr>
        <p:txBody>
          <a:bodyPr wrap="square" lIns="182857" tIns="146285" rIns="182857" bIns="146285" rtlCol="0">
            <a:noAutofit/>
          </a:bodyPr>
          <a:lstStyle/>
          <a:p>
            <a:pPr>
              <a:lnSpc>
                <a:spcPct val="90000"/>
              </a:lnSpc>
              <a:spcAft>
                <a:spcPts val="600"/>
              </a:spcAft>
            </a:pPr>
            <a:r>
              <a:rPr lang="en-US" sz="2400" dirty="0">
                <a:gradFill>
                  <a:gsLst>
                    <a:gs pos="2917">
                      <a:schemeClr val="tx1"/>
                    </a:gs>
                    <a:gs pos="30000">
                      <a:schemeClr val="tx1"/>
                    </a:gs>
                  </a:gsLst>
                  <a:lin ang="5400000" scaled="0"/>
                </a:gradFill>
              </a:rPr>
              <a:t>ASM</a:t>
            </a:r>
          </a:p>
        </p:txBody>
      </p:sp>
    </p:spTree>
    <p:extLst>
      <p:ext uri="{BB962C8B-B14F-4D97-AF65-F5344CB8AC3E}">
        <p14:creationId xmlns:p14="http://schemas.microsoft.com/office/powerpoint/2010/main" val="311403929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2" name="Picture 51"/>
          <p:cNvPicPr>
            <a:picLocks noChangeAspect="1"/>
          </p:cNvPicPr>
          <p:nvPr/>
        </p:nvPicPr>
        <p:blipFill>
          <a:blip r:embed="rId3"/>
          <a:stretch>
            <a:fillRect/>
          </a:stretch>
        </p:blipFill>
        <p:spPr>
          <a:xfrm>
            <a:off x="480828" y="2153036"/>
            <a:ext cx="2356828" cy="2356828"/>
          </a:xfrm>
          <a:prstGeom prst="rect">
            <a:avLst/>
          </a:prstGeom>
        </p:spPr>
      </p:pic>
      <p:pic>
        <p:nvPicPr>
          <p:cNvPr id="53" name="Picture 52"/>
          <p:cNvPicPr>
            <a:picLocks noChangeAspect="1"/>
          </p:cNvPicPr>
          <p:nvPr/>
        </p:nvPicPr>
        <p:blipFill>
          <a:blip r:embed="rId4"/>
          <a:stretch>
            <a:fillRect/>
          </a:stretch>
        </p:blipFill>
        <p:spPr>
          <a:xfrm>
            <a:off x="4782123" y="2140337"/>
            <a:ext cx="2356828" cy="2356828"/>
          </a:xfrm>
          <a:prstGeom prst="rect">
            <a:avLst/>
          </a:prstGeom>
        </p:spPr>
      </p:pic>
      <p:pic>
        <p:nvPicPr>
          <p:cNvPr id="54" name="Picture 53"/>
          <p:cNvPicPr>
            <a:picLocks noChangeAspect="1"/>
          </p:cNvPicPr>
          <p:nvPr/>
        </p:nvPicPr>
        <p:blipFill>
          <a:blip r:embed="rId4"/>
          <a:stretch>
            <a:fillRect/>
          </a:stretch>
        </p:blipFill>
        <p:spPr>
          <a:xfrm>
            <a:off x="8810329" y="2140337"/>
            <a:ext cx="2356828" cy="2356828"/>
          </a:xfrm>
          <a:prstGeom prst="rect">
            <a:avLst/>
          </a:prstGeom>
        </p:spPr>
      </p:pic>
      <p:sp>
        <p:nvSpPr>
          <p:cNvPr id="2" name="Title 1"/>
          <p:cNvSpPr>
            <a:spLocks noGrp="1"/>
          </p:cNvSpPr>
          <p:nvPr>
            <p:ph type="title"/>
          </p:nvPr>
        </p:nvSpPr>
        <p:spPr/>
        <p:txBody>
          <a:bodyPr/>
          <a:lstStyle/>
          <a:p>
            <a:r>
              <a:rPr lang="en-US" dirty="0"/>
              <a:t>App Service</a:t>
            </a:r>
          </a:p>
        </p:txBody>
      </p:sp>
      <p:sp>
        <p:nvSpPr>
          <p:cNvPr id="3" name="Text Placeholder 2"/>
          <p:cNvSpPr>
            <a:spLocks noGrp="1"/>
          </p:cNvSpPr>
          <p:nvPr>
            <p:ph type="body" sz="quarter" idx="10"/>
          </p:nvPr>
        </p:nvSpPr>
        <p:spPr>
          <a:xfrm>
            <a:off x="274688" y="1213175"/>
            <a:ext cx="11885514" cy="849463"/>
          </a:xfrm>
        </p:spPr>
        <p:txBody>
          <a:bodyPr/>
          <a:lstStyle/>
          <a:p>
            <a:r>
              <a:rPr lang="en-US" dirty="0"/>
              <a:t>From on-premises to the cloud</a:t>
            </a:r>
          </a:p>
        </p:txBody>
      </p:sp>
      <p:sp>
        <p:nvSpPr>
          <p:cNvPr id="11" name="TextBox 10"/>
          <p:cNvSpPr txBox="1"/>
          <p:nvPr/>
        </p:nvSpPr>
        <p:spPr>
          <a:xfrm>
            <a:off x="480829" y="4737814"/>
            <a:ext cx="3824315" cy="1523706"/>
          </a:xfrm>
          <a:prstGeom prst="rect">
            <a:avLst/>
          </a:prstGeom>
          <a:noFill/>
        </p:spPr>
        <p:txBody>
          <a:bodyPr wrap="square" lIns="0" tIns="89629" rIns="89629" bIns="89629" rtlCol="0">
            <a:noAutofit/>
          </a:bodyPr>
          <a:lstStyle/>
          <a:p>
            <a:pPr defTabSz="914191">
              <a:spcAft>
                <a:spcPts val="587"/>
              </a:spcAft>
              <a:defRPr/>
            </a:pPr>
            <a:r>
              <a:rPr lang="en-US" sz="1599" b="1" dirty="0">
                <a:gradFill>
                  <a:gsLst>
                    <a:gs pos="57576">
                      <a:srgbClr val="0078D7"/>
                    </a:gs>
                    <a:gs pos="35000">
                      <a:srgbClr val="0078D7"/>
                    </a:gs>
                  </a:gsLst>
                  <a:lin ang="5400000" scaled="0"/>
                </a:gradFill>
                <a:latin typeface="Segoe UI Semibold" panose="020B0702040204020203" pitchFamily="34" charset="0"/>
                <a:cs typeface="Segoe UI Semibold" panose="020B0702040204020203" pitchFamily="34" charset="0"/>
              </a:rPr>
              <a:t>AZURE APP SERVICE (MULTI-TENANT)</a:t>
            </a:r>
          </a:p>
          <a:p>
            <a:pPr defTabSz="914191">
              <a:spcAft>
                <a:spcPts val="587"/>
              </a:spcAft>
              <a:defRPr/>
            </a:pPr>
            <a:r>
              <a:rPr lang="en-US" sz="1599" dirty="0">
                <a:gradFill>
                  <a:gsLst>
                    <a:gs pos="57576">
                      <a:srgbClr val="353535"/>
                    </a:gs>
                    <a:gs pos="35000">
                      <a:srgbClr val="353535"/>
                    </a:gs>
                  </a:gsLst>
                  <a:lin ang="5400000" scaled="0"/>
                </a:gradFill>
                <a:latin typeface="Segoe UI"/>
              </a:rPr>
              <a:t>Get your Web, API, or Mobile App created in seconds in the cloud. We provide the infrastructure, you provide your application code.</a:t>
            </a:r>
          </a:p>
        </p:txBody>
      </p:sp>
      <p:sp>
        <p:nvSpPr>
          <p:cNvPr id="12" name="TextBox 11"/>
          <p:cNvSpPr txBox="1"/>
          <p:nvPr/>
        </p:nvSpPr>
        <p:spPr>
          <a:xfrm>
            <a:off x="4782123" y="4768982"/>
            <a:ext cx="3633408" cy="1523706"/>
          </a:xfrm>
          <a:prstGeom prst="rect">
            <a:avLst/>
          </a:prstGeom>
          <a:noFill/>
        </p:spPr>
        <p:txBody>
          <a:bodyPr wrap="square" lIns="0" tIns="89629" rIns="89629" bIns="89629" rtlCol="0">
            <a:noAutofit/>
          </a:bodyPr>
          <a:lstStyle/>
          <a:p>
            <a:pPr defTabSz="914191" fontAlgn="base">
              <a:lnSpc>
                <a:spcPct val="90000"/>
              </a:lnSpc>
              <a:spcBef>
                <a:spcPct val="0"/>
              </a:spcBef>
              <a:spcAft>
                <a:spcPts val="587"/>
              </a:spcAft>
              <a:defRPr/>
            </a:pPr>
            <a:r>
              <a:rPr lang="en-US" sz="1599" b="1" dirty="0">
                <a:gradFill>
                  <a:gsLst>
                    <a:gs pos="57576">
                      <a:srgbClr val="0078D7"/>
                    </a:gs>
                    <a:gs pos="35000">
                      <a:srgbClr val="0078D7"/>
                    </a:gs>
                  </a:gsLst>
                  <a:lin ang="5400000" scaled="0"/>
                </a:gradFill>
                <a:latin typeface="Segoe UI Semibold" panose="020B0702040204020203" pitchFamily="34" charset="0"/>
                <a:cs typeface="Segoe UI Semibold" panose="020B0702040204020203" pitchFamily="34" charset="0"/>
              </a:rPr>
              <a:t>APP SERVICE ENVIRONMENT</a:t>
            </a:r>
          </a:p>
          <a:p>
            <a:pPr defTabSz="914191">
              <a:spcAft>
                <a:spcPts val="587"/>
              </a:spcAft>
              <a:defRPr/>
            </a:pPr>
            <a:r>
              <a:rPr lang="en-US" sz="1599" dirty="0">
                <a:gradFill>
                  <a:gsLst>
                    <a:gs pos="57576">
                      <a:srgbClr val="353535"/>
                    </a:gs>
                    <a:gs pos="35000">
                      <a:srgbClr val="353535"/>
                    </a:gs>
                  </a:gsLst>
                  <a:lin ang="5400000" scaled="0"/>
                </a:gradFill>
                <a:latin typeface="Segoe UI"/>
              </a:rPr>
              <a:t>Run your apps in virtual network at high scale. Manage all of the resources behind your public endpoint creating an isolated environment specifically </a:t>
            </a:r>
            <a:br>
              <a:rPr lang="en-US" sz="1599" dirty="0">
                <a:gradFill>
                  <a:gsLst>
                    <a:gs pos="57576">
                      <a:srgbClr val="353535"/>
                    </a:gs>
                    <a:gs pos="35000">
                      <a:srgbClr val="353535"/>
                    </a:gs>
                  </a:gsLst>
                  <a:lin ang="5400000" scaled="0"/>
                </a:gradFill>
                <a:latin typeface="Segoe UI"/>
              </a:rPr>
            </a:br>
            <a:r>
              <a:rPr lang="en-US" sz="1599" dirty="0">
                <a:gradFill>
                  <a:gsLst>
                    <a:gs pos="57576">
                      <a:srgbClr val="353535"/>
                    </a:gs>
                    <a:gs pos="35000">
                      <a:srgbClr val="353535"/>
                    </a:gs>
                  </a:gsLst>
                  <a:lin ang="5400000" scaled="0"/>
                </a:gradFill>
                <a:latin typeface="Segoe UI"/>
              </a:rPr>
              <a:t>for your organization.</a:t>
            </a:r>
          </a:p>
        </p:txBody>
      </p:sp>
      <p:sp>
        <p:nvSpPr>
          <p:cNvPr id="13" name="TextBox 12"/>
          <p:cNvSpPr txBox="1"/>
          <p:nvPr/>
        </p:nvSpPr>
        <p:spPr>
          <a:xfrm>
            <a:off x="8810329" y="4737814"/>
            <a:ext cx="3349873" cy="1523706"/>
          </a:xfrm>
          <a:prstGeom prst="rect">
            <a:avLst/>
          </a:prstGeom>
          <a:noFill/>
        </p:spPr>
        <p:txBody>
          <a:bodyPr wrap="square" lIns="0" tIns="89629" rIns="89629" bIns="89629" rtlCol="0">
            <a:noAutofit/>
          </a:bodyPr>
          <a:lstStyle/>
          <a:p>
            <a:pPr defTabSz="914191">
              <a:spcAft>
                <a:spcPts val="587"/>
              </a:spcAft>
              <a:defRPr/>
            </a:pPr>
            <a:r>
              <a:rPr lang="en-US" sz="1599" b="1" dirty="0">
                <a:gradFill>
                  <a:gsLst>
                    <a:gs pos="57576">
                      <a:srgbClr val="0078D7"/>
                    </a:gs>
                    <a:gs pos="35000">
                      <a:srgbClr val="0078D7"/>
                    </a:gs>
                  </a:gsLst>
                  <a:lin ang="5400000" scaled="0"/>
                </a:gradFill>
                <a:latin typeface="Segoe UI Semibold" panose="020B0702040204020203" pitchFamily="34" charset="0"/>
                <a:cs typeface="Segoe UI Semibold" panose="020B0702040204020203" pitchFamily="34" charset="0"/>
              </a:rPr>
              <a:t>AZURE STACK*</a:t>
            </a:r>
          </a:p>
          <a:p>
            <a:pPr defTabSz="914191">
              <a:spcAft>
                <a:spcPts val="587"/>
              </a:spcAft>
              <a:defRPr/>
            </a:pPr>
            <a:r>
              <a:rPr lang="en-US" sz="1599" dirty="0">
                <a:gradFill>
                  <a:gsLst>
                    <a:gs pos="57576">
                      <a:srgbClr val="353535"/>
                    </a:gs>
                    <a:gs pos="35000">
                      <a:srgbClr val="353535"/>
                    </a:gs>
                  </a:gsLst>
                  <a:lin ang="5400000" scaled="0"/>
                </a:gradFill>
                <a:latin typeface="Segoe UI"/>
              </a:rPr>
              <a:t>Leverage cloud innovations </a:t>
            </a:r>
            <a:br>
              <a:rPr lang="en-US" sz="1599" dirty="0">
                <a:gradFill>
                  <a:gsLst>
                    <a:gs pos="57576">
                      <a:srgbClr val="353535"/>
                    </a:gs>
                    <a:gs pos="35000">
                      <a:srgbClr val="353535"/>
                    </a:gs>
                  </a:gsLst>
                  <a:lin ang="5400000" scaled="0"/>
                </a:gradFill>
                <a:latin typeface="Segoe UI"/>
              </a:rPr>
            </a:br>
            <a:r>
              <a:rPr lang="en-US" sz="1599" dirty="0">
                <a:gradFill>
                  <a:gsLst>
                    <a:gs pos="57576">
                      <a:srgbClr val="353535"/>
                    </a:gs>
                    <a:gs pos="35000">
                      <a:srgbClr val="353535"/>
                    </a:gs>
                  </a:gsLst>
                  <a:lin ang="5400000" scaled="0"/>
                </a:gradFill>
                <a:latin typeface="Segoe UI"/>
              </a:rPr>
              <a:t>in on-premises infrastructure.  </a:t>
            </a:r>
            <a:br>
              <a:rPr lang="en-US" sz="1599" dirty="0">
                <a:gradFill>
                  <a:gsLst>
                    <a:gs pos="57576">
                      <a:srgbClr val="353535"/>
                    </a:gs>
                    <a:gs pos="35000">
                      <a:srgbClr val="353535"/>
                    </a:gs>
                  </a:gsLst>
                  <a:lin ang="5400000" scaled="0"/>
                </a:gradFill>
                <a:latin typeface="Segoe UI"/>
              </a:rPr>
            </a:br>
            <a:r>
              <a:rPr lang="en-US" sz="1599" dirty="0">
                <a:gradFill>
                  <a:gsLst>
                    <a:gs pos="57576">
                      <a:srgbClr val="353535"/>
                    </a:gs>
                    <a:gs pos="35000">
                      <a:srgbClr val="353535"/>
                    </a:gs>
                  </a:gsLst>
                  <a:lin ang="5400000" scaled="0"/>
                </a:gradFill>
                <a:latin typeface="Segoe UI"/>
              </a:rPr>
              <a:t>App Service on Azure Stack </a:t>
            </a:r>
            <a:br>
              <a:rPr lang="en-US" sz="1599" dirty="0">
                <a:gradFill>
                  <a:gsLst>
                    <a:gs pos="57576">
                      <a:srgbClr val="353535"/>
                    </a:gs>
                    <a:gs pos="35000">
                      <a:srgbClr val="353535"/>
                    </a:gs>
                  </a:gsLst>
                  <a:lin ang="5400000" scaled="0"/>
                </a:gradFill>
                <a:latin typeface="Segoe UI"/>
              </a:rPr>
            </a:br>
            <a:r>
              <a:rPr lang="en-US" sz="1599" dirty="0">
                <a:gradFill>
                  <a:gsLst>
                    <a:gs pos="57576">
                      <a:srgbClr val="353535"/>
                    </a:gs>
                    <a:gs pos="35000">
                      <a:srgbClr val="353535"/>
                    </a:gs>
                  </a:gsLst>
                  <a:lin ang="5400000" scaled="0"/>
                </a:gradFill>
                <a:latin typeface="Segoe UI"/>
              </a:rPr>
              <a:t>brings the power of Azure App Service to your own data centers.</a:t>
            </a:r>
          </a:p>
        </p:txBody>
      </p:sp>
      <p:grpSp>
        <p:nvGrpSpPr>
          <p:cNvPr id="135" name="Group 134"/>
          <p:cNvGrpSpPr/>
          <p:nvPr/>
        </p:nvGrpSpPr>
        <p:grpSpPr>
          <a:xfrm>
            <a:off x="10561979" y="3841408"/>
            <a:ext cx="1101700" cy="922751"/>
            <a:chOff x="4619625" y="3367088"/>
            <a:chExt cx="665163" cy="425450"/>
          </a:xfrm>
        </p:grpSpPr>
        <p:sp>
          <p:nvSpPr>
            <p:cNvPr id="136" name="Rectangle 386"/>
            <p:cNvSpPr>
              <a:spLocks noChangeArrowheads="1"/>
            </p:cNvSpPr>
            <p:nvPr/>
          </p:nvSpPr>
          <p:spPr bwMode="auto">
            <a:xfrm>
              <a:off x="4619625" y="3367088"/>
              <a:ext cx="203200" cy="42545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29" tIns="44815" rIns="89629" bIns="44815" numCol="1" anchor="t" anchorCtr="0" compatLnSpc="1">
              <a:prstTxWarp prst="textNoShape">
                <a:avLst/>
              </a:prstTxWarp>
            </a:bodyPr>
            <a:lstStyle/>
            <a:p>
              <a:pPr defTabSz="914191">
                <a:defRPr/>
              </a:pPr>
              <a:endParaRPr lang="en-US" sz="1764">
                <a:solidFill>
                  <a:srgbClr val="FFFFFF"/>
                </a:solidFill>
                <a:latin typeface="Segoe UI"/>
              </a:endParaRPr>
            </a:p>
          </p:txBody>
        </p:sp>
        <p:sp>
          <p:nvSpPr>
            <p:cNvPr id="137" name="Rectangle 387"/>
            <p:cNvSpPr>
              <a:spLocks noChangeArrowheads="1"/>
            </p:cNvSpPr>
            <p:nvPr/>
          </p:nvSpPr>
          <p:spPr bwMode="auto">
            <a:xfrm>
              <a:off x="4638675" y="3387725"/>
              <a:ext cx="166688" cy="3698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29" tIns="44815" rIns="89629" bIns="44815" numCol="1" anchor="t" anchorCtr="0" compatLnSpc="1">
              <a:prstTxWarp prst="textNoShape">
                <a:avLst/>
              </a:prstTxWarp>
            </a:bodyPr>
            <a:lstStyle/>
            <a:p>
              <a:pPr defTabSz="914191">
                <a:defRPr/>
              </a:pPr>
              <a:endParaRPr lang="en-US" sz="1764">
                <a:solidFill>
                  <a:srgbClr val="FFFFFF"/>
                </a:solidFill>
                <a:latin typeface="Segoe UI"/>
              </a:endParaRPr>
            </a:p>
          </p:txBody>
        </p:sp>
        <p:sp>
          <p:nvSpPr>
            <p:cNvPr id="138" name="Rectangle 388"/>
            <p:cNvSpPr>
              <a:spLocks noChangeArrowheads="1"/>
            </p:cNvSpPr>
            <p:nvPr/>
          </p:nvSpPr>
          <p:spPr bwMode="auto">
            <a:xfrm>
              <a:off x="4648200" y="3400425"/>
              <a:ext cx="147638" cy="3651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29" tIns="44815" rIns="89629" bIns="44815" numCol="1" anchor="t" anchorCtr="0" compatLnSpc="1">
              <a:prstTxWarp prst="textNoShape">
                <a:avLst/>
              </a:prstTxWarp>
            </a:bodyPr>
            <a:lstStyle/>
            <a:p>
              <a:pPr defTabSz="914191">
                <a:defRPr/>
              </a:pPr>
              <a:endParaRPr lang="en-US" sz="1764">
                <a:solidFill>
                  <a:srgbClr val="FFFFFF"/>
                </a:solidFill>
                <a:latin typeface="Segoe UI"/>
              </a:endParaRPr>
            </a:p>
          </p:txBody>
        </p:sp>
        <p:sp>
          <p:nvSpPr>
            <p:cNvPr id="139" name="Rectangle 389"/>
            <p:cNvSpPr>
              <a:spLocks noChangeArrowheads="1"/>
            </p:cNvSpPr>
            <p:nvPr/>
          </p:nvSpPr>
          <p:spPr bwMode="auto">
            <a:xfrm>
              <a:off x="4654550" y="3403600"/>
              <a:ext cx="4763" cy="2698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29" tIns="44815" rIns="89629" bIns="44815" numCol="1" anchor="t" anchorCtr="0" compatLnSpc="1">
              <a:prstTxWarp prst="textNoShape">
                <a:avLst/>
              </a:prstTxWarp>
            </a:bodyPr>
            <a:lstStyle/>
            <a:p>
              <a:pPr defTabSz="914191">
                <a:defRPr/>
              </a:pPr>
              <a:endParaRPr lang="en-US" sz="1764">
                <a:solidFill>
                  <a:srgbClr val="FFFFFF"/>
                </a:solidFill>
                <a:latin typeface="Segoe UI"/>
              </a:endParaRPr>
            </a:p>
          </p:txBody>
        </p:sp>
        <p:sp>
          <p:nvSpPr>
            <p:cNvPr id="140" name="Rectangle 390"/>
            <p:cNvSpPr>
              <a:spLocks noChangeArrowheads="1"/>
            </p:cNvSpPr>
            <p:nvPr/>
          </p:nvSpPr>
          <p:spPr bwMode="auto">
            <a:xfrm>
              <a:off x="4664075" y="3403600"/>
              <a:ext cx="3175" cy="2698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29" tIns="44815" rIns="89629" bIns="44815" numCol="1" anchor="t" anchorCtr="0" compatLnSpc="1">
              <a:prstTxWarp prst="textNoShape">
                <a:avLst/>
              </a:prstTxWarp>
            </a:bodyPr>
            <a:lstStyle/>
            <a:p>
              <a:pPr defTabSz="914191">
                <a:defRPr/>
              </a:pPr>
              <a:endParaRPr lang="en-US" sz="1764">
                <a:solidFill>
                  <a:srgbClr val="FFFFFF"/>
                </a:solidFill>
                <a:latin typeface="Segoe UI"/>
              </a:endParaRPr>
            </a:p>
          </p:txBody>
        </p:sp>
        <p:sp>
          <p:nvSpPr>
            <p:cNvPr id="141" name="Rectangle 391"/>
            <p:cNvSpPr>
              <a:spLocks noChangeArrowheads="1"/>
            </p:cNvSpPr>
            <p:nvPr/>
          </p:nvSpPr>
          <p:spPr bwMode="auto">
            <a:xfrm>
              <a:off x="4670425" y="3403600"/>
              <a:ext cx="4763" cy="2698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29" tIns="44815" rIns="89629" bIns="44815" numCol="1" anchor="t" anchorCtr="0" compatLnSpc="1">
              <a:prstTxWarp prst="textNoShape">
                <a:avLst/>
              </a:prstTxWarp>
            </a:bodyPr>
            <a:lstStyle/>
            <a:p>
              <a:pPr defTabSz="914191">
                <a:defRPr/>
              </a:pPr>
              <a:endParaRPr lang="en-US" sz="1764">
                <a:solidFill>
                  <a:srgbClr val="FFFFFF"/>
                </a:solidFill>
                <a:latin typeface="Segoe UI"/>
              </a:endParaRPr>
            </a:p>
          </p:txBody>
        </p:sp>
        <p:sp>
          <p:nvSpPr>
            <p:cNvPr id="142" name="Rectangle 392"/>
            <p:cNvSpPr>
              <a:spLocks noChangeArrowheads="1"/>
            </p:cNvSpPr>
            <p:nvPr/>
          </p:nvSpPr>
          <p:spPr bwMode="auto">
            <a:xfrm>
              <a:off x="4678363" y="3403600"/>
              <a:ext cx="4763" cy="2698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29" tIns="44815" rIns="89629" bIns="44815" numCol="1" anchor="t" anchorCtr="0" compatLnSpc="1">
              <a:prstTxWarp prst="textNoShape">
                <a:avLst/>
              </a:prstTxWarp>
            </a:bodyPr>
            <a:lstStyle/>
            <a:p>
              <a:pPr defTabSz="914191">
                <a:defRPr/>
              </a:pPr>
              <a:endParaRPr lang="en-US" sz="1764">
                <a:solidFill>
                  <a:srgbClr val="FFFFFF"/>
                </a:solidFill>
                <a:latin typeface="Segoe UI"/>
              </a:endParaRPr>
            </a:p>
          </p:txBody>
        </p:sp>
        <p:sp>
          <p:nvSpPr>
            <p:cNvPr id="143" name="Rectangle 393"/>
            <p:cNvSpPr>
              <a:spLocks noChangeArrowheads="1"/>
            </p:cNvSpPr>
            <p:nvPr/>
          </p:nvSpPr>
          <p:spPr bwMode="auto">
            <a:xfrm>
              <a:off x="4686300" y="3403600"/>
              <a:ext cx="6350" cy="2698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29" tIns="44815" rIns="89629" bIns="44815" numCol="1" anchor="t" anchorCtr="0" compatLnSpc="1">
              <a:prstTxWarp prst="textNoShape">
                <a:avLst/>
              </a:prstTxWarp>
            </a:bodyPr>
            <a:lstStyle/>
            <a:p>
              <a:pPr defTabSz="914191">
                <a:defRPr/>
              </a:pPr>
              <a:endParaRPr lang="en-US" sz="1764">
                <a:solidFill>
                  <a:srgbClr val="FFFFFF"/>
                </a:solidFill>
                <a:latin typeface="Segoe UI"/>
              </a:endParaRPr>
            </a:p>
          </p:txBody>
        </p:sp>
        <p:sp>
          <p:nvSpPr>
            <p:cNvPr id="144" name="Rectangle 394"/>
            <p:cNvSpPr>
              <a:spLocks noChangeArrowheads="1"/>
            </p:cNvSpPr>
            <p:nvPr/>
          </p:nvSpPr>
          <p:spPr bwMode="auto">
            <a:xfrm>
              <a:off x="4695825" y="3403600"/>
              <a:ext cx="4763" cy="2698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29" tIns="44815" rIns="89629" bIns="44815" numCol="1" anchor="t" anchorCtr="0" compatLnSpc="1">
              <a:prstTxWarp prst="textNoShape">
                <a:avLst/>
              </a:prstTxWarp>
            </a:bodyPr>
            <a:lstStyle/>
            <a:p>
              <a:pPr defTabSz="914191">
                <a:defRPr/>
              </a:pPr>
              <a:endParaRPr lang="en-US" sz="1764">
                <a:solidFill>
                  <a:srgbClr val="FFFFFF"/>
                </a:solidFill>
                <a:latin typeface="Segoe UI"/>
              </a:endParaRPr>
            </a:p>
          </p:txBody>
        </p:sp>
        <p:sp>
          <p:nvSpPr>
            <p:cNvPr id="145" name="Freeform 395"/>
            <p:cNvSpPr>
              <a:spLocks/>
            </p:cNvSpPr>
            <p:nvPr/>
          </p:nvSpPr>
          <p:spPr bwMode="auto">
            <a:xfrm>
              <a:off x="4772025" y="3413125"/>
              <a:ext cx="9525" cy="11113"/>
            </a:xfrm>
            <a:custGeom>
              <a:avLst/>
              <a:gdLst>
                <a:gd name="T0" fmla="*/ 0 w 12"/>
                <a:gd name="T1" fmla="*/ 7 h 15"/>
                <a:gd name="T2" fmla="*/ 0 w 12"/>
                <a:gd name="T3" fmla="*/ 7 h 15"/>
                <a:gd name="T4" fmla="*/ 2 w 12"/>
                <a:gd name="T5" fmla="*/ 2 h 15"/>
                <a:gd name="T6" fmla="*/ 7 w 12"/>
                <a:gd name="T7" fmla="*/ 0 h 15"/>
                <a:gd name="T8" fmla="*/ 7 w 12"/>
                <a:gd name="T9" fmla="*/ 0 h 15"/>
                <a:gd name="T10" fmla="*/ 11 w 12"/>
                <a:gd name="T11" fmla="*/ 2 h 15"/>
                <a:gd name="T12" fmla="*/ 12 w 12"/>
                <a:gd name="T13" fmla="*/ 7 h 15"/>
                <a:gd name="T14" fmla="*/ 12 w 12"/>
                <a:gd name="T15" fmla="*/ 7 h 15"/>
                <a:gd name="T16" fmla="*/ 11 w 12"/>
                <a:gd name="T17" fmla="*/ 13 h 15"/>
                <a:gd name="T18" fmla="*/ 7 w 12"/>
                <a:gd name="T19" fmla="*/ 15 h 15"/>
                <a:gd name="T20" fmla="*/ 7 w 12"/>
                <a:gd name="T21" fmla="*/ 15 h 15"/>
                <a:gd name="T22" fmla="*/ 2 w 12"/>
                <a:gd name="T23" fmla="*/ 13 h 15"/>
                <a:gd name="T24" fmla="*/ 0 w 12"/>
                <a:gd name="T25" fmla="*/ 7 h 15"/>
                <a:gd name="T26" fmla="*/ 0 w 12"/>
                <a:gd name="T27" fmla="*/ 7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 h="15">
                  <a:moveTo>
                    <a:pt x="0" y="7"/>
                  </a:moveTo>
                  <a:lnTo>
                    <a:pt x="0" y="7"/>
                  </a:lnTo>
                  <a:lnTo>
                    <a:pt x="2" y="2"/>
                  </a:lnTo>
                  <a:lnTo>
                    <a:pt x="7" y="0"/>
                  </a:lnTo>
                  <a:lnTo>
                    <a:pt x="7" y="0"/>
                  </a:lnTo>
                  <a:lnTo>
                    <a:pt x="11" y="2"/>
                  </a:lnTo>
                  <a:lnTo>
                    <a:pt x="12" y="7"/>
                  </a:lnTo>
                  <a:lnTo>
                    <a:pt x="12" y="7"/>
                  </a:lnTo>
                  <a:lnTo>
                    <a:pt x="11" y="13"/>
                  </a:lnTo>
                  <a:lnTo>
                    <a:pt x="7" y="15"/>
                  </a:lnTo>
                  <a:lnTo>
                    <a:pt x="7" y="15"/>
                  </a:lnTo>
                  <a:lnTo>
                    <a:pt x="2" y="13"/>
                  </a:lnTo>
                  <a:lnTo>
                    <a:pt x="0" y="7"/>
                  </a:lnTo>
                  <a:lnTo>
                    <a:pt x="0" y="7"/>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914191">
                <a:defRPr/>
              </a:pPr>
              <a:endParaRPr lang="en-US" sz="1764">
                <a:solidFill>
                  <a:srgbClr val="FFFFFF"/>
                </a:solidFill>
                <a:latin typeface="Segoe UI"/>
              </a:endParaRPr>
            </a:p>
          </p:txBody>
        </p:sp>
        <p:sp>
          <p:nvSpPr>
            <p:cNvPr id="146" name="Rectangle 396"/>
            <p:cNvSpPr>
              <a:spLocks noChangeArrowheads="1"/>
            </p:cNvSpPr>
            <p:nvPr/>
          </p:nvSpPr>
          <p:spPr bwMode="auto">
            <a:xfrm>
              <a:off x="4648200" y="3444875"/>
              <a:ext cx="147638" cy="396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29" tIns="44815" rIns="89629" bIns="44815" numCol="1" anchor="t" anchorCtr="0" compatLnSpc="1">
              <a:prstTxWarp prst="textNoShape">
                <a:avLst/>
              </a:prstTxWarp>
            </a:bodyPr>
            <a:lstStyle/>
            <a:p>
              <a:pPr defTabSz="914191">
                <a:defRPr/>
              </a:pPr>
              <a:endParaRPr lang="en-US" sz="1764">
                <a:solidFill>
                  <a:srgbClr val="FFFFFF"/>
                </a:solidFill>
                <a:latin typeface="Segoe UI"/>
              </a:endParaRPr>
            </a:p>
          </p:txBody>
        </p:sp>
        <p:sp>
          <p:nvSpPr>
            <p:cNvPr id="147" name="Rectangle 397"/>
            <p:cNvSpPr>
              <a:spLocks noChangeArrowheads="1"/>
            </p:cNvSpPr>
            <p:nvPr/>
          </p:nvSpPr>
          <p:spPr bwMode="auto">
            <a:xfrm>
              <a:off x="4654550" y="3451225"/>
              <a:ext cx="4763" cy="2540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29" tIns="44815" rIns="89629" bIns="44815" numCol="1" anchor="t" anchorCtr="0" compatLnSpc="1">
              <a:prstTxWarp prst="textNoShape">
                <a:avLst/>
              </a:prstTxWarp>
            </a:bodyPr>
            <a:lstStyle/>
            <a:p>
              <a:pPr defTabSz="914191">
                <a:defRPr/>
              </a:pPr>
              <a:endParaRPr lang="en-US" sz="1764">
                <a:solidFill>
                  <a:srgbClr val="FFFFFF"/>
                </a:solidFill>
                <a:latin typeface="Segoe UI"/>
              </a:endParaRPr>
            </a:p>
          </p:txBody>
        </p:sp>
        <p:sp>
          <p:nvSpPr>
            <p:cNvPr id="148" name="Rectangle 398"/>
            <p:cNvSpPr>
              <a:spLocks noChangeArrowheads="1"/>
            </p:cNvSpPr>
            <p:nvPr/>
          </p:nvSpPr>
          <p:spPr bwMode="auto">
            <a:xfrm>
              <a:off x="4664075" y="3451225"/>
              <a:ext cx="3175" cy="2540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29" tIns="44815" rIns="89629" bIns="44815" numCol="1" anchor="t" anchorCtr="0" compatLnSpc="1">
              <a:prstTxWarp prst="textNoShape">
                <a:avLst/>
              </a:prstTxWarp>
            </a:bodyPr>
            <a:lstStyle/>
            <a:p>
              <a:pPr defTabSz="914191">
                <a:defRPr/>
              </a:pPr>
              <a:endParaRPr lang="en-US" sz="1764">
                <a:solidFill>
                  <a:srgbClr val="FFFFFF"/>
                </a:solidFill>
                <a:latin typeface="Segoe UI"/>
              </a:endParaRPr>
            </a:p>
          </p:txBody>
        </p:sp>
        <p:sp>
          <p:nvSpPr>
            <p:cNvPr id="149" name="Rectangle 399"/>
            <p:cNvSpPr>
              <a:spLocks noChangeArrowheads="1"/>
            </p:cNvSpPr>
            <p:nvPr/>
          </p:nvSpPr>
          <p:spPr bwMode="auto">
            <a:xfrm>
              <a:off x="4670425" y="3451225"/>
              <a:ext cx="4763" cy="2540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29" tIns="44815" rIns="89629" bIns="44815" numCol="1" anchor="t" anchorCtr="0" compatLnSpc="1">
              <a:prstTxWarp prst="textNoShape">
                <a:avLst/>
              </a:prstTxWarp>
            </a:bodyPr>
            <a:lstStyle/>
            <a:p>
              <a:pPr defTabSz="914191">
                <a:defRPr/>
              </a:pPr>
              <a:endParaRPr lang="en-US" sz="1764">
                <a:solidFill>
                  <a:srgbClr val="FFFFFF"/>
                </a:solidFill>
                <a:latin typeface="Segoe UI"/>
              </a:endParaRPr>
            </a:p>
          </p:txBody>
        </p:sp>
        <p:sp>
          <p:nvSpPr>
            <p:cNvPr id="150" name="Rectangle 400"/>
            <p:cNvSpPr>
              <a:spLocks noChangeArrowheads="1"/>
            </p:cNvSpPr>
            <p:nvPr/>
          </p:nvSpPr>
          <p:spPr bwMode="auto">
            <a:xfrm>
              <a:off x="4678363" y="3451225"/>
              <a:ext cx="4763" cy="2540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29" tIns="44815" rIns="89629" bIns="44815" numCol="1" anchor="t" anchorCtr="0" compatLnSpc="1">
              <a:prstTxWarp prst="textNoShape">
                <a:avLst/>
              </a:prstTxWarp>
            </a:bodyPr>
            <a:lstStyle/>
            <a:p>
              <a:pPr defTabSz="914191">
                <a:defRPr/>
              </a:pPr>
              <a:endParaRPr lang="en-US" sz="1764">
                <a:solidFill>
                  <a:srgbClr val="FFFFFF"/>
                </a:solidFill>
                <a:latin typeface="Segoe UI"/>
              </a:endParaRPr>
            </a:p>
          </p:txBody>
        </p:sp>
        <p:sp>
          <p:nvSpPr>
            <p:cNvPr id="151" name="Rectangle 401"/>
            <p:cNvSpPr>
              <a:spLocks noChangeArrowheads="1"/>
            </p:cNvSpPr>
            <p:nvPr/>
          </p:nvSpPr>
          <p:spPr bwMode="auto">
            <a:xfrm>
              <a:off x="4686300" y="3451225"/>
              <a:ext cx="6350" cy="2540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29" tIns="44815" rIns="89629" bIns="44815" numCol="1" anchor="t" anchorCtr="0" compatLnSpc="1">
              <a:prstTxWarp prst="textNoShape">
                <a:avLst/>
              </a:prstTxWarp>
            </a:bodyPr>
            <a:lstStyle/>
            <a:p>
              <a:pPr defTabSz="914191">
                <a:defRPr/>
              </a:pPr>
              <a:endParaRPr lang="en-US" sz="1764">
                <a:solidFill>
                  <a:srgbClr val="FFFFFF"/>
                </a:solidFill>
                <a:latin typeface="Segoe UI"/>
              </a:endParaRPr>
            </a:p>
          </p:txBody>
        </p:sp>
        <p:sp>
          <p:nvSpPr>
            <p:cNvPr id="152" name="Rectangle 402"/>
            <p:cNvSpPr>
              <a:spLocks noChangeArrowheads="1"/>
            </p:cNvSpPr>
            <p:nvPr/>
          </p:nvSpPr>
          <p:spPr bwMode="auto">
            <a:xfrm>
              <a:off x="4695825" y="3451225"/>
              <a:ext cx="4763" cy="2540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29" tIns="44815" rIns="89629" bIns="44815" numCol="1" anchor="t" anchorCtr="0" compatLnSpc="1">
              <a:prstTxWarp prst="textNoShape">
                <a:avLst/>
              </a:prstTxWarp>
            </a:bodyPr>
            <a:lstStyle/>
            <a:p>
              <a:pPr defTabSz="914191">
                <a:defRPr/>
              </a:pPr>
              <a:endParaRPr lang="en-US" sz="1764">
                <a:solidFill>
                  <a:srgbClr val="FFFFFF"/>
                </a:solidFill>
                <a:latin typeface="Segoe UI"/>
              </a:endParaRPr>
            </a:p>
          </p:txBody>
        </p:sp>
        <p:sp>
          <p:nvSpPr>
            <p:cNvPr id="153" name="Freeform 403"/>
            <p:cNvSpPr>
              <a:spLocks/>
            </p:cNvSpPr>
            <p:nvPr/>
          </p:nvSpPr>
          <p:spPr bwMode="auto">
            <a:xfrm>
              <a:off x="4772025" y="3460750"/>
              <a:ext cx="9525" cy="9525"/>
            </a:xfrm>
            <a:custGeom>
              <a:avLst/>
              <a:gdLst>
                <a:gd name="T0" fmla="*/ 0 w 12"/>
                <a:gd name="T1" fmla="*/ 6 h 11"/>
                <a:gd name="T2" fmla="*/ 0 w 12"/>
                <a:gd name="T3" fmla="*/ 6 h 11"/>
                <a:gd name="T4" fmla="*/ 2 w 12"/>
                <a:gd name="T5" fmla="*/ 2 h 11"/>
                <a:gd name="T6" fmla="*/ 7 w 12"/>
                <a:gd name="T7" fmla="*/ 0 h 11"/>
                <a:gd name="T8" fmla="*/ 7 w 12"/>
                <a:gd name="T9" fmla="*/ 0 h 11"/>
                <a:gd name="T10" fmla="*/ 11 w 12"/>
                <a:gd name="T11" fmla="*/ 2 h 11"/>
                <a:gd name="T12" fmla="*/ 12 w 12"/>
                <a:gd name="T13" fmla="*/ 6 h 11"/>
                <a:gd name="T14" fmla="*/ 12 w 12"/>
                <a:gd name="T15" fmla="*/ 6 h 11"/>
                <a:gd name="T16" fmla="*/ 11 w 12"/>
                <a:gd name="T17" fmla="*/ 9 h 11"/>
                <a:gd name="T18" fmla="*/ 7 w 12"/>
                <a:gd name="T19" fmla="*/ 11 h 11"/>
                <a:gd name="T20" fmla="*/ 7 w 12"/>
                <a:gd name="T21" fmla="*/ 11 h 11"/>
                <a:gd name="T22" fmla="*/ 2 w 12"/>
                <a:gd name="T23" fmla="*/ 9 h 11"/>
                <a:gd name="T24" fmla="*/ 0 w 12"/>
                <a:gd name="T25" fmla="*/ 6 h 11"/>
                <a:gd name="T26" fmla="*/ 0 w 12"/>
                <a:gd name="T27" fmla="*/ 6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 h="11">
                  <a:moveTo>
                    <a:pt x="0" y="6"/>
                  </a:moveTo>
                  <a:lnTo>
                    <a:pt x="0" y="6"/>
                  </a:lnTo>
                  <a:lnTo>
                    <a:pt x="2" y="2"/>
                  </a:lnTo>
                  <a:lnTo>
                    <a:pt x="7" y="0"/>
                  </a:lnTo>
                  <a:lnTo>
                    <a:pt x="7" y="0"/>
                  </a:lnTo>
                  <a:lnTo>
                    <a:pt x="11" y="2"/>
                  </a:lnTo>
                  <a:lnTo>
                    <a:pt x="12" y="6"/>
                  </a:lnTo>
                  <a:lnTo>
                    <a:pt x="12" y="6"/>
                  </a:lnTo>
                  <a:lnTo>
                    <a:pt x="11" y="9"/>
                  </a:lnTo>
                  <a:lnTo>
                    <a:pt x="7" y="11"/>
                  </a:lnTo>
                  <a:lnTo>
                    <a:pt x="7" y="11"/>
                  </a:lnTo>
                  <a:lnTo>
                    <a:pt x="2" y="9"/>
                  </a:lnTo>
                  <a:lnTo>
                    <a:pt x="0" y="6"/>
                  </a:lnTo>
                  <a:lnTo>
                    <a:pt x="0" y="6"/>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914191">
                <a:defRPr/>
              </a:pPr>
              <a:endParaRPr lang="en-US" sz="1764">
                <a:solidFill>
                  <a:srgbClr val="FFFFFF"/>
                </a:solidFill>
                <a:latin typeface="Segoe UI"/>
              </a:endParaRPr>
            </a:p>
          </p:txBody>
        </p:sp>
        <p:sp>
          <p:nvSpPr>
            <p:cNvPr id="154" name="Rectangle 404"/>
            <p:cNvSpPr>
              <a:spLocks noChangeArrowheads="1"/>
            </p:cNvSpPr>
            <p:nvPr/>
          </p:nvSpPr>
          <p:spPr bwMode="auto">
            <a:xfrm>
              <a:off x="4648200" y="3495675"/>
              <a:ext cx="147638" cy="3810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29" tIns="44815" rIns="89629" bIns="44815" numCol="1" anchor="t" anchorCtr="0" compatLnSpc="1">
              <a:prstTxWarp prst="textNoShape">
                <a:avLst/>
              </a:prstTxWarp>
            </a:bodyPr>
            <a:lstStyle/>
            <a:p>
              <a:pPr defTabSz="914191">
                <a:defRPr/>
              </a:pPr>
              <a:endParaRPr lang="en-US" sz="1764">
                <a:solidFill>
                  <a:srgbClr val="FFFFFF"/>
                </a:solidFill>
                <a:latin typeface="Segoe UI"/>
              </a:endParaRPr>
            </a:p>
          </p:txBody>
        </p:sp>
        <p:sp>
          <p:nvSpPr>
            <p:cNvPr id="155" name="Rectangle 405"/>
            <p:cNvSpPr>
              <a:spLocks noChangeArrowheads="1"/>
            </p:cNvSpPr>
            <p:nvPr/>
          </p:nvSpPr>
          <p:spPr bwMode="auto">
            <a:xfrm>
              <a:off x="4654550" y="3500438"/>
              <a:ext cx="4763" cy="2698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29" tIns="44815" rIns="89629" bIns="44815" numCol="1" anchor="t" anchorCtr="0" compatLnSpc="1">
              <a:prstTxWarp prst="textNoShape">
                <a:avLst/>
              </a:prstTxWarp>
            </a:bodyPr>
            <a:lstStyle/>
            <a:p>
              <a:pPr defTabSz="914191">
                <a:defRPr/>
              </a:pPr>
              <a:endParaRPr lang="en-US" sz="1764">
                <a:solidFill>
                  <a:srgbClr val="FFFFFF"/>
                </a:solidFill>
                <a:latin typeface="Segoe UI"/>
              </a:endParaRPr>
            </a:p>
          </p:txBody>
        </p:sp>
        <p:grpSp>
          <p:nvGrpSpPr>
            <p:cNvPr id="156" name="Group 607"/>
            <p:cNvGrpSpPr>
              <a:grpSpLocks/>
            </p:cNvGrpSpPr>
            <p:nvPr/>
          </p:nvGrpSpPr>
          <p:grpSpPr bwMode="auto">
            <a:xfrm>
              <a:off x="4619625" y="3367088"/>
              <a:ext cx="434975" cy="425450"/>
              <a:chOff x="2949" y="1886"/>
              <a:chExt cx="274" cy="268"/>
            </a:xfrm>
          </p:grpSpPr>
          <p:sp>
            <p:nvSpPr>
              <p:cNvPr id="285" name="Rectangle 407"/>
              <p:cNvSpPr>
                <a:spLocks noChangeArrowheads="1"/>
              </p:cNvSpPr>
              <p:nvPr/>
            </p:nvSpPr>
            <p:spPr bwMode="auto">
              <a:xfrm>
                <a:off x="2977" y="1970"/>
                <a:ext cx="2" cy="17"/>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29" tIns="44815" rIns="89629" bIns="44815" numCol="1" anchor="t" anchorCtr="0" compatLnSpc="1">
                <a:prstTxWarp prst="textNoShape">
                  <a:avLst/>
                </a:prstTxWarp>
              </a:bodyPr>
              <a:lstStyle/>
              <a:p>
                <a:pPr defTabSz="914191">
                  <a:defRPr/>
                </a:pPr>
                <a:endParaRPr lang="en-US" sz="1764">
                  <a:solidFill>
                    <a:srgbClr val="FFFFFF"/>
                  </a:solidFill>
                  <a:latin typeface="Segoe UI"/>
                </a:endParaRPr>
              </a:p>
            </p:txBody>
          </p:sp>
          <p:sp>
            <p:nvSpPr>
              <p:cNvPr id="286" name="Rectangle 408"/>
              <p:cNvSpPr>
                <a:spLocks noChangeArrowheads="1"/>
              </p:cNvSpPr>
              <p:nvPr/>
            </p:nvSpPr>
            <p:spPr bwMode="auto">
              <a:xfrm>
                <a:off x="2981" y="1970"/>
                <a:ext cx="3" cy="17"/>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29" tIns="44815" rIns="89629" bIns="44815" numCol="1" anchor="t" anchorCtr="0" compatLnSpc="1">
                <a:prstTxWarp prst="textNoShape">
                  <a:avLst/>
                </a:prstTxWarp>
              </a:bodyPr>
              <a:lstStyle/>
              <a:p>
                <a:pPr defTabSz="914191">
                  <a:defRPr/>
                </a:pPr>
                <a:endParaRPr lang="en-US" sz="1764">
                  <a:solidFill>
                    <a:srgbClr val="FFFFFF"/>
                  </a:solidFill>
                  <a:latin typeface="Segoe UI"/>
                </a:endParaRPr>
              </a:p>
            </p:txBody>
          </p:sp>
          <p:sp>
            <p:nvSpPr>
              <p:cNvPr id="287" name="Rectangle 409"/>
              <p:cNvSpPr>
                <a:spLocks noChangeArrowheads="1"/>
              </p:cNvSpPr>
              <p:nvPr/>
            </p:nvSpPr>
            <p:spPr bwMode="auto">
              <a:xfrm>
                <a:off x="2986" y="1970"/>
                <a:ext cx="3" cy="17"/>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29" tIns="44815" rIns="89629" bIns="44815" numCol="1" anchor="t" anchorCtr="0" compatLnSpc="1">
                <a:prstTxWarp prst="textNoShape">
                  <a:avLst/>
                </a:prstTxWarp>
              </a:bodyPr>
              <a:lstStyle/>
              <a:p>
                <a:pPr defTabSz="914191">
                  <a:defRPr/>
                </a:pPr>
                <a:endParaRPr lang="en-US" sz="1764">
                  <a:solidFill>
                    <a:srgbClr val="FFFFFF"/>
                  </a:solidFill>
                  <a:latin typeface="Segoe UI"/>
                </a:endParaRPr>
              </a:p>
            </p:txBody>
          </p:sp>
          <p:sp>
            <p:nvSpPr>
              <p:cNvPr id="288" name="Rectangle 410"/>
              <p:cNvSpPr>
                <a:spLocks noChangeArrowheads="1"/>
              </p:cNvSpPr>
              <p:nvPr/>
            </p:nvSpPr>
            <p:spPr bwMode="auto">
              <a:xfrm>
                <a:off x="2991" y="1970"/>
                <a:ext cx="4" cy="17"/>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29" tIns="44815" rIns="89629" bIns="44815" numCol="1" anchor="t" anchorCtr="0" compatLnSpc="1">
                <a:prstTxWarp prst="textNoShape">
                  <a:avLst/>
                </a:prstTxWarp>
              </a:bodyPr>
              <a:lstStyle/>
              <a:p>
                <a:pPr defTabSz="914191">
                  <a:defRPr/>
                </a:pPr>
                <a:endParaRPr lang="en-US" sz="1764">
                  <a:solidFill>
                    <a:srgbClr val="FFFFFF"/>
                  </a:solidFill>
                  <a:latin typeface="Segoe UI"/>
                </a:endParaRPr>
              </a:p>
            </p:txBody>
          </p:sp>
          <p:sp>
            <p:nvSpPr>
              <p:cNvPr id="289" name="Rectangle 411"/>
              <p:cNvSpPr>
                <a:spLocks noChangeArrowheads="1"/>
              </p:cNvSpPr>
              <p:nvPr/>
            </p:nvSpPr>
            <p:spPr bwMode="auto">
              <a:xfrm>
                <a:off x="2997" y="1970"/>
                <a:ext cx="3" cy="17"/>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29" tIns="44815" rIns="89629" bIns="44815" numCol="1" anchor="t" anchorCtr="0" compatLnSpc="1">
                <a:prstTxWarp prst="textNoShape">
                  <a:avLst/>
                </a:prstTxWarp>
              </a:bodyPr>
              <a:lstStyle/>
              <a:p>
                <a:pPr defTabSz="914191">
                  <a:defRPr/>
                </a:pPr>
                <a:endParaRPr lang="en-US" sz="1764">
                  <a:solidFill>
                    <a:srgbClr val="FFFFFF"/>
                  </a:solidFill>
                  <a:latin typeface="Segoe UI"/>
                </a:endParaRPr>
              </a:p>
            </p:txBody>
          </p:sp>
          <p:sp>
            <p:nvSpPr>
              <p:cNvPr id="290" name="Freeform 412"/>
              <p:cNvSpPr>
                <a:spLocks/>
              </p:cNvSpPr>
              <p:nvPr/>
            </p:nvSpPr>
            <p:spPr bwMode="auto">
              <a:xfrm>
                <a:off x="3045" y="1975"/>
                <a:ext cx="6" cy="6"/>
              </a:xfrm>
              <a:custGeom>
                <a:avLst/>
                <a:gdLst>
                  <a:gd name="T0" fmla="*/ 0 w 12"/>
                  <a:gd name="T1" fmla="*/ 7 h 12"/>
                  <a:gd name="T2" fmla="*/ 0 w 12"/>
                  <a:gd name="T3" fmla="*/ 7 h 12"/>
                  <a:gd name="T4" fmla="*/ 2 w 12"/>
                  <a:gd name="T5" fmla="*/ 1 h 12"/>
                  <a:gd name="T6" fmla="*/ 7 w 12"/>
                  <a:gd name="T7" fmla="*/ 0 h 12"/>
                  <a:gd name="T8" fmla="*/ 7 w 12"/>
                  <a:gd name="T9" fmla="*/ 0 h 12"/>
                  <a:gd name="T10" fmla="*/ 11 w 12"/>
                  <a:gd name="T11" fmla="*/ 1 h 12"/>
                  <a:gd name="T12" fmla="*/ 12 w 12"/>
                  <a:gd name="T13" fmla="*/ 7 h 12"/>
                  <a:gd name="T14" fmla="*/ 12 w 12"/>
                  <a:gd name="T15" fmla="*/ 7 h 12"/>
                  <a:gd name="T16" fmla="*/ 11 w 12"/>
                  <a:gd name="T17" fmla="*/ 10 h 12"/>
                  <a:gd name="T18" fmla="*/ 7 w 12"/>
                  <a:gd name="T19" fmla="*/ 12 h 12"/>
                  <a:gd name="T20" fmla="*/ 7 w 12"/>
                  <a:gd name="T21" fmla="*/ 12 h 12"/>
                  <a:gd name="T22" fmla="*/ 2 w 12"/>
                  <a:gd name="T23" fmla="*/ 10 h 12"/>
                  <a:gd name="T24" fmla="*/ 0 w 12"/>
                  <a:gd name="T25" fmla="*/ 7 h 12"/>
                  <a:gd name="T26" fmla="*/ 0 w 12"/>
                  <a:gd name="T27" fmla="*/ 7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 h="12">
                    <a:moveTo>
                      <a:pt x="0" y="7"/>
                    </a:moveTo>
                    <a:lnTo>
                      <a:pt x="0" y="7"/>
                    </a:lnTo>
                    <a:lnTo>
                      <a:pt x="2" y="1"/>
                    </a:lnTo>
                    <a:lnTo>
                      <a:pt x="7" y="0"/>
                    </a:lnTo>
                    <a:lnTo>
                      <a:pt x="7" y="0"/>
                    </a:lnTo>
                    <a:lnTo>
                      <a:pt x="11" y="1"/>
                    </a:lnTo>
                    <a:lnTo>
                      <a:pt x="12" y="7"/>
                    </a:lnTo>
                    <a:lnTo>
                      <a:pt x="12" y="7"/>
                    </a:lnTo>
                    <a:lnTo>
                      <a:pt x="11" y="10"/>
                    </a:lnTo>
                    <a:lnTo>
                      <a:pt x="7" y="12"/>
                    </a:lnTo>
                    <a:lnTo>
                      <a:pt x="7" y="12"/>
                    </a:lnTo>
                    <a:lnTo>
                      <a:pt x="2" y="10"/>
                    </a:lnTo>
                    <a:lnTo>
                      <a:pt x="0" y="7"/>
                    </a:lnTo>
                    <a:lnTo>
                      <a:pt x="0" y="7"/>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914191">
                  <a:defRPr/>
                </a:pPr>
                <a:endParaRPr lang="en-US" sz="1764">
                  <a:solidFill>
                    <a:srgbClr val="FFFFFF"/>
                  </a:solidFill>
                  <a:latin typeface="Segoe UI"/>
                </a:endParaRPr>
              </a:p>
            </p:txBody>
          </p:sp>
          <p:sp>
            <p:nvSpPr>
              <p:cNvPr id="291" name="Rectangle 413"/>
              <p:cNvSpPr>
                <a:spLocks noChangeArrowheads="1"/>
              </p:cNvSpPr>
              <p:nvPr/>
            </p:nvSpPr>
            <p:spPr bwMode="auto">
              <a:xfrm>
                <a:off x="2967" y="1996"/>
                <a:ext cx="93" cy="2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29" tIns="44815" rIns="89629" bIns="44815" numCol="1" anchor="t" anchorCtr="0" compatLnSpc="1">
                <a:prstTxWarp prst="textNoShape">
                  <a:avLst/>
                </a:prstTxWarp>
              </a:bodyPr>
              <a:lstStyle/>
              <a:p>
                <a:pPr defTabSz="914191">
                  <a:defRPr/>
                </a:pPr>
                <a:endParaRPr lang="en-US" sz="1764">
                  <a:solidFill>
                    <a:srgbClr val="FFFFFF"/>
                  </a:solidFill>
                  <a:latin typeface="Segoe UI"/>
                </a:endParaRPr>
              </a:p>
            </p:txBody>
          </p:sp>
          <p:sp>
            <p:nvSpPr>
              <p:cNvPr id="292" name="Rectangle 414"/>
              <p:cNvSpPr>
                <a:spLocks noChangeArrowheads="1"/>
              </p:cNvSpPr>
              <p:nvPr/>
            </p:nvSpPr>
            <p:spPr bwMode="auto">
              <a:xfrm>
                <a:off x="2971" y="2000"/>
                <a:ext cx="3"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29" tIns="44815" rIns="89629" bIns="44815" numCol="1" anchor="t" anchorCtr="0" compatLnSpc="1">
                <a:prstTxWarp prst="textNoShape">
                  <a:avLst/>
                </a:prstTxWarp>
              </a:bodyPr>
              <a:lstStyle/>
              <a:p>
                <a:pPr defTabSz="914191">
                  <a:defRPr/>
                </a:pPr>
                <a:endParaRPr lang="en-US" sz="1764">
                  <a:solidFill>
                    <a:srgbClr val="FFFFFF"/>
                  </a:solidFill>
                  <a:latin typeface="Segoe UI"/>
                </a:endParaRPr>
              </a:p>
            </p:txBody>
          </p:sp>
          <p:sp>
            <p:nvSpPr>
              <p:cNvPr id="293" name="Rectangle 415"/>
              <p:cNvSpPr>
                <a:spLocks noChangeArrowheads="1"/>
              </p:cNvSpPr>
              <p:nvPr/>
            </p:nvSpPr>
            <p:spPr bwMode="auto">
              <a:xfrm>
                <a:off x="2977" y="2000"/>
                <a:ext cx="2"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29" tIns="44815" rIns="89629" bIns="44815" numCol="1" anchor="t" anchorCtr="0" compatLnSpc="1">
                <a:prstTxWarp prst="textNoShape">
                  <a:avLst/>
                </a:prstTxWarp>
              </a:bodyPr>
              <a:lstStyle/>
              <a:p>
                <a:pPr defTabSz="914191">
                  <a:defRPr/>
                </a:pPr>
                <a:endParaRPr lang="en-US" sz="1764">
                  <a:solidFill>
                    <a:srgbClr val="FFFFFF"/>
                  </a:solidFill>
                  <a:latin typeface="Segoe UI"/>
                </a:endParaRPr>
              </a:p>
            </p:txBody>
          </p:sp>
          <p:sp>
            <p:nvSpPr>
              <p:cNvPr id="294" name="Rectangle 416"/>
              <p:cNvSpPr>
                <a:spLocks noChangeArrowheads="1"/>
              </p:cNvSpPr>
              <p:nvPr/>
            </p:nvSpPr>
            <p:spPr bwMode="auto">
              <a:xfrm>
                <a:off x="2981" y="2000"/>
                <a:ext cx="3"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29" tIns="44815" rIns="89629" bIns="44815" numCol="1" anchor="t" anchorCtr="0" compatLnSpc="1">
                <a:prstTxWarp prst="textNoShape">
                  <a:avLst/>
                </a:prstTxWarp>
              </a:bodyPr>
              <a:lstStyle/>
              <a:p>
                <a:pPr defTabSz="914191">
                  <a:defRPr/>
                </a:pPr>
                <a:endParaRPr lang="en-US" sz="1764">
                  <a:solidFill>
                    <a:srgbClr val="FFFFFF"/>
                  </a:solidFill>
                  <a:latin typeface="Segoe UI"/>
                </a:endParaRPr>
              </a:p>
            </p:txBody>
          </p:sp>
          <p:sp>
            <p:nvSpPr>
              <p:cNvPr id="295" name="Rectangle 417"/>
              <p:cNvSpPr>
                <a:spLocks noChangeArrowheads="1"/>
              </p:cNvSpPr>
              <p:nvPr/>
            </p:nvSpPr>
            <p:spPr bwMode="auto">
              <a:xfrm>
                <a:off x="2986" y="2000"/>
                <a:ext cx="3"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29" tIns="44815" rIns="89629" bIns="44815" numCol="1" anchor="t" anchorCtr="0" compatLnSpc="1">
                <a:prstTxWarp prst="textNoShape">
                  <a:avLst/>
                </a:prstTxWarp>
              </a:bodyPr>
              <a:lstStyle/>
              <a:p>
                <a:pPr defTabSz="914191">
                  <a:defRPr/>
                </a:pPr>
                <a:endParaRPr lang="en-US" sz="1764">
                  <a:solidFill>
                    <a:srgbClr val="FFFFFF"/>
                  </a:solidFill>
                  <a:latin typeface="Segoe UI"/>
                </a:endParaRPr>
              </a:p>
            </p:txBody>
          </p:sp>
          <p:sp>
            <p:nvSpPr>
              <p:cNvPr id="296" name="Rectangle 418"/>
              <p:cNvSpPr>
                <a:spLocks noChangeArrowheads="1"/>
              </p:cNvSpPr>
              <p:nvPr/>
            </p:nvSpPr>
            <p:spPr bwMode="auto">
              <a:xfrm>
                <a:off x="2991" y="2000"/>
                <a:ext cx="4"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29" tIns="44815" rIns="89629" bIns="44815" numCol="1" anchor="t" anchorCtr="0" compatLnSpc="1">
                <a:prstTxWarp prst="textNoShape">
                  <a:avLst/>
                </a:prstTxWarp>
              </a:bodyPr>
              <a:lstStyle/>
              <a:p>
                <a:pPr defTabSz="914191">
                  <a:defRPr/>
                </a:pPr>
                <a:endParaRPr lang="en-US" sz="1764">
                  <a:solidFill>
                    <a:srgbClr val="FFFFFF"/>
                  </a:solidFill>
                  <a:latin typeface="Segoe UI"/>
                </a:endParaRPr>
              </a:p>
            </p:txBody>
          </p:sp>
          <p:sp>
            <p:nvSpPr>
              <p:cNvPr id="297" name="Rectangle 419"/>
              <p:cNvSpPr>
                <a:spLocks noChangeArrowheads="1"/>
              </p:cNvSpPr>
              <p:nvPr/>
            </p:nvSpPr>
            <p:spPr bwMode="auto">
              <a:xfrm>
                <a:off x="2997" y="2000"/>
                <a:ext cx="3"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29" tIns="44815" rIns="89629" bIns="44815" numCol="1" anchor="t" anchorCtr="0" compatLnSpc="1">
                <a:prstTxWarp prst="textNoShape">
                  <a:avLst/>
                </a:prstTxWarp>
              </a:bodyPr>
              <a:lstStyle/>
              <a:p>
                <a:pPr defTabSz="914191">
                  <a:defRPr/>
                </a:pPr>
                <a:endParaRPr lang="en-US" sz="1764">
                  <a:solidFill>
                    <a:srgbClr val="FFFFFF"/>
                  </a:solidFill>
                  <a:latin typeface="Segoe UI"/>
                </a:endParaRPr>
              </a:p>
            </p:txBody>
          </p:sp>
          <p:sp>
            <p:nvSpPr>
              <p:cNvPr id="298" name="Freeform 420"/>
              <p:cNvSpPr>
                <a:spLocks/>
              </p:cNvSpPr>
              <p:nvPr/>
            </p:nvSpPr>
            <p:spPr bwMode="auto">
              <a:xfrm>
                <a:off x="3045" y="2006"/>
                <a:ext cx="6" cy="6"/>
              </a:xfrm>
              <a:custGeom>
                <a:avLst/>
                <a:gdLst>
                  <a:gd name="T0" fmla="*/ 0 w 12"/>
                  <a:gd name="T1" fmla="*/ 5 h 10"/>
                  <a:gd name="T2" fmla="*/ 0 w 12"/>
                  <a:gd name="T3" fmla="*/ 5 h 10"/>
                  <a:gd name="T4" fmla="*/ 2 w 12"/>
                  <a:gd name="T5" fmla="*/ 1 h 10"/>
                  <a:gd name="T6" fmla="*/ 7 w 12"/>
                  <a:gd name="T7" fmla="*/ 0 h 10"/>
                  <a:gd name="T8" fmla="*/ 7 w 12"/>
                  <a:gd name="T9" fmla="*/ 0 h 10"/>
                  <a:gd name="T10" fmla="*/ 11 w 12"/>
                  <a:gd name="T11" fmla="*/ 1 h 10"/>
                  <a:gd name="T12" fmla="*/ 12 w 12"/>
                  <a:gd name="T13" fmla="*/ 5 h 10"/>
                  <a:gd name="T14" fmla="*/ 12 w 12"/>
                  <a:gd name="T15" fmla="*/ 5 h 10"/>
                  <a:gd name="T16" fmla="*/ 11 w 12"/>
                  <a:gd name="T17" fmla="*/ 9 h 10"/>
                  <a:gd name="T18" fmla="*/ 7 w 12"/>
                  <a:gd name="T19" fmla="*/ 10 h 10"/>
                  <a:gd name="T20" fmla="*/ 7 w 12"/>
                  <a:gd name="T21" fmla="*/ 10 h 10"/>
                  <a:gd name="T22" fmla="*/ 2 w 12"/>
                  <a:gd name="T23" fmla="*/ 9 h 10"/>
                  <a:gd name="T24" fmla="*/ 0 w 12"/>
                  <a:gd name="T25" fmla="*/ 5 h 10"/>
                  <a:gd name="T26" fmla="*/ 0 w 12"/>
                  <a:gd name="T27" fmla="*/ 5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 h="10">
                    <a:moveTo>
                      <a:pt x="0" y="5"/>
                    </a:moveTo>
                    <a:lnTo>
                      <a:pt x="0" y="5"/>
                    </a:lnTo>
                    <a:lnTo>
                      <a:pt x="2" y="1"/>
                    </a:lnTo>
                    <a:lnTo>
                      <a:pt x="7" y="0"/>
                    </a:lnTo>
                    <a:lnTo>
                      <a:pt x="7" y="0"/>
                    </a:lnTo>
                    <a:lnTo>
                      <a:pt x="11" y="1"/>
                    </a:lnTo>
                    <a:lnTo>
                      <a:pt x="12" y="5"/>
                    </a:lnTo>
                    <a:lnTo>
                      <a:pt x="12" y="5"/>
                    </a:lnTo>
                    <a:lnTo>
                      <a:pt x="11" y="9"/>
                    </a:lnTo>
                    <a:lnTo>
                      <a:pt x="7" y="10"/>
                    </a:lnTo>
                    <a:lnTo>
                      <a:pt x="7" y="10"/>
                    </a:lnTo>
                    <a:lnTo>
                      <a:pt x="2" y="9"/>
                    </a:lnTo>
                    <a:lnTo>
                      <a:pt x="0" y="5"/>
                    </a:lnTo>
                    <a:lnTo>
                      <a:pt x="0" y="5"/>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914191">
                  <a:defRPr/>
                </a:pPr>
                <a:endParaRPr lang="en-US" sz="1764">
                  <a:solidFill>
                    <a:srgbClr val="FFFFFF"/>
                  </a:solidFill>
                  <a:latin typeface="Segoe UI"/>
                </a:endParaRPr>
              </a:p>
            </p:txBody>
          </p:sp>
          <p:sp>
            <p:nvSpPr>
              <p:cNvPr id="299" name="Rectangle 421"/>
              <p:cNvSpPr>
                <a:spLocks noChangeArrowheads="1"/>
              </p:cNvSpPr>
              <p:nvPr/>
            </p:nvSpPr>
            <p:spPr bwMode="auto">
              <a:xfrm>
                <a:off x="2967" y="2028"/>
                <a:ext cx="93" cy="2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29" tIns="44815" rIns="89629" bIns="44815" numCol="1" anchor="t" anchorCtr="0" compatLnSpc="1">
                <a:prstTxWarp prst="textNoShape">
                  <a:avLst/>
                </a:prstTxWarp>
              </a:bodyPr>
              <a:lstStyle/>
              <a:p>
                <a:pPr defTabSz="914191">
                  <a:defRPr/>
                </a:pPr>
                <a:endParaRPr lang="en-US" sz="1764">
                  <a:solidFill>
                    <a:srgbClr val="FFFFFF"/>
                  </a:solidFill>
                  <a:latin typeface="Segoe UI"/>
                </a:endParaRPr>
              </a:p>
            </p:txBody>
          </p:sp>
          <p:sp>
            <p:nvSpPr>
              <p:cNvPr id="300" name="Rectangle 422"/>
              <p:cNvSpPr>
                <a:spLocks noChangeArrowheads="1"/>
              </p:cNvSpPr>
              <p:nvPr/>
            </p:nvSpPr>
            <p:spPr bwMode="auto">
              <a:xfrm>
                <a:off x="2971" y="2031"/>
                <a:ext cx="3" cy="1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29" tIns="44815" rIns="89629" bIns="44815" numCol="1" anchor="t" anchorCtr="0" compatLnSpc="1">
                <a:prstTxWarp prst="textNoShape">
                  <a:avLst/>
                </a:prstTxWarp>
              </a:bodyPr>
              <a:lstStyle/>
              <a:p>
                <a:pPr defTabSz="914191">
                  <a:defRPr/>
                </a:pPr>
                <a:endParaRPr lang="en-US" sz="1764">
                  <a:solidFill>
                    <a:srgbClr val="FFFFFF"/>
                  </a:solidFill>
                  <a:latin typeface="Segoe UI"/>
                </a:endParaRPr>
              </a:p>
            </p:txBody>
          </p:sp>
          <p:sp>
            <p:nvSpPr>
              <p:cNvPr id="301" name="Rectangle 423"/>
              <p:cNvSpPr>
                <a:spLocks noChangeArrowheads="1"/>
              </p:cNvSpPr>
              <p:nvPr/>
            </p:nvSpPr>
            <p:spPr bwMode="auto">
              <a:xfrm>
                <a:off x="2977" y="2031"/>
                <a:ext cx="2" cy="1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29" tIns="44815" rIns="89629" bIns="44815" numCol="1" anchor="t" anchorCtr="0" compatLnSpc="1">
                <a:prstTxWarp prst="textNoShape">
                  <a:avLst/>
                </a:prstTxWarp>
              </a:bodyPr>
              <a:lstStyle/>
              <a:p>
                <a:pPr defTabSz="914191">
                  <a:defRPr/>
                </a:pPr>
                <a:endParaRPr lang="en-US" sz="1764">
                  <a:solidFill>
                    <a:srgbClr val="FFFFFF"/>
                  </a:solidFill>
                  <a:latin typeface="Segoe UI"/>
                </a:endParaRPr>
              </a:p>
            </p:txBody>
          </p:sp>
          <p:sp>
            <p:nvSpPr>
              <p:cNvPr id="302" name="Rectangle 424"/>
              <p:cNvSpPr>
                <a:spLocks noChangeArrowheads="1"/>
              </p:cNvSpPr>
              <p:nvPr/>
            </p:nvSpPr>
            <p:spPr bwMode="auto">
              <a:xfrm>
                <a:off x="2981" y="2031"/>
                <a:ext cx="3" cy="1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29" tIns="44815" rIns="89629" bIns="44815" numCol="1" anchor="t" anchorCtr="0" compatLnSpc="1">
                <a:prstTxWarp prst="textNoShape">
                  <a:avLst/>
                </a:prstTxWarp>
              </a:bodyPr>
              <a:lstStyle/>
              <a:p>
                <a:pPr defTabSz="914191">
                  <a:defRPr/>
                </a:pPr>
                <a:endParaRPr lang="en-US" sz="1764">
                  <a:solidFill>
                    <a:srgbClr val="FFFFFF"/>
                  </a:solidFill>
                  <a:latin typeface="Segoe UI"/>
                </a:endParaRPr>
              </a:p>
            </p:txBody>
          </p:sp>
          <p:sp>
            <p:nvSpPr>
              <p:cNvPr id="303" name="Rectangle 425"/>
              <p:cNvSpPr>
                <a:spLocks noChangeArrowheads="1"/>
              </p:cNvSpPr>
              <p:nvPr/>
            </p:nvSpPr>
            <p:spPr bwMode="auto">
              <a:xfrm>
                <a:off x="2986" y="2031"/>
                <a:ext cx="3" cy="1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29" tIns="44815" rIns="89629" bIns="44815" numCol="1" anchor="t" anchorCtr="0" compatLnSpc="1">
                <a:prstTxWarp prst="textNoShape">
                  <a:avLst/>
                </a:prstTxWarp>
              </a:bodyPr>
              <a:lstStyle/>
              <a:p>
                <a:pPr defTabSz="914191">
                  <a:defRPr/>
                </a:pPr>
                <a:endParaRPr lang="en-US" sz="1764">
                  <a:solidFill>
                    <a:srgbClr val="FFFFFF"/>
                  </a:solidFill>
                  <a:latin typeface="Segoe UI"/>
                </a:endParaRPr>
              </a:p>
            </p:txBody>
          </p:sp>
          <p:sp>
            <p:nvSpPr>
              <p:cNvPr id="304" name="Rectangle 426"/>
              <p:cNvSpPr>
                <a:spLocks noChangeArrowheads="1"/>
              </p:cNvSpPr>
              <p:nvPr/>
            </p:nvSpPr>
            <p:spPr bwMode="auto">
              <a:xfrm>
                <a:off x="2991" y="2031"/>
                <a:ext cx="4" cy="1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29" tIns="44815" rIns="89629" bIns="44815" numCol="1" anchor="t" anchorCtr="0" compatLnSpc="1">
                <a:prstTxWarp prst="textNoShape">
                  <a:avLst/>
                </a:prstTxWarp>
              </a:bodyPr>
              <a:lstStyle/>
              <a:p>
                <a:pPr defTabSz="914191">
                  <a:defRPr/>
                </a:pPr>
                <a:endParaRPr lang="en-US" sz="1764">
                  <a:solidFill>
                    <a:srgbClr val="FFFFFF"/>
                  </a:solidFill>
                  <a:latin typeface="Segoe UI"/>
                </a:endParaRPr>
              </a:p>
            </p:txBody>
          </p:sp>
          <p:sp>
            <p:nvSpPr>
              <p:cNvPr id="305" name="Rectangle 427"/>
              <p:cNvSpPr>
                <a:spLocks noChangeArrowheads="1"/>
              </p:cNvSpPr>
              <p:nvPr/>
            </p:nvSpPr>
            <p:spPr bwMode="auto">
              <a:xfrm>
                <a:off x="2997" y="2031"/>
                <a:ext cx="3" cy="1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29" tIns="44815" rIns="89629" bIns="44815" numCol="1" anchor="t" anchorCtr="0" compatLnSpc="1">
                <a:prstTxWarp prst="textNoShape">
                  <a:avLst/>
                </a:prstTxWarp>
              </a:bodyPr>
              <a:lstStyle/>
              <a:p>
                <a:pPr defTabSz="914191">
                  <a:defRPr/>
                </a:pPr>
                <a:endParaRPr lang="en-US" sz="1764">
                  <a:solidFill>
                    <a:srgbClr val="FFFFFF"/>
                  </a:solidFill>
                  <a:latin typeface="Segoe UI"/>
                </a:endParaRPr>
              </a:p>
            </p:txBody>
          </p:sp>
          <p:sp>
            <p:nvSpPr>
              <p:cNvPr id="306" name="Freeform 428"/>
              <p:cNvSpPr>
                <a:spLocks/>
              </p:cNvSpPr>
              <p:nvPr/>
            </p:nvSpPr>
            <p:spPr bwMode="auto">
              <a:xfrm>
                <a:off x="3045" y="2036"/>
                <a:ext cx="6" cy="4"/>
              </a:xfrm>
              <a:custGeom>
                <a:avLst/>
                <a:gdLst>
                  <a:gd name="T0" fmla="*/ 0 w 12"/>
                  <a:gd name="T1" fmla="*/ 5 h 9"/>
                  <a:gd name="T2" fmla="*/ 0 w 12"/>
                  <a:gd name="T3" fmla="*/ 5 h 9"/>
                  <a:gd name="T4" fmla="*/ 2 w 12"/>
                  <a:gd name="T5" fmla="*/ 2 h 9"/>
                  <a:gd name="T6" fmla="*/ 7 w 12"/>
                  <a:gd name="T7" fmla="*/ 0 h 9"/>
                  <a:gd name="T8" fmla="*/ 7 w 12"/>
                  <a:gd name="T9" fmla="*/ 0 h 9"/>
                  <a:gd name="T10" fmla="*/ 11 w 12"/>
                  <a:gd name="T11" fmla="*/ 2 h 9"/>
                  <a:gd name="T12" fmla="*/ 12 w 12"/>
                  <a:gd name="T13" fmla="*/ 5 h 9"/>
                  <a:gd name="T14" fmla="*/ 12 w 12"/>
                  <a:gd name="T15" fmla="*/ 5 h 9"/>
                  <a:gd name="T16" fmla="*/ 11 w 12"/>
                  <a:gd name="T17" fmla="*/ 7 h 9"/>
                  <a:gd name="T18" fmla="*/ 7 w 12"/>
                  <a:gd name="T19" fmla="*/ 9 h 9"/>
                  <a:gd name="T20" fmla="*/ 7 w 12"/>
                  <a:gd name="T21" fmla="*/ 9 h 9"/>
                  <a:gd name="T22" fmla="*/ 2 w 12"/>
                  <a:gd name="T23" fmla="*/ 7 h 9"/>
                  <a:gd name="T24" fmla="*/ 0 w 12"/>
                  <a:gd name="T25" fmla="*/ 5 h 9"/>
                  <a:gd name="T26" fmla="*/ 0 w 12"/>
                  <a:gd name="T27" fmla="*/ 5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 h="9">
                    <a:moveTo>
                      <a:pt x="0" y="5"/>
                    </a:moveTo>
                    <a:lnTo>
                      <a:pt x="0" y="5"/>
                    </a:lnTo>
                    <a:lnTo>
                      <a:pt x="2" y="2"/>
                    </a:lnTo>
                    <a:lnTo>
                      <a:pt x="7" y="0"/>
                    </a:lnTo>
                    <a:lnTo>
                      <a:pt x="7" y="0"/>
                    </a:lnTo>
                    <a:lnTo>
                      <a:pt x="11" y="2"/>
                    </a:lnTo>
                    <a:lnTo>
                      <a:pt x="12" y="5"/>
                    </a:lnTo>
                    <a:lnTo>
                      <a:pt x="12" y="5"/>
                    </a:lnTo>
                    <a:lnTo>
                      <a:pt x="11" y="7"/>
                    </a:lnTo>
                    <a:lnTo>
                      <a:pt x="7" y="9"/>
                    </a:lnTo>
                    <a:lnTo>
                      <a:pt x="7" y="9"/>
                    </a:lnTo>
                    <a:lnTo>
                      <a:pt x="2" y="7"/>
                    </a:lnTo>
                    <a:lnTo>
                      <a:pt x="0" y="5"/>
                    </a:lnTo>
                    <a:lnTo>
                      <a:pt x="0" y="5"/>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914191">
                  <a:defRPr/>
                </a:pPr>
                <a:endParaRPr lang="en-US" sz="1764">
                  <a:solidFill>
                    <a:srgbClr val="FFFFFF"/>
                  </a:solidFill>
                  <a:latin typeface="Segoe UI"/>
                </a:endParaRPr>
              </a:p>
            </p:txBody>
          </p:sp>
          <p:sp>
            <p:nvSpPr>
              <p:cNvPr id="307" name="Rectangle 429"/>
              <p:cNvSpPr>
                <a:spLocks noChangeArrowheads="1"/>
              </p:cNvSpPr>
              <p:nvPr/>
            </p:nvSpPr>
            <p:spPr bwMode="auto">
              <a:xfrm>
                <a:off x="2967" y="2057"/>
                <a:ext cx="93" cy="2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29" tIns="44815" rIns="89629" bIns="44815" numCol="1" anchor="t" anchorCtr="0" compatLnSpc="1">
                <a:prstTxWarp prst="textNoShape">
                  <a:avLst/>
                </a:prstTxWarp>
              </a:bodyPr>
              <a:lstStyle/>
              <a:p>
                <a:pPr defTabSz="914191">
                  <a:defRPr/>
                </a:pPr>
                <a:endParaRPr lang="en-US" sz="1764">
                  <a:solidFill>
                    <a:srgbClr val="FFFFFF"/>
                  </a:solidFill>
                  <a:latin typeface="Segoe UI"/>
                </a:endParaRPr>
              </a:p>
            </p:txBody>
          </p:sp>
          <p:sp>
            <p:nvSpPr>
              <p:cNvPr id="308" name="Rectangle 430"/>
              <p:cNvSpPr>
                <a:spLocks noChangeArrowheads="1"/>
              </p:cNvSpPr>
              <p:nvPr/>
            </p:nvSpPr>
            <p:spPr bwMode="auto">
              <a:xfrm>
                <a:off x="2971" y="2060"/>
                <a:ext cx="3"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29" tIns="44815" rIns="89629" bIns="44815" numCol="1" anchor="t" anchorCtr="0" compatLnSpc="1">
                <a:prstTxWarp prst="textNoShape">
                  <a:avLst/>
                </a:prstTxWarp>
              </a:bodyPr>
              <a:lstStyle/>
              <a:p>
                <a:pPr defTabSz="914191">
                  <a:defRPr/>
                </a:pPr>
                <a:endParaRPr lang="en-US" sz="1764">
                  <a:solidFill>
                    <a:srgbClr val="FFFFFF"/>
                  </a:solidFill>
                  <a:latin typeface="Segoe UI"/>
                </a:endParaRPr>
              </a:p>
            </p:txBody>
          </p:sp>
          <p:sp>
            <p:nvSpPr>
              <p:cNvPr id="309" name="Rectangle 431"/>
              <p:cNvSpPr>
                <a:spLocks noChangeArrowheads="1"/>
              </p:cNvSpPr>
              <p:nvPr/>
            </p:nvSpPr>
            <p:spPr bwMode="auto">
              <a:xfrm>
                <a:off x="2977" y="2060"/>
                <a:ext cx="2"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29" tIns="44815" rIns="89629" bIns="44815" numCol="1" anchor="t" anchorCtr="0" compatLnSpc="1">
                <a:prstTxWarp prst="textNoShape">
                  <a:avLst/>
                </a:prstTxWarp>
              </a:bodyPr>
              <a:lstStyle/>
              <a:p>
                <a:pPr defTabSz="914191">
                  <a:defRPr/>
                </a:pPr>
                <a:endParaRPr lang="en-US" sz="1764">
                  <a:solidFill>
                    <a:srgbClr val="FFFFFF"/>
                  </a:solidFill>
                  <a:latin typeface="Segoe UI"/>
                </a:endParaRPr>
              </a:p>
            </p:txBody>
          </p:sp>
          <p:sp>
            <p:nvSpPr>
              <p:cNvPr id="310" name="Rectangle 432"/>
              <p:cNvSpPr>
                <a:spLocks noChangeArrowheads="1"/>
              </p:cNvSpPr>
              <p:nvPr/>
            </p:nvSpPr>
            <p:spPr bwMode="auto">
              <a:xfrm>
                <a:off x="2981" y="2060"/>
                <a:ext cx="3"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29" tIns="44815" rIns="89629" bIns="44815" numCol="1" anchor="t" anchorCtr="0" compatLnSpc="1">
                <a:prstTxWarp prst="textNoShape">
                  <a:avLst/>
                </a:prstTxWarp>
              </a:bodyPr>
              <a:lstStyle/>
              <a:p>
                <a:pPr defTabSz="914191">
                  <a:defRPr/>
                </a:pPr>
                <a:endParaRPr lang="en-US" sz="1764">
                  <a:solidFill>
                    <a:srgbClr val="FFFFFF"/>
                  </a:solidFill>
                  <a:latin typeface="Segoe UI"/>
                </a:endParaRPr>
              </a:p>
            </p:txBody>
          </p:sp>
          <p:sp>
            <p:nvSpPr>
              <p:cNvPr id="311" name="Rectangle 433"/>
              <p:cNvSpPr>
                <a:spLocks noChangeArrowheads="1"/>
              </p:cNvSpPr>
              <p:nvPr/>
            </p:nvSpPr>
            <p:spPr bwMode="auto">
              <a:xfrm>
                <a:off x="2986" y="2060"/>
                <a:ext cx="3"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29" tIns="44815" rIns="89629" bIns="44815" numCol="1" anchor="t" anchorCtr="0" compatLnSpc="1">
                <a:prstTxWarp prst="textNoShape">
                  <a:avLst/>
                </a:prstTxWarp>
              </a:bodyPr>
              <a:lstStyle/>
              <a:p>
                <a:pPr defTabSz="914191">
                  <a:defRPr/>
                </a:pPr>
                <a:endParaRPr lang="en-US" sz="1764">
                  <a:solidFill>
                    <a:srgbClr val="FFFFFF"/>
                  </a:solidFill>
                  <a:latin typeface="Segoe UI"/>
                </a:endParaRPr>
              </a:p>
            </p:txBody>
          </p:sp>
          <p:sp>
            <p:nvSpPr>
              <p:cNvPr id="312" name="Rectangle 434"/>
              <p:cNvSpPr>
                <a:spLocks noChangeArrowheads="1"/>
              </p:cNvSpPr>
              <p:nvPr/>
            </p:nvSpPr>
            <p:spPr bwMode="auto">
              <a:xfrm>
                <a:off x="2991" y="2060"/>
                <a:ext cx="4"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29" tIns="44815" rIns="89629" bIns="44815" numCol="1" anchor="t" anchorCtr="0" compatLnSpc="1">
                <a:prstTxWarp prst="textNoShape">
                  <a:avLst/>
                </a:prstTxWarp>
              </a:bodyPr>
              <a:lstStyle/>
              <a:p>
                <a:pPr defTabSz="914191">
                  <a:defRPr/>
                </a:pPr>
                <a:endParaRPr lang="en-US" sz="1764">
                  <a:solidFill>
                    <a:srgbClr val="FFFFFF"/>
                  </a:solidFill>
                  <a:latin typeface="Segoe UI"/>
                </a:endParaRPr>
              </a:p>
            </p:txBody>
          </p:sp>
          <p:sp>
            <p:nvSpPr>
              <p:cNvPr id="313" name="Rectangle 435"/>
              <p:cNvSpPr>
                <a:spLocks noChangeArrowheads="1"/>
              </p:cNvSpPr>
              <p:nvPr/>
            </p:nvSpPr>
            <p:spPr bwMode="auto">
              <a:xfrm>
                <a:off x="2997" y="2060"/>
                <a:ext cx="3"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29" tIns="44815" rIns="89629" bIns="44815" numCol="1" anchor="t" anchorCtr="0" compatLnSpc="1">
                <a:prstTxWarp prst="textNoShape">
                  <a:avLst/>
                </a:prstTxWarp>
              </a:bodyPr>
              <a:lstStyle/>
              <a:p>
                <a:pPr defTabSz="914191">
                  <a:defRPr/>
                </a:pPr>
                <a:endParaRPr lang="en-US" sz="1764">
                  <a:solidFill>
                    <a:srgbClr val="FFFFFF"/>
                  </a:solidFill>
                  <a:latin typeface="Segoe UI"/>
                </a:endParaRPr>
              </a:p>
            </p:txBody>
          </p:sp>
          <p:sp>
            <p:nvSpPr>
              <p:cNvPr id="314" name="Freeform 436"/>
              <p:cNvSpPr>
                <a:spLocks/>
              </p:cNvSpPr>
              <p:nvPr/>
            </p:nvSpPr>
            <p:spPr bwMode="auto">
              <a:xfrm>
                <a:off x="3045" y="2066"/>
                <a:ext cx="6" cy="6"/>
              </a:xfrm>
              <a:custGeom>
                <a:avLst/>
                <a:gdLst>
                  <a:gd name="T0" fmla="*/ 0 w 12"/>
                  <a:gd name="T1" fmla="*/ 6 h 13"/>
                  <a:gd name="T2" fmla="*/ 0 w 12"/>
                  <a:gd name="T3" fmla="*/ 6 h 13"/>
                  <a:gd name="T4" fmla="*/ 2 w 12"/>
                  <a:gd name="T5" fmla="*/ 2 h 13"/>
                  <a:gd name="T6" fmla="*/ 7 w 12"/>
                  <a:gd name="T7" fmla="*/ 0 h 13"/>
                  <a:gd name="T8" fmla="*/ 7 w 12"/>
                  <a:gd name="T9" fmla="*/ 0 h 13"/>
                  <a:gd name="T10" fmla="*/ 11 w 12"/>
                  <a:gd name="T11" fmla="*/ 2 h 13"/>
                  <a:gd name="T12" fmla="*/ 12 w 12"/>
                  <a:gd name="T13" fmla="*/ 6 h 13"/>
                  <a:gd name="T14" fmla="*/ 12 w 12"/>
                  <a:gd name="T15" fmla="*/ 6 h 13"/>
                  <a:gd name="T16" fmla="*/ 11 w 12"/>
                  <a:gd name="T17" fmla="*/ 11 h 13"/>
                  <a:gd name="T18" fmla="*/ 7 w 12"/>
                  <a:gd name="T19" fmla="*/ 13 h 13"/>
                  <a:gd name="T20" fmla="*/ 7 w 12"/>
                  <a:gd name="T21" fmla="*/ 13 h 13"/>
                  <a:gd name="T22" fmla="*/ 2 w 12"/>
                  <a:gd name="T23" fmla="*/ 11 h 13"/>
                  <a:gd name="T24" fmla="*/ 0 w 12"/>
                  <a:gd name="T25" fmla="*/ 6 h 13"/>
                  <a:gd name="T26" fmla="*/ 0 w 12"/>
                  <a:gd name="T27" fmla="*/ 6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 h="13">
                    <a:moveTo>
                      <a:pt x="0" y="6"/>
                    </a:moveTo>
                    <a:lnTo>
                      <a:pt x="0" y="6"/>
                    </a:lnTo>
                    <a:lnTo>
                      <a:pt x="2" y="2"/>
                    </a:lnTo>
                    <a:lnTo>
                      <a:pt x="7" y="0"/>
                    </a:lnTo>
                    <a:lnTo>
                      <a:pt x="7" y="0"/>
                    </a:lnTo>
                    <a:lnTo>
                      <a:pt x="11" y="2"/>
                    </a:lnTo>
                    <a:lnTo>
                      <a:pt x="12" y="6"/>
                    </a:lnTo>
                    <a:lnTo>
                      <a:pt x="12" y="6"/>
                    </a:lnTo>
                    <a:lnTo>
                      <a:pt x="11" y="11"/>
                    </a:lnTo>
                    <a:lnTo>
                      <a:pt x="7" y="13"/>
                    </a:lnTo>
                    <a:lnTo>
                      <a:pt x="7" y="13"/>
                    </a:lnTo>
                    <a:lnTo>
                      <a:pt x="2" y="11"/>
                    </a:lnTo>
                    <a:lnTo>
                      <a:pt x="0" y="6"/>
                    </a:lnTo>
                    <a:lnTo>
                      <a:pt x="0" y="6"/>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914191">
                  <a:defRPr/>
                </a:pPr>
                <a:endParaRPr lang="en-US" sz="1764">
                  <a:solidFill>
                    <a:srgbClr val="FFFFFF"/>
                  </a:solidFill>
                  <a:latin typeface="Segoe UI"/>
                </a:endParaRPr>
              </a:p>
            </p:txBody>
          </p:sp>
          <p:sp>
            <p:nvSpPr>
              <p:cNvPr id="315" name="Rectangle 437"/>
              <p:cNvSpPr>
                <a:spLocks noChangeArrowheads="1"/>
              </p:cNvSpPr>
              <p:nvPr/>
            </p:nvSpPr>
            <p:spPr bwMode="auto">
              <a:xfrm>
                <a:off x="2967" y="2087"/>
                <a:ext cx="93" cy="2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29" tIns="44815" rIns="89629" bIns="44815" numCol="1" anchor="t" anchorCtr="0" compatLnSpc="1">
                <a:prstTxWarp prst="textNoShape">
                  <a:avLst/>
                </a:prstTxWarp>
              </a:bodyPr>
              <a:lstStyle/>
              <a:p>
                <a:pPr defTabSz="914191">
                  <a:defRPr/>
                </a:pPr>
                <a:endParaRPr lang="en-US" sz="1764">
                  <a:solidFill>
                    <a:srgbClr val="FFFFFF"/>
                  </a:solidFill>
                  <a:latin typeface="Segoe UI"/>
                </a:endParaRPr>
              </a:p>
            </p:txBody>
          </p:sp>
          <p:sp>
            <p:nvSpPr>
              <p:cNvPr id="316" name="Rectangle 438"/>
              <p:cNvSpPr>
                <a:spLocks noChangeArrowheads="1"/>
              </p:cNvSpPr>
              <p:nvPr/>
            </p:nvSpPr>
            <p:spPr bwMode="auto">
              <a:xfrm>
                <a:off x="2971" y="2091"/>
                <a:ext cx="3"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29" tIns="44815" rIns="89629" bIns="44815" numCol="1" anchor="t" anchorCtr="0" compatLnSpc="1">
                <a:prstTxWarp prst="textNoShape">
                  <a:avLst/>
                </a:prstTxWarp>
              </a:bodyPr>
              <a:lstStyle/>
              <a:p>
                <a:pPr defTabSz="914191">
                  <a:defRPr/>
                </a:pPr>
                <a:endParaRPr lang="en-US" sz="1764">
                  <a:solidFill>
                    <a:srgbClr val="FFFFFF"/>
                  </a:solidFill>
                  <a:latin typeface="Segoe UI"/>
                </a:endParaRPr>
              </a:p>
            </p:txBody>
          </p:sp>
          <p:sp>
            <p:nvSpPr>
              <p:cNvPr id="317" name="Rectangle 439"/>
              <p:cNvSpPr>
                <a:spLocks noChangeArrowheads="1"/>
              </p:cNvSpPr>
              <p:nvPr/>
            </p:nvSpPr>
            <p:spPr bwMode="auto">
              <a:xfrm>
                <a:off x="2977" y="2091"/>
                <a:ext cx="2"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29" tIns="44815" rIns="89629" bIns="44815" numCol="1" anchor="t" anchorCtr="0" compatLnSpc="1">
                <a:prstTxWarp prst="textNoShape">
                  <a:avLst/>
                </a:prstTxWarp>
              </a:bodyPr>
              <a:lstStyle/>
              <a:p>
                <a:pPr defTabSz="914191">
                  <a:defRPr/>
                </a:pPr>
                <a:endParaRPr lang="en-US" sz="1764">
                  <a:solidFill>
                    <a:srgbClr val="FFFFFF"/>
                  </a:solidFill>
                  <a:latin typeface="Segoe UI"/>
                </a:endParaRPr>
              </a:p>
            </p:txBody>
          </p:sp>
          <p:sp>
            <p:nvSpPr>
              <p:cNvPr id="318" name="Rectangle 440"/>
              <p:cNvSpPr>
                <a:spLocks noChangeArrowheads="1"/>
              </p:cNvSpPr>
              <p:nvPr/>
            </p:nvSpPr>
            <p:spPr bwMode="auto">
              <a:xfrm>
                <a:off x="2981" y="2091"/>
                <a:ext cx="3"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29" tIns="44815" rIns="89629" bIns="44815" numCol="1" anchor="t" anchorCtr="0" compatLnSpc="1">
                <a:prstTxWarp prst="textNoShape">
                  <a:avLst/>
                </a:prstTxWarp>
              </a:bodyPr>
              <a:lstStyle/>
              <a:p>
                <a:pPr defTabSz="914191">
                  <a:defRPr/>
                </a:pPr>
                <a:endParaRPr lang="en-US" sz="1764">
                  <a:solidFill>
                    <a:srgbClr val="FFFFFF"/>
                  </a:solidFill>
                  <a:latin typeface="Segoe UI"/>
                </a:endParaRPr>
              </a:p>
            </p:txBody>
          </p:sp>
          <p:sp>
            <p:nvSpPr>
              <p:cNvPr id="319" name="Rectangle 441"/>
              <p:cNvSpPr>
                <a:spLocks noChangeArrowheads="1"/>
              </p:cNvSpPr>
              <p:nvPr/>
            </p:nvSpPr>
            <p:spPr bwMode="auto">
              <a:xfrm>
                <a:off x="2986" y="2091"/>
                <a:ext cx="3"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29" tIns="44815" rIns="89629" bIns="44815" numCol="1" anchor="t" anchorCtr="0" compatLnSpc="1">
                <a:prstTxWarp prst="textNoShape">
                  <a:avLst/>
                </a:prstTxWarp>
              </a:bodyPr>
              <a:lstStyle/>
              <a:p>
                <a:pPr defTabSz="914191">
                  <a:defRPr/>
                </a:pPr>
                <a:endParaRPr lang="en-US" sz="1764">
                  <a:solidFill>
                    <a:srgbClr val="FFFFFF"/>
                  </a:solidFill>
                  <a:latin typeface="Segoe UI"/>
                </a:endParaRPr>
              </a:p>
            </p:txBody>
          </p:sp>
          <p:sp>
            <p:nvSpPr>
              <p:cNvPr id="320" name="Rectangle 442"/>
              <p:cNvSpPr>
                <a:spLocks noChangeArrowheads="1"/>
              </p:cNvSpPr>
              <p:nvPr/>
            </p:nvSpPr>
            <p:spPr bwMode="auto">
              <a:xfrm>
                <a:off x="2991" y="2091"/>
                <a:ext cx="4"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29" tIns="44815" rIns="89629" bIns="44815" numCol="1" anchor="t" anchorCtr="0" compatLnSpc="1">
                <a:prstTxWarp prst="textNoShape">
                  <a:avLst/>
                </a:prstTxWarp>
              </a:bodyPr>
              <a:lstStyle/>
              <a:p>
                <a:pPr defTabSz="914191">
                  <a:defRPr/>
                </a:pPr>
                <a:endParaRPr lang="en-US" sz="1764">
                  <a:solidFill>
                    <a:srgbClr val="FFFFFF"/>
                  </a:solidFill>
                  <a:latin typeface="Segoe UI"/>
                </a:endParaRPr>
              </a:p>
            </p:txBody>
          </p:sp>
          <p:sp>
            <p:nvSpPr>
              <p:cNvPr id="321" name="Rectangle 443"/>
              <p:cNvSpPr>
                <a:spLocks noChangeArrowheads="1"/>
              </p:cNvSpPr>
              <p:nvPr/>
            </p:nvSpPr>
            <p:spPr bwMode="auto">
              <a:xfrm>
                <a:off x="2997" y="2091"/>
                <a:ext cx="3"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29" tIns="44815" rIns="89629" bIns="44815" numCol="1" anchor="t" anchorCtr="0" compatLnSpc="1">
                <a:prstTxWarp prst="textNoShape">
                  <a:avLst/>
                </a:prstTxWarp>
              </a:bodyPr>
              <a:lstStyle/>
              <a:p>
                <a:pPr defTabSz="914191">
                  <a:defRPr/>
                </a:pPr>
                <a:endParaRPr lang="en-US" sz="1764">
                  <a:solidFill>
                    <a:srgbClr val="FFFFFF"/>
                  </a:solidFill>
                  <a:latin typeface="Segoe UI"/>
                </a:endParaRPr>
              </a:p>
            </p:txBody>
          </p:sp>
          <p:sp>
            <p:nvSpPr>
              <p:cNvPr id="322" name="Freeform 444"/>
              <p:cNvSpPr>
                <a:spLocks/>
              </p:cNvSpPr>
              <p:nvPr/>
            </p:nvSpPr>
            <p:spPr bwMode="auto">
              <a:xfrm>
                <a:off x="3045" y="2096"/>
                <a:ext cx="6" cy="6"/>
              </a:xfrm>
              <a:custGeom>
                <a:avLst/>
                <a:gdLst>
                  <a:gd name="T0" fmla="*/ 0 w 12"/>
                  <a:gd name="T1" fmla="*/ 6 h 11"/>
                  <a:gd name="T2" fmla="*/ 0 w 12"/>
                  <a:gd name="T3" fmla="*/ 6 h 11"/>
                  <a:gd name="T4" fmla="*/ 2 w 12"/>
                  <a:gd name="T5" fmla="*/ 2 h 11"/>
                  <a:gd name="T6" fmla="*/ 7 w 12"/>
                  <a:gd name="T7" fmla="*/ 0 h 11"/>
                  <a:gd name="T8" fmla="*/ 7 w 12"/>
                  <a:gd name="T9" fmla="*/ 0 h 11"/>
                  <a:gd name="T10" fmla="*/ 11 w 12"/>
                  <a:gd name="T11" fmla="*/ 2 h 11"/>
                  <a:gd name="T12" fmla="*/ 12 w 12"/>
                  <a:gd name="T13" fmla="*/ 6 h 11"/>
                  <a:gd name="T14" fmla="*/ 12 w 12"/>
                  <a:gd name="T15" fmla="*/ 6 h 11"/>
                  <a:gd name="T16" fmla="*/ 11 w 12"/>
                  <a:gd name="T17" fmla="*/ 9 h 11"/>
                  <a:gd name="T18" fmla="*/ 7 w 12"/>
                  <a:gd name="T19" fmla="*/ 11 h 11"/>
                  <a:gd name="T20" fmla="*/ 7 w 12"/>
                  <a:gd name="T21" fmla="*/ 11 h 11"/>
                  <a:gd name="T22" fmla="*/ 2 w 12"/>
                  <a:gd name="T23" fmla="*/ 9 h 11"/>
                  <a:gd name="T24" fmla="*/ 0 w 12"/>
                  <a:gd name="T25" fmla="*/ 6 h 11"/>
                  <a:gd name="T26" fmla="*/ 0 w 12"/>
                  <a:gd name="T27" fmla="*/ 6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 h="11">
                    <a:moveTo>
                      <a:pt x="0" y="6"/>
                    </a:moveTo>
                    <a:lnTo>
                      <a:pt x="0" y="6"/>
                    </a:lnTo>
                    <a:lnTo>
                      <a:pt x="2" y="2"/>
                    </a:lnTo>
                    <a:lnTo>
                      <a:pt x="7" y="0"/>
                    </a:lnTo>
                    <a:lnTo>
                      <a:pt x="7" y="0"/>
                    </a:lnTo>
                    <a:lnTo>
                      <a:pt x="11" y="2"/>
                    </a:lnTo>
                    <a:lnTo>
                      <a:pt x="12" y="6"/>
                    </a:lnTo>
                    <a:lnTo>
                      <a:pt x="12" y="6"/>
                    </a:lnTo>
                    <a:lnTo>
                      <a:pt x="11" y="9"/>
                    </a:lnTo>
                    <a:lnTo>
                      <a:pt x="7" y="11"/>
                    </a:lnTo>
                    <a:lnTo>
                      <a:pt x="7" y="11"/>
                    </a:lnTo>
                    <a:lnTo>
                      <a:pt x="2" y="9"/>
                    </a:lnTo>
                    <a:lnTo>
                      <a:pt x="0" y="6"/>
                    </a:lnTo>
                    <a:lnTo>
                      <a:pt x="0" y="6"/>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914191">
                  <a:defRPr/>
                </a:pPr>
                <a:endParaRPr lang="en-US" sz="1764">
                  <a:solidFill>
                    <a:srgbClr val="FFFFFF"/>
                  </a:solidFill>
                  <a:latin typeface="Segoe UI"/>
                </a:endParaRPr>
              </a:p>
            </p:txBody>
          </p:sp>
          <p:sp>
            <p:nvSpPr>
              <p:cNvPr id="323" name="Rectangle 445"/>
              <p:cNvSpPr>
                <a:spLocks noChangeArrowheads="1"/>
              </p:cNvSpPr>
              <p:nvPr/>
            </p:nvSpPr>
            <p:spPr bwMode="auto">
              <a:xfrm>
                <a:off x="2949" y="1886"/>
                <a:ext cx="128" cy="268"/>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29" tIns="44815" rIns="89629" bIns="44815" numCol="1" anchor="t" anchorCtr="0" compatLnSpc="1">
                <a:prstTxWarp prst="textNoShape">
                  <a:avLst/>
                </a:prstTxWarp>
              </a:bodyPr>
              <a:lstStyle/>
              <a:p>
                <a:pPr defTabSz="914191">
                  <a:defRPr/>
                </a:pPr>
                <a:endParaRPr lang="en-US" sz="1764">
                  <a:solidFill>
                    <a:srgbClr val="FFFFFF"/>
                  </a:solidFill>
                  <a:latin typeface="Segoe UI"/>
                </a:endParaRPr>
              </a:p>
            </p:txBody>
          </p:sp>
          <p:sp>
            <p:nvSpPr>
              <p:cNvPr id="324" name="Rectangle 446"/>
              <p:cNvSpPr>
                <a:spLocks noChangeArrowheads="1"/>
              </p:cNvSpPr>
              <p:nvPr/>
            </p:nvSpPr>
            <p:spPr bwMode="auto">
              <a:xfrm>
                <a:off x="2961" y="1899"/>
                <a:ext cx="105" cy="233"/>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29" tIns="44815" rIns="89629" bIns="44815" numCol="1" anchor="t" anchorCtr="0" compatLnSpc="1">
                <a:prstTxWarp prst="textNoShape">
                  <a:avLst/>
                </a:prstTxWarp>
              </a:bodyPr>
              <a:lstStyle/>
              <a:p>
                <a:pPr defTabSz="914191">
                  <a:defRPr/>
                </a:pPr>
                <a:endParaRPr lang="en-US" sz="1764">
                  <a:solidFill>
                    <a:srgbClr val="FFFFFF"/>
                  </a:solidFill>
                  <a:latin typeface="Segoe UI"/>
                </a:endParaRPr>
              </a:p>
            </p:txBody>
          </p:sp>
          <p:sp>
            <p:nvSpPr>
              <p:cNvPr id="325" name="Rectangle 447"/>
              <p:cNvSpPr>
                <a:spLocks noChangeArrowheads="1"/>
              </p:cNvSpPr>
              <p:nvPr/>
            </p:nvSpPr>
            <p:spPr bwMode="auto">
              <a:xfrm>
                <a:off x="2967" y="1907"/>
                <a:ext cx="93" cy="2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29" tIns="44815" rIns="89629" bIns="44815" numCol="1" anchor="t" anchorCtr="0" compatLnSpc="1">
                <a:prstTxWarp prst="textNoShape">
                  <a:avLst/>
                </a:prstTxWarp>
              </a:bodyPr>
              <a:lstStyle/>
              <a:p>
                <a:pPr defTabSz="914191">
                  <a:defRPr/>
                </a:pPr>
                <a:endParaRPr lang="en-US" sz="1764">
                  <a:solidFill>
                    <a:srgbClr val="FFFFFF"/>
                  </a:solidFill>
                  <a:latin typeface="Segoe UI"/>
                </a:endParaRPr>
              </a:p>
            </p:txBody>
          </p:sp>
          <p:sp>
            <p:nvSpPr>
              <p:cNvPr id="326" name="Rectangle 448"/>
              <p:cNvSpPr>
                <a:spLocks noChangeArrowheads="1"/>
              </p:cNvSpPr>
              <p:nvPr/>
            </p:nvSpPr>
            <p:spPr bwMode="auto">
              <a:xfrm>
                <a:off x="2971" y="1909"/>
                <a:ext cx="3" cy="17"/>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29" tIns="44815" rIns="89629" bIns="44815" numCol="1" anchor="t" anchorCtr="0" compatLnSpc="1">
                <a:prstTxWarp prst="textNoShape">
                  <a:avLst/>
                </a:prstTxWarp>
              </a:bodyPr>
              <a:lstStyle/>
              <a:p>
                <a:pPr defTabSz="914191">
                  <a:defRPr/>
                </a:pPr>
                <a:endParaRPr lang="en-US" sz="1764">
                  <a:solidFill>
                    <a:srgbClr val="FFFFFF"/>
                  </a:solidFill>
                  <a:latin typeface="Segoe UI"/>
                </a:endParaRPr>
              </a:p>
            </p:txBody>
          </p:sp>
          <p:sp>
            <p:nvSpPr>
              <p:cNvPr id="327" name="Rectangle 449"/>
              <p:cNvSpPr>
                <a:spLocks noChangeArrowheads="1"/>
              </p:cNvSpPr>
              <p:nvPr/>
            </p:nvSpPr>
            <p:spPr bwMode="auto">
              <a:xfrm>
                <a:off x="2977" y="1909"/>
                <a:ext cx="2" cy="17"/>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29" tIns="44815" rIns="89629" bIns="44815" numCol="1" anchor="t" anchorCtr="0" compatLnSpc="1">
                <a:prstTxWarp prst="textNoShape">
                  <a:avLst/>
                </a:prstTxWarp>
              </a:bodyPr>
              <a:lstStyle/>
              <a:p>
                <a:pPr defTabSz="914191">
                  <a:defRPr/>
                </a:pPr>
                <a:endParaRPr lang="en-US" sz="1764">
                  <a:solidFill>
                    <a:srgbClr val="FFFFFF"/>
                  </a:solidFill>
                  <a:latin typeface="Segoe UI"/>
                </a:endParaRPr>
              </a:p>
            </p:txBody>
          </p:sp>
          <p:sp>
            <p:nvSpPr>
              <p:cNvPr id="328" name="Rectangle 450"/>
              <p:cNvSpPr>
                <a:spLocks noChangeArrowheads="1"/>
              </p:cNvSpPr>
              <p:nvPr/>
            </p:nvSpPr>
            <p:spPr bwMode="auto">
              <a:xfrm>
                <a:off x="2981" y="1909"/>
                <a:ext cx="3" cy="17"/>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29" tIns="44815" rIns="89629" bIns="44815" numCol="1" anchor="t" anchorCtr="0" compatLnSpc="1">
                <a:prstTxWarp prst="textNoShape">
                  <a:avLst/>
                </a:prstTxWarp>
              </a:bodyPr>
              <a:lstStyle/>
              <a:p>
                <a:pPr defTabSz="914191">
                  <a:defRPr/>
                </a:pPr>
                <a:endParaRPr lang="en-US" sz="1764">
                  <a:solidFill>
                    <a:srgbClr val="FFFFFF"/>
                  </a:solidFill>
                  <a:latin typeface="Segoe UI"/>
                </a:endParaRPr>
              </a:p>
            </p:txBody>
          </p:sp>
          <p:sp>
            <p:nvSpPr>
              <p:cNvPr id="329" name="Rectangle 451"/>
              <p:cNvSpPr>
                <a:spLocks noChangeArrowheads="1"/>
              </p:cNvSpPr>
              <p:nvPr/>
            </p:nvSpPr>
            <p:spPr bwMode="auto">
              <a:xfrm>
                <a:off x="2986" y="1909"/>
                <a:ext cx="3" cy="17"/>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29" tIns="44815" rIns="89629" bIns="44815" numCol="1" anchor="t" anchorCtr="0" compatLnSpc="1">
                <a:prstTxWarp prst="textNoShape">
                  <a:avLst/>
                </a:prstTxWarp>
              </a:bodyPr>
              <a:lstStyle/>
              <a:p>
                <a:pPr defTabSz="914191">
                  <a:defRPr/>
                </a:pPr>
                <a:endParaRPr lang="en-US" sz="1764">
                  <a:solidFill>
                    <a:srgbClr val="FFFFFF"/>
                  </a:solidFill>
                  <a:latin typeface="Segoe UI"/>
                </a:endParaRPr>
              </a:p>
            </p:txBody>
          </p:sp>
          <p:sp>
            <p:nvSpPr>
              <p:cNvPr id="330" name="Rectangle 452"/>
              <p:cNvSpPr>
                <a:spLocks noChangeArrowheads="1"/>
              </p:cNvSpPr>
              <p:nvPr/>
            </p:nvSpPr>
            <p:spPr bwMode="auto">
              <a:xfrm>
                <a:off x="2991" y="1909"/>
                <a:ext cx="4" cy="17"/>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29" tIns="44815" rIns="89629" bIns="44815" numCol="1" anchor="t" anchorCtr="0" compatLnSpc="1">
                <a:prstTxWarp prst="textNoShape">
                  <a:avLst/>
                </a:prstTxWarp>
              </a:bodyPr>
              <a:lstStyle/>
              <a:p>
                <a:pPr defTabSz="914191">
                  <a:defRPr/>
                </a:pPr>
                <a:endParaRPr lang="en-US" sz="1764">
                  <a:solidFill>
                    <a:srgbClr val="FFFFFF"/>
                  </a:solidFill>
                  <a:latin typeface="Segoe UI"/>
                </a:endParaRPr>
              </a:p>
            </p:txBody>
          </p:sp>
          <p:sp>
            <p:nvSpPr>
              <p:cNvPr id="331" name="Rectangle 453"/>
              <p:cNvSpPr>
                <a:spLocks noChangeArrowheads="1"/>
              </p:cNvSpPr>
              <p:nvPr/>
            </p:nvSpPr>
            <p:spPr bwMode="auto">
              <a:xfrm>
                <a:off x="2997" y="1909"/>
                <a:ext cx="3" cy="17"/>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29" tIns="44815" rIns="89629" bIns="44815" numCol="1" anchor="t" anchorCtr="0" compatLnSpc="1">
                <a:prstTxWarp prst="textNoShape">
                  <a:avLst/>
                </a:prstTxWarp>
              </a:bodyPr>
              <a:lstStyle/>
              <a:p>
                <a:pPr defTabSz="914191">
                  <a:defRPr/>
                </a:pPr>
                <a:endParaRPr lang="en-US" sz="1764">
                  <a:solidFill>
                    <a:srgbClr val="FFFFFF"/>
                  </a:solidFill>
                  <a:latin typeface="Segoe UI"/>
                </a:endParaRPr>
              </a:p>
            </p:txBody>
          </p:sp>
          <p:sp>
            <p:nvSpPr>
              <p:cNvPr id="332" name="Freeform 454"/>
              <p:cNvSpPr>
                <a:spLocks/>
              </p:cNvSpPr>
              <p:nvPr/>
            </p:nvSpPr>
            <p:spPr bwMode="auto">
              <a:xfrm>
                <a:off x="3045" y="1915"/>
                <a:ext cx="6" cy="7"/>
              </a:xfrm>
              <a:custGeom>
                <a:avLst/>
                <a:gdLst>
                  <a:gd name="T0" fmla="*/ 0 w 12"/>
                  <a:gd name="T1" fmla="*/ 7 h 15"/>
                  <a:gd name="T2" fmla="*/ 0 w 12"/>
                  <a:gd name="T3" fmla="*/ 7 h 15"/>
                  <a:gd name="T4" fmla="*/ 2 w 12"/>
                  <a:gd name="T5" fmla="*/ 2 h 15"/>
                  <a:gd name="T6" fmla="*/ 7 w 12"/>
                  <a:gd name="T7" fmla="*/ 0 h 15"/>
                  <a:gd name="T8" fmla="*/ 7 w 12"/>
                  <a:gd name="T9" fmla="*/ 0 h 15"/>
                  <a:gd name="T10" fmla="*/ 11 w 12"/>
                  <a:gd name="T11" fmla="*/ 2 h 15"/>
                  <a:gd name="T12" fmla="*/ 12 w 12"/>
                  <a:gd name="T13" fmla="*/ 7 h 15"/>
                  <a:gd name="T14" fmla="*/ 12 w 12"/>
                  <a:gd name="T15" fmla="*/ 7 h 15"/>
                  <a:gd name="T16" fmla="*/ 11 w 12"/>
                  <a:gd name="T17" fmla="*/ 13 h 15"/>
                  <a:gd name="T18" fmla="*/ 7 w 12"/>
                  <a:gd name="T19" fmla="*/ 15 h 15"/>
                  <a:gd name="T20" fmla="*/ 7 w 12"/>
                  <a:gd name="T21" fmla="*/ 15 h 15"/>
                  <a:gd name="T22" fmla="*/ 2 w 12"/>
                  <a:gd name="T23" fmla="*/ 13 h 15"/>
                  <a:gd name="T24" fmla="*/ 0 w 12"/>
                  <a:gd name="T25" fmla="*/ 7 h 15"/>
                  <a:gd name="T26" fmla="*/ 0 w 12"/>
                  <a:gd name="T27" fmla="*/ 7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 h="15">
                    <a:moveTo>
                      <a:pt x="0" y="7"/>
                    </a:moveTo>
                    <a:lnTo>
                      <a:pt x="0" y="7"/>
                    </a:lnTo>
                    <a:lnTo>
                      <a:pt x="2" y="2"/>
                    </a:lnTo>
                    <a:lnTo>
                      <a:pt x="7" y="0"/>
                    </a:lnTo>
                    <a:lnTo>
                      <a:pt x="7" y="0"/>
                    </a:lnTo>
                    <a:lnTo>
                      <a:pt x="11" y="2"/>
                    </a:lnTo>
                    <a:lnTo>
                      <a:pt x="12" y="7"/>
                    </a:lnTo>
                    <a:lnTo>
                      <a:pt x="12" y="7"/>
                    </a:lnTo>
                    <a:lnTo>
                      <a:pt x="11" y="13"/>
                    </a:lnTo>
                    <a:lnTo>
                      <a:pt x="7" y="15"/>
                    </a:lnTo>
                    <a:lnTo>
                      <a:pt x="7" y="15"/>
                    </a:lnTo>
                    <a:lnTo>
                      <a:pt x="2" y="13"/>
                    </a:lnTo>
                    <a:lnTo>
                      <a:pt x="0" y="7"/>
                    </a:lnTo>
                    <a:lnTo>
                      <a:pt x="0" y="7"/>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914191">
                  <a:defRPr/>
                </a:pPr>
                <a:endParaRPr lang="en-US" sz="1764">
                  <a:solidFill>
                    <a:srgbClr val="FFFFFF"/>
                  </a:solidFill>
                  <a:latin typeface="Segoe UI"/>
                </a:endParaRPr>
              </a:p>
            </p:txBody>
          </p:sp>
          <p:sp>
            <p:nvSpPr>
              <p:cNvPr id="333" name="Rectangle 455"/>
              <p:cNvSpPr>
                <a:spLocks noChangeArrowheads="1"/>
              </p:cNvSpPr>
              <p:nvPr/>
            </p:nvSpPr>
            <p:spPr bwMode="auto">
              <a:xfrm>
                <a:off x="2967" y="1935"/>
                <a:ext cx="93" cy="2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29" tIns="44815" rIns="89629" bIns="44815" numCol="1" anchor="t" anchorCtr="0" compatLnSpc="1">
                <a:prstTxWarp prst="textNoShape">
                  <a:avLst/>
                </a:prstTxWarp>
              </a:bodyPr>
              <a:lstStyle/>
              <a:p>
                <a:pPr defTabSz="914191">
                  <a:defRPr/>
                </a:pPr>
                <a:endParaRPr lang="en-US" sz="1764">
                  <a:solidFill>
                    <a:srgbClr val="FFFFFF"/>
                  </a:solidFill>
                  <a:latin typeface="Segoe UI"/>
                </a:endParaRPr>
              </a:p>
            </p:txBody>
          </p:sp>
          <p:sp>
            <p:nvSpPr>
              <p:cNvPr id="334" name="Rectangle 456"/>
              <p:cNvSpPr>
                <a:spLocks noChangeArrowheads="1"/>
              </p:cNvSpPr>
              <p:nvPr/>
            </p:nvSpPr>
            <p:spPr bwMode="auto">
              <a:xfrm>
                <a:off x="2971" y="1939"/>
                <a:ext cx="3"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29" tIns="44815" rIns="89629" bIns="44815" numCol="1" anchor="t" anchorCtr="0" compatLnSpc="1">
                <a:prstTxWarp prst="textNoShape">
                  <a:avLst/>
                </a:prstTxWarp>
              </a:bodyPr>
              <a:lstStyle/>
              <a:p>
                <a:pPr defTabSz="914191">
                  <a:defRPr/>
                </a:pPr>
                <a:endParaRPr lang="en-US" sz="1764">
                  <a:solidFill>
                    <a:srgbClr val="FFFFFF"/>
                  </a:solidFill>
                  <a:latin typeface="Segoe UI"/>
                </a:endParaRPr>
              </a:p>
            </p:txBody>
          </p:sp>
          <p:sp>
            <p:nvSpPr>
              <p:cNvPr id="335" name="Rectangle 457"/>
              <p:cNvSpPr>
                <a:spLocks noChangeArrowheads="1"/>
              </p:cNvSpPr>
              <p:nvPr/>
            </p:nvSpPr>
            <p:spPr bwMode="auto">
              <a:xfrm>
                <a:off x="2977" y="1939"/>
                <a:ext cx="2"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29" tIns="44815" rIns="89629" bIns="44815" numCol="1" anchor="t" anchorCtr="0" compatLnSpc="1">
                <a:prstTxWarp prst="textNoShape">
                  <a:avLst/>
                </a:prstTxWarp>
              </a:bodyPr>
              <a:lstStyle/>
              <a:p>
                <a:pPr defTabSz="914191">
                  <a:defRPr/>
                </a:pPr>
                <a:endParaRPr lang="en-US" sz="1764">
                  <a:solidFill>
                    <a:srgbClr val="FFFFFF"/>
                  </a:solidFill>
                  <a:latin typeface="Segoe UI"/>
                </a:endParaRPr>
              </a:p>
            </p:txBody>
          </p:sp>
          <p:sp>
            <p:nvSpPr>
              <p:cNvPr id="336" name="Rectangle 458"/>
              <p:cNvSpPr>
                <a:spLocks noChangeArrowheads="1"/>
              </p:cNvSpPr>
              <p:nvPr/>
            </p:nvSpPr>
            <p:spPr bwMode="auto">
              <a:xfrm>
                <a:off x="2981" y="1939"/>
                <a:ext cx="3"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29" tIns="44815" rIns="89629" bIns="44815" numCol="1" anchor="t" anchorCtr="0" compatLnSpc="1">
                <a:prstTxWarp prst="textNoShape">
                  <a:avLst/>
                </a:prstTxWarp>
              </a:bodyPr>
              <a:lstStyle/>
              <a:p>
                <a:pPr defTabSz="914191">
                  <a:defRPr/>
                </a:pPr>
                <a:endParaRPr lang="en-US" sz="1764">
                  <a:solidFill>
                    <a:srgbClr val="FFFFFF"/>
                  </a:solidFill>
                  <a:latin typeface="Segoe UI"/>
                </a:endParaRPr>
              </a:p>
            </p:txBody>
          </p:sp>
          <p:sp>
            <p:nvSpPr>
              <p:cNvPr id="337" name="Rectangle 459"/>
              <p:cNvSpPr>
                <a:spLocks noChangeArrowheads="1"/>
              </p:cNvSpPr>
              <p:nvPr/>
            </p:nvSpPr>
            <p:spPr bwMode="auto">
              <a:xfrm>
                <a:off x="2986" y="1939"/>
                <a:ext cx="3"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29" tIns="44815" rIns="89629" bIns="44815" numCol="1" anchor="t" anchorCtr="0" compatLnSpc="1">
                <a:prstTxWarp prst="textNoShape">
                  <a:avLst/>
                </a:prstTxWarp>
              </a:bodyPr>
              <a:lstStyle/>
              <a:p>
                <a:pPr defTabSz="914191">
                  <a:defRPr/>
                </a:pPr>
                <a:endParaRPr lang="en-US" sz="1764">
                  <a:solidFill>
                    <a:srgbClr val="FFFFFF"/>
                  </a:solidFill>
                  <a:latin typeface="Segoe UI"/>
                </a:endParaRPr>
              </a:p>
            </p:txBody>
          </p:sp>
          <p:sp>
            <p:nvSpPr>
              <p:cNvPr id="338" name="Rectangle 460"/>
              <p:cNvSpPr>
                <a:spLocks noChangeArrowheads="1"/>
              </p:cNvSpPr>
              <p:nvPr/>
            </p:nvSpPr>
            <p:spPr bwMode="auto">
              <a:xfrm>
                <a:off x="2991" y="1939"/>
                <a:ext cx="4"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29" tIns="44815" rIns="89629" bIns="44815" numCol="1" anchor="t" anchorCtr="0" compatLnSpc="1">
                <a:prstTxWarp prst="textNoShape">
                  <a:avLst/>
                </a:prstTxWarp>
              </a:bodyPr>
              <a:lstStyle/>
              <a:p>
                <a:pPr defTabSz="914191">
                  <a:defRPr/>
                </a:pPr>
                <a:endParaRPr lang="en-US" sz="1764">
                  <a:solidFill>
                    <a:srgbClr val="FFFFFF"/>
                  </a:solidFill>
                  <a:latin typeface="Segoe UI"/>
                </a:endParaRPr>
              </a:p>
            </p:txBody>
          </p:sp>
          <p:sp>
            <p:nvSpPr>
              <p:cNvPr id="339" name="Rectangle 461"/>
              <p:cNvSpPr>
                <a:spLocks noChangeArrowheads="1"/>
              </p:cNvSpPr>
              <p:nvPr/>
            </p:nvSpPr>
            <p:spPr bwMode="auto">
              <a:xfrm>
                <a:off x="2997" y="1939"/>
                <a:ext cx="3"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29" tIns="44815" rIns="89629" bIns="44815" numCol="1" anchor="t" anchorCtr="0" compatLnSpc="1">
                <a:prstTxWarp prst="textNoShape">
                  <a:avLst/>
                </a:prstTxWarp>
              </a:bodyPr>
              <a:lstStyle/>
              <a:p>
                <a:pPr defTabSz="914191">
                  <a:defRPr/>
                </a:pPr>
                <a:endParaRPr lang="en-US" sz="1764">
                  <a:solidFill>
                    <a:srgbClr val="FFFFFF"/>
                  </a:solidFill>
                  <a:latin typeface="Segoe UI"/>
                </a:endParaRPr>
              </a:p>
            </p:txBody>
          </p:sp>
          <p:sp>
            <p:nvSpPr>
              <p:cNvPr id="340" name="Freeform 462"/>
              <p:cNvSpPr>
                <a:spLocks/>
              </p:cNvSpPr>
              <p:nvPr/>
            </p:nvSpPr>
            <p:spPr bwMode="auto">
              <a:xfrm>
                <a:off x="3045" y="1945"/>
                <a:ext cx="6" cy="6"/>
              </a:xfrm>
              <a:custGeom>
                <a:avLst/>
                <a:gdLst>
                  <a:gd name="T0" fmla="*/ 0 w 12"/>
                  <a:gd name="T1" fmla="*/ 6 h 11"/>
                  <a:gd name="T2" fmla="*/ 0 w 12"/>
                  <a:gd name="T3" fmla="*/ 6 h 11"/>
                  <a:gd name="T4" fmla="*/ 2 w 12"/>
                  <a:gd name="T5" fmla="*/ 2 h 11"/>
                  <a:gd name="T6" fmla="*/ 7 w 12"/>
                  <a:gd name="T7" fmla="*/ 0 h 11"/>
                  <a:gd name="T8" fmla="*/ 7 w 12"/>
                  <a:gd name="T9" fmla="*/ 0 h 11"/>
                  <a:gd name="T10" fmla="*/ 11 w 12"/>
                  <a:gd name="T11" fmla="*/ 2 h 11"/>
                  <a:gd name="T12" fmla="*/ 12 w 12"/>
                  <a:gd name="T13" fmla="*/ 6 h 11"/>
                  <a:gd name="T14" fmla="*/ 12 w 12"/>
                  <a:gd name="T15" fmla="*/ 6 h 11"/>
                  <a:gd name="T16" fmla="*/ 11 w 12"/>
                  <a:gd name="T17" fmla="*/ 9 h 11"/>
                  <a:gd name="T18" fmla="*/ 7 w 12"/>
                  <a:gd name="T19" fmla="*/ 11 h 11"/>
                  <a:gd name="T20" fmla="*/ 7 w 12"/>
                  <a:gd name="T21" fmla="*/ 11 h 11"/>
                  <a:gd name="T22" fmla="*/ 2 w 12"/>
                  <a:gd name="T23" fmla="*/ 9 h 11"/>
                  <a:gd name="T24" fmla="*/ 0 w 12"/>
                  <a:gd name="T25" fmla="*/ 6 h 11"/>
                  <a:gd name="T26" fmla="*/ 0 w 12"/>
                  <a:gd name="T27" fmla="*/ 6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 h="11">
                    <a:moveTo>
                      <a:pt x="0" y="6"/>
                    </a:moveTo>
                    <a:lnTo>
                      <a:pt x="0" y="6"/>
                    </a:lnTo>
                    <a:lnTo>
                      <a:pt x="2" y="2"/>
                    </a:lnTo>
                    <a:lnTo>
                      <a:pt x="7" y="0"/>
                    </a:lnTo>
                    <a:lnTo>
                      <a:pt x="7" y="0"/>
                    </a:lnTo>
                    <a:lnTo>
                      <a:pt x="11" y="2"/>
                    </a:lnTo>
                    <a:lnTo>
                      <a:pt x="12" y="6"/>
                    </a:lnTo>
                    <a:lnTo>
                      <a:pt x="12" y="6"/>
                    </a:lnTo>
                    <a:lnTo>
                      <a:pt x="11" y="9"/>
                    </a:lnTo>
                    <a:lnTo>
                      <a:pt x="7" y="11"/>
                    </a:lnTo>
                    <a:lnTo>
                      <a:pt x="7" y="11"/>
                    </a:lnTo>
                    <a:lnTo>
                      <a:pt x="2" y="9"/>
                    </a:lnTo>
                    <a:lnTo>
                      <a:pt x="0" y="6"/>
                    </a:lnTo>
                    <a:lnTo>
                      <a:pt x="0" y="6"/>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914191">
                  <a:defRPr/>
                </a:pPr>
                <a:endParaRPr lang="en-US" sz="1764">
                  <a:solidFill>
                    <a:srgbClr val="FFFFFF"/>
                  </a:solidFill>
                  <a:latin typeface="Segoe UI"/>
                </a:endParaRPr>
              </a:p>
            </p:txBody>
          </p:sp>
          <p:sp>
            <p:nvSpPr>
              <p:cNvPr id="341" name="Rectangle 463"/>
              <p:cNvSpPr>
                <a:spLocks noChangeArrowheads="1"/>
              </p:cNvSpPr>
              <p:nvPr/>
            </p:nvSpPr>
            <p:spPr bwMode="auto">
              <a:xfrm>
                <a:off x="2967" y="1967"/>
                <a:ext cx="93" cy="2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29" tIns="44815" rIns="89629" bIns="44815" numCol="1" anchor="t" anchorCtr="0" compatLnSpc="1">
                <a:prstTxWarp prst="textNoShape">
                  <a:avLst/>
                </a:prstTxWarp>
              </a:bodyPr>
              <a:lstStyle/>
              <a:p>
                <a:pPr defTabSz="914191">
                  <a:defRPr/>
                </a:pPr>
                <a:endParaRPr lang="en-US" sz="1764">
                  <a:solidFill>
                    <a:srgbClr val="FFFFFF"/>
                  </a:solidFill>
                  <a:latin typeface="Segoe UI"/>
                </a:endParaRPr>
              </a:p>
            </p:txBody>
          </p:sp>
          <p:sp>
            <p:nvSpPr>
              <p:cNvPr id="342" name="Rectangle 464"/>
              <p:cNvSpPr>
                <a:spLocks noChangeArrowheads="1"/>
              </p:cNvSpPr>
              <p:nvPr/>
            </p:nvSpPr>
            <p:spPr bwMode="auto">
              <a:xfrm>
                <a:off x="2971" y="1970"/>
                <a:ext cx="3" cy="17"/>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29" tIns="44815" rIns="89629" bIns="44815" numCol="1" anchor="t" anchorCtr="0" compatLnSpc="1">
                <a:prstTxWarp prst="textNoShape">
                  <a:avLst/>
                </a:prstTxWarp>
              </a:bodyPr>
              <a:lstStyle/>
              <a:p>
                <a:pPr defTabSz="914191">
                  <a:defRPr/>
                </a:pPr>
                <a:endParaRPr lang="en-US" sz="1764">
                  <a:solidFill>
                    <a:srgbClr val="FFFFFF"/>
                  </a:solidFill>
                  <a:latin typeface="Segoe UI"/>
                </a:endParaRPr>
              </a:p>
            </p:txBody>
          </p:sp>
          <p:sp>
            <p:nvSpPr>
              <p:cNvPr id="343" name="Rectangle 465"/>
              <p:cNvSpPr>
                <a:spLocks noChangeArrowheads="1"/>
              </p:cNvSpPr>
              <p:nvPr/>
            </p:nvSpPr>
            <p:spPr bwMode="auto">
              <a:xfrm>
                <a:off x="2977" y="1970"/>
                <a:ext cx="2" cy="17"/>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29" tIns="44815" rIns="89629" bIns="44815" numCol="1" anchor="t" anchorCtr="0" compatLnSpc="1">
                <a:prstTxWarp prst="textNoShape">
                  <a:avLst/>
                </a:prstTxWarp>
              </a:bodyPr>
              <a:lstStyle/>
              <a:p>
                <a:pPr defTabSz="914191">
                  <a:defRPr/>
                </a:pPr>
                <a:endParaRPr lang="en-US" sz="1764">
                  <a:solidFill>
                    <a:srgbClr val="FFFFFF"/>
                  </a:solidFill>
                  <a:latin typeface="Segoe UI"/>
                </a:endParaRPr>
              </a:p>
            </p:txBody>
          </p:sp>
          <p:sp>
            <p:nvSpPr>
              <p:cNvPr id="344" name="Rectangle 466"/>
              <p:cNvSpPr>
                <a:spLocks noChangeArrowheads="1"/>
              </p:cNvSpPr>
              <p:nvPr/>
            </p:nvSpPr>
            <p:spPr bwMode="auto">
              <a:xfrm>
                <a:off x="2981" y="1970"/>
                <a:ext cx="3" cy="17"/>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29" tIns="44815" rIns="89629" bIns="44815" numCol="1" anchor="t" anchorCtr="0" compatLnSpc="1">
                <a:prstTxWarp prst="textNoShape">
                  <a:avLst/>
                </a:prstTxWarp>
              </a:bodyPr>
              <a:lstStyle/>
              <a:p>
                <a:pPr defTabSz="914191">
                  <a:defRPr/>
                </a:pPr>
                <a:endParaRPr lang="en-US" sz="1764">
                  <a:solidFill>
                    <a:srgbClr val="FFFFFF"/>
                  </a:solidFill>
                  <a:latin typeface="Segoe UI"/>
                </a:endParaRPr>
              </a:p>
            </p:txBody>
          </p:sp>
          <p:sp>
            <p:nvSpPr>
              <p:cNvPr id="345" name="Rectangle 467"/>
              <p:cNvSpPr>
                <a:spLocks noChangeArrowheads="1"/>
              </p:cNvSpPr>
              <p:nvPr/>
            </p:nvSpPr>
            <p:spPr bwMode="auto">
              <a:xfrm>
                <a:off x="2986" y="1970"/>
                <a:ext cx="3" cy="17"/>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29" tIns="44815" rIns="89629" bIns="44815" numCol="1" anchor="t" anchorCtr="0" compatLnSpc="1">
                <a:prstTxWarp prst="textNoShape">
                  <a:avLst/>
                </a:prstTxWarp>
              </a:bodyPr>
              <a:lstStyle/>
              <a:p>
                <a:pPr defTabSz="914191">
                  <a:defRPr/>
                </a:pPr>
                <a:endParaRPr lang="en-US" sz="1764">
                  <a:solidFill>
                    <a:srgbClr val="FFFFFF"/>
                  </a:solidFill>
                  <a:latin typeface="Segoe UI"/>
                </a:endParaRPr>
              </a:p>
            </p:txBody>
          </p:sp>
          <p:sp>
            <p:nvSpPr>
              <p:cNvPr id="346" name="Rectangle 468"/>
              <p:cNvSpPr>
                <a:spLocks noChangeArrowheads="1"/>
              </p:cNvSpPr>
              <p:nvPr/>
            </p:nvSpPr>
            <p:spPr bwMode="auto">
              <a:xfrm>
                <a:off x="2991" y="1970"/>
                <a:ext cx="4" cy="17"/>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29" tIns="44815" rIns="89629" bIns="44815" numCol="1" anchor="t" anchorCtr="0" compatLnSpc="1">
                <a:prstTxWarp prst="textNoShape">
                  <a:avLst/>
                </a:prstTxWarp>
              </a:bodyPr>
              <a:lstStyle/>
              <a:p>
                <a:pPr defTabSz="914191">
                  <a:defRPr/>
                </a:pPr>
                <a:endParaRPr lang="en-US" sz="1764">
                  <a:solidFill>
                    <a:srgbClr val="FFFFFF"/>
                  </a:solidFill>
                  <a:latin typeface="Segoe UI"/>
                </a:endParaRPr>
              </a:p>
            </p:txBody>
          </p:sp>
          <p:sp>
            <p:nvSpPr>
              <p:cNvPr id="347" name="Rectangle 469"/>
              <p:cNvSpPr>
                <a:spLocks noChangeArrowheads="1"/>
              </p:cNvSpPr>
              <p:nvPr/>
            </p:nvSpPr>
            <p:spPr bwMode="auto">
              <a:xfrm>
                <a:off x="2997" y="1970"/>
                <a:ext cx="3" cy="17"/>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29" tIns="44815" rIns="89629" bIns="44815" numCol="1" anchor="t" anchorCtr="0" compatLnSpc="1">
                <a:prstTxWarp prst="textNoShape">
                  <a:avLst/>
                </a:prstTxWarp>
              </a:bodyPr>
              <a:lstStyle/>
              <a:p>
                <a:pPr defTabSz="914191">
                  <a:defRPr/>
                </a:pPr>
                <a:endParaRPr lang="en-US" sz="1764">
                  <a:solidFill>
                    <a:srgbClr val="FFFFFF"/>
                  </a:solidFill>
                  <a:latin typeface="Segoe UI"/>
                </a:endParaRPr>
              </a:p>
            </p:txBody>
          </p:sp>
          <p:sp>
            <p:nvSpPr>
              <p:cNvPr id="348" name="Freeform 470"/>
              <p:cNvSpPr>
                <a:spLocks/>
              </p:cNvSpPr>
              <p:nvPr/>
            </p:nvSpPr>
            <p:spPr bwMode="auto">
              <a:xfrm>
                <a:off x="3045" y="1975"/>
                <a:ext cx="6" cy="6"/>
              </a:xfrm>
              <a:custGeom>
                <a:avLst/>
                <a:gdLst>
                  <a:gd name="T0" fmla="*/ 0 w 12"/>
                  <a:gd name="T1" fmla="*/ 7 h 12"/>
                  <a:gd name="T2" fmla="*/ 0 w 12"/>
                  <a:gd name="T3" fmla="*/ 7 h 12"/>
                  <a:gd name="T4" fmla="*/ 2 w 12"/>
                  <a:gd name="T5" fmla="*/ 1 h 12"/>
                  <a:gd name="T6" fmla="*/ 7 w 12"/>
                  <a:gd name="T7" fmla="*/ 0 h 12"/>
                  <a:gd name="T8" fmla="*/ 7 w 12"/>
                  <a:gd name="T9" fmla="*/ 0 h 12"/>
                  <a:gd name="T10" fmla="*/ 11 w 12"/>
                  <a:gd name="T11" fmla="*/ 1 h 12"/>
                  <a:gd name="T12" fmla="*/ 12 w 12"/>
                  <a:gd name="T13" fmla="*/ 7 h 12"/>
                  <a:gd name="T14" fmla="*/ 12 w 12"/>
                  <a:gd name="T15" fmla="*/ 7 h 12"/>
                  <a:gd name="T16" fmla="*/ 11 w 12"/>
                  <a:gd name="T17" fmla="*/ 10 h 12"/>
                  <a:gd name="T18" fmla="*/ 7 w 12"/>
                  <a:gd name="T19" fmla="*/ 12 h 12"/>
                  <a:gd name="T20" fmla="*/ 7 w 12"/>
                  <a:gd name="T21" fmla="*/ 12 h 12"/>
                  <a:gd name="T22" fmla="*/ 2 w 12"/>
                  <a:gd name="T23" fmla="*/ 10 h 12"/>
                  <a:gd name="T24" fmla="*/ 0 w 12"/>
                  <a:gd name="T25" fmla="*/ 7 h 12"/>
                  <a:gd name="T26" fmla="*/ 0 w 12"/>
                  <a:gd name="T27" fmla="*/ 7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 h="12">
                    <a:moveTo>
                      <a:pt x="0" y="7"/>
                    </a:moveTo>
                    <a:lnTo>
                      <a:pt x="0" y="7"/>
                    </a:lnTo>
                    <a:lnTo>
                      <a:pt x="2" y="1"/>
                    </a:lnTo>
                    <a:lnTo>
                      <a:pt x="7" y="0"/>
                    </a:lnTo>
                    <a:lnTo>
                      <a:pt x="7" y="0"/>
                    </a:lnTo>
                    <a:lnTo>
                      <a:pt x="11" y="1"/>
                    </a:lnTo>
                    <a:lnTo>
                      <a:pt x="12" y="7"/>
                    </a:lnTo>
                    <a:lnTo>
                      <a:pt x="12" y="7"/>
                    </a:lnTo>
                    <a:lnTo>
                      <a:pt x="11" y="10"/>
                    </a:lnTo>
                    <a:lnTo>
                      <a:pt x="7" y="12"/>
                    </a:lnTo>
                    <a:lnTo>
                      <a:pt x="7" y="12"/>
                    </a:lnTo>
                    <a:lnTo>
                      <a:pt x="2" y="10"/>
                    </a:lnTo>
                    <a:lnTo>
                      <a:pt x="0" y="7"/>
                    </a:lnTo>
                    <a:lnTo>
                      <a:pt x="0" y="7"/>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914191">
                  <a:defRPr/>
                </a:pPr>
                <a:endParaRPr lang="en-US" sz="1764">
                  <a:solidFill>
                    <a:srgbClr val="FFFFFF"/>
                  </a:solidFill>
                  <a:latin typeface="Segoe UI"/>
                </a:endParaRPr>
              </a:p>
            </p:txBody>
          </p:sp>
          <p:sp>
            <p:nvSpPr>
              <p:cNvPr id="349" name="Rectangle 471"/>
              <p:cNvSpPr>
                <a:spLocks noChangeArrowheads="1"/>
              </p:cNvSpPr>
              <p:nvPr/>
            </p:nvSpPr>
            <p:spPr bwMode="auto">
              <a:xfrm>
                <a:off x="2967" y="1996"/>
                <a:ext cx="93" cy="2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29" tIns="44815" rIns="89629" bIns="44815" numCol="1" anchor="t" anchorCtr="0" compatLnSpc="1">
                <a:prstTxWarp prst="textNoShape">
                  <a:avLst/>
                </a:prstTxWarp>
              </a:bodyPr>
              <a:lstStyle/>
              <a:p>
                <a:pPr defTabSz="914191">
                  <a:defRPr/>
                </a:pPr>
                <a:endParaRPr lang="en-US" sz="1764">
                  <a:solidFill>
                    <a:srgbClr val="FFFFFF"/>
                  </a:solidFill>
                  <a:latin typeface="Segoe UI"/>
                </a:endParaRPr>
              </a:p>
            </p:txBody>
          </p:sp>
          <p:sp>
            <p:nvSpPr>
              <p:cNvPr id="350" name="Rectangle 472"/>
              <p:cNvSpPr>
                <a:spLocks noChangeArrowheads="1"/>
              </p:cNvSpPr>
              <p:nvPr/>
            </p:nvSpPr>
            <p:spPr bwMode="auto">
              <a:xfrm>
                <a:off x="2971" y="2000"/>
                <a:ext cx="3"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29" tIns="44815" rIns="89629" bIns="44815" numCol="1" anchor="t" anchorCtr="0" compatLnSpc="1">
                <a:prstTxWarp prst="textNoShape">
                  <a:avLst/>
                </a:prstTxWarp>
              </a:bodyPr>
              <a:lstStyle/>
              <a:p>
                <a:pPr defTabSz="914191">
                  <a:defRPr/>
                </a:pPr>
                <a:endParaRPr lang="en-US" sz="1764">
                  <a:solidFill>
                    <a:srgbClr val="FFFFFF"/>
                  </a:solidFill>
                  <a:latin typeface="Segoe UI"/>
                </a:endParaRPr>
              </a:p>
            </p:txBody>
          </p:sp>
          <p:sp>
            <p:nvSpPr>
              <p:cNvPr id="351" name="Rectangle 473"/>
              <p:cNvSpPr>
                <a:spLocks noChangeArrowheads="1"/>
              </p:cNvSpPr>
              <p:nvPr/>
            </p:nvSpPr>
            <p:spPr bwMode="auto">
              <a:xfrm>
                <a:off x="2977" y="2000"/>
                <a:ext cx="2"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29" tIns="44815" rIns="89629" bIns="44815" numCol="1" anchor="t" anchorCtr="0" compatLnSpc="1">
                <a:prstTxWarp prst="textNoShape">
                  <a:avLst/>
                </a:prstTxWarp>
              </a:bodyPr>
              <a:lstStyle/>
              <a:p>
                <a:pPr defTabSz="914191">
                  <a:defRPr/>
                </a:pPr>
                <a:endParaRPr lang="en-US" sz="1764">
                  <a:solidFill>
                    <a:srgbClr val="FFFFFF"/>
                  </a:solidFill>
                  <a:latin typeface="Segoe UI"/>
                </a:endParaRPr>
              </a:p>
            </p:txBody>
          </p:sp>
          <p:sp>
            <p:nvSpPr>
              <p:cNvPr id="352" name="Rectangle 474"/>
              <p:cNvSpPr>
                <a:spLocks noChangeArrowheads="1"/>
              </p:cNvSpPr>
              <p:nvPr/>
            </p:nvSpPr>
            <p:spPr bwMode="auto">
              <a:xfrm>
                <a:off x="2981" y="2000"/>
                <a:ext cx="3"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29" tIns="44815" rIns="89629" bIns="44815" numCol="1" anchor="t" anchorCtr="0" compatLnSpc="1">
                <a:prstTxWarp prst="textNoShape">
                  <a:avLst/>
                </a:prstTxWarp>
              </a:bodyPr>
              <a:lstStyle/>
              <a:p>
                <a:pPr defTabSz="914191">
                  <a:defRPr/>
                </a:pPr>
                <a:endParaRPr lang="en-US" sz="1764">
                  <a:solidFill>
                    <a:srgbClr val="FFFFFF"/>
                  </a:solidFill>
                  <a:latin typeface="Segoe UI"/>
                </a:endParaRPr>
              </a:p>
            </p:txBody>
          </p:sp>
          <p:sp>
            <p:nvSpPr>
              <p:cNvPr id="353" name="Rectangle 475"/>
              <p:cNvSpPr>
                <a:spLocks noChangeArrowheads="1"/>
              </p:cNvSpPr>
              <p:nvPr/>
            </p:nvSpPr>
            <p:spPr bwMode="auto">
              <a:xfrm>
                <a:off x="2986" y="2000"/>
                <a:ext cx="3"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29" tIns="44815" rIns="89629" bIns="44815" numCol="1" anchor="t" anchorCtr="0" compatLnSpc="1">
                <a:prstTxWarp prst="textNoShape">
                  <a:avLst/>
                </a:prstTxWarp>
              </a:bodyPr>
              <a:lstStyle/>
              <a:p>
                <a:pPr defTabSz="914191">
                  <a:defRPr/>
                </a:pPr>
                <a:endParaRPr lang="en-US" sz="1764">
                  <a:solidFill>
                    <a:srgbClr val="FFFFFF"/>
                  </a:solidFill>
                  <a:latin typeface="Segoe UI"/>
                </a:endParaRPr>
              </a:p>
            </p:txBody>
          </p:sp>
          <p:sp>
            <p:nvSpPr>
              <p:cNvPr id="354" name="Rectangle 476"/>
              <p:cNvSpPr>
                <a:spLocks noChangeArrowheads="1"/>
              </p:cNvSpPr>
              <p:nvPr/>
            </p:nvSpPr>
            <p:spPr bwMode="auto">
              <a:xfrm>
                <a:off x="2991" y="2000"/>
                <a:ext cx="4"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29" tIns="44815" rIns="89629" bIns="44815" numCol="1" anchor="t" anchorCtr="0" compatLnSpc="1">
                <a:prstTxWarp prst="textNoShape">
                  <a:avLst/>
                </a:prstTxWarp>
              </a:bodyPr>
              <a:lstStyle/>
              <a:p>
                <a:pPr defTabSz="914191">
                  <a:defRPr/>
                </a:pPr>
                <a:endParaRPr lang="en-US" sz="1764">
                  <a:solidFill>
                    <a:srgbClr val="FFFFFF"/>
                  </a:solidFill>
                  <a:latin typeface="Segoe UI"/>
                </a:endParaRPr>
              </a:p>
            </p:txBody>
          </p:sp>
          <p:sp>
            <p:nvSpPr>
              <p:cNvPr id="355" name="Rectangle 477"/>
              <p:cNvSpPr>
                <a:spLocks noChangeArrowheads="1"/>
              </p:cNvSpPr>
              <p:nvPr/>
            </p:nvSpPr>
            <p:spPr bwMode="auto">
              <a:xfrm>
                <a:off x="2997" y="2000"/>
                <a:ext cx="3"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29" tIns="44815" rIns="89629" bIns="44815" numCol="1" anchor="t" anchorCtr="0" compatLnSpc="1">
                <a:prstTxWarp prst="textNoShape">
                  <a:avLst/>
                </a:prstTxWarp>
              </a:bodyPr>
              <a:lstStyle/>
              <a:p>
                <a:pPr defTabSz="914191">
                  <a:defRPr/>
                </a:pPr>
                <a:endParaRPr lang="en-US" sz="1764">
                  <a:solidFill>
                    <a:srgbClr val="FFFFFF"/>
                  </a:solidFill>
                  <a:latin typeface="Segoe UI"/>
                </a:endParaRPr>
              </a:p>
            </p:txBody>
          </p:sp>
          <p:sp>
            <p:nvSpPr>
              <p:cNvPr id="356" name="Freeform 478"/>
              <p:cNvSpPr>
                <a:spLocks/>
              </p:cNvSpPr>
              <p:nvPr/>
            </p:nvSpPr>
            <p:spPr bwMode="auto">
              <a:xfrm>
                <a:off x="3045" y="2006"/>
                <a:ext cx="6" cy="6"/>
              </a:xfrm>
              <a:custGeom>
                <a:avLst/>
                <a:gdLst>
                  <a:gd name="T0" fmla="*/ 0 w 12"/>
                  <a:gd name="T1" fmla="*/ 5 h 10"/>
                  <a:gd name="T2" fmla="*/ 0 w 12"/>
                  <a:gd name="T3" fmla="*/ 5 h 10"/>
                  <a:gd name="T4" fmla="*/ 2 w 12"/>
                  <a:gd name="T5" fmla="*/ 1 h 10"/>
                  <a:gd name="T6" fmla="*/ 7 w 12"/>
                  <a:gd name="T7" fmla="*/ 0 h 10"/>
                  <a:gd name="T8" fmla="*/ 7 w 12"/>
                  <a:gd name="T9" fmla="*/ 0 h 10"/>
                  <a:gd name="T10" fmla="*/ 11 w 12"/>
                  <a:gd name="T11" fmla="*/ 1 h 10"/>
                  <a:gd name="T12" fmla="*/ 12 w 12"/>
                  <a:gd name="T13" fmla="*/ 5 h 10"/>
                  <a:gd name="T14" fmla="*/ 12 w 12"/>
                  <a:gd name="T15" fmla="*/ 5 h 10"/>
                  <a:gd name="T16" fmla="*/ 11 w 12"/>
                  <a:gd name="T17" fmla="*/ 9 h 10"/>
                  <a:gd name="T18" fmla="*/ 7 w 12"/>
                  <a:gd name="T19" fmla="*/ 10 h 10"/>
                  <a:gd name="T20" fmla="*/ 7 w 12"/>
                  <a:gd name="T21" fmla="*/ 10 h 10"/>
                  <a:gd name="T22" fmla="*/ 2 w 12"/>
                  <a:gd name="T23" fmla="*/ 9 h 10"/>
                  <a:gd name="T24" fmla="*/ 0 w 12"/>
                  <a:gd name="T25" fmla="*/ 5 h 10"/>
                  <a:gd name="T26" fmla="*/ 0 w 12"/>
                  <a:gd name="T27" fmla="*/ 5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 h="10">
                    <a:moveTo>
                      <a:pt x="0" y="5"/>
                    </a:moveTo>
                    <a:lnTo>
                      <a:pt x="0" y="5"/>
                    </a:lnTo>
                    <a:lnTo>
                      <a:pt x="2" y="1"/>
                    </a:lnTo>
                    <a:lnTo>
                      <a:pt x="7" y="0"/>
                    </a:lnTo>
                    <a:lnTo>
                      <a:pt x="7" y="0"/>
                    </a:lnTo>
                    <a:lnTo>
                      <a:pt x="11" y="1"/>
                    </a:lnTo>
                    <a:lnTo>
                      <a:pt x="12" y="5"/>
                    </a:lnTo>
                    <a:lnTo>
                      <a:pt x="12" y="5"/>
                    </a:lnTo>
                    <a:lnTo>
                      <a:pt x="11" y="9"/>
                    </a:lnTo>
                    <a:lnTo>
                      <a:pt x="7" y="10"/>
                    </a:lnTo>
                    <a:lnTo>
                      <a:pt x="7" y="10"/>
                    </a:lnTo>
                    <a:lnTo>
                      <a:pt x="2" y="9"/>
                    </a:lnTo>
                    <a:lnTo>
                      <a:pt x="0" y="5"/>
                    </a:lnTo>
                    <a:lnTo>
                      <a:pt x="0" y="5"/>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914191">
                  <a:defRPr/>
                </a:pPr>
                <a:endParaRPr lang="en-US" sz="1764">
                  <a:solidFill>
                    <a:srgbClr val="FFFFFF"/>
                  </a:solidFill>
                  <a:latin typeface="Segoe UI"/>
                </a:endParaRPr>
              </a:p>
            </p:txBody>
          </p:sp>
          <p:sp>
            <p:nvSpPr>
              <p:cNvPr id="357" name="Rectangle 479"/>
              <p:cNvSpPr>
                <a:spLocks noChangeArrowheads="1"/>
              </p:cNvSpPr>
              <p:nvPr/>
            </p:nvSpPr>
            <p:spPr bwMode="auto">
              <a:xfrm>
                <a:off x="2967" y="2028"/>
                <a:ext cx="93" cy="2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29" tIns="44815" rIns="89629" bIns="44815" numCol="1" anchor="t" anchorCtr="0" compatLnSpc="1">
                <a:prstTxWarp prst="textNoShape">
                  <a:avLst/>
                </a:prstTxWarp>
              </a:bodyPr>
              <a:lstStyle/>
              <a:p>
                <a:pPr defTabSz="914191">
                  <a:defRPr/>
                </a:pPr>
                <a:endParaRPr lang="en-US" sz="1764">
                  <a:solidFill>
                    <a:srgbClr val="FFFFFF"/>
                  </a:solidFill>
                  <a:latin typeface="Segoe UI"/>
                </a:endParaRPr>
              </a:p>
            </p:txBody>
          </p:sp>
          <p:sp>
            <p:nvSpPr>
              <p:cNvPr id="358" name="Rectangle 480"/>
              <p:cNvSpPr>
                <a:spLocks noChangeArrowheads="1"/>
              </p:cNvSpPr>
              <p:nvPr/>
            </p:nvSpPr>
            <p:spPr bwMode="auto">
              <a:xfrm>
                <a:off x="2971" y="2031"/>
                <a:ext cx="3" cy="1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29" tIns="44815" rIns="89629" bIns="44815" numCol="1" anchor="t" anchorCtr="0" compatLnSpc="1">
                <a:prstTxWarp prst="textNoShape">
                  <a:avLst/>
                </a:prstTxWarp>
              </a:bodyPr>
              <a:lstStyle/>
              <a:p>
                <a:pPr defTabSz="914191">
                  <a:defRPr/>
                </a:pPr>
                <a:endParaRPr lang="en-US" sz="1764">
                  <a:solidFill>
                    <a:srgbClr val="FFFFFF"/>
                  </a:solidFill>
                  <a:latin typeface="Segoe UI"/>
                </a:endParaRPr>
              </a:p>
            </p:txBody>
          </p:sp>
          <p:sp>
            <p:nvSpPr>
              <p:cNvPr id="359" name="Rectangle 481"/>
              <p:cNvSpPr>
                <a:spLocks noChangeArrowheads="1"/>
              </p:cNvSpPr>
              <p:nvPr/>
            </p:nvSpPr>
            <p:spPr bwMode="auto">
              <a:xfrm>
                <a:off x="2977" y="2031"/>
                <a:ext cx="2" cy="1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29" tIns="44815" rIns="89629" bIns="44815" numCol="1" anchor="t" anchorCtr="0" compatLnSpc="1">
                <a:prstTxWarp prst="textNoShape">
                  <a:avLst/>
                </a:prstTxWarp>
              </a:bodyPr>
              <a:lstStyle/>
              <a:p>
                <a:pPr defTabSz="914191">
                  <a:defRPr/>
                </a:pPr>
                <a:endParaRPr lang="en-US" sz="1764">
                  <a:solidFill>
                    <a:srgbClr val="FFFFFF"/>
                  </a:solidFill>
                  <a:latin typeface="Segoe UI"/>
                </a:endParaRPr>
              </a:p>
            </p:txBody>
          </p:sp>
          <p:sp>
            <p:nvSpPr>
              <p:cNvPr id="360" name="Rectangle 482"/>
              <p:cNvSpPr>
                <a:spLocks noChangeArrowheads="1"/>
              </p:cNvSpPr>
              <p:nvPr/>
            </p:nvSpPr>
            <p:spPr bwMode="auto">
              <a:xfrm>
                <a:off x="2981" y="2031"/>
                <a:ext cx="3" cy="1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29" tIns="44815" rIns="89629" bIns="44815" numCol="1" anchor="t" anchorCtr="0" compatLnSpc="1">
                <a:prstTxWarp prst="textNoShape">
                  <a:avLst/>
                </a:prstTxWarp>
              </a:bodyPr>
              <a:lstStyle/>
              <a:p>
                <a:pPr defTabSz="914191">
                  <a:defRPr/>
                </a:pPr>
                <a:endParaRPr lang="en-US" sz="1764">
                  <a:solidFill>
                    <a:srgbClr val="FFFFFF"/>
                  </a:solidFill>
                  <a:latin typeface="Segoe UI"/>
                </a:endParaRPr>
              </a:p>
            </p:txBody>
          </p:sp>
          <p:sp>
            <p:nvSpPr>
              <p:cNvPr id="361" name="Rectangle 483"/>
              <p:cNvSpPr>
                <a:spLocks noChangeArrowheads="1"/>
              </p:cNvSpPr>
              <p:nvPr/>
            </p:nvSpPr>
            <p:spPr bwMode="auto">
              <a:xfrm>
                <a:off x="2986" y="2031"/>
                <a:ext cx="3" cy="1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29" tIns="44815" rIns="89629" bIns="44815" numCol="1" anchor="t" anchorCtr="0" compatLnSpc="1">
                <a:prstTxWarp prst="textNoShape">
                  <a:avLst/>
                </a:prstTxWarp>
              </a:bodyPr>
              <a:lstStyle/>
              <a:p>
                <a:pPr defTabSz="914191">
                  <a:defRPr/>
                </a:pPr>
                <a:endParaRPr lang="en-US" sz="1764">
                  <a:solidFill>
                    <a:srgbClr val="FFFFFF"/>
                  </a:solidFill>
                  <a:latin typeface="Segoe UI"/>
                </a:endParaRPr>
              </a:p>
            </p:txBody>
          </p:sp>
          <p:sp>
            <p:nvSpPr>
              <p:cNvPr id="362" name="Rectangle 484"/>
              <p:cNvSpPr>
                <a:spLocks noChangeArrowheads="1"/>
              </p:cNvSpPr>
              <p:nvPr/>
            </p:nvSpPr>
            <p:spPr bwMode="auto">
              <a:xfrm>
                <a:off x="2991" y="2031"/>
                <a:ext cx="4" cy="1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29" tIns="44815" rIns="89629" bIns="44815" numCol="1" anchor="t" anchorCtr="0" compatLnSpc="1">
                <a:prstTxWarp prst="textNoShape">
                  <a:avLst/>
                </a:prstTxWarp>
              </a:bodyPr>
              <a:lstStyle/>
              <a:p>
                <a:pPr defTabSz="914191">
                  <a:defRPr/>
                </a:pPr>
                <a:endParaRPr lang="en-US" sz="1764">
                  <a:solidFill>
                    <a:srgbClr val="FFFFFF"/>
                  </a:solidFill>
                  <a:latin typeface="Segoe UI"/>
                </a:endParaRPr>
              </a:p>
            </p:txBody>
          </p:sp>
          <p:sp>
            <p:nvSpPr>
              <p:cNvPr id="363" name="Rectangle 485"/>
              <p:cNvSpPr>
                <a:spLocks noChangeArrowheads="1"/>
              </p:cNvSpPr>
              <p:nvPr/>
            </p:nvSpPr>
            <p:spPr bwMode="auto">
              <a:xfrm>
                <a:off x="2997" y="2031"/>
                <a:ext cx="3" cy="1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29" tIns="44815" rIns="89629" bIns="44815" numCol="1" anchor="t" anchorCtr="0" compatLnSpc="1">
                <a:prstTxWarp prst="textNoShape">
                  <a:avLst/>
                </a:prstTxWarp>
              </a:bodyPr>
              <a:lstStyle/>
              <a:p>
                <a:pPr defTabSz="914191">
                  <a:defRPr/>
                </a:pPr>
                <a:endParaRPr lang="en-US" sz="1764">
                  <a:solidFill>
                    <a:srgbClr val="FFFFFF"/>
                  </a:solidFill>
                  <a:latin typeface="Segoe UI"/>
                </a:endParaRPr>
              </a:p>
            </p:txBody>
          </p:sp>
          <p:sp>
            <p:nvSpPr>
              <p:cNvPr id="364" name="Freeform 486"/>
              <p:cNvSpPr>
                <a:spLocks/>
              </p:cNvSpPr>
              <p:nvPr/>
            </p:nvSpPr>
            <p:spPr bwMode="auto">
              <a:xfrm>
                <a:off x="3045" y="2036"/>
                <a:ext cx="6" cy="4"/>
              </a:xfrm>
              <a:custGeom>
                <a:avLst/>
                <a:gdLst>
                  <a:gd name="T0" fmla="*/ 0 w 12"/>
                  <a:gd name="T1" fmla="*/ 5 h 9"/>
                  <a:gd name="T2" fmla="*/ 0 w 12"/>
                  <a:gd name="T3" fmla="*/ 5 h 9"/>
                  <a:gd name="T4" fmla="*/ 2 w 12"/>
                  <a:gd name="T5" fmla="*/ 2 h 9"/>
                  <a:gd name="T6" fmla="*/ 7 w 12"/>
                  <a:gd name="T7" fmla="*/ 0 h 9"/>
                  <a:gd name="T8" fmla="*/ 7 w 12"/>
                  <a:gd name="T9" fmla="*/ 0 h 9"/>
                  <a:gd name="T10" fmla="*/ 11 w 12"/>
                  <a:gd name="T11" fmla="*/ 2 h 9"/>
                  <a:gd name="T12" fmla="*/ 12 w 12"/>
                  <a:gd name="T13" fmla="*/ 5 h 9"/>
                  <a:gd name="T14" fmla="*/ 12 w 12"/>
                  <a:gd name="T15" fmla="*/ 5 h 9"/>
                  <a:gd name="T16" fmla="*/ 11 w 12"/>
                  <a:gd name="T17" fmla="*/ 7 h 9"/>
                  <a:gd name="T18" fmla="*/ 7 w 12"/>
                  <a:gd name="T19" fmla="*/ 9 h 9"/>
                  <a:gd name="T20" fmla="*/ 7 w 12"/>
                  <a:gd name="T21" fmla="*/ 9 h 9"/>
                  <a:gd name="T22" fmla="*/ 2 w 12"/>
                  <a:gd name="T23" fmla="*/ 7 h 9"/>
                  <a:gd name="T24" fmla="*/ 0 w 12"/>
                  <a:gd name="T25" fmla="*/ 5 h 9"/>
                  <a:gd name="T26" fmla="*/ 0 w 12"/>
                  <a:gd name="T27" fmla="*/ 5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 h="9">
                    <a:moveTo>
                      <a:pt x="0" y="5"/>
                    </a:moveTo>
                    <a:lnTo>
                      <a:pt x="0" y="5"/>
                    </a:lnTo>
                    <a:lnTo>
                      <a:pt x="2" y="2"/>
                    </a:lnTo>
                    <a:lnTo>
                      <a:pt x="7" y="0"/>
                    </a:lnTo>
                    <a:lnTo>
                      <a:pt x="7" y="0"/>
                    </a:lnTo>
                    <a:lnTo>
                      <a:pt x="11" y="2"/>
                    </a:lnTo>
                    <a:lnTo>
                      <a:pt x="12" y="5"/>
                    </a:lnTo>
                    <a:lnTo>
                      <a:pt x="12" y="5"/>
                    </a:lnTo>
                    <a:lnTo>
                      <a:pt x="11" y="7"/>
                    </a:lnTo>
                    <a:lnTo>
                      <a:pt x="7" y="9"/>
                    </a:lnTo>
                    <a:lnTo>
                      <a:pt x="7" y="9"/>
                    </a:lnTo>
                    <a:lnTo>
                      <a:pt x="2" y="7"/>
                    </a:lnTo>
                    <a:lnTo>
                      <a:pt x="0" y="5"/>
                    </a:lnTo>
                    <a:lnTo>
                      <a:pt x="0" y="5"/>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914191">
                  <a:defRPr/>
                </a:pPr>
                <a:endParaRPr lang="en-US" sz="1764">
                  <a:solidFill>
                    <a:srgbClr val="FFFFFF"/>
                  </a:solidFill>
                  <a:latin typeface="Segoe UI"/>
                </a:endParaRPr>
              </a:p>
            </p:txBody>
          </p:sp>
          <p:sp>
            <p:nvSpPr>
              <p:cNvPr id="365" name="Rectangle 487"/>
              <p:cNvSpPr>
                <a:spLocks noChangeArrowheads="1"/>
              </p:cNvSpPr>
              <p:nvPr/>
            </p:nvSpPr>
            <p:spPr bwMode="auto">
              <a:xfrm>
                <a:off x="2967" y="2057"/>
                <a:ext cx="93" cy="2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29" tIns="44815" rIns="89629" bIns="44815" numCol="1" anchor="t" anchorCtr="0" compatLnSpc="1">
                <a:prstTxWarp prst="textNoShape">
                  <a:avLst/>
                </a:prstTxWarp>
              </a:bodyPr>
              <a:lstStyle/>
              <a:p>
                <a:pPr defTabSz="914191">
                  <a:defRPr/>
                </a:pPr>
                <a:endParaRPr lang="en-US" sz="1764">
                  <a:solidFill>
                    <a:srgbClr val="FFFFFF"/>
                  </a:solidFill>
                  <a:latin typeface="Segoe UI"/>
                </a:endParaRPr>
              </a:p>
            </p:txBody>
          </p:sp>
          <p:sp>
            <p:nvSpPr>
              <p:cNvPr id="366" name="Rectangle 488"/>
              <p:cNvSpPr>
                <a:spLocks noChangeArrowheads="1"/>
              </p:cNvSpPr>
              <p:nvPr/>
            </p:nvSpPr>
            <p:spPr bwMode="auto">
              <a:xfrm>
                <a:off x="2971" y="2060"/>
                <a:ext cx="3"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29" tIns="44815" rIns="89629" bIns="44815" numCol="1" anchor="t" anchorCtr="0" compatLnSpc="1">
                <a:prstTxWarp prst="textNoShape">
                  <a:avLst/>
                </a:prstTxWarp>
              </a:bodyPr>
              <a:lstStyle/>
              <a:p>
                <a:pPr defTabSz="914191">
                  <a:defRPr/>
                </a:pPr>
                <a:endParaRPr lang="en-US" sz="1764">
                  <a:solidFill>
                    <a:srgbClr val="FFFFFF"/>
                  </a:solidFill>
                  <a:latin typeface="Segoe UI"/>
                </a:endParaRPr>
              </a:p>
            </p:txBody>
          </p:sp>
          <p:sp>
            <p:nvSpPr>
              <p:cNvPr id="367" name="Rectangle 489"/>
              <p:cNvSpPr>
                <a:spLocks noChangeArrowheads="1"/>
              </p:cNvSpPr>
              <p:nvPr/>
            </p:nvSpPr>
            <p:spPr bwMode="auto">
              <a:xfrm>
                <a:off x="2977" y="2060"/>
                <a:ext cx="2"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29" tIns="44815" rIns="89629" bIns="44815" numCol="1" anchor="t" anchorCtr="0" compatLnSpc="1">
                <a:prstTxWarp prst="textNoShape">
                  <a:avLst/>
                </a:prstTxWarp>
              </a:bodyPr>
              <a:lstStyle/>
              <a:p>
                <a:pPr defTabSz="914191">
                  <a:defRPr/>
                </a:pPr>
                <a:endParaRPr lang="en-US" sz="1764">
                  <a:solidFill>
                    <a:srgbClr val="FFFFFF"/>
                  </a:solidFill>
                  <a:latin typeface="Segoe UI"/>
                </a:endParaRPr>
              </a:p>
            </p:txBody>
          </p:sp>
          <p:sp>
            <p:nvSpPr>
              <p:cNvPr id="368" name="Rectangle 490"/>
              <p:cNvSpPr>
                <a:spLocks noChangeArrowheads="1"/>
              </p:cNvSpPr>
              <p:nvPr/>
            </p:nvSpPr>
            <p:spPr bwMode="auto">
              <a:xfrm>
                <a:off x="2981" y="2060"/>
                <a:ext cx="3"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29" tIns="44815" rIns="89629" bIns="44815" numCol="1" anchor="t" anchorCtr="0" compatLnSpc="1">
                <a:prstTxWarp prst="textNoShape">
                  <a:avLst/>
                </a:prstTxWarp>
              </a:bodyPr>
              <a:lstStyle/>
              <a:p>
                <a:pPr defTabSz="914191">
                  <a:defRPr/>
                </a:pPr>
                <a:endParaRPr lang="en-US" sz="1764">
                  <a:solidFill>
                    <a:srgbClr val="FFFFFF"/>
                  </a:solidFill>
                  <a:latin typeface="Segoe UI"/>
                </a:endParaRPr>
              </a:p>
            </p:txBody>
          </p:sp>
          <p:sp>
            <p:nvSpPr>
              <p:cNvPr id="369" name="Rectangle 491"/>
              <p:cNvSpPr>
                <a:spLocks noChangeArrowheads="1"/>
              </p:cNvSpPr>
              <p:nvPr/>
            </p:nvSpPr>
            <p:spPr bwMode="auto">
              <a:xfrm>
                <a:off x="2986" y="2060"/>
                <a:ext cx="3"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29" tIns="44815" rIns="89629" bIns="44815" numCol="1" anchor="t" anchorCtr="0" compatLnSpc="1">
                <a:prstTxWarp prst="textNoShape">
                  <a:avLst/>
                </a:prstTxWarp>
              </a:bodyPr>
              <a:lstStyle/>
              <a:p>
                <a:pPr defTabSz="914191">
                  <a:defRPr/>
                </a:pPr>
                <a:endParaRPr lang="en-US" sz="1764">
                  <a:solidFill>
                    <a:srgbClr val="FFFFFF"/>
                  </a:solidFill>
                  <a:latin typeface="Segoe UI"/>
                </a:endParaRPr>
              </a:p>
            </p:txBody>
          </p:sp>
          <p:sp>
            <p:nvSpPr>
              <p:cNvPr id="370" name="Rectangle 492"/>
              <p:cNvSpPr>
                <a:spLocks noChangeArrowheads="1"/>
              </p:cNvSpPr>
              <p:nvPr/>
            </p:nvSpPr>
            <p:spPr bwMode="auto">
              <a:xfrm>
                <a:off x="2991" y="2060"/>
                <a:ext cx="4"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29" tIns="44815" rIns="89629" bIns="44815" numCol="1" anchor="t" anchorCtr="0" compatLnSpc="1">
                <a:prstTxWarp prst="textNoShape">
                  <a:avLst/>
                </a:prstTxWarp>
              </a:bodyPr>
              <a:lstStyle/>
              <a:p>
                <a:pPr defTabSz="914191">
                  <a:defRPr/>
                </a:pPr>
                <a:endParaRPr lang="en-US" sz="1764">
                  <a:solidFill>
                    <a:srgbClr val="FFFFFF"/>
                  </a:solidFill>
                  <a:latin typeface="Segoe UI"/>
                </a:endParaRPr>
              </a:p>
            </p:txBody>
          </p:sp>
          <p:sp>
            <p:nvSpPr>
              <p:cNvPr id="371" name="Rectangle 493"/>
              <p:cNvSpPr>
                <a:spLocks noChangeArrowheads="1"/>
              </p:cNvSpPr>
              <p:nvPr/>
            </p:nvSpPr>
            <p:spPr bwMode="auto">
              <a:xfrm>
                <a:off x="2997" y="2060"/>
                <a:ext cx="3"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29" tIns="44815" rIns="89629" bIns="44815" numCol="1" anchor="t" anchorCtr="0" compatLnSpc="1">
                <a:prstTxWarp prst="textNoShape">
                  <a:avLst/>
                </a:prstTxWarp>
              </a:bodyPr>
              <a:lstStyle/>
              <a:p>
                <a:pPr defTabSz="914191">
                  <a:defRPr/>
                </a:pPr>
                <a:endParaRPr lang="en-US" sz="1764">
                  <a:solidFill>
                    <a:srgbClr val="FFFFFF"/>
                  </a:solidFill>
                  <a:latin typeface="Segoe UI"/>
                </a:endParaRPr>
              </a:p>
            </p:txBody>
          </p:sp>
          <p:sp>
            <p:nvSpPr>
              <p:cNvPr id="372" name="Freeform 494"/>
              <p:cNvSpPr>
                <a:spLocks/>
              </p:cNvSpPr>
              <p:nvPr/>
            </p:nvSpPr>
            <p:spPr bwMode="auto">
              <a:xfrm>
                <a:off x="3045" y="2066"/>
                <a:ext cx="6" cy="6"/>
              </a:xfrm>
              <a:custGeom>
                <a:avLst/>
                <a:gdLst>
                  <a:gd name="T0" fmla="*/ 0 w 12"/>
                  <a:gd name="T1" fmla="*/ 6 h 13"/>
                  <a:gd name="T2" fmla="*/ 0 w 12"/>
                  <a:gd name="T3" fmla="*/ 6 h 13"/>
                  <a:gd name="T4" fmla="*/ 2 w 12"/>
                  <a:gd name="T5" fmla="*/ 2 h 13"/>
                  <a:gd name="T6" fmla="*/ 7 w 12"/>
                  <a:gd name="T7" fmla="*/ 0 h 13"/>
                  <a:gd name="T8" fmla="*/ 7 w 12"/>
                  <a:gd name="T9" fmla="*/ 0 h 13"/>
                  <a:gd name="T10" fmla="*/ 11 w 12"/>
                  <a:gd name="T11" fmla="*/ 2 h 13"/>
                  <a:gd name="T12" fmla="*/ 12 w 12"/>
                  <a:gd name="T13" fmla="*/ 6 h 13"/>
                  <a:gd name="T14" fmla="*/ 12 w 12"/>
                  <a:gd name="T15" fmla="*/ 6 h 13"/>
                  <a:gd name="T16" fmla="*/ 11 w 12"/>
                  <a:gd name="T17" fmla="*/ 11 h 13"/>
                  <a:gd name="T18" fmla="*/ 7 w 12"/>
                  <a:gd name="T19" fmla="*/ 13 h 13"/>
                  <a:gd name="T20" fmla="*/ 7 w 12"/>
                  <a:gd name="T21" fmla="*/ 13 h 13"/>
                  <a:gd name="T22" fmla="*/ 2 w 12"/>
                  <a:gd name="T23" fmla="*/ 11 h 13"/>
                  <a:gd name="T24" fmla="*/ 0 w 12"/>
                  <a:gd name="T25" fmla="*/ 6 h 13"/>
                  <a:gd name="T26" fmla="*/ 0 w 12"/>
                  <a:gd name="T27" fmla="*/ 6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 h="13">
                    <a:moveTo>
                      <a:pt x="0" y="6"/>
                    </a:moveTo>
                    <a:lnTo>
                      <a:pt x="0" y="6"/>
                    </a:lnTo>
                    <a:lnTo>
                      <a:pt x="2" y="2"/>
                    </a:lnTo>
                    <a:lnTo>
                      <a:pt x="7" y="0"/>
                    </a:lnTo>
                    <a:lnTo>
                      <a:pt x="7" y="0"/>
                    </a:lnTo>
                    <a:lnTo>
                      <a:pt x="11" y="2"/>
                    </a:lnTo>
                    <a:lnTo>
                      <a:pt x="12" y="6"/>
                    </a:lnTo>
                    <a:lnTo>
                      <a:pt x="12" y="6"/>
                    </a:lnTo>
                    <a:lnTo>
                      <a:pt x="11" y="11"/>
                    </a:lnTo>
                    <a:lnTo>
                      <a:pt x="7" y="13"/>
                    </a:lnTo>
                    <a:lnTo>
                      <a:pt x="7" y="13"/>
                    </a:lnTo>
                    <a:lnTo>
                      <a:pt x="2" y="11"/>
                    </a:lnTo>
                    <a:lnTo>
                      <a:pt x="0" y="6"/>
                    </a:lnTo>
                    <a:lnTo>
                      <a:pt x="0" y="6"/>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914191">
                  <a:defRPr/>
                </a:pPr>
                <a:endParaRPr lang="en-US" sz="1764">
                  <a:solidFill>
                    <a:srgbClr val="FFFFFF"/>
                  </a:solidFill>
                  <a:latin typeface="Segoe UI"/>
                </a:endParaRPr>
              </a:p>
            </p:txBody>
          </p:sp>
          <p:sp>
            <p:nvSpPr>
              <p:cNvPr id="373" name="Rectangle 495"/>
              <p:cNvSpPr>
                <a:spLocks noChangeArrowheads="1"/>
              </p:cNvSpPr>
              <p:nvPr/>
            </p:nvSpPr>
            <p:spPr bwMode="auto">
              <a:xfrm>
                <a:off x="2967" y="2087"/>
                <a:ext cx="93" cy="2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29" tIns="44815" rIns="89629" bIns="44815" numCol="1" anchor="t" anchorCtr="0" compatLnSpc="1">
                <a:prstTxWarp prst="textNoShape">
                  <a:avLst/>
                </a:prstTxWarp>
              </a:bodyPr>
              <a:lstStyle/>
              <a:p>
                <a:pPr defTabSz="914191">
                  <a:defRPr/>
                </a:pPr>
                <a:endParaRPr lang="en-US" sz="1764">
                  <a:solidFill>
                    <a:srgbClr val="FFFFFF"/>
                  </a:solidFill>
                  <a:latin typeface="Segoe UI"/>
                </a:endParaRPr>
              </a:p>
            </p:txBody>
          </p:sp>
          <p:sp>
            <p:nvSpPr>
              <p:cNvPr id="374" name="Rectangle 496"/>
              <p:cNvSpPr>
                <a:spLocks noChangeArrowheads="1"/>
              </p:cNvSpPr>
              <p:nvPr/>
            </p:nvSpPr>
            <p:spPr bwMode="auto">
              <a:xfrm>
                <a:off x="2971" y="2091"/>
                <a:ext cx="3"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29" tIns="44815" rIns="89629" bIns="44815" numCol="1" anchor="t" anchorCtr="0" compatLnSpc="1">
                <a:prstTxWarp prst="textNoShape">
                  <a:avLst/>
                </a:prstTxWarp>
              </a:bodyPr>
              <a:lstStyle/>
              <a:p>
                <a:pPr defTabSz="914191">
                  <a:defRPr/>
                </a:pPr>
                <a:endParaRPr lang="en-US" sz="1764">
                  <a:solidFill>
                    <a:srgbClr val="FFFFFF"/>
                  </a:solidFill>
                  <a:latin typeface="Segoe UI"/>
                </a:endParaRPr>
              </a:p>
            </p:txBody>
          </p:sp>
          <p:sp>
            <p:nvSpPr>
              <p:cNvPr id="375" name="Rectangle 497"/>
              <p:cNvSpPr>
                <a:spLocks noChangeArrowheads="1"/>
              </p:cNvSpPr>
              <p:nvPr/>
            </p:nvSpPr>
            <p:spPr bwMode="auto">
              <a:xfrm>
                <a:off x="2977" y="2091"/>
                <a:ext cx="2"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29" tIns="44815" rIns="89629" bIns="44815" numCol="1" anchor="t" anchorCtr="0" compatLnSpc="1">
                <a:prstTxWarp prst="textNoShape">
                  <a:avLst/>
                </a:prstTxWarp>
              </a:bodyPr>
              <a:lstStyle/>
              <a:p>
                <a:pPr defTabSz="914191">
                  <a:defRPr/>
                </a:pPr>
                <a:endParaRPr lang="en-US" sz="1764">
                  <a:solidFill>
                    <a:srgbClr val="FFFFFF"/>
                  </a:solidFill>
                  <a:latin typeface="Segoe UI"/>
                </a:endParaRPr>
              </a:p>
            </p:txBody>
          </p:sp>
          <p:sp>
            <p:nvSpPr>
              <p:cNvPr id="376" name="Rectangle 498"/>
              <p:cNvSpPr>
                <a:spLocks noChangeArrowheads="1"/>
              </p:cNvSpPr>
              <p:nvPr/>
            </p:nvSpPr>
            <p:spPr bwMode="auto">
              <a:xfrm>
                <a:off x="2981" y="2091"/>
                <a:ext cx="3"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29" tIns="44815" rIns="89629" bIns="44815" numCol="1" anchor="t" anchorCtr="0" compatLnSpc="1">
                <a:prstTxWarp prst="textNoShape">
                  <a:avLst/>
                </a:prstTxWarp>
              </a:bodyPr>
              <a:lstStyle/>
              <a:p>
                <a:pPr defTabSz="914191">
                  <a:defRPr/>
                </a:pPr>
                <a:endParaRPr lang="en-US" sz="1764">
                  <a:solidFill>
                    <a:srgbClr val="FFFFFF"/>
                  </a:solidFill>
                  <a:latin typeface="Segoe UI"/>
                </a:endParaRPr>
              </a:p>
            </p:txBody>
          </p:sp>
          <p:sp>
            <p:nvSpPr>
              <p:cNvPr id="377" name="Rectangle 499"/>
              <p:cNvSpPr>
                <a:spLocks noChangeArrowheads="1"/>
              </p:cNvSpPr>
              <p:nvPr/>
            </p:nvSpPr>
            <p:spPr bwMode="auto">
              <a:xfrm>
                <a:off x="2986" y="2091"/>
                <a:ext cx="3"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29" tIns="44815" rIns="89629" bIns="44815" numCol="1" anchor="t" anchorCtr="0" compatLnSpc="1">
                <a:prstTxWarp prst="textNoShape">
                  <a:avLst/>
                </a:prstTxWarp>
              </a:bodyPr>
              <a:lstStyle/>
              <a:p>
                <a:pPr defTabSz="914191">
                  <a:defRPr/>
                </a:pPr>
                <a:endParaRPr lang="en-US" sz="1764">
                  <a:solidFill>
                    <a:srgbClr val="FFFFFF"/>
                  </a:solidFill>
                  <a:latin typeface="Segoe UI"/>
                </a:endParaRPr>
              </a:p>
            </p:txBody>
          </p:sp>
          <p:sp>
            <p:nvSpPr>
              <p:cNvPr id="378" name="Rectangle 500"/>
              <p:cNvSpPr>
                <a:spLocks noChangeArrowheads="1"/>
              </p:cNvSpPr>
              <p:nvPr/>
            </p:nvSpPr>
            <p:spPr bwMode="auto">
              <a:xfrm>
                <a:off x="2991" y="2091"/>
                <a:ext cx="4"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29" tIns="44815" rIns="89629" bIns="44815" numCol="1" anchor="t" anchorCtr="0" compatLnSpc="1">
                <a:prstTxWarp prst="textNoShape">
                  <a:avLst/>
                </a:prstTxWarp>
              </a:bodyPr>
              <a:lstStyle/>
              <a:p>
                <a:pPr defTabSz="914191">
                  <a:defRPr/>
                </a:pPr>
                <a:endParaRPr lang="en-US" sz="1764">
                  <a:solidFill>
                    <a:srgbClr val="FFFFFF"/>
                  </a:solidFill>
                  <a:latin typeface="Segoe UI"/>
                </a:endParaRPr>
              </a:p>
            </p:txBody>
          </p:sp>
          <p:sp>
            <p:nvSpPr>
              <p:cNvPr id="379" name="Rectangle 501"/>
              <p:cNvSpPr>
                <a:spLocks noChangeArrowheads="1"/>
              </p:cNvSpPr>
              <p:nvPr/>
            </p:nvSpPr>
            <p:spPr bwMode="auto">
              <a:xfrm>
                <a:off x="2997" y="2091"/>
                <a:ext cx="3"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29" tIns="44815" rIns="89629" bIns="44815" numCol="1" anchor="t" anchorCtr="0" compatLnSpc="1">
                <a:prstTxWarp prst="textNoShape">
                  <a:avLst/>
                </a:prstTxWarp>
              </a:bodyPr>
              <a:lstStyle/>
              <a:p>
                <a:pPr defTabSz="914191">
                  <a:defRPr/>
                </a:pPr>
                <a:endParaRPr lang="en-US" sz="1764">
                  <a:solidFill>
                    <a:srgbClr val="FFFFFF"/>
                  </a:solidFill>
                  <a:latin typeface="Segoe UI"/>
                </a:endParaRPr>
              </a:p>
            </p:txBody>
          </p:sp>
          <p:sp>
            <p:nvSpPr>
              <p:cNvPr id="380" name="Freeform 502"/>
              <p:cNvSpPr>
                <a:spLocks/>
              </p:cNvSpPr>
              <p:nvPr/>
            </p:nvSpPr>
            <p:spPr bwMode="auto">
              <a:xfrm>
                <a:off x="3045" y="2096"/>
                <a:ext cx="6" cy="6"/>
              </a:xfrm>
              <a:custGeom>
                <a:avLst/>
                <a:gdLst>
                  <a:gd name="T0" fmla="*/ 0 w 12"/>
                  <a:gd name="T1" fmla="*/ 6 h 11"/>
                  <a:gd name="T2" fmla="*/ 0 w 12"/>
                  <a:gd name="T3" fmla="*/ 6 h 11"/>
                  <a:gd name="T4" fmla="*/ 2 w 12"/>
                  <a:gd name="T5" fmla="*/ 2 h 11"/>
                  <a:gd name="T6" fmla="*/ 7 w 12"/>
                  <a:gd name="T7" fmla="*/ 0 h 11"/>
                  <a:gd name="T8" fmla="*/ 7 w 12"/>
                  <a:gd name="T9" fmla="*/ 0 h 11"/>
                  <a:gd name="T10" fmla="*/ 11 w 12"/>
                  <a:gd name="T11" fmla="*/ 2 h 11"/>
                  <a:gd name="T12" fmla="*/ 12 w 12"/>
                  <a:gd name="T13" fmla="*/ 6 h 11"/>
                  <a:gd name="T14" fmla="*/ 12 w 12"/>
                  <a:gd name="T15" fmla="*/ 6 h 11"/>
                  <a:gd name="T16" fmla="*/ 11 w 12"/>
                  <a:gd name="T17" fmla="*/ 9 h 11"/>
                  <a:gd name="T18" fmla="*/ 7 w 12"/>
                  <a:gd name="T19" fmla="*/ 11 h 11"/>
                  <a:gd name="T20" fmla="*/ 7 w 12"/>
                  <a:gd name="T21" fmla="*/ 11 h 11"/>
                  <a:gd name="T22" fmla="*/ 2 w 12"/>
                  <a:gd name="T23" fmla="*/ 9 h 11"/>
                  <a:gd name="T24" fmla="*/ 0 w 12"/>
                  <a:gd name="T25" fmla="*/ 6 h 11"/>
                  <a:gd name="T26" fmla="*/ 0 w 12"/>
                  <a:gd name="T27" fmla="*/ 6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 h="11">
                    <a:moveTo>
                      <a:pt x="0" y="6"/>
                    </a:moveTo>
                    <a:lnTo>
                      <a:pt x="0" y="6"/>
                    </a:lnTo>
                    <a:lnTo>
                      <a:pt x="2" y="2"/>
                    </a:lnTo>
                    <a:lnTo>
                      <a:pt x="7" y="0"/>
                    </a:lnTo>
                    <a:lnTo>
                      <a:pt x="7" y="0"/>
                    </a:lnTo>
                    <a:lnTo>
                      <a:pt x="11" y="2"/>
                    </a:lnTo>
                    <a:lnTo>
                      <a:pt x="12" y="6"/>
                    </a:lnTo>
                    <a:lnTo>
                      <a:pt x="12" y="6"/>
                    </a:lnTo>
                    <a:lnTo>
                      <a:pt x="11" y="9"/>
                    </a:lnTo>
                    <a:lnTo>
                      <a:pt x="7" y="11"/>
                    </a:lnTo>
                    <a:lnTo>
                      <a:pt x="7" y="11"/>
                    </a:lnTo>
                    <a:lnTo>
                      <a:pt x="2" y="9"/>
                    </a:lnTo>
                    <a:lnTo>
                      <a:pt x="0" y="6"/>
                    </a:lnTo>
                    <a:lnTo>
                      <a:pt x="0" y="6"/>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914191">
                  <a:defRPr/>
                </a:pPr>
                <a:endParaRPr lang="en-US" sz="1764">
                  <a:solidFill>
                    <a:srgbClr val="FFFFFF"/>
                  </a:solidFill>
                  <a:latin typeface="Segoe UI"/>
                </a:endParaRPr>
              </a:p>
            </p:txBody>
          </p:sp>
          <p:sp>
            <p:nvSpPr>
              <p:cNvPr id="381" name="Rectangle 503"/>
              <p:cNvSpPr>
                <a:spLocks noChangeArrowheads="1"/>
              </p:cNvSpPr>
              <p:nvPr/>
            </p:nvSpPr>
            <p:spPr bwMode="auto">
              <a:xfrm>
                <a:off x="3093" y="1886"/>
                <a:ext cx="130" cy="26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29" tIns="44815" rIns="89629" bIns="44815" numCol="1" anchor="t" anchorCtr="0" compatLnSpc="1">
                <a:prstTxWarp prst="textNoShape">
                  <a:avLst/>
                </a:prstTxWarp>
              </a:bodyPr>
              <a:lstStyle/>
              <a:p>
                <a:pPr defTabSz="914191">
                  <a:defRPr/>
                </a:pPr>
                <a:endParaRPr lang="en-US" sz="1764">
                  <a:solidFill>
                    <a:srgbClr val="FFFFFF"/>
                  </a:solidFill>
                  <a:latin typeface="Segoe UI"/>
                </a:endParaRPr>
              </a:p>
            </p:txBody>
          </p:sp>
          <p:sp>
            <p:nvSpPr>
              <p:cNvPr id="382" name="Rectangle 504"/>
              <p:cNvSpPr>
                <a:spLocks noChangeArrowheads="1"/>
              </p:cNvSpPr>
              <p:nvPr/>
            </p:nvSpPr>
            <p:spPr bwMode="auto">
              <a:xfrm>
                <a:off x="3106" y="1899"/>
                <a:ext cx="104" cy="233"/>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29" tIns="44815" rIns="89629" bIns="44815" numCol="1" anchor="t" anchorCtr="0" compatLnSpc="1">
                <a:prstTxWarp prst="textNoShape">
                  <a:avLst/>
                </a:prstTxWarp>
              </a:bodyPr>
              <a:lstStyle/>
              <a:p>
                <a:pPr defTabSz="914191">
                  <a:defRPr/>
                </a:pPr>
                <a:endParaRPr lang="en-US" sz="1764">
                  <a:solidFill>
                    <a:srgbClr val="FFFFFF"/>
                  </a:solidFill>
                  <a:latin typeface="Segoe UI"/>
                </a:endParaRPr>
              </a:p>
            </p:txBody>
          </p:sp>
          <p:sp>
            <p:nvSpPr>
              <p:cNvPr id="383" name="Rectangle 505"/>
              <p:cNvSpPr>
                <a:spLocks noChangeArrowheads="1"/>
              </p:cNvSpPr>
              <p:nvPr/>
            </p:nvSpPr>
            <p:spPr bwMode="auto">
              <a:xfrm>
                <a:off x="3112" y="1907"/>
                <a:ext cx="92" cy="2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29" tIns="44815" rIns="89629" bIns="44815" numCol="1" anchor="t" anchorCtr="0" compatLnSpc="1">
                <a:prstTxWarp prst="textNoShape">
                  <a:avLst/>
                </a:prstTxWarp>
              </a:bodyPr>
              <a:lstStyle/>
              <a:p>
                <a:pPr defTabSz="914191">
                  <a:defRPr/>
                </a:pPr>
                <a:endParaRPr lang="en-US" sz="1764">
                  <a:solidFill>
                    <a:srgbClr val="FFFFFF"/>
                  </a:solidFill>
                  <a:latin typeface="Segoe UI"/>
                </a:endParaRPr>
              </a:p>
            </p:txBody>
          </p:sp>
          <p:sp>
            <p:nvSpPr>
              <p:cNvPr id="384" name="Rectangle 506"/>
              <p:cNvSpPr>
                <a:spLocks noChangeArrowheads="1"/>
              </p:cNvSpPr>
              <p:nvPr/>
            </p:nvSpPr>
            <p:spPr bwMode="auto">
              <a:xfrm>
                <a:off x="3116" y="1909"/>
                <a:ext cx="3" cy="17"/>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29" tIns="44815" rIns="89629" bIns="44815" numCol="1" anchor="t" anchorCtr="0" compatLnSpc="1">
                <a:prstTxWarp prst="textNoShape">
                  <a:avLst/>
                </a:prstTxWarp>
              </a:bodyPr>
              <a:lstStyle/>
              <a:p>
                <a:pPr defTabSz="914191">
                  <a:defRPr/>
                </a:pPr>
                <a:endParaRPr lang="en-US" sz="1764">
                  <a:solidFill>
                    <a:srgbClr val="FFFFFF"/>
                  </a:solidFill>
                  <a:latin typeface="Segoe UI"/>
                </a:endParaRPr>
              </a:p>
            </p:txBody>
          </p:sp>
          <p:sp>
            <p:nvSpPr>
              <p:cNvPr id="385" name="Rectangle 507"/>
              <p:cNvSpPr>
                <a:spLocks noChangeArrowheads="1"/>
              </p:cNvSpPr>
              <p:nvPr/>
            </p:nvSpPr>
            <p:spPr bwMode="auto">
              <a:xfrm>
                <a:off x="3121" y="1909"/>
                <a:ext cx="4" cy="17"/>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29" tIns="44815" rIns="89629" bIns="44815" numCol="1" anchor="t" anchorCtr="0" compatLnSpc="1">
                <a:prstTxWarp prst="textNoShape">
                  <a:avLst/>
                </a:prstTxWarp>
              </a:bodyPr>
              <a:lstStyle/>
              <a:p>
                <a:pPr defTabSz="914191">
                  <a:defRPr/>
                </a:pPr>
                <a:endParaRPr lang="en-US" sz="1764">
                  <a:solidFill>
                    <a:srgbClr val="FFFFFF"/>
                  </a:solidFill>
                  <a:latin typeface="Segoe UI"/>
                </a:endParaRPr>
              </a:p>
            </p:txBody>
          </p:sp>
          <p:sp>
            <p:nvSpPr>
              <p:cNvPr id="386" name="Rectangle 508"/>
              <p:cNvSpPr>
                <a:spLocks noChangeArrowheads="1"/>
              </p:cNvSpPr>
              <p:nvPr/>
            </p:nvSpPr>
            <p:spPr bwMode="auto">
              <a:xfrm>
                <a:off x="3127" y="1909"/>
                <a:ext cx="2" cy="17"/>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29" tIns="44815" rIns="89629" bIns="44815" numCol="1" anchor="t" anchorCtr="0" compatLnSpc="1">
                <a:prstTxWarp prst="textNoShape">
                  <a:avLst/>
                </a:prstTxWarp>
              </a:bodyPr>
              <a:lstStyle/>
              <a:p>
                <a:pPr defTabSz="914191">
                  <a:defRPr/>
                </a:pPr>
                <a:endParaRPr lang="en-US" sz="1764">
                  <a:solidFill>
                    <a:srgbClr val="FFFFFF"/>
                  </a:solidFill>
                  <a:latin typeface="Segoe UI"/>
                </a:endParaRPr>
              </a:p>
            </p:txBody>
          </p:sp>
          <p:sp>
            <p:nvSpPr>
              <p:cNvPr id="387" name="Rectangle 509"/>
              <p:cNvSpPr>
                <a:spLocks noChangeArrowheads="1"/>
              </p:cNvSpPr>
              <p:nvPr/>
            </p:nvSpPr>
            <p:spPr bwMode="auto">
              <a:xfrm>
                <a:off x="3131" y="1909"/>
                <a:ext cx="3" cy="17"/>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29" tIns="44815" rIns="89629" bIns="44815" numCol="1" anchor="t" anchorCtr="0" compatLnSpc="1">
                <a:prstTxWarp prst="textNoShape">
                  <a:avLst/>
                </a:prstTxWarp>
              </a:bodyPr>
              <a:lstStyle/>
              <a:p>
                <a:pPr defTabSz="914191">
                  <a:defRPr/>
                </a:pPr>
                <a:endParaRPr lang="en-US" sz="1764">
                  <a:solidFill>
                    <a:srgbClr val="FFFFFF"/>
                  </a:solidFill>
                  <a:latin typeface="Segoe UI"/>
                </a:endParaRPr>
              </a:p>
            </p:txBody>
          </p:sp>
          <p:sp>
            <p:nvSpPr>
              <p:cNvPr id="388" name="Rectangle 510"/>
              <p:cNvSpPr>
                <a:spLocks noChangeArrowheads="1"/>
              </p:cNvSpPr>
              <p:nvPr/>
            </p:nvSpPr>
            <p:spPr bwMode="auto">
              <a:xfrm>
                <a:off x="3136" y="1909"/>
                <a:ext cx="2" cy="17"/>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29" tIns="44815" rIns="89629" bIns="44815" numCol="1" anchor="t" anchorCtr="0" compatLnSpc="1">
                <a:prstTxWarp prst="textNoShape">
                  <a:avLst/>
                </a:prstTxWarp>
              </a:bodyPr>
              <a:lstStyle/>
              <a:p>
                <a:pPr defTabSz="914191">
                  <a:defRPr/>
                </a:pPr>
                <a:endParaRPr lang="en-US" sz="1764">
                  <a:solidFill>
                    <a:srgbClr val="FFFFFF"/>
                  </a:solidFill>
                  <a:latin typeface="Segoe UI"/>
                </a:endParaRPr>
              </a:p>
            </p:txBody>
          </p:sp>
          <p:sp>
            <p:nvSpPr>
              <p:cNvPr id="389" name="Rectangle 511"/>
              <p:cNvSpPr>
                <a:spLocks noChangeArrowheads="1"/>
              </p:cNvSpPr>
              <p:nvPr/>
            </p:nvSpPr>
            <p:spPr bwMode="auto">
              <a:xfrm>
                <a:off x="3141" y="1909"/>
                <a:ext cx="3" cy="17"/>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29" tIns="44815" rIns="89629" bIns="44815" numCol="1" anchor="t" anchorCtr="0" compatLnSpc="1">
                <a:prstTxWarp prst="textNoShape">
                  <a:avLst/>
                </a:prstTxWarp>
              </a:bodyPr>
              <a:lstStyle/>
              <a:p>
                <a:pPr defTabSz="914191">
                  <a:defRPr/>
                </a:pPr>
                <a:endParaRPr lang="en-US" sz="1764">
                  <a:solidFill>
                    <a:srgbClr val="FFFFFF"/>
                  </a:solidFill>
                  <a:latin typeface="Segoe UI"/>
                </a:endParaRPr>
              </a:p>
            </p:txBody>
          </p:sp>
          <p:sp>
            <p:nvSpPr>
              <p:cNvPr id="390" name="Freeform 512"/>
              <p:cNvSpPr>
                <a:spLocks/>
              </p:cNvSpPr>
              <p:nvPr/>
            </p:nvSpPr>
            <p:spPr bwMode="auto">
              <a:xfrm>
                <a:off x="3190" y="1915"/>
                <a:ext cx="6" cy="7"/>
              </a:xfrm>
              <a:custGeom>
                <a:avLst/>
                <a:gdLst>
                  <a:gd name="T0" fmla="*/ 0 w 11"/>
                  <a:gd name="T1" fmla="*/ 7 h 15"/>
                  <a:gd name="T2" fmla="*/ 0 w 11"/>
                  <a:gd name="T3" fmla="*/ 7 h 15"/>
                  <a:gd name="T4" fmla="*/ 2 w 11"/>
                  <a:gd name="T5" fmla="*/ 2 h 15"/>
                  <a:gd name="T6" fmla="*/ 5 w 11"/>
                  <a:gd name="T7" fmla="*/ 0 h 15"/>
                  <a:gd name="T8" fmla="*/ 5 w 11"/>
                  <a:gd name="T9" fmla="*/ 0 h 15"/>
                  <a:gd name="T10" fmla="*/ 9 w 11"/>
                  <a:gd name="T11" fmla="*/ 2 h 15"/>
                  <a:gd name="T12" fmla="*/ 11 w 11"/>
                  <a:gd name="T13" fmla="*/ 7 h 15"/>
                  <a:gd name="T14" fmla="*/ 11 w 11"/>
                  <a:gd name="T15" fmla="*/ 7 h 15"/>
                  <a:gd name="T16" fmla="*/ 9 w 11"/>
                  <a:gd name="T17" fmla="*/ 13 h 15"/>
                  <a:gd name="T18" fmla="*/ 5 w 11"/>
                  <a:gd name="T19" fmla="*/ 15 h 15"/>
                  <a:gd name="T20" fmla="*/ 5 w 11"/>
                  <a:gd name="T21" fmla="*/ 15 h 15"/>
                  <a:gd name="T22" fmla="*/ 2 w 11"/>
                  <a:gd name="T23" fmla="*/ 13 h 15"/>
                  <a:gd name="T24" fmla="*/ 0 w 11"/>
                  <a:gd name="T25" fmla="*/ 7 h 15"/>
                  <a:gd name="T26" fmla="*/ 0 w 11"/>
                  <a:gd name="T27" fmla="*/ 7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 h="15">
                    <a:moveTo>
                      <a:pt x="0" y="7"/>
                    </a:moveTo>
                    <a:lnTo>
                      <a:pt x="0" y="7"/>
                    </a:lnTo>
                    <a:lnTo>
                      <a:pt x="2" y="2"/>
                    </a:lnTo>
                    <a:lnTo>
                      <a:pt x="5" y="0"/>
                    </a:lnTo>
                    <a:lnTo>
                      <a:pt x="5" y="0"/>
                    </a:lnTo>
                    <a:lnTo>
                      <a:pt x="9" y="2"/>
                    </a:lnTo>
                    <a:lnTo>
                      <a:pt x="11" y="7"/>
                    </a:lnTo>
                    <a:lnTo>
                      <a:pt x="11" y="7"/>
                    </a:lnTo>
                    <a:lnTo>
                      <a:pt x="9" y="13"/>
                    </a:lnTo>
                    <a:lnTo>
                      <a:pt x="5" y="15"/>
                    </a:lnTo>
                    <a:lnTo>
                      <a:pt x="5" y="15"/>
                    </a:lnTo>
                    <a:lnTo>
                      <a:pt x="2" y="13"/>
                    </a:lnTo>
                    <a:lnTo>
                      <a:pt x="0" y="7"/>
                    </a:lnTo>
                    <a:lnTo>
                      <a:pt x="0" y="7"/>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914191">
                  <a:defRPr/>
                </a:pPr>
                <a:endParaRPr lang="en-US" sz="1764">
                  <a:solidFill>
                    <a:srgbClr val="FFFFFF"/>
                  </a:solidFill>
                  <a:latin typeface="Segoe UI"/>
                </a:endParaRPr>
              </a:p>
            </p:txBody>
          </p:sp>
          <p:sp>
            <p:nvSpPr>
              <p:cNvPr id="391" name="Rectangle 513"/>
              <p:cNvSpPr>
                <a:spLocks noChangeArrowheads="1"/>
              </p:cNvSpPr>
              <p:nvPr/>
            </p:nvSpPr>
            <p:spPr bwMode="auto">
              <a:xfrm>
                <a:off x="3112" y="1935"/>
                <a:ext cx="92" cy="2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29" tIns="44815" rIns="89629" bIns="44815" numCol="1" anchor="t" anchorCtr="0" compatLnSpc="1">
                <a:prstTxWarp prst="textNoShape">
                  <a:avLst/>
                </a:prstTxWarp>
              </a:bodyPr>
              <a:lstStyle/>
              <a:p>
                <a:pPr defTabSz="914191">
                  <a:defRPr/>
                </a:pPr>
                <a:endParaRPr lang="en-US" sz="1764">
                  <a:solidFill>
                    <a:srgbClr val="FFFFFF"/>
                  </a:solidFill>
                  <a:latin typeface="Segoe UI"/>
                </a:endParaRPr>
              </a:p>
            </p:txBody>
          </p:sp>
          <p:sp>
            <p:nvSpPr>
              <p:cNvPr id="392" name="Rectangle 514"/>
              <p:cNvSpPr>
                <a:spLocks noChangeArrowheads="1"/>
              </p:cNvSpPr>
              <p:nvPr/>
            </p:nvSpPr>
            <p:spPr bwMode="auto">
              <a:xfrm>
                <a:off x="3116" y="1939"/>
                <a:ext cx="3"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29" tIns="44815" rIns="89629" bIns="44815" numCol="1" anchor="t" anchorCtr="0" compatLnSpc="1">
                <a:prstTxWarp prst="textNoShape">
                  <a:avLst/>
                </a:prstTxWarp>
              </a:bodyPr>
              <a:lstStyle/>
              <a:p>
                <a:pPr defTabSz="914191">
                  <a:defRPr/>
                </a:pPr>
                <a:endParaRPr lang="en-US" sz="1764">
                  <a:solidFill>
                    <a:srgbClr val="FFFFFF"/>
                  </a:solidFill>
                  <a:latin typeface="Segoe UI"/>
                </a:endParaRPr>
              </a:p>
            </p:txBody>
          </p:sp>
          <p:sp>
            <p:nvSpPr>
              <p:cNvPr id="393" name="Rectangle 515"/>
              <p:cNvSpPr>
                <a:spLocks noChangeArrowheads="1"/>
              </p:cNvSpPr>
              <p:nvPr/>
            </p:nvSpPr>
            <p:spPr bwMode="auto">
              <a:xfrm>
                <a:off x="3121" y="1939"/>
                <a:ext cx="4"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29" tIns="44815" rIns="89629" bIns="44815" numCol="1" anchor="t" anchorCtr="0" compatLnSpc="1">
                <a:prstTxWarp prst="textNoShape">
                  <a:avLst/>
                </a:prstTxWarp>
              </a:bodyPr>
              <a:lstStyle/>
              <a:p>
                <a:pPr defTabSz="914191">
                  <a:defRPr/>
                </a:pPr>
                <a:endParaRPr lang="en-US" sz="1764">
                  <a:solidFill>
                    <a:srgbClr val="FFFFFF"/>
                  </a:solidFill>
                  <a:latin typeface="Segoe UI"/>
                </a:endParaRPr>
              </a:p>
            </p:txBody>
          </p:sp>
          <p:sp>
            <p:nvSpPr>
              <p:cNvPr id="394" name="Rectangle 516"/>
              <p:cNvSpPr>
                <a:spLocks noChangeArrowheads="1"/>
              </p:cNvSpPr>
              <p:nvPr/>
            </p:nvSpPr>
            <p:spPr bwMode="auto">
              <a:xfrm>
                <a:off x="3127" y="1939"/>
                <a:ext cx="2"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29" tIns="44815" rIns="89629" bIns="44815" numCol="1" anchor="t" anchorCtr="0" compatLnSpc="1">
                <a:prstTxWarp prst="textNoShape">
                  <a:avLst/>
                </a:prstTxWarp>
              </a:bodyPr>
              <a:lstStyle/>
              <a:p>
                <a:pPr defTabSz="914191">
                  <a:defRPr/>
                </a:pPr>
                <a:endParaRPr lang="en-US" sz="1764">
                  <a:solidFill>
                    <a:srgbClr val="FFFFFF"/>
                  </a:solidFill>
                  <a:latin typeface="Segoe UI"/>
                </a:endParaRPr>
              </a:p>
            </p:txBody>
          </p:sp>
          <p:sp>
            <p:nvSpPr>
              <p:cNvPr id="395" name="Rectangle 517"/>
              <p:cNvSpPr>
                <a:spLocks noChangeArrowheads="1"/>
              </p:cNvSpPr>
              <p:nvPr/>
            </p:nvSpPr>
            <p:spPr bwMode="auto">
              <a:xfrm>
                <a:off x="3131" y="1939"/>
                <a:ext cx="3"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29" tIns="44815" rIns="89629" bIns="44815" numCol="1" anchor="t" anchorCtr="0" compatLnSpc="1">
                <a:prstTxWarp prst="textNoShape">
                  <a:avLst/>
                </a:prstTxWarp>
              </a:bodyPr>
              <a:lstStyle/>
              <a:p>
                <a:pPr defTabSz="914191">
                  <a:defRPr/>
                </a:pPr>
                <a:endParaRPr lang="en-US" sz="1764">
                  <a:solidFill>
                    <a:srgbClr val="FFFFFF"/>
                  </a:solidFill>
                  <a:latin typeface="Segoe UI"/>
                </a:endParaRPr>
              </a:p>
            </p:txBody>
          </p:sp>
          <p:sp>
            <p:nvSpPr>
              <p:cNvPr id="396" name="Rectangle 518"/>
              <p:cNvSpPr>
                <a:spLocks noChangeArrowheads="1"/>
              </p:cNvSpPr>
              <p:nvPr/>
            </p:nvSpPr>
            <p:spPr bwMode="auto">
              <a:xfrm>
                <a:off x="3136" y="1939"/>
                <a:ext cx="2"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29" tIns="44815" rIns="89629" bIns="44815" numCol="1" anchor="t" anchorCtr="0" compatLnSpc="1">
                <a:prstTxWarp prst="textNoShape">
                  <a:avLst/>
                </a:prstTxWarp>
              </a:bodyPr>
              <a:lstStyle/>
              <a:p>
                <a:pPr defTabSz="914191">
                  <a:defRPr/>
                </a:pPr>
                <a:endParaRPr lang="en-US" sz="1764">
                  <a:solidFill>
                    <a:srgbClr val="FFFFFF"/>
                  </a:solidFill>
                  <a:latin typeface="Segoe UI"/>
                </a:endParaRPr>
              </a:p>
            </p:txBody>
          </p:sp>
          <p:sp>
            <p:nvSpPr>
              <p:cNvPr id="397" name="Rectangle 519"/>
              <p:cNvSpPr>
                <a:spLocks noChangeArrowheads="1"/>
              </p:cNvSpPr>
              <p:nvPr/>
            </p:nvSpPr>
            <p:spPr bwMode="auto">
              <a:xfrm>
                <a:off x="3141" y="1939"/>
                <a:ext cx="3"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29" tIns="44815" rIns="89629" bIns="44815" numCol="1" anchor="t" anchorCtr="0" compatLnSpc="1">
                <a:prstTxWarp prst="textNoShape">
                  <a:avLst/>
                </a:prstTxWarp>
              </a:bodyPr>
              <a:lstStyle/>
              <a:p>
                <a:pPr defTabSz="914191">
                  <a:defRPr/>
                </a:pPr>
                <a:endParaRPr lang="en-US" sz="1764">
                  <a:solidFill>
                    <a:srgbClr val="FFFFFF"/>
                  </a:solidFill>
                  <a:latin typeface="Segoe UI"/>
                </a:endParaRPr>
              </a:p>
            </p:txBody>
          </p:sp>
          <p:sp>
            <p:nvSpPr>
              <p:cNvPr id="398" name="Freeform 520"/>
              <p:cNvSpPr>
                <a:spLocks/>
              </p:cNvSpPr>
              <p:nvPr/>
            </p:nvSpPr>
            <p:spPr bwMode="auto">
              <a:xfrm>
                <a:off x="3190" y="1945"/>
                <a:ext cx="6" cy="6"/>
              </a:xfrm>
              <a:custGeom>
                <a:avLst/>
                <a:gdLst>
                  <a:gd name="T0" fmla="*/ 0 w 11"/>
                  <a:gd name="T1" fmla="*/ 6 h 11"/>
                  <a:gd name="T2" fmla="*/ 0 w 11"/>
                  <a:gd name="T3" fmla="*/ 6 h 11"/>
                  <a:gd name="T4" fmla="*/ 2 w 11"/>
                  <a:gd name="T5" fmla="*/ 2 h 11"/>
                  <a:gd name="T6" fmla="*/ 5 w 11"/>
                  <a:gd name="T7" fmla="*/ 0 h 11"/>
                  <a:gd name="T8" fmla="*/ 5 w 11"/>
                  <a:gd name="T9" fmla="*/ 0 h 11"/>
                  <a:gd name="T10" fmla="*/ 9 w 11"/>
                  <a:gd name="T11" fmla="*/ 2 h 11"/>
                  <a:gd name="T12" fmla="*/ 11 w 11"/>
                  <a:gd name="T13" fmla="*/ 6 h 11"/>
                  <a:gd name="T14" fmla="*/ 11 w 11"/>
                  <a:gd name="T15" fmla="*/ 6 h 11"/>
                  <a:gd name="T16" fmla="*/ 9 w 11"/>
                  <a:gd name="T17" fmla="*/ 9 h 11"/>
                  <a:gd name="T18" fmla="*/ 5 w 11"/>
                  <a:gd name="T19" fmla="*/ 11 h 11"/>
                  <a:gd name="T20" fmla="*/ 5 w 11"/>
                  <a:gd name="T21" fmla="*/ 11 h 11"/>
                  <a:gd name="T22" fmla="*/ 2 w 11"/>
                  <a:gd name="T23" fmla="*/ 9 h 11"/>
                  <a:gd name="T24" fmla="*/ 0 w 11"/>
                  <a:gd name="T25" fmla="*/ 6 h 11"/>
                  <a:gd name="T26" fmla="*/ 0 w 11"/>
                  <a:gd name="T27" fmla="*/ 6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 h="11">
                    <a:moveTo>
                      <a:pt x="0" y="6"/>
                    </a:moveTo>
                    <a:lnTo>
                      <a:pt x="0" y="6"/>
                    </a:lnTo>
                    <a:lnTo>
                      <a:pt x="2" y="2"/>
                    </a:lnTo>
                    <a:lnTo>
                      <a:pt x="5" y="0"/>
                    </a:lnTo>
                    <a:lnTo>
                      <a:pt x="5" y="0"/>
                    </a:lnTo>
                    <a:lnTo>
                      <a:pt x="9" y="2"/>
                    </a:lnTo>
                    <a:lnTo>
                      <a:pt x="11" y="6"/>
                    </a:lnTo>
                    <a:lnTo>
                      <a:pt x="11" y="6"/>
                    </a:lnTo>
                    <a:lnTo>
                      <a:pt x="9" y="9"/>
                    </a:lnTo>
                    <a:lnTo>
                      <a:pt x="5" y="11"/>
                    </a:lnTo>
                    <a:lnTo>
                      <a:pt x="5" y="11"/>
                    </a:lnTo>
                    <a:lnTo>
                      <a:pt x="2" y="9"/>
                    </a:lnTo>
                    <a:lnTo>
                      <a:pt x="0" y="6"/>
                    </a:lnTo>
                    <a:lnTo>
                      <a:pt x="0" y="6"/>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914191">
                  <a:defRPr/>
                </a:pPr>
                <a:endParaRPr lang="en-US" sz="1764">
                  <a:solidFill>
                    <a:srgbClr val="FFFFFF"/>
                  </a:solidFill>
                  <a:latin typeface="Segoe UI"/>
                </a:endParaRPr>
              </a:p>
            </p:txBody>
          </p:sp>
          <p:sp>
            <p:nvSpPr>
              <p:cNvPr id="399" name="Rectangle 521"/>
              <p:cNvSpPr>
                <a:spLocks noChangeArrowheads="1"/>
              </p:cNvSpPr>
              <p:nvPr/>
            </p:nvSpPr>
            <p:spPr bwMode="auto">
              <a:xfrm>
                <a:off x="3112" y="1967"/>
                <a:ext cx="92" cy="2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29" tIns="44815" rIns="89629" bIns="44815" numCol="1" anchor="t" anchorCtr="0" compatLnSpc="1">
                <a:prstTxWarp prst="textNoShape">
                  <a:avLst/>
                </a:prstTxWarp>
              </a:bodyPr>
              <a:lstStyle/>
              <a:p>
                <a:pPr defTabSz="914191">
                  <a:defRPr/>
                </a:pPr>
                <a:endParaRPr lang="en-US" sz="1764">
                  <a:solidFill>
                    <a:srgbClr val="FFFFFF"/>
                  </a:solidFill>
                  <a:latin typeface="Segoe UI"/>
                </a:endParaRPr>
              </a:p>
            </p:txBody>
          </p:sp>
          <p:sp>
            <p:nvSpPr>
              <p:cNvPr id="400" name="Rectangle 522"/>
              <p:cNvSpPr>
                <a:spLocks noChangeArrowheads="1"/>
              </p:cNvSpPr>
              <p:nvPr/>
            </p:nvSpPr>
            <p:spPr bwMode="auto">
              <a:xfrm>
                <a:off x="3116" y="1970"/>
                <a:ext cx="3" cy="17"/>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29" tIns="44815" rIns="89629" bIns="44815" numCol="1" anchor="t" anchorCtr="0" compatLnSpc="1">
                <a:prstTxWarp prst="textNoShape">
                  <a:avLst/>
                </a:prstTxWarp>
              </a:bodyPr>
              <a:lstStyle/>
              <a:p>
                <a:pPr defTabSz="914191">
                  <a:defRPr/>
                </a:pPr>
                <a:endParaRPr lang="en-US" sz="1764">
                  <a:solidFill>
                    <a:srgbClr val="FFFFFF"/>
                  </a:solidFill>
                  <a:latin typeface="Segoe UI"/>
                </a:endParaRPr>
              </a:p>
            </p:txBody>
          </p:sp>
          <p:sp>
            <p:nvSpPr>
              <p:cNvPr id="401" name="Rectangle 523"/>
              <p:cNvSpPr>
                <a:spLocks noChangeArrowheads="1"/>
              </p:cNvSpPr>
              <p:nvPr/>
            </p:nvSpPr>
            <p:spPr bwMode="auto">
              <a:xfrm>
                <a:off x="3121" y="1970"/>
                <a:ext cx="4" cy="17"/>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29" tIns="44815" rIns="89629" bIns="44815" numCol="1" anchor="t" anchorCtr="0" compatLnSpc="1">
                <a:prstTxWarp prst="textNoShape">
                  <a:avLst/>
                </a:prstTxWarp>
              </a:bodyPr>
              <a:lstStyle/>
              <a:p>
                <a:pPr defTabSz="914191">
                  <a:defRPr/>
                </a:pPr>
                <a:endParaRPr lang="en-US" sz="1764">
                  <a:solidFill>
                    <a:srgbClr val="FFFFFF"/>
                  </a:solidFill>
                  <a:latin typeface="Segoe UI"/>
                </a:endParaRPr>
              </a:p>
            </p:txBody>
          </p:sp>
          <p:sp>
            <p:nvSpPr>
              <p:cNvPr id="402" name="Rectangle 524"/>
              <p:cNvSpPr>
                <a:spLocks noChangeArrowheads="1"/>
              </p:cNvSpPr>
              <p:nvPr/>
            </p:nvSpPr>
            <p:spPr bwMode="auto">
              <a:xfrm>
                <a:off x="3127" y="1970"/>
                <a:ext cx="2" cy="17"/>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29" tIns="44815" rIns="89629" bIns="44815" numCol="1" anchor="t" anchorCtr="0" compatLnSpc="1">
                <a:prstTxWarp prst="textNoShape">
                  <a:avLst/>
                </a:prstTxWarp>
              </a:bodyPr>
              <a:lstStyle/>
              <a:p>
                <a:pPr defTabSz="914191">
                  <a:defRPr/>
                </a:pPr>
                <a:endParaRPr lang="en-US" sz="1764">
                  <a:solidFill>
                    <a:srgbClr val="FFFFFF"/>
                  </a:solidFill>
                  <a:latin typeface="Segoe UI"/>
                </a:endParaRPr>
              </a:p>
            </p:txBody>
          </p:sp>
          <p:sp>
            <p:nvSpPr>
              <p:cNvPr id="403" name="Rectangle 525"/>
              <p:cNvSpPr>
                <a:spLocks noChangeArrowheads="1"/>
              </p:cNvSpPr>
              <p:nvPr/>
            </p:nvSpPr>
            <p:spPr bwMode="auto">
              <a:xfrm>
                <a:off x="3131" y="1970"/>
                <a:ext cx="3" cy="17"/>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29" tIns="44815" rIns="89629" bIns="44815" numCol="1" anchor="t" anchorCtr="0" compatLnSpc="1">
                <a:prstTxWarp prst="textNoShape">
                  <a:avLst/>
                </a:prstTxWarp>
              </a:bodyPr>
              <a:lstStyle/>
              <a:p>
                <a:pPr defTabSz="914191">
                  <a:defRPr/>
                </a:pPr>
                <a:endParaRPr lang="en-US" sz="1764">
                  <a:solidFill>
                    <a:srgbClr val="FFFFFF"/>
                  </a:solidFill>
                  <a:latin typeface="Segoe UI"/>
                </a:endParaRPr>
              </a:p>
            </p:txBody>
          </p:sp>
          <p:sp>
            <p:nvSpPr>
              <p:cNvPr id="404" name="Rectangle 526"/>
              <p:cNvSpPr>
                <a:spLocks noChangeArrowheads="1"/>
              </p:cNvSpPr>
              <p:nvPr/>
            </p:nvSpPr>
            <p:spPr bwMode="auto">
              <a:xfrm>
                <a:off x="3136" y="1970"/>
                <a:ext cx="2" cy="17"/>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29" tIns="44815" rIns="89629" bIns="44815" numCol="1" anchor="t" anchorCtr="0" compatLnSpc="1">
                <a:prstTxWarp prst="textNoShape">
                  <a:avLst/>
                </a:prstTxWarp>
              </a:bodyPr>
              <a:lstStyle/>
              <a:p>
                <a:pPr defTabSz="914191">
                  <a:defRPr/>
                </a:pPr>
                <a:endParaRPr lang="en-US" sz="1764">
                  <a:solidFill>
                    <a:srgbClr val="FFFFFF"/>
                  </a:solidFill>
                  <a:latin typeface="Segoe UI"/>
                </a:endParaRPr>
              </a:p>
            </p:txBody>
          </p:sp>
          <p:sp>
            <p:nvSpPr>
              <p:cNvPr id="405" name="Rectangle 527"/>
              <p:cNvSpPr>
                <a:spLocks noChangeArrowheads="1"/>
              </p:cNvSpPr>
              <p:nvPr/>
            </p:nvSpPr>
            <p:spPr bwMode="auto">
              <a:xfrm>
                <a:off x="3141" y="1970"/>
                <a:ext cx="3" cy="17"/>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29" tIns="44815" rIns="89629" bIns="44815" numCol="1" anchor="t" anchorCtr="0" compatLnSpc="1">
                <a:prstTxWarp prst="textNoShape">
                  <a:avLst/>
                </a:prstTxWarp>
              </a:bodyPr>
              <a:lstStyle/>
              <a:p>
                <a:pPr defTabSz="914191">
                  <a:defRPr/>
                </a:pPr>
                <a:endParaRPr lang="en-US" sz="1764">
                  <a:solidFill>
                    <a:srgbClr val="FFFFFF"/>
                  </a:solidFill>
                  <a:latin typeface="Segoe UI"/>
                </a:endParaRPr>
              </a:p>
            </p:txBody>
          </p:sp>
          <p:sp>
            <p:nvSpPr>
              <p:cNvPr id="406" name="Freeform 528"/>
              <p:cNvSpPr>
                <a:spLocks/>
              </p:cNvSpPr>
              <p:nvPr/>
            </p:nvSpPr>
            <p:spPr bwMode="auto">
              <a:xfrm>
                <a:off x="3190" y="1975"/>
                <a:ext cx="6" cy="6"/>
              </a:xfrm>
              <a:custGeom>
                <a:avLst/>
                <a:gdLst>
                  <a:gd name="T0" fmla="*/ 0 w 11"/>
                  <a:gd name="T1" fmla="*/ 7 h 12"/>
                  <a:gd name="T2" fmla="*/ 0 w 11"/>
                  <a:gd name="T3" fmla="*/ 7 h 12"/>
                  <a:gd name="T4" fmla="*/ 2 w 11"/>
                  <a:gd name="T5" fmla="*/ 1 h 12"/>
                  <a:gd name="T6" fmla="*/ 5 w 11"/>
                  <a:gd name="T7" fmla="*/ 0 h 12"/>
                  <a:gd name="T8" fmla="*/ 5 w 11"/>
                  <a:gd name="T9" fmla="*/ 0 h 12"/>
                  <a:gd name="T10" fmla="*/ 9 w 11"/>
                  <a:gd name="T11" fmla="*/ 1 h 12"/>
                  <a:gd name="T12" fmla="*/ 11 w 11"/>
                  <a:gd name="T13" fmla="*/ 7 h 12"/>
                  <a:gd name="T14" fmla="*/ 11 w 11"/>
                  <a:gd name="T15" fmla="*/ 7 h 12"/>
                  <a:gd name="T16" fmla="*/ 9 w 11"/>
                  <a:gd name="T17" fmla="*/ 10 h 12"/>
                  <a:gd name="T18" fmla="*/ 5 w 11"/>
                  <a:gd name="T19" fmla="*/ 12 h 12"/>
                  <a:gd name="T20" fmla="*/ 5 w 11"/>
                  <a:gd name="T21" fmla="*/ 12 h 12"/>
                  <a:gd name="T22" fmla="*/ 2 w 11"/>
                  <a:gd name="T23" fmla="*/ 10 h 12"/>
                  <a:gd name="T24" fmla="*/ 0 w 11"/>
                  <a:gd name="T25" fmla="*/ 7 h 12"/>
                  <a:gd name="T26" fmla="*/ 0 w 11"/>
                  <a:gd name="T27" fmla="*/ 7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 h="12">
                    <a:moveTo>
                      <a:pt x="0" y="7"/>
                    </a:moveTo>
                    <a:lnTo>
                      <a:pt x="0" y="7"/>
                    </a:lnTo>
                    <a:lnTo>
                      <a:pt x="2" y="1"/>
                    </a:lnTo>
                    <a:lnTo>
                      <a:pt x="5" y="0"/>
                    </a:lnTo>
                    <a:lnTo>
                      <a:pt x="5" y="0"/>
                    </a:lnTo>
                    <a:lnTo>
                      <a:pt x="9" y="1"/>
                    </a:lnTo>
                    <a:lnTo>
                      <a:pt x="11" y="7"/>
                    </a:lnTo>
                    <a:lnTo>
                      <a:pt x="11" y="7"/>
                    </a:lnTo>
                    <a:lnTo>
                      <a:pt x="9" y="10"/>
                    </a:lnTo>
                    <a:lnTo>
                      <a:pt x="5" y="12"/>
                    </a:lnTo>
                    <a:lnTo>
                      <a:pt x="5" y="12"/>
                    </a:lnTo>
                    <a:lnTo>
                      <a:pt x="2" y="10"/>
                    </a:lnTo>
                    <a:lnTo>
                      <a:pt x="0" y="7"/>
                    </a:lnTo>
                    <a:lnTo>
                      <a:pt x="0" y="7"/>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914191">
                  <a:defRPr/>
                </a:pPr>
                <a:endParaRPr lang="en-US" sz="1764">
                  <a:solidFill>
                    <a:srgbClr val="FFFFFF"/>
                  </a:solidFill>
                  <a:latin typeface="Segoe UI"/>
                </a:endParaRPr>
              </a:p>
            </p:txBody>
          </p:sp>
          <p:sp>
            <p:nvSpPr>
              <p:cNvPr id="407" name="Rectangle 529"/>
              <p:cNvSpPr>
                <a:spLocks noChangeArrowheads="1"/>
              </p:cNvSpPr>
              <p:nvPr/>
            </p:nvSpPr>
            <p:spPr bwMode="auto">
              <a:xfrm>
                <a:off x="3112" y="1996"/>
                <a:ext cx="92" cy="2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29" tIns="44815" rIns="89629" bIns="44815" numCol="1" anchor="t" anchorCtr="0" compatLnSpc="1">
                <a:prstTxWarp prst="textNoShape">
                  <a:avLst/>
                </a:prstTxWarp>
              </a:bodyPr>
              <a:lstStyle/>
              <a:p>
                <a:pPr defTabSz="914191">
                  <a:defRPr/>
                </a:pPr>
                <a:endParaRPr lang="en-US" sz="1764">
                  <a:solidFill>
                    <a:srgbClr val="FFFFFF"/>
                  </a:solidFill>
                  <a:latin typeface="Segoe UI"/>
                </a:endParaRPr>
              </a:p>
            </p:txBody>
          </p:sp>
          <p:sp>
            <p:nvSpPr>
              <p:cNvPr id="408" name="Rectangle 530"/>
              <p:cNvSpPr>
                <a:spLocks noChangeArrowheads="1"/>
              </p:cNvSpPr>
              <p:nvPr/>
            </p:nvSpPr>
            <p:spPr bwMode="auto">
              <a:xfrm>
                <a:off x="3116" y="2000"/>
                <a:ext cx="3"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29" tIns="44815" rIns="89629" bIns="44815" numCol="1" anchor="t" anchorCtr="0" compatLnSpc="1">
                <a:prstTxWarp prst="textNoShape">
                  <a:avLst/>
                </a:prstTxWarp>
              </a:bodyPr>
              <a:lstStyle/>
              <a:p>
                <a:pPr defTabSz="914191">
                  <a:defRPr/>
                </a:pPr>
                <a:endParaRPr lang="en-US" sz="1764">
                  <a:solidFill>
                    <a:srgbClr val="FFFFFF"/>
                  </a:solidFill>
                  <a:latin typeface="Segoe UI"/>
                </a:endParaRPr>
              </a:p>
            </p:txBody>
          </p:sp>
          <p:sp>
            <p:nvSpPr>
              <p:cNvPr id="409" name="Rectangle 531"/>
              <p:cNvSpPr>
                <a:spLocks noChangeArrowheads="1"/>
              </p:cNvSpPr>
              <p:nvPr/>
            </p:nvSpPr>
            <p:spPr bwMode="auto">
              <a:xfrm>
                <a:off x="3121" y="2000"/>
                <a:ext cx="4"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29" tIns="44815" rIns="89629" bIns="44815" numCol="1" anchor="t" anchorCtr="0" compatLnSpc="1">
                <a:prstTxWarp prst="textNoShape">
                  <a:avLst/>
                </a:prstTxWarp>
              </a:bodyPr>
              <a:lstStyle/>
              <a:p>
                <a:pPr defTabSz="914191">
                  <a:defRPr/>
                </a:pPr>
                <a:endParaRPr lang="en-US" sz="1764">
                  <a:solidFill>
                    <a:srgbClr val="FFFFFF"/>
                  </a:solidFill>
                  <a:latin typeface="Segoe UI"/>
                </a:endParaRPr>
              </a:p>
            </p:txBody>
          </p:sp>
          <p:sp>
            <p:nvSpPr>
              <p:cNvPr id="410" name="Rectangle 532"/>
              <p:cNvSpPr>
                <a:spLocks noChangeArrowheads="1"/>
              </p:cNvSpPr>
              <p:nvPr/>
            </p:nvSpPr>
            <p:spPr bwMode="auto">
              <a:xfrm>
                <a:off x="3127" y="2000"/>
                <a:ext cx="2"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29" tIns="44815" rIns="89629" bIns="44815" numCol="1" anchor="t" anchorCtr="0" compatLnSpc="1">
                <a:prstTxWarp prst="textNoShape">
                  <a:avLst/>
                </a:prstTxWarp>
              </a:bodyPr>
              <a:lstStyle/>
              <a:p>
                <a:pPr defTabSz="914191">
                  <a:defRPr/>
                </a:pPr>
                <a:endParaRPr lang="en-US" sz="1764">
                  <a:solidFill>
                    <a:srgbClr val="FFFFFF"/>
                  </a:solidFill>
                  <a:latin typeface="Segoe UI"/>
                </a:endParaRPr>
              </a:p>
            </p:txBody>
          </p:sp>
          <p:sp>
            <p:nvSpPr>
              <p:cNvPr id="411" name="Rectangle 533"/>
              <p:cNvSpPr>
                <a:spLocks noChangeArrowheads="1"/>
              </p:cNvSpPr>
              <p:nvPr/>
            </p:nvSpPr>
            <p:spPr bwMode="auto">
              <a:xfrm>
                <a:off x="3131" y="2000"/>
                <a:ext cx="3"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29" tIns="44815" rIns="89629" bIns="44815" numCol="1" anchor="t" anchorCtr="0" compatLnSpc="1">
                <a:prstTxWarp prst="textNoShape">
                  <a:avLst/>
                </a:prstTxWarp>
              </a:bodyPr>
              <a:lstStyle/>
              <a:p>
                <a:pPr defTabSz="914191">
                  <a:defRPr/>
                </a:pPr>
                <a:endParaRPr lang="en-US" sz="1764">
                  <a:solidFill>
                    <a:srgbClr val="FFFFFF"/>
                  </a:solidFill>
                  <a:latin typeface="Segoe UI"/>
                </a:endParaRPr>
              </a:p>
            </p:txBody>
          </p:sp>
          <p:sp>
            <p:nvSpPr>
              <p:cNvPr id="412" name="Rectangle 534"/>
              <p:cNvSpPr>
                <a:spLocks noChangeArrowheads="1"/>
              </p:cNvSpPr>
              <p:nvPr/>
            </p:nvSpPr>
            <p:spPr bwMode="auto">
              <a:xfrm>
                <a:off x="3136" y="2000"/>
                <a:ext cx="2"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29" tIns="44815" rIns="89629" bIns="44815" numCol="1" anchor="t" anchorCtr="0" compatLnSpc="1">
                <a:prstTxWarp prst="textNoShape">
                  <a:avLst/>
                </a:prstTxWarp>
              </a:bodyPr>
              <a:lstStyle/>
              <a:p>
                <a:pPr defTabSz="914191">
                  <a:defRPr/>
                </a:pPr>
                <a:endParaRPr lang="en-US" sz="1764">
                  <a:solidFill>
                    <a:srgbClr val="FFFFFF"/>
                  </a:solidFill>
                  <a:latin typeface="Segoe UI"/>
                </a:endParaRPr>
              </a:p>
            </p:txBody>
          </p:sp>
          <p:sp>
            <p:nvSpPr>
              <p:cNvPr id="413" name="Rectangle 535"/>
              <p:cNvSpPr>
                <a:spLocks noChangeArrowheads="1"/>
              </p:cNvSpPr>
              <p:nvPr/>
            </p:nvSpPr>
            <p:spPr bwMode="auto">
              <a:xfrm>
                <a:off x="3141" y="2000"/>
                <a:ext cx="3"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29" tIns="44815" rIns="89629" bIns="44815" numCol="1" anchor="t" anchorCtr="0" compatLnSpc="1">
                <a:prstTxWarp prst="textNoShape">
                  <a:avLst/>
                </a:prstTxWarp>
              </a:bodyPr>
              <a:lstStyle/>
              <a:p>
                <a:pPr defTabSz="914191">
                  <a:defRPr/>
                </a:pPr>
                <a:endParaRPr lang="en-US" sz="1764">
                  <a:solidFill>
                    <a:srgbClr val="FFFFFF"/>
                  </a:solidFill>
                  <a:latin typeface="Segoe UI"/>
                </a:endParaRPr>
              </a:p>
            </p:txBody>
          </p:sp>
          <p:sp>
            <p:nvSpPr>
              <p:cNvPr id="414" name="Freeform 536"/>
              <p:cNvSpPr>
                <a:spLocks/>
              </p:cNvSpPr>
              <p:nvPr/>
            </p:nvSpPr>
            <p:spPr bwMode="auto">
              <a:xfrm>
                <a:off x="3190" y="2006"/>
                <a:ext cx="6" cy="6"/>
              </a:xfrm>
              <a:custGeom>
                <a:avLst/>
                <a:gdLst>
                  <a:gd name="T0" fmla="*/ 0 w 11"/>
                  <a:gd name="T1" fmla="*/ 5 h 10"/>
                  <a:gd name="T2" fmla="*/ 0 w 11"/>
                  <a:gd name="T3" fmla="*/ 5 h 10"/>
                  <a:gd name="T4" fmla="*/ 2 w 11"/>
                  <a:gd name="T5" fmla="*/ 1 h 10"/>
                  <a:gd name="T6" fmla="*/ 5 w 11"/>
                  <a:gd name="T7" fmla="*/ 0 h 10"/>
                  <a:gd name="T8" fmla="*/ 5 w 11"/>
                  <a:gd name="T9" fmla="*/ 0 h 10"/>
                  <a:gd name="T10" fmla="*/ 9 w 11"/>
                  <a:gd name="T11" fmla="*/ 1 h 10"/>
                  <a:gd name="T12" fmla="*/ 11 w 11"/>
                  <a:gd name="T13" fmla="*/ 5 h 10"/>
                  <a:gd name="T14" fmla="*/ 11 w 11"/>
                  <a:gd name="T15" fmla="*/ 5 h 10"/>
                  <a:gd name="T16" fmla="*/ 9 w 11"/>
                  <a:gd name="T17" fmla="*/ 9 h 10"/>
                  <a:gd name="T18" fmla="*/ 5 w 11"/>
                  <a:gd name="T19" fmla="*/ 10 h 10"/>
                  <a:gd name="T20" fmla="*/ 5 w 11"/>
                  <a:gd name="T21" fmla="*/ 10 h 10"/>
                  <a:gd name="T22" fmla="*/ 2 w 11"/>
                  <a:gd name="T23" fmla="*/ 9 h 10"/>
                  <a:gd name="T24" fmla="*/ 0 w 11"/>
                  <a:gd name="T25" fmla="*/ 5 h 10"/>
                  <a:gd name="T26" fmla="*/ 0 w 11"/>
                  <a:gd name="T27" fmla="*/ 5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 h="10">
                    <a:moveTo>
                      <a:pt x="0" y="5"/>
                    </a:moveTo>
                    <a:lnTo>
                      <a:pt x="0" y="5"/>
                    </a:lnTo>
                    <a:lnTo>
                      <a:pt x="2" y="1"/>
                    </a:lnTo>
                    <a:lnTo>
                      <a:pt x="5" y="0"/>
                    </a:lnTo>
                    <a:lnTo>
                      <a:pt x="5" y="0"/>
                    </a:lnTo>
                    <a:lnTo>
                      <a:pt x="9" y="1"/>
                    </a:lnTo>
                    <a:lnTo>
                      <a:pt x="11" y="5"/>
                    </a:lnTo>
                    <a:lnTo>
                      <a:pt x="11" y="5"/>
                    </a:lnTo>
                    <a:lnTo>
                      <a:pt x="9" y="9"/>
                    </a:lnTo>
                    <a:lnTo>
                      <a:pt x="5" y="10"/>
                    </a:lnTo>
                    <a:lnTo>
                      <a:pt x="5" y="10"/>
                    </a:lnTo>
                    <a:lnTo>
                      <a:pt x="2" y="9"/>
                    </a:lnTo>
                    <a:lnTo>
                      <a:pt x="0" y="5"/>
                    </a:lnTo>
                    <a:lnTo>
                      <a:pt x="0" y="5"/>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914191">
                  <a:defRPr/>
                </a:pPr>
                <a:endParaRPr lang="en-US" sz="1764">
                  <a:solidFill>
                    <a:srgbClr val="FFFFFF"/>
                  </a:solidFill>
                  <a:latin typeface="Segoe UI"/>
                </a:endParaRPr>
              </a:p>
            </p:txBody>
          </p:sp>
          <p:sp>
            <p:nvSpPr>
              <p:cNvPr id="415" name="Rectangle 537"/>
              <p:cNvSpPr>
                <a:spLocks noChangeArrowheads="1"/>
              </p:cNvSpPr>
              <p:nvPr/>
            </p:nvSpPr>
            <p:spPr bwMode="auto">
              <a:xfrm>
                <a:off x="3112" y="2028"/>
                <a:ext cx="92" cy="2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29" tIns="44815" rIns="89629" bIns="44815" numCol="1" anchor="t" anchorCtr="0" compatLnSpc="1">
                <a:prstTxWarp prst="textNoShape">
                  <a:avLst/>
                </a:prstTxWarp>
              </a:bodyPr>
              <a:lstStyle/>
              <a:p>
                <a:pPr defTabSz="914191">
                  <a:defRPr/>
                </a:pPr>
                <a:endParaRPr lang="en-US" sz="1764">
                  <a:solidFill>
                    <a:srgbClr val="FFFFFF"/>
                  </a:solidFill>
                  <a:latin typeface="Segoe UI"/>
                </a:endParaRPr>
              </a:p>
            </p:txBody>
          </p:sp>
          <p:sp>
            <p:nvSpPr>
              <p:cNvPr id="416" name="Rectangle 538"/>
              <p:cNvSpPr>
                <a:spLocks noChangeArrowheads="1"/>
              </p:cNvSpPr>
              <p:nvPr/>
            </p:nvSpPr>
            <p:spPr bwMode="auto">
              <a:xfrm>
                <a:off x="3116" y="2031"/>
                <a:ext cx="3" cy="1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29" tIns="44815" rIns="89629" bIns="44815" numCol="1" anchor="t" anchorCtr="0" compatLnSpc="1">
                <a:prstTxWarp prst="textNoShape">
                  <a:avLst/>
                </a:prstTxWarp>
              </a:bodyPr>
              <a:lstStyle/>
              <a:p>
                <a:pPr defTabSz="914191">
                  <a:defRPr/>
                </a:pPr>
                <a:endParaRPr lang="en-US" sz="1764">
                  <a:solidFill>
                    <a:srgbClr val="FFFFFF"/>
                  </a:solidFill>
                  <a:latin typeface="Segoe UI"/>
                </a:endParaRPr>
              </a:p>
            </p:txBody>
          </p:sp>
          <p:sp>
            <p:nvSpPr>
              <p:cNvPr id="417" name="Rectangle 539"/>
              <p:cNvSpPr>
                <a:spLocks noChangeArrowheads="1"/>
              </p:cNvSpPr>
              <p:nvPr/>
            </p:nvSpPr>
            <p:spPr bwMode="auto">
              <a:xfrm>
                <a:off x="3121" y="2031"/>
                <a:ext cx="4" cy="1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29" tIns="44815" rIns="89629" bIns="44815" numCol="1" anchor="t" anchorCtr="0" compatLnSpc="1">
                <a:prstTxWarp prst="textNoShape">
                  <a:avLst/>
                </a:prstTxWarp>
              </a:bodyPr>
              <a:lstStyle/>
              <a:p>
                <a:pPr defTabSz="914191">
                  <a:defRPr/>
                </a:pPr>
                <a:endParaRPr lang="en-US" sz="1764">
                  <a:solidFill>
                    <a:srgbClr val="FFFFFF"/>
                  </a:solidFill>
                  <a:latin typeface="Segoe UI"/>
                </a:endParaRPr>
              </a:p>
            </p:txBody>
          </p:sp>
          <p:sp>
            <p:nvSpPr>
              <p:cNvPr id="418" name="Rectangle 540"/>
              <p:cNvSpPr>
                <a:spLocks noChangeArrowheads="1"/>
              </p:cNvSpPr>
              <p:nvPr/>
            </p:nvSpPr>
            <p:spPr bwMode="auto">
              <a:xfrm>
                <a:off x="3127" y="2031"/>
                <a:ext cx="2" cy="1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29" tIns="44815" rIns="89629" bIns="44815" numCol="1" anchor="t" anchorCtr="0" compatLnSpc="1">
                <a:prstTxWarp prst="textNoShape">
                  <a:avLst/>
                </a:prstTxWarp>
              </a:bodyPr>
              <a:lstStyle/>
              <a:p>
                <a:pPr defTabSz="914191">
                  <a:defRPr/>
                </a:pPr>
                <a:endParaRPr lang="en-US" sz="1764">
                  <a:solidFill>
                    <a:srgbClr val="FFFFFF"/>
                  </a:solidFill>
                  <a:latin typeface="Segoe UI"/>
                </a:endParaRPr>
              </a:p>
            </p:txBody>
          </p:sp>
          <p:sp>
            <p:nvSpPr>
              <p:cNvPr id="419" name="Rectangle 541"/>
              <p:cNvSpPr>
                <a:spLocks noChangeArrowheads="1"/>
              </p:cNvSpPr>
              <p:nvPr/>
            </p:nvSpPr>
            <p:spPr bwMode="auto">
              <a:xfrm>
                <a:off x="3131" y="2031"/>
                <a:ext cx="3" cy="1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29" tIns="44815" rIns="89629" bIns="44815" numCol="1" anchor="t" anchorCtr="0" compatLnSpc="1">
                <a:prstTxWarp prst="textNoShape">
                  <a:avLst/>
                </a:prstTxWarp>
              </a:bodyPr>
              <a:lstStyle/>
              <a:p>
                <a:pPr defTabSz="914191">
                  <a:defRPr/>
                </a:pPr>
                <a:endParaRPr lang="en-US" sz="1764">
                  <a:solidFill>
                    <a:srgbClr val="FFFFFF"/>
                  </a:solidFill>
                  <a:latin typeface="Segoe UI"/>
                </a:endParaRPr>
              </a:p>
            </p:txBody>
          </p:sp>
          <p:sp>
            <p:nvSpPr>
              <p:cNvPr id="420" name="Rectangle 542"/>
              <p:cNvSpPr>
                <a:spLocks noChangeArrowheads="1"/>
              </p:cNvSpPr>
              <p:nvPr/>
            </p:nvSpPr>
            <p:spPr bwMode="auto">
              <a:xfrm>
                <a:off x="3136" y="2031"/>
                <a:ext cx="2" cy="1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29" tIns="44815" rIns="89629" bIns="44815" numCol="1" anchor="t" anchorCtr="0" compatLnSpc="1">
                <a:prstTxWarp prst="textNoShape">
                  <a:avLst/>
                </a:prstTxWarp>
              </a:bodyPr>
              <a:lstStyle/>
              <a:p>
                <a:pPr defTabSz="914191">
                  <a:defRPr/>
                </a:pPr>
                <a:endParaRPr lang="en-US" sz="1764">
                  <a:solidFill>
                    <a:srgbClr val="FFFFFF"/>
                  </a:solidFill>
                  <a:latin typeface="Segoe UI"/>
                </a:endParaRPr>
              </a:p>
            </p:txBody>
          </p:sp>
          <p:sp>
            <p:nvSpPr>
              <p:cNvPr id="421" name="Rectangle 543"/>
              <p:cNvSpPr>
                <a:spLocks noChangeArrowheads="1"/>
              </p:cNvSpPr>
              <p:nvPr/>
            </p:nvSpPr>
            <p:spPr bwMode="auto">
              <a:xfrm>
                <a:off x="3141" y="2031"/>
                <a:ext cx="3" cy="1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29" tIns="44815" rIns="89629" bIns="44815" numCol="1" anchor="t" anchorCtr="0" compatLnSpc="1">
                <a:prstTxWarp prst="textNoShape">
                  <a:avLst/>
                </a:prstTxWarp>
              </a:bodyPr>
              <a:lstStyle/>
              <a:p>
                <a:pPr defTabSz="914191">
                  <a:defRPr/>
                </a:pPr>
                <a:endParaRPr lang="en-US" sz="1764">
                  <a:solidFill>
                    <a:srgbClr val="FFFFFF"/>
                  </a:solidFill>
                  <a:latin typeface="Segoe UI"/>
                </a:endParaRPr>
              </a:p>
            </p:txBody>
          </p:sp>
          <p:sp>
            <p:nvSpPr>
              <p:cNvPr id="422" name="Freeform 544"/>
              <p:cNvSpPr>
                <a:spLocks/>
              </p:cNvSpPr>
              <p:nvPr/>
            </p:nvSpPr>
            <p:spPr bwMode="auto">
              <a:xfrm>
                <a:off x="3190" y="2036"/>
                <a:ext cx="6" cy="4"/>
              </a:xfrm>
              <a:custGeom>
                <a:avLst/>
                <a:gdLst>
                  <a:gd name="T0" fmla="*/ 0 w 11"/>
                  <a:gd name="T1" fmla="*/ 5 h 9"/>
                  <a:gd name="T2" fmla="*/ 0 w 11"/>
                  <a:gd name="T3" fmla="*/ 5 h 9"/>
                  <a:gd name="T4" fmla="*/ 2 w 11"/>
                  <a:gd name="T5" fmla="*/ 2 h 9"/>
                  <a:gd name="T6" fmla="*/ 5 w 11"/>
                  <a:gd name="T7" fmla="*/ 0 h 9"/>
                  <a:gd name="T8" fmla="*/ 5 w 11"/>
                  <a:gd name="T9" fmla="*/ 0 h 9"/>
                  <a:gd name="T10" fmla="*/ 9 w 11"/>
                  <a:gd name="T11" fmla="*/ 2 h 9"/>
                  <a:gd name="T12" fmla="*/ 11 w 11"/>
                  <a:gd name="T13" fmla="*/ 5 h 9"/>
                  <a:gd name="T14" fmla="*/ 11 w 11"/>
                  <a:gd name="T15" fmla="*/ 5 h 9"/>
                  <a:gd name="T16" fmla="*/ 9 w 11"/>
                  <a:gd name="T17" fmla="*/ 7 h 9"/>
                  <a:gd name="T18" fmla="*/ 5 w 11"/>
                  <a:gd name="T19" fmla="*/ 9 h 9"/>
                  <a:gd name="T20" fmla="*/ 5 w 11"/>
                  <a:gd name="T21" fmla="*/ 9 h 9"/>
                  <a:gd name="T22" fmla="*/ 2 w 11"/>
                  <a:gd name="T23" fmla="*/ 7 h 9"/>
                  <a:gd name="T24" fmla="*/ 0 w 11"/>
                  <a:gd name="T25" fmla="*/ 5 h 9"/>
                  <a:gd name="T26" fmla="*/ 0 w 11"/>
                  <a:gd name="T27" fmla="*/ 5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 h="9">
                    <a:moveTo>
                      <a:pt x="0" y="5"/>
                    </a:moveTo>
                    <a:lnTo>
                      <a:pt x="0" y="5"/>
                    </a:lnTo>
                    <a:lnTo>
                      <a:pt x="2" y="2"/>
                    </a:lnTo>
                    <a:lnTo>
                      <a:pt x="5" y="0"/>
                    </a:lnTo>
                    <a:lnTo>
                      <a:pt x="5" y="0"/>
                    </a:lnTo>
                    <a:lnTo>
                      <a:pt x="9" y="2"/>
                    </a:lnTo>
                    <a:lnTo>
                      <a:pt x="11" y="5"/>
                    </a:lnTo>
                    <a:lnTo>
                      <a:pt x="11" y="5"/>
                    </a:lnTo>
                    <a:lnTo>
                      <a:pt x="9" y="7"/>
                    </a:lnTo>
                    <a:lnTo>
                      <a:pt x="5" y="9"/>
                    </a:lnTo>
                    <a:lnTo>
                      <a:pt x="5" y="9"/>
                    </a:lnTo>
                    <a:lnTo>
                      <a:pt x="2" y="7"/>
                    </a:lnTo>
                    <a:lnTo>
                      <a:pt x="0" y="5"/>
                    </a:lnTo>
                    <a:lnTo>
                      <a:pt x="0" y="5"/>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914191">
                  <a:defRPr/>
                </a:pPr>
                <a:endParaRPr lang="en-US" sz="1764">
                  <a:solidFill>
                    <a:srgbClr val="FFFFFF"/>
                  </a:solidFill>
                  <a:latin typeface="Segoe UI"/>
                </a:endParaRPr>
              </a:p>
            </p:txBody>
          </p:sp>
          <p:sp>
            <p:nvSpPr>
              <p:cNvPr id="423" name="Rectangle 545"/>
              <p:cNvSpPr>
                <a:spLocks noChangeArrowheads="1"/>
              </p:cNvSpPr>
              <p:nvPr/>
            </p:nvSpPr>
            <p:spPr bwMode="auto">
              <a:xfrm>
                <a:off x="3112" y="2057"/>
                <a:ext cx="92" cy="2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29" tIns="44815" rIns="89629" bIns="44815" numCol="1" anchor="t" anchorCtr="0" compatLnSpc="1">
                <a:prstTxWarp prst="textNoShape">
                  <a:avLst/>
                </a:prstTxWarp>
              </a:bodyPr>
              <a:lstStyle/>
              <a:p>
                <a:pPr defTabSz="914191">
                  <a:defRPr/>
                </a:pPr>
                <a:endParaRPr lang="en-US" sz="1764">
                  <a:solidFill>
                    <a:srgbClr val="FFFFFF"/>
                  </a:solidFill>
                  <a:latin typeface="Segoe UI"/>
                </a:endParaRPr>
              </a:p>
            </p:txBody>
          </p:sp>
          <p:sp>
            <p:nvSpPr>
              <p:cNvPr id="424" name="Rectangle 546"/>
              <p:cNvSpPr>
                <a:spLocks noChangeArrowheads="1"/>
              </p:cNvSpPr>
              <p:nvPr/>
            </p:nvSpPr>
            <p:spPr bwMode="auto">
              <a:xfrm>
                <a:off x="3116" y="2060"/>
                <a:ext cx="3"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29" tIns="44815" rIns="89629" bIns="44815" numCol="1" anchor="t" anchorCtr="0" compatLnSpc="1">
                <a:prstTxWarp prst="textNoShape">
                  <a:avLst/>
                </a:prstTxWarp>
              </a:bodyPr>
              <a:lstStyle/>
              <a:p>
                <a:pPr defTabSz="914191">
                  <a:defRPr/>
                </a:pPr>
                <a:endParaRPr lang="en-US" sz="1764">
                  <a:solidFill>
                    <a:srgbClr val="FFFFFF"/>
                  </a:solidFill>
                  <a:latin typeface="Segoe UI"/>
                </a:endParaRPr>
              </a:p>
            </p:txBody>
          </p:sp>
          <p:sp>
            <p:nvSpPr>
              <p:cNvPr id="425" name="Rectangle 547"/>
              <p:cNvSpPr>
                <a:spLocks noChangeArrowheads="1"/>
              </p:cNvSpPr>
              <p:nvPr/>
            </p:nvSpPr>
            <p:spPr bwMode="auto">
              <a:xfrm>
                <a:off x="3121" y="2060"/>
                <a:ext cx="4"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29" tIns="44815" rIns="89629" bIns="44815" numCol="1" anchor="t" anchorCtr="0" compatLnSpc="1">
                <a:prstTxWarp prst="textNoShape">
                  <a:avLst/>
                </a:prstTxWarp>
              </a:bodyPr>
              <a:lstStyle/>
              <a:p>
                <a:pPr defTabSz="914191">
                  <a:defRPr/>
                </a:pPr>
                <a:endParaRPr lang="en-US" sz="1764">
                  <a:solidFill>
                    <a:srgbClr val="FFFFFF"/>
                  </a:solidFill>
                  <a:latin typeface="Segoe UI"/>
                </a:endParaRPr>
              </a:p>
            </p:txBody>
          </p:sp>
          <p:sp>
            <p:nvSpPr>
              <p:cNvPr id="426" name="Rectangle 548"/>
              <p:cNvSpPr>
                <a:spLocks noChangeArrowheads="1"/>
              </p:cNvSpPr>
              <p:nvPr/>
            </p:nvSpPr>
            <p:spPr bwMode="auto">
              <a:xfrm>
                <a:off x="3127" y="2060"/>
                <a:ext cx="2"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29" tIns="44815" rIns="89629" bIns="44815" numCol="1" anchor="t" anchorCtr="0" compatLnSpc="1">
                <a:prstTxWarp prst="textNoShape">
                  <a:avLst/>
                </a:prstTxWarp>
              </a:bodyPr>
              <a:lstStyle/>
              <a:p>
                <a:pPr defTabSz="914191">
                  <a:defRPr/>
                </a:pPr>
                <a:endParaRPr lang="en-US" sz="1764">
                  <a:solidFill>
                    <a:srgbClr val="FFFFFF"/>
                  </a:solidFill>
                  <a:latin typeface="Segoe UI"/>
                </a:endParaRPr>
              </a:p>
            </p:txBody>
          </p:sp>
          <p:sp>
            <p:nvSpPr>
              <p:cNvPr id="427" name="Rectangle 549"/>
              <p:cNvSpPr>
                <a:spLocks noChangeArrowheads="1"/>
              </p:cNvSpPr>
              <p:nvPr/>
            </p:nvSpPr>
            <p:spPr bwMode="auto">
              <a:xfrm>
                <a:off x="3131" y="2060"/>
                <a:ext cx="3"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29" tIns="44815" rIns="89629" bIns="44815" numCol="1" anchor="t" anchorCtr="0" compatLnSpc="1">
                <a:prstTxWarp prst="textNoShape">
                  <a:avLst/>
                </a:prstTxWarp>
              </a:bodyPr>
              <a:lstStyle/>
              <a:p>
                <a:pPr defTabSz="914191">
                  <a:defRPr/>
                </a:pPr>
                <a:endParaRPr lang="en-US" sz="1764">
                  <a:solidFill>
                    <a:srgbClr val="FFFFFF"/>
                  </a:solidFill>
                  <a:latin typeface="Segoe UI"/>
                </a:endParaRPr>
              </a:p>
            </p:txBody>
          </p:sp>
          <p:sp>
            <p:nvSpPr>
              <p:cNvPr id="428" name="Rectangle 550"/>
              <p:cNvSpPr>
                <a:spLocks noChangeArrowheads="1"/>
              </p:cNvSpPr>
              <p:nvPr/>
            </p:nvSpPr>
            <p:spPr bwMode="auto">
              <a:xfrm>
                <a:off x="3136" y="2060"/>
                <a:ext cx="2"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29" tIns="44815" rIns="89629" bIns="44815" numCol="1" anchor="t" anchorCtr="0" compatLnSpc="1">
                <a:prstTxWarp prst="textNoShape">
                  <a:avLst/>
                </a:prstTxWarp>
              </a:bodyPr>
              <a:lstStyle/>
              <a:p>
                <a:pPr defTabSz="914191">
                  <a:defRPr/>
                </a:pPr>
                <a:endParaRPr lang="en-US" sz="1764">
                  <a:solidFill>
                    <a:srgbClr val="FFFFFF"/>
                  </a:solidFill>
                  <a:latin typeface="Segoe UI"/>
                </a:endParaRPr>
              </a:p>
            </p:txBody>
          </p:sp>
          <p:sp>
            <p:nvSpPr>
              <p:cNvPr id="429" name="Rectangle 551"/>
              <p:cNvSpPr>
                <a:spLocks noChangeArrowheads="1"/>
              </p:cNvSpPr>
              <p:nvPr/>
            </p:nvSpPr>
            <p:spPr bwMode="auto">
              <a:xfrm>
                <a:off x="3141" y="2060"/>
                <a:ext cx="3"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29" tIns="44815" rIns="89629" bIns="44815" numCol="1" anchor="t" anchorCtr="0" compatLnSpc="1">
                <a:prstTxWarp prst="textNoShape">
                  <a:avLst/>
                </a:prstTxWarp>
              </a:bodyPr>
              <a:lstStyle/>
              <a:p>
                <a:pPr defTabSz="914191">
                  <a:defRPr/>
                </a:pPr>
                <a:endParaRPr lang="en-US" sz="1764">
                  <a:solidFill>
                    <a:srgbClr val="FFFFFF"/>
                  </a:solidFill>
                  <a:latin typeface="Segoe UI"/>
                </a:endParaRPr>
              </a:p>
            </p:txBody>
          </p:sp>
          <p:sp>
            <p:nvSpPr>
              <p:cNvPr id="430" name="Freeform 552"/>
              <p:cNvSpPr>
                <a:spLocks/>
              </p:cNvSpPr>
              <p:nvPr/>
            </p:nvSpPr>
            <p:spPr bwMode="auto">
              <a:xfrm>
                <a:off x="3190" y="2066"/>
                <a:ext cx="6" cy="6"/>
              </a:xfrm>
              <a:custGeom>
                <a:avLst/>
                <a:gdLst>
                  <a:gd name="T0" fmla="*/ 0 w 11"/>
                  <a:gd name="T1" fmla="*/ 6 h 13"/>
                  <a:gd name="T2" fmla="*/ 0 w 11"/>
                  <a:gd name="T3" fmla="*/ 6 h 13"/>
                  <a:gd name="T4" fmla="*/ 2 w 11"/>
                  <a:gd name="T5" fmla="*/ 2 h 13"/>
                  <a:gd name="T6" fmla="*/ 5 w 11"/>
                  <a:gd name="T7" fmla="*/ 0 h 13"/>
                  <a:gd name="T8" fmla="*/ 5 w 11"/>
                  <a:gd name="T9" fmla="*/ 0 h 13"/>
                  <a:gd name="T10" fmla="*/ 9 w 11"/>
                  <a:gd name="T11" fmla="*/ 2 h 13"/>
                  <a:gd name="T12" fmla="*/ 11 w 11"/>
                  <a:gd name="T13" fmla="*/ 6 h 13"/>
                  <a:gd name="T14" fmla="*/ 11 w 11"/>
                  <a:gd name="T15" fmla="*/ 6 h 13"/>
                  <a:gd name="T16" fmla="*/ 9 w 11"/>
                  <a:gd name="T17" fmla="*/ 11 h 13"/>
                  <a:gd name="T18" fmla="*/ 5 w 11"/>
                  <a:gd name="T19" fmla="*/ 13 h 13"/>
                  <a:gd name="T20" fmla="*/ 5 w 11"/>
                  <a:gd name="T21" fmla="*/ 13 h 13"/>
                  <a:gd name="T22" fmla="*/ 2 w 11"/>
                  <a:gd name="T23" fmla="*/ 11 h 13"/>
                  <a:gd name="T24" fmla="*/ 0 w 11"/>
                  <a:gd name="T25" fmla="*/ 6 h 13"/>
                  <a:gd name="T26" fmla="*/ 0 w 11"/>
                  <a:gd name="T27" fmla="*/ 6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 h="13">
                    <a:moveTo>
                      <a:pt x="0" y="6"/>
                    </a:moveTo>
                    <a:lnTo>
                      <a:pt x="0" y="6"/>
                    </a:lnTo>
                    <a:lnTo>
                      <a:pt x="2" y="2"/>
                    </a:lnTo>
                    <a:lnTo>
                      <a:pt x="5" y="0"/>
                    </a:lnTo>
                    <a:lnTo>
                      <a:pt x="5" y="0"/>
                    </a:lnTo>
                    <a:lnTo>
                      <a:pt x="9" y="2"/>
                    </a:lnTo>
                    <a:lnTo>
                      <a:pt x="11" y="6"/>
                    </a:lnTo>
                    <a:lnTo>
                      <a:pt x="11" y="6"/>
                    </a:lnTo>
                    <a:lnTo>
                      <a:pt x="9" y="11"/>
                    </a:lnTo>
                    <a:lnTo>
                      <a:pt x="5" y="13"/>
                    </a:lnTo>
                    <a:lnTo>
                      <a:pt x="5" y="13"/>
                    </a:lnTo>
                    <a:lnTo>
                      <a:pt x="2" y="11"/>
                    </a:lnTo>
                    <a:lnTo>
                      <a:pt x="0" y="6"/>
                    </a:lnTo>
                    <a:lnTo>
                      <a:pt x="0" y="6"/>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914191">
                  <a:defRPr/>
                </a:pPr>
                <a:endParaRPr lang="en-US" sz="1764">
                  <a:solidFill>
                    <a:srgbClr val="FFFFFF"/>
                  </a:solidFill>
                  <a:latin typeface="Segoe UI"/>
                </a:endParaRPr>
              </a:p>
            </p:txBody>
          </p:sp>
          <p:sp>
            <p:nvSpPr>
              <p:cNvPr id="431" name="Rectangle 553"/>
              <p:cNvSpPr>
                <a:spLocks noChangeArrowheads="1"/>
              </p:cNvSpPr>
              <p:nvPr/>
            </p:nvSpPr>
            <p:spPr bwMode="auto">
              <a:xfrm>
                <a:off x="3112" y="2087"/>
                <a:ext cx="92" cy="2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29" tIns="44815" rIns="89629" bIns="44815" numCol="1" anchor="t" anchorCtr="0" compatLnSpc="1">
                <a:prstTxWarp prst="textNoShape">
                  <a:avLst/>
                </a:prstTxWarp>
              </a:bodyPr>
              <a:lstStyle/>
              <a:p>
                <a:pPr defTabSz="914191">
                  <a:defRPr/>
                </a:pPr>
                <a:endParaRPr lang="en-US" sz="1764">
                  <a:solidFill>
                    <a:srgbClr val="FFFFFF"/>
                  </a:solidFill>
                  <a:latin typeface="Segoe UI"/>
                </a:endParaRPr>
              </a:p>
            </p:txBody>
          </p:sp>
          <p:sp>
            <p:nvSpPr>
              <p:cNvPr id="432" name="Rectangle 554"/>
              <p:cNvSpPr>
                <a:spLocks noChangeArrowheads="1"/>
              </p:cNvSpPr>
              <p:nvPr/>
            </p:nvSpPr>
            <p:spPr bwMode="auto">
              <a:xfrm>
                <a:off x="3116" y="2091"/>
                <a:ext cx="3"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29" tIns="44815" rIns="89629" bIns="44815" numCol="1" anchor="t" anchorCtr="0" compatLnSpc="1">
                <a:prstTxWarp prst="textNoShape">
                  <a:avLst/>
                </a:prstTxWarp>
              </a:bodyPr>
              <a:lstStyle/>
              <a:p>
                <a:pPr defTabSz="914191">
                  <a:defRPr/>
                </a:pPr>
                <a:endParaRPr lang="en-US" sz="1764">
                  <a:solidFill>
                    <a:srgbClr val="FFFFFF"/>
                  </a:solidFill>
                  <a:latin typeface="Segoe UI"/>
                </a:endParaRPr>
              </a:p>
            </p:txBody>
          </p:sp>
          <p:sp>
            <p:nvSpPr>
              <p:cNvPr id="433" name="Rectangle 555"/>
              <p:cNvSpPr>
                <a:spLocks noChangeArrowheads="1"/>
              </p:cNvSpPr>
              <p:nvPr/>
            </p:nvSpPr>
            <p:spPr bwMode="auto">
              <a:xfrm>
                <a:off x="3121" y="2091"/>
                <a:ext cx="4"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29" tIns="44815" rIns="89629" bIns="44815" numCol="1" anchor="t" anchorCtr="0" compatLnSpc="1">
                <a:prstTxWarp prst="textNoShape">
                  <a:avLst/>
                </a:prstTxWarp>
              </a:bodyPr>
              <a:lstStyle/>
              <a:p>
                <a:pPr defTabSz="914191">
                  <a:defRPr/>
                </a:pPr>
                <a:endParaRPr lang="en-US" sz="1764">
                  <a:solidFill>
                    <a:srgbClr val="FFFFFF"/>
                  </a:solidFill>
                  <a:latin typeface="Segoe UI"/>
                </a:endParaRPr>
              </a:p>
            </p:txBody>
          </p:sp>
          <p:sp>
            <p:nvSpPr>
              <p:cNvPr id="434" name="Rectangle 556"/>
              <p:cNvSpPr>
                <a:spLocks noChangeArrowheads="1"/>
              </p:cNvSpPr>
              <p:nvPr/>
            </p:nvSpPr>
            <p:spPr bwMode="auto">
              <a:xfrm>
                <a:off x="3127" y="2091"/>
                <a:ext cx="2"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29" tIns="44815" rIns="89629" bIns="44815" numCol="1" anchor="t" anchorCtr="0" compatLnSpc="1">
                <a:prstTxWarp prst="textNoShape">
                  <a:avLst/>
                </a:prstTxWarp>
              </a:bodyPr>
              <a:lstStyle/>
              <a:p>
                <a:pPr defTabSz="914191">
                  <a:defRPr/>
                </a:pPr>
                <a:endParaRPr lang="en-US" sz="1764">
                  <a:solidFill>
                    <a:srgbClr val="FFFFFF"/>
                  </a:solidFill>
                  <a:latin typeface="Segoe UI"/>
                </a:endParaRPr>
              </a:p>
            </p:txBody>
          </p:sp>
          <p:sp>
            <p:nvSpPr>
              <p:cNvPr id="435" name="Rectangle 557"/>
              <p:cNvSpPr>
                <a:spLocks noChangeArrowheads="1"/>
              </p:cNvSpPr>
              <p:nvPr/>
            </p:nvSpPr>
            <p:spPr bwMode="auto">
              <a:xfrm>
                <a:off x="3131" y="2091"/>
                <a:ext cx="3"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29" tIns="44815" rIns="89629" bIns="44815" numCol="1" anchor="t" anchorCtr="0" compatLnSpc="1">
                <a:prstTxWarp prst="textNoShape">
                  <a:avLst/>
                </a:prstTxWarp>
              </a:bodyPr>
              <a:lstStyle/>
              <a:p>
                <a:pPr defTabSz="914191">
                  <a:defRPr/>
                </a:pPr>
                <a:endParaRPr lang="en-US" sz="1764">
                  <a:solidFill>
                    <a:srgbClr val="FFFFFF"/>
                  </a:solidFill>
                  <a:latin typeface="Segoe UI"/>
                </a:endParaRPr>
              </a:p>
            </p:txBody>
          </p:sp>
          <p:sp>
            <p:nvSpPr>
              <p:cNvPr id="436" name="Rectangle 558"/>
              <p:cNvSpPr>
                <a:spLocks noChangeArrowheads="1"/>
              </p:cNvSpPr>
              <p:nvPr/>
            </p:nvSpPr>
            <p:spPr bwMode="auto">
              <a:xfrm>
                <a:off x="3136" y="2091"/>
                <a:ext cx="2"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29" tIns="44815" rIns="89629" bIns="44815" numCol="1" anchor="t" anchorCtr="0" compatLnSpc="1">
                <a:prstTxWarp prst="textNoShape">
                  <a:avLst/>
                </a:prstTxWarp>
              </a:bodyPr>
              <a:lstStyle/>
              <a:p>
                <a:pPr defTabSz="914191">
                  <a:defRPr/>
                </a:pPr>
                <a:endParaRPr lang="en-US" sz="1764">
                  <a:solidFill>
                    <a:srgbClr val="FFFFFF"/>
                  </a:solidFill>
                  <a:latin typeface="Segoe UI"/>
                </a:endParaRPr>
              </a:p>
            </p:txBody>
          </p:sp>
          <p:sp>
            <p:nvSpPr>
              <p:cNvPr id="437" name="Rectangle 559"/>
              <p:cNvSpPr>
                <a:spLocks noChangeArrowheads="1"/>
              </p:cNvSpPr>
              <p:nvPr/>
            </p:nvSpPr>
            <p:spPr bwMode="auto">
              <a:xfrm>
                <a:off x="3141" y="2091"/>
                <a:ext cx="3"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29" tIns="44815" rIns="89629" bIns="44815" numCol="1" anchor="t" anchorCtr="0" compatLnSpc="1">
                <a:prstTxWarp prst="textNoShape">
                  <a:avLst/>
                </a:prstTxWarp>
              </a:bodyPr>
              <a:lstStyle/>
              <a:p>
                <a:pPr defTabSz="914191">
                  <a:defRPr/>
                </a:pPr>
                <a:endParaRPr lang="en-US" sz="1764">
                  <a:solidFill>
                    <a:srgbClr val="FFFFFF"/>
                  </a:solidFill>
                  <a:latin typeface="Segoe UI"/>
                </a:endParaRPr>
              </a:p>
            </p:txBody>
          </p:sp>
          <p:sp>
            <p:nvSpPr>
              <p:cNvPr id="438" name="Freeform 560"/>
              <p:cNvSpPr>
                <a:spLocks/>
              </p:cNvSpPr>
              <p:nvPr/>
            </p:nvSpPr>
            <p:spPr bwMode="auto">
              <a:xfrm>
                <a:off x="3190" y="2096"/>
                <a:ext cx="6" cy="6"/>
              </a:xfrm>
              <a:custGeom>
                <a:avLst/>
                <a:gdLst>
                  <a:gd name="T0" fmla="*/ 0 w 11"/>
                  <a:gd name="T1" fmla="*/ 6 h 11"/>
                  <a:gd name="T2" fmla="*/ 0 w 11"/>
                  <a:gd name="T3" fmla="*/ 6 h 11"/>
                  <a:gd name="T4" fmla="*/ 2 w 11"/>
                  <a:gd name="T5" fmla="*/ 2 h 11"/>
                  <a:gd name="T6" fmla="*/ 5 w 11"/>
                  <a:gd name="T7" fmla="*/ 0 h 11"/>
                  <a:gd name="T8" fmla="*/ 5 w 11"/>
                  <a:gd name="T9" fmla="*/ 0 h 11"/>
                  <a:gd name="T10" fmla="*/ 9 w 11"/>
                  <a:gd name="T11" fmla="*/ 2 h 11"/>
                  <a:gd name="T12" fmla="*/ 11 w 11"/>
                  <a:gd name="T13" fmla="*/ 6 h 11"/>
                  <a:gd name="T14" fmla="*/ 11 w 11"/>
                  <a:gd name="T15" fmla="*/ 6 h 11"/>
                  <a:gd name="T16" fmla="*/ 9 w 11"/>
                  <a:gd name="T17" fmla="*/ 9 h 11"/>
                  <a:gd name="T18" fmla="*/ 5 w 11"/>
                  <a:gd name="T19" fmla="*/ 11 h 11"/>
                  <a:gd name="T20" fmla="*/ 5 w 11"/>
                  <a:gd name="T21" fmla="*/ 11 h 11"/>
                  <a:gd name="T22" fmla="*/ 2 w 11"/>
                  <a:gd name="T23" fmla="*/ 9 h 11"/>
                  <a:gd name="T24" fmla="*/ 0 w 11"/>
                  <a:gd name="T25" fmla="*/ 6 h 11"/>
                  <a:gd name="T26" fmla="*/ 0 w 11"/>
                  <a:gd name="T27" fmla="*/ 6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 h="11">
                    <a:moveTo>
                      <a:pt x="0" y="6"/>
                    </a:moveTo>
                    <a:lnTo>
                      <a:pt x="0" y="6"/>
                    </a:lnTo>
                    <a:lnTo>
                      <a:pt x="2" y="2"/>
                    </a:lnTo>
                    <a:lnTo>
                      <a:pt x="5" y="0"/>
                    </a:lnTo>
                    <a:lnTo>
                      <a:pt x="5" y="0"/>
                    </a:lnTo>
                    <a:lnTo>
                      <a:pt x="9" y="2"/>
                    </a:lnTo>
                    <a:lnTo>
                      <a:pt x="11" y="6"/>
                    </a:lnTo>
                    <a:lnTo>
                      <a:pt x="11" y="6"/>
                    </a:lnTo>
                    <a:lnTo>
                      <a:pt x="9" y="9"/>
                    </a:lnTo>
                    <a:lnTo>
                      <a:pt x="5" y="11"/>
                    </a:lnTo>
                    <a:lnTo>
                      <a:pt x="5" y="11"/>
                    </a:lnTo>
                    <a:lnTo>
                      <a:pt x="2" y="9"/>
                    </a:lnTo>
                    <a:lnTo>
                      <a:pt x="0" y="6"/>
                    </a:lnTo>
                    <a:lnTo>
                      <a:pt x="0" y="6"/>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914191">
                  <a:defRPr/>
                </a:pPr>
                <a:endParaRPr lang="en-US" sz="1764">
                  <a:solidFill>
                    <a:srgbClr val="FFFFFF"/>
                  </a:solidFill>
                  <a:latin typeface="Segoe UI"/>
                </a:endParaRPr>
              </a:p>
            </p:txBody>
          </p:sp>
          <p:sp>
            <p:nvSpPr>
              <p:cNvPr id="439" name="Rectangle 561"/>
              <p:cNvSpPr>
                <a:spLocks noChangeArrowheads="1"/>
              </p:cNvSpPr>
              <p:nvPr/>
            </p:nvSpPr>
            <p:spPr bwMode="auto">
              <a:xfrm>
                <a:off x="3093" y="1886"/>
                <a:ext cx="130" cy="268"/>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29" tIns="44815" rIns="89629" bIns="44815" numCol="1" anchor="t" anchorCtr="0" compatLnSpc="1">
                <a:prstTxWarp prst="textNoShape">
                  <a:avLst/>
                </a:prstTxWarp>
              </a:bodyPr>
              <a:lstStyle/>
              <a:p>
                <a:pPr defTabSz="914191">
                  <a:defRPr/>
                </a:pPr>
                <a:endParaRPr lang="en-US" sz="1764">
                  <a:solidFill>
                    <a:srgbClr val="FFFFFF"/>
                  </a:solidFill>
                  <a:latin typeface="Segoe UI"/>
                </a:endParaRPr>
              </a:p>
            </p:txBody>
          </p:sp>
          <p:sp>
            <p:nvSpPr>
              <p:cNvPr id="440" name="Rectangle 562"/>
              <p:cNvSpPr>
                <a:spLocks noChangeArrowheads="1"/>
              </p:cNvSpPr>
              <p:nvPr/>
            </p:nvSpPr>
            <p:spPr bwMode="auto">
              <a:xfrm>
                <a:off x="3106" y="1899"/>
                <a:ext cx="104" cy="233"/>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29" tIns="44815" rIns="89629" bIns="44815" numCol="1" anchor="t" anchorCtr="0" compatLnSpc="1">
                <a:prstTxWarp prst="textNoShape">
                  <a:avLst/>
                </a:prstTxWarp>
              </a:bodyPr>
              <a:lstStyle/>
              <a:p>
                <a:pPr defTabSz="914191">
                  <a:defRPr/>
                </a:pPr>
                <a:endParaRPr lang="en-US" sz="1764">
                  <a:solidFill>
                    <a:srgbClr val="FFFFFF"/>
                  </a:solidFill>
                  <a:latin typeface="Segoe UI"/>
                </a:endParaRPr>
              </a:p>
            </p:txBody>
          </p:sp>
          <p:sp>
            <p:nvSpPr>
              <p:cNvPr id="441" name="Rectangle 563"/>
              <p:cNvSpPr>
                <a:spLocks noChangeArrowheads="1"/>
              </p:cNvSpPr>
              <p:nvPr/>
            </p:nvSpPr>
            <p:spPr bwMode="auto">
              <a:xfrm>
                <a:off x="3112" y="1907"/>
                <a:ext cx="92" cy="2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29" tIns="44815" rIns="89629" bIns="44815" numCol="1" anchor="t" anchorCtr="0" compatLnSpc="1">
                <a:prstTxWarp prst="textNoShape">
                  <a:avLst/>
                </a:prstTxWarp>
              </a:bodyPr>
              <a:lstStyle/>
              <a:p>
                <a:pPr defTabSz="914191">
                  <a:defRPr/>
                </a:pPr>
                <a:endParaRPr lang="en-US" sz="1764">
                  <a:solidFill>
                    <a:srgbClr val="FFFFFF"/>
                  </a:solidFill>
                  <a:latin typeface="Segoe UI"/>
                </a:endParaRPr>
              </a:p>
            </p:txBody>
          </p:sp>
          <p:sp>
            <p:nvSpPr>
              <p:cNvPr id="442" name="Rectangle 564"/>
              <p:cNvSpPr>
                <a:spLocks noChangeArrowheads="1"/>
              </p:cNvSpPr>
              <p:nvPr/>
            </p:nvSpPr>
            <p:spPr bwMode="auto">
              <a:xfrm>
                <a:off x="3116" y="1909"/>
                <a:ext cx="3" cy="17"/>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29" tIns="44815" rIns="89629" bIns="44815" numCol="1" anchor="t" anchorCtr="0" compatLnSpc="1">
                <a:prstTxWarp prst="textNoShape">
                  <a:avLst/>
                </a:prstTxWarp>
              </a:bodyPr>
              <a:lstStyle/>
              <a:p>
                <a:pPr defTabSz="914191">
                  <a:defRPr/>
                </a:pPr>
                <a:endParaRPr lang="en-US" sz="1764">
                  <a:solidFill>
                    <a:srgbClr val="FFFFFF"/>
                  </a:solidFill>
                  <a:latin typeface="Segoe UI"/>
                </a:endParaRPr>
              </a:p>
            </p:txBody>
          </p:sp>
          <p:sp>
            <p:nvSpPr>
              <p:cNvPr id="443" name="Rectangle 565"/>
              <p:cNvSpPr>
                <a:spLocks noChangeArrowheads="1"/>
              </p:cNvSpPr>
              <p:nvPr/>
            </p:nvSpPr>
            <p:spPr bwMode="auto">
              <a:xfrm>
                <a:off x="3121" y="1909"/>
                <a:ext cx="4" cy="17"/>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29" tIns="44815" rIns="89629" bIns="44815" numCol="1" anchor="t" anchorCtr="0" compatLnSpc="1">
                <a:prstTxWarp prst="textNoShape">
                  <a:avLst/>
                </a:prstTxWarp>
              </a:bodyPr>
              <a:lstStyle/>
              <a:p>
                <a:pPr defTabSz="914191">
                  <a:defRPr/>
                </a:pPr>
                <a:endParaRPr lang="en-US" sz="1764">
                  <a:solidFill>
                    <a:srgbClr val="FFFFFF"/>
                  </a:solidFill>
                  <a:latin typeface="Segoe UI"/>
                </a:endParaRPr>
              </a:p>
            </p:txBody>
          </p:sp>
          <p:sp>
            <p:nvSpPr>
              <p:cNvPr id="444" name="Rectangle 566"/>
              <p:cNvSpPr>
                <a:spLocks noChangeArrowheads="1"/>
              </p:cNvSpPr>
              <p:nvPr/>
            </p:nvSpPr>
            <p:spPr bwMode="auto">
              <a:xfrm>
                <a:off x="3127" y="1909"/>
                <a:ext cx="2" cy="17"/>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29" tIns="44815" rIns="89629" bIns="44815" numCol="1" anchor="t" anchorCtr="0" compatLnSpc="1">
                <a:prstTxWarp prst="textNoShape">
                  <a:avLst/>
                </a:prstTxWarp>
              </a:bodyPr>
              <a:lstStyle/>
              <a:p>
                <a:pPr defTabSz="914191">
                  <a:defRPr/>
                </a:pPr>
                <a:endParaRPr lang="en-US" sz="1764">
                  <a:solidFill>
                    <a:srgbClr val="FFFFFF"/>
                  </a:solidFill>
                  <a:latin typeface="Segoe UI"/>
                </a:endParaRPr>
              </a:p>
            </p:txBody>
          </p:sp>
          <p:sp>
            <p:nvSpPr>
              <p:cNvPr id="445" name="Rectangle 567"/>
              <p:cNvSpPr>
                <a:spLocks noChangeArrowheads="1"/>
              </p:cNvSpPr>
              <p:nvPr/>
            </p:nvSpPr>
            <p:spPr bwMode="auto">
              <a:xfrm>
                <a:off x="3131" y="1909"/>
                <a:ext cx="3" cy="17"/>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29" tIns="44815" rIns="89629" bIns="44815" numCol="1" anchor="t" anchorCtr="0" compatLnSpc="1">
                <a:prstTxWarp prst="textNoShape">
                  <a:avLst/>
                </a:prstTxWarp>
              </a:bodyPr>
              <a:lstStyle/>
              <a:p>
                <a:pPr defTabSz="914191">
                  <a:defRPr/>
                </a:pPr>
                <a:endParaRPr lang="en-US" sz="1764">
                  <a:solidFill>
                    <a:srgbClr val="FFFFFF"/>
                  </a:solidFill>
                  <a:latin typeface="Segoe UI"/>
                </a:endParaRPr>
              </a:p>
            </p:txBody>
          </p:sp>
          <p:sp>
            <p:nvSpPr>
              <p:cNvPr id="446" name="Rectangle 568"/>
              <p:cNvSpPr>
                <a:spLocks noChangeArrowheads="1"/>
              </p:cNvSpPr>
              <p:nvPr/>
            </p:nvSpPr>
            <p:spPr bwMode="auto">
              <a:xfrm>
                <a:off x="3136" y="1909"/>
                <a:ext cx="2" cy="17"/>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29" tIns="44815" rIns="89629" bIns="44815" numCol="1" anchor="t" anchorCtr="0" compatLnSpc="1">
                <a:prstTxWarp prst="textNoShape">
                  <a:avLst/>
                </a:prstTxWarp>
              </a:bodyPr>
              <a:lstStyle/>
              <a:p>
                <a:pPr defTabSz="914191">
                  <a:defRPr/>
                </a:pPr>
                <a:endParaRPr lang="en-US" sz="1764">
                  <a:solidFill>
                    <a:srgbClr val="FFFFFF"/>
                  </a:solidFill>
                  <a:latin typeface="Segoe UI"/>
                </a:endParaRPr>
              </a:p>
            </p:txBody>
          </p:sp>
          <p:sp>
            <p:nvSpPr>
              <p:cNvPr id="447" name="Rectangle 569"/>
              <p:cNvSpPr>
                <a:spLocks noChangeArrowheads="1"/>
              </p:cNvSpPr>
              <p:nvPr/>
            </p:nvSpPr>
            <p:spPr bwMode="auto">
              <a:xfrm>
                <a:off x="3141" y="1909"/>
                <a:ext cx="3" cy="17"/>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29" tIns="44815" rIns="89629" bIns="44815" numCol="1" anchor="t" anchorCtr="0" compatLnSpc="1">
                <a:prstTxWarp prst="textNoShape">
                  <a:avLst/>
                </a:prstTxWarp>
              </a:bodyPr>
              <a:lstStyle/>
              <a:p>
                <a:pPr defTabSz="914191">
                  <a:defRPr/>
                </a:pPr>
                <a:endParaRPr lang="en-US" sz="1764">
                  <a:solidFill>
                    <a:srgbClr val="FFFFFF"/>
                  </a:solidFill>
                  <a:latin typeface="Segoe UI"/>
                </a:endParaRPr>
              </a:p>
            </p:txBody>
          </p:sp>
          <p:sp>
            <p:nvSpPr>
              <p:cNvPr id="448" name="Freeform 570"/>
              <p:cNvSpPr>
                <a:spLocks/>
              </p:cNvSpPr>
              <p:nvPr/>
            </p:nvSpPr>
            <p:spPr bwMode="auto">
              <a:xfrm>
                <a:off x="3190" y="1915"/>
                <a:ext cx="6" cy="7"/>
              </a:xfrm>
              <a:custGeom>
                <a:avLst/>
                <a:gdLst>
                  <a:gd name="T0" fmla="*/ 0 w 11"/>
                  <a:gd name="T1" fmla="*/ 7 h 15"/>
                  <a:gd name="T2" fmla="*/ 0 w 11"/>
                  <a:gd name="T3" fmla="*/ 7 h 15"/>
                  <a:gd name="T4" fmla="*/ 2 w 11"/>
                  <a:gd name="T5" fmla="*/ 2 h 15"/>
                  <a:gd name="T6" fmla="*/ 5 w 11"/>
                  <a:gd name="T7" fmla="*/ 0 h 15"/>
                  <a:gd name="T8" fmla="*/ 5 w 11"/>
                  <a:gd name="T9" fmla="*/ 0 h 15"/>
                  <a:gd name="T10" fmla="*/ 9 w 11"/>
                  <a:gd name="T11" fmla="*/ 2 h 15"/>
                  <a:gd name="T12" fmla="*/ 11 w 11"/>
                  <a:gd name="T13" fmla="*/ 7 h 15"/>
                  <a:gd name="T14" fmla="*/ 11 w 11"/>
                  <a:gd name="T15" fmla="*/ 7 h 15"/>
                  <a:gd name="T16" fmla="*/ 9 w 11"/>
                  <a:gd name="T17" fmla="*/ 13 h 15"/>
                  <a:gd name="T18" fmla="*/ 5 w 11"/>
                  <a:gd name="T19" fmla="*/ 15 h 15"/>
                  <a:gd name="T20" fmla="*/ 5 w 11"/>
                  <a:gd name="T21" fmla="*/ 15 h 15"/>
                  <a:gd name="T22" fmla="*/ 2 w 11"/>
                  <a:gd name="T23" fmla="*/ 13 h 15"/>
                  <a:gd name="T24" fmla="*/ 0 w 11"/>
                  <a:gd name="T25" fmla="*/ 7 h 15"/>
                  <a:gd name="T26" fmla="*/ 0 w 11"/>
                  <a:gd name="T27" fmla="*/ 7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 h="15">
                    <a:moveTo>
                      <a:pt x="0" y="7"/>
                    </a:moveTo>
                    <a:lnTo>
                      <a:pt x="0" y="7"/>
                    </a:lnTo>
                    <a:lnTo>
                      <a:pt x="2" y="2"/>
                    </a:lnTo>
                    <a:lnTo>
                      <a:pt x="5" y="0"/>
                    </a:lnTo>
                    <a:lnTo>
                      <a:pt x="5" y="0"/>
                    </a:lnTo>
                    <a:lnTo>
                      <a:pt x="9" y="2"/>
                    </a:lnTo>
                    <a:lnTo>
                      <a:pt x="11" y="7"/>
                    </a:lnTo>
                    <a:lnTo>
                      <a:pt x="11" y="7"/>
                    </a:lnTo>
                    <a:lnTo>
                      <a:pt x="9" y="13"/>
                    </a:lnTo>
                    <a:lnTo>
                      <a:pt x="5" y="15"/>
                    </a:lnTo>
                    <a:lnTo>
                      <a:pt x="5" y="15"/>
                    </a:lnTo>
                    <a:lnTo>
                      <a:pt x="2" y="13"/>
                    </a:lnTo>
                    <a:lnTo>
                      <a:pt x="0" y="7"/>
                    </a:lnTo>
                    <a:lnTo>
                      <a:pt x="0" y="7"/>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914191">
                  <a:defRPr/>
                </a:pPr>
                <a:endParaRPr lang="en-US" sz="1764">
                  <a:solidFill>
                    <a:srgbClr val="FFFFFF"/>
                  </a:solidFill>
                  <a:latin typeface="Segoe UI"/>
                </a:endParaRPr>
              </a:p>
            </p:txBody>
          </p:sp>
          <p:sp>
            <p:nvSpPr>
              <p:cNvPr id="449" name="Rectangle 571"/>
              <p:cNvSpPr>
                <a:spLocks noChangeArrowheads="1"/>
              </p:cNvSpPr>
              <p:nvPr/>
            </p:nvSpPr>
            <p:spPr bwMode="auto">
              <a:xfrm>
                <a:off x="3112" y="1935"/>
                <a:ext cx="92" cy="2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29" tIns="44815" rIns="89629" bIns="44815" numCol="1" anchor="t" anchorCtr="0" compatLnSpc="1">
                <a:prstTxWarp prst="textNoShape">
                  <a:avLst/>
                </a:prstTxWarp>
              </a:bodyPr>
              <a:lstStyle/>
              <a:p>
                <a:pPr defTabSz="914191">
                  <a:defRPr/>
                </a:pPr>
                <a:endParaRPr lang="en-US" sz="1764">
                  <a:solidFill>
                    <a:srgbClr val="FFFFFF"/>
                  </a:solidFill>
                  <a:latin typeface="Segoe UI"/>
                </a:endParaRPr>
              </a:p>
            </p:txBody>
          </p:sp>
          <p:sp>
            <p:nvSpPr>
              <p:cNvPr id="450" name="Rectangle 572"/>
              <p:cNvSpPr>
                <a:spLocks noChangeArrowheads="1"/>
              </p:cNvSpPr>
              <p:nvPr/>
            </p:nvSpPr>
            <p:spPr bwMode="auto">
              <a:xfrm>
                <a:off x="3116" y="1939"/>
                <a:ext cx="3"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29" tIns="44815" rIns="89629" bIns="44815" numCol="1" anchor="t" anchorCtr="0" compatLnSpc="1">
                <a:prstTxWarp prst="textNoShape">
                  <a:avLst/>
                </a:prstTxWarp>
              </a:bodyPr>
              <a:lstStyle/>
              <a:p>
                <a:pPr defTabSz="914191">
                  <a:defRPr/>
                </a:pPr>
                <a:endParaRPr lang="en-US" sz="1764">
                  <a:solidFill>
                    <a:srgbClr val="FFFFFF"/>
                  </a:solidFill>
                  <a:latin typeface="Segoe UI"/>
                </a:endParaRPr>
              </a:p>
            </p:txBody>
          </p:sp>
          <p:sp>
            <p:nvSpPr>
              <p:cNvPr id="451" name="Rectangle 573"/>
              <p:cNvSpPr>
                <a:spLocks noChangeArrowheads="1"/>
              </p:cNvSpPr>
              <p:nvPr/>
            </p:nvSpPr>
            <p:spPr bwMode="auto">
              <a:xfrm>
                <a:off x="3121" y="1939"/>
                <a:ext cx="4"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29" tIns="44815" rIns="89629" bIns="44815" numCol="1" anchor="t" anchorCtr="0" compatLnSpc="1">
                <a:prstTxWarp prst="textNoShape">
                  <a:avLst/>
                </a:prstTxWarp>
              </a:bodyPr>
              <a:lstStyle/>
              <a:p>
                <a:pPr defTabSz="914191">
                  <a:defRPr/>
                </a:pPr>
                <a:endParaRPr lang="en-US" sz="1764">
                  <a:solidFill>
                    <a:srgbClr val="FFFFFF"/>
                  </a:solidFill>
                  <a:latin typeface="Segoe UI"/>
                </a:endParaRPr>
              </a:p>
            </p:txBody>
          </p:sp>
          <p:sp>
            <p:nvSpPr>
              <p:cNvPr id="452" name="Rectangle 574"/>
              <p:cNvSpPr>
                <a:spLocks noChangeArrowheads="1"/>
              </p:cNvSpPr>
              <p:nvPr/>
            </p:nvSpPr>
            <p:spPr bwMode="auto">
              <a:xfrm>
                <a:off x="3127" y="1939"/>
                <a:ext cx="2"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29" tIns="44815" rIns="89629" bIns="44815" numCol="1" anchor="t" anchorCtr="0" compatLnSpc="1">
                <a:prstTxWarp prst="textNoShape">
                  <a:avLst/>
                </a:prstTxWarp>
              </a:bodyPr>
              <a:lstStyle/>
              <a:p>
                <a:pPr defTabSz="914191">
                  <a:defRPr/>
                </a:pPr>
                <a:endParaRPr lang="en-US" sz="1764">
                  <a:solidFill>
                    <a:srgbClr val="FFFFFF"/>
                  </a:solidFill>
                  <a:latin typeface="Segoe UI"/>
                </a:endParaRPr>
              </a:p>
            </p:txBody>
          </p:sp>
          <p:sp>
            <p:nvSpPr>
              <p:cNvPr id="453" name="Rectangle 575"/>
              <p:cNvSpPr>
                <a:spLocks noChangeArrowheads="1"/>
              </p:cNvSpPr>
              <p:nvPr/>
            </p:nvSpPr>
            <p:spPr bwMode="auto">
              <a:xfrm>
                <a:off x="3131" y="1939"/>
                <a:ext cx="3"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29" tIns="44815" rIns="89629" bIns="44815" numCol="1" anchor="t" anchorCtr="0" compatLnSpc="1">
                <a:prstTxWarp prst="textNoShape">
                  <a:avLst/>
                </a:prstTxWarp>
              </a:bodyPr>
              <a:lstStyle/>
              <a:p>
                <a:pPr defTabSz="914191">
                  <a:defRPr/>
                </a:pPr>
                <a:endParaRPr lang="en-US" sz="1764">
                  <a:solidFill>
                    <a:srgbClr val="FFFFFF"/>
                  </a:solidFill>
                  <a:latin typeface="Segoe UI"/>
                </a:endParaRPr>
              </a:p>
            </p:txBody>
          </p:sp>
          <p:sp>
            <p:nvSpPr>
              <p:cNvPr id="454" name="Rectangle 576"/>
              <p:cNvSpPr>
                <a:spLocks noChangeArrowheads="1"/>
              </p:cNvSpPr>
              <p:nvPr/>
            </p:nvSpPr>
            <p:spPr bwMode="auto">
              <a:xfrm>
                <a:off x="3136" y="1939"/>
                <a:ext cx="2"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29" tIns="44815" rIns="89629" bIns="44815" numCol="1" anchor="t" anchorCtr="0" compatLnSpc="1">
                <a:prstTxWarp prst="textNoShape">
                  <a:avLst/>
                </a:prstTxWarp>
              </a:bodyPr>
              <a:lstStyle/>
              <a:p>
                <a:pPr defTabSz="914191">
                  <a:defRPr/>
                </a:pPr>
                <a:endParaRPr lang="en-US" sz="1764">
                  <a:solidFill>
                    <a:srgbClr val="FFFFFF"/>
                  </a:solidFill>
                  <a:latin typeface="Segoe UI"/>
                </a:endParaRPr>
              </a:p>
            </p:txBody>
          </p:sp>
          <p:sp>
            <p:nvSpPr>
              <p:cNvPr id="455" name="Rectangle 577"/>
              <p:cNvSpPr>
                <a:spLocks noChangeArrowheads="1"/>
              </p:cNvSpPr>
              <p:nvPr/>
            </p:nvSpPr>
            <p:spPr bwMode="auto">
              <a:xfrm>
                <a:off x="3141" y="1939"/>
                <a:ext cx="3"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29" tIns="44815" rIns="89629" bIns="44815" numCol="1" anchor="t" anchorCtr="0" compatLnSpc="1">
                <a:prstTxWarp prst="textNoShape">
                  <a:avLst/>
                </a:prstTxWarp>
              </a:bodyPr>
              <a:lstStyle/>
              <a:p>
                <a:pPr defTabSz="914191">
                  <a:defRPr/>
                </a:pPr>
                <a:endParaRPr lang="en-US" sz="1764">
                  <a:solidFill>
                    <a:srgbClr val="FFFFFF"/>
                  </a:solidFill>
                  <a:latin typeface="Segoe UI"/>
                </a:endParaRPr>
              </a:p>
            </p:txBody>
          </p:sp>
          <p:sp>
            <p:nvSpPr>
              <p:cNvPr id="456" name="Freeform 578"/>
              <p:cNvSpPr>
                <a:spLocks/>
              </p:cNvSpPr>
              <p:nvPr/>
            </p:nvSpPr>
            <p:spPr bwMode="auto">
              <a:xfrm>
                <a:off x="3190" y="1945"/>
                <a:ext cx="6" cy="6"/>
              </a:xfrm>
              <a:custGeom>
                <a:avLst/>
                <a:gdLst>
                  <a:gd name="T0" fmla="*/ 0 w 11"/>
                  <a:gd name="T1" fmla="*/ 6 h 11"/>
                  <a:gd name="T2" fmla="*/ 0 w 11"/>
                  <a:gd name="T3" fmla="*/ 6 h 11"/>
                  <a:gd name="T4" fmla="*/ 2 w 11"/>
                  <a:gd name="T5" fmla="*/ 2 h 11"/>
                  <a:gd name="T6" fmla="*/ 5 w 11"/>
                  <a:gd name="T7" fmla="*/ 0 h 11"/>
                  <a:gd name="T8" fmla="*/ 5 w 11"/>
                  <a:gd name="T9" fmla="*/ 0 h 11"/>
                  <a:gd name="T10" fmla="*/ 9 w 11"/>
                  <a:gd name="T11" fmla="*/ 2 h 11"/>
                  <a:gd name="T12" fmla="*/ 11 w 11"/>
                  <a:gd name="T13" fmla="*/ 6 h 11"/>
                  <a:gd name="T14" fmla="*/ 11 w 11"/>
                  <a:gd name="T15" fmla="*/ 6 h 11"/>
                  <a:gd name="T16" fmla="*/ 9 w 11"/>
                  <a:gd name="T17" fmla="*/ 9 h 11"/>
                  <a:gd name="T18" fmla="*/ 5 w 11"/>
                  <a:gd name="T19" fmla="*/ 11 h 11"/>
                  <a:gd name="T20" fmla="*/ 5 w 11"/>
                  <a:gd name="T21" fmla="*/ 11 h 11"/>
                  <a:gd name="T22" fmla="*/ 2 w 11"/>
                  <a:gd name="T23" fmla="*/ 9 h 11"/>
                  <a:gd name="T24" fmla="*/ 0 w 11"/>
                  <a:gd name="T25" fmla="*/ 6 h 11"/>
                  <a:gd name="T26" fmla="*/ 0 w 11"/>
                  <a:gd name="T27" fmla="*/ 6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 h="11">
                    <a:moveTo>
                      <a:pt x="0" y="6"/>
                    </a:moveTo>
                    <a:lnTo>
                      <a:pt x="0" y="6"/>
                    </a:lnTo>
                    <a:lnTo>
                      <a:pt x="2" y="2"/>
                    </a:lnTo>
                    <a:lnTo>
                      <a:pt x="5" y="0"/>
                    </a:lnTo>
                    <a:lnTo>
                      <a:pt x="5" y="0"/>
                    </a:lnTo>
                    <a:lnTo>
                      <a:pt x="9" y="2"/>
                    </a:lnTo>
                    <a:lnTo>
                      <a:pt x="11" y="6"/>
                    </a:lnTo>
                    <a:lnTo>
                      <a:pt x="11" y="6"/>
                    </a:lnTo>
                    <a:lnTo>
                      <a:pt x="9" y="9"/>
                    </a:lnTo>
                    <a:lnTo>
                      <a:pt x="5" y="11"/>
                    </a:lnTo>
                    <a:lnTo>
                      <a:pt x="5" y="11"/>
                    </a:lnTo>
                    <a:lnTo>
                      <a:pt x="2" y="9"/>
                    </a:lnTo>
                    <a:lnTo>
                      <a:pt x="0" y="6"/>
                    </a:lnTo>
                    <a:lnTo>
                      <a:pt x="0" y="6"/>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914191">
                  <a:defRPr/>
                </a:pPr>
                <a:endParaRPr lang="en-US" sz="1764">
                  <a:solidFill>
                    <a:srgbClr val="FFFFFF"/>
                  </a:solidFill>
                  <a:latin typeface="Segoe UI"/>
                </a:endParaRPr>
              </a:p>
            </p:txBody>
          </p:sp>
          <p:sp>
            <p:nvSpPr>
              <p:cNvPr id="457" name="Rectangle 579"/>
              <p:cNvSpPr>
                <a:spLocks noChangeArrowheads="1"/>
              </p:cNvSpPr>
              <p:nvPr/>
            </p:nvSpPr>
            <p:spPr bwMode="auto">
              <a:xfrm>
                <a:off x="3112" y="1967"/>
                <a:ext cx="92" cy="2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29" tIns="44815" rIns="89629" bIns="44815" numCol="1" anchor="t" anchorCtr="0" compatLnSpc="1">
                <a:prstTxWarp prst="textNoShape">
                  <a:avLst/>
                </a:prstTxWarp>
              </a:bodyPr>
              <a:lstStyle/>
              <a:p>
                <a:pPr defTabSz="914191">
                  <a:defRPr/>
                </a:pPr>
                <a:endParaRPr lang="en-US" sz="1764">
                  <a:solidFill>
                    <a:srgbClr val="FFFFFF"/>
                  </a:solidFill>
                  <a:latin typeface="Segoe UI"/>
                </a:endParaRPr>
              </a:p>
            </p:txBody>
          </p:sp>
          <p:sp>
            <p:nvSpPr>
              <p:cNvPr id="458" name="Rectangle 580"/>
              <p:cNvSpPr>
                <a:spLocks noChangeArrowheads="1"/>
              </p:cNvSpPr>
              <p:nvPr/>
            </p:nvSpPr>
            <p:spPr bwMode="auto">
              <a:xfrm>
                <a:off x="3116" y="1970"/>
                <a:ext cx="3" cy="17"/>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29" tIns="44815" rIns="89629" bIns="44815" numCol="1" anchor="t" anchorCtr="0" compatLnSpc="1">
                <a:prstTxWarp prst="textNoShape">
                  <a:avLst/>
                </a:prstTxWarp>
              </a:bodyPr>
              <a:lstStyle/>
              <a:p>
                <a:pPr defTabSz="914191">
                  <a:defRPr/>
                </a:pPr>
                <a:endParaRPr lang="en-US" sz="1764">
                  <a:solidFill>
                    <a:srgbClr val="FFFFFF"/>
                  </a:solidFill>
                  <a:latin typeface="Segoe UI"/>
                </a:endParaRPr>
              </a:p>
            </p:txBody>
          </p:sp>
          <p:sp>
            <p:nvSpPr>
              <p:cNvPr id="459" name="Rectangle 581"/>
              <p:cNvSpPr>
                <a:spLocks noChangeArrowheads="1"/>
              </p:cNvSpPr>
              <p:nvPr/>
            </p:nvSpPr>
            <p:spPr bwMode="auto">
              <a:xfrm>
                <a:off x="3121" y="1970"/>
                <a:ext cx="4" cy="17"/>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29" tIns="44815" rIns="89629" bIns="44815" numCol="1" anchor="t" anchorCtr="0" compatLnSpc="1">
                <a:prstTxWarp prst="textNoShape">
                  <a:avLst/>
                </a:prstTxWarp>
              </a:bodyPr>
              <a:lstStyle/>
              <a:p>
                <a:pPr defTabSz="914191">
                  <a:defRPr/>
                </a:pPr>
                <a:endParaRPr lang="en-US" sz="1764">
                  <a:solidFill>
                    <a:srgbClr val="FFFFFF"/>
                  </a:solidFill>
                  <a:latin typeface="Segoe UI"/>
                </a:endParaRPr>
              </a:p>
            </p:txBody>
          </p:sp>
          <p:sp>
            <p:nvSpPr>
              <p:cNvPr id="460" name="Rectangle 582"/>
              <p:cNvSpPr>
                <a:spLocks noChangeArrowheads="1"/>
              </p:cNvSpPr>
              <p:nvPr/>
            </p:nvSpPr>
            <p:spPr bwMode="auto">
              <a:xfrm>
                <a:off x="3127" y="1970"/>
                <a:ext cx="2" cy="17"/>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29" tIns="44815" rIns="89629" bIns="44815" numCol="1" anchor="t" anchorCtr="0" compatLnSpc="1">
                <a:prstTxWarp prst="textNoShape">
                  <a:avLst/>
                </a:prstTxWarp>
              </a:bodyPr>
              <a:lstStyle/>
              <a:p>
                <a:pPr defTabSz="914191">
                  <a:defRPr/>
                </a:pPr>
                <a:endParaRPr lang="en-US" sz="1764">
                  <a:solidFill>
                    <a:srgbClr val="FFFFFF"/>
                  </a:solidFill>
                  <a:latin typeface="Segoe UI"/>
                </a:endParaRPr>
              </a:p>
            </p:txBody>
          </p:sp>
          <p:sp>
            <p:nvSpPr>
              <p:cNvPr id="461" name="Rectangle 583"/>
              <p:cNvSpPr>
                <a:spLocks noChangeArrowheads="1"/>
              </p:cNvSpPr>
              <p:nvPr/>
            </p:nvSpPr>
            <p:spPr bwMode="auto">
              <a:xfrm>
                <a:off x="3131" y="1970"/>
                <a:ext cx="3" cy="17"/>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29" tIns="44815" rIns="89629" bIns="44815" numCol="1" anchor="t" anchorCtr="0" compatLnSpc="1">
                <a:prstTxWarp prst="textNoShape">
                  <a:avLst/>
                </a:prstTxWarp>
              </a:bodyPr>
              <a:lstStyle/>
              <a:p>
                <a:pPr defTabSz="914191">
                  <a:defRPr/>
                </a:pPr>
                <a:endParaRPr lang="en-US" sz="1764">
                  <a:solidFill>
                    <a:srgbClr val="FFFFFF"/>
                  </a:solidFill>
                  <a:latin typeface="Segoe UI"/>
                </a:endParaRPr>
              </a:p>
            </p:txBody>
          </p:sp>
          <p:sp>
            <p:nvSpPr>
              <p:cNvPr id="462" name="Rectangle 584"/>
              <p:cNvSpPr>
                <a:spLocks noChangeArrowheads="1"/>
              </p:cNvSpPr>
              <p:nvPr/>
            </p:nvSpPr>
            <p:spPr bwMode="auto">
              <a:xfrm>
                <a:off x="3136" y="1970"/>
                <a:ext cx="2" cy="17"/>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29" tIns="44815" rIns="89629" bIns="44815" numCol="1" anchor="t" anchorCtr="0" compatLnSpc="1">
                <a:prstTxWarp prst="textNoShape">
                  <a:avLst/>
                </a:prstTxWarp>
              </a:bodyPr>
              <a:lstStyle/>
              <a:p>
                <a:pPr defTabSz="914191">
                  <a:defRPr/>
                </a:pPr>
                <a:endParaRPr lang="en-US" sz="1764">
                  <a:solidFill>
                    <a:srgbClr val="FFFFFF"/>
                  </a:solidFill>
                  <a:latin typeface="Segoe UI"/>
                </a:endParaRPr>
              </a:p>
            </p:txBody>
          </p:sp>
          <p:sp>
            <p:nvSpPr>
              <p:cNvPr id="463" name="Rectangle 585"/>
              <p:cNvSpPr>
                <a:spLocks noChangeArrowheads="1"/>
              </p:cNvSpPr>
              <p:nvPr/>
            </p:nvSpPr>
            <p:spPr bwMode="auto">
              <a:xfrm>
                <a:off x="3141" y="1970"/>
                <a:ext cx="3" cy="17"/>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29" tIns="44815" rIns="89629" bIns="44815" numCol="1" anchor="t" anchorCtr="0" compatLnSpc="1">
                <a:prstTxWarp prst="textNoShape">
                  <a:avLst/>
                </a:prstTxWarp>
              </a:bodyPr>
              <a:lstStyle/>
              <a:p>
                <a:pPr defTabSz="914191">
                  <a:defRPr/>
                </a:pPr>
                <a:endParaRPr lang="en-US" sz="1764">
                  <a:solidFill>
                    <a:srgbClr val="FFFFFF"/>
                  </a:solidFill>
                  <a:latin typeface="Segoe UI"/>
                </a:endParaRPr>
              </a:p>
            </p:txBody>
          </p:sp>
          <p:sp>
            <p:nvSpPr>
              <p:cNvPr id="464" name="Freeform 586"/>
              <p:cNvSpPr>
                <a:spLocks/>
              </p:cNvSpPr>
              <p:nvPr/>
            </p:nvSpPr>
            <p:spPr bwMode="auto">
              <a:xfrm>
                <a:off x="3190" y="1975"/>
                <a:ext cx="6" cy="6"/>
              </a:xfrm>
              <a:custGeom>
                <a:avLst/>
                <a:gdLst>
                  <a:gd name="T0" fmla="*/ 0 w 11"/>
                  <a:gd name="T1" fmla="*/ 7 h 12"/>
                  <a:gd name="T2" fmla="*/ 0 w 11"/>
                  <a:gd name="T3" fmla="*/ 7 h 12"/>
                  <a:gd name="T4" fmla="*/ 2 w 11"/>
                  <a:gd name="T5" fmla="*/ 1 h 12"/>
                  <a:gd name="T6" fmla="*/ 5 w 11"/>
                  <a:gd name="T7" fmla="*/ 0 h 12"/>
                  <a:gd name="T8" fmla="*/ 5 w 11"/>
                  <a:gd name="T9" fmla="*/ 0 h 12"/>
                  <a:gd name="T10" fmla="*/ 9 w 11"/>
                  <a:gd name="T11" fmla="*/ 1 h 12"/>
                  <a:gd name="T12" fmla="*/ 11 w 11"/>
                  <a:gd name="T13" fmla="*/ 7 h 12"/>
                  <a:gd name="T14" fmla="*/ 11 w 11"/>
                  <a:gd name="T15" fmla="*/ 7 h 12"/>
                  <a:gd name="T16" fmla="*/ 9 w 11"/>
                  <a:gd name="T17" fmla="*/ 10 h 12"/>
                  <a:gd name="T18" fmla="*/ 5 w 11"/>
                  <a:gd name="T19" fmla="*/ 12 h 12"/>
                  <a:gd name="T20" fmla="*/ 5 w 11"/>
                  <a:gd name="T21" fmla="*/ 12 h 12"/>
                  <a:gd name="T22" fmla="*/ 2 w 11"/>
                  <a:gd name="T23" fmla="*/ 10 h 12"/>
                  <a:gd name="T24" fmla="*/ 0 w 11"/>
                  <a:gd name="T25" fmla="*/ 7 h 12"/>
                  <a:gd name="T26" fmla="*/ 0 w 11"/>
                  <a:gd name="T27" fmla="*/ 7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 h="12">
                    <a:moveTo>
                      <a:pt x="0" y="7"/>
                    </a:moveTo>
                    <a:lnTo>
                      <a:pt x="0" y="7"/>
                    </a:lnTo>
                    <a:lnTo>
                      <a:pt x="2" y="1"/>
                    </a:lnTo>
                    <a:lnTo>
                      <a:pt x="5" y="0"/>
                    </a:lnTo>
                    <a:lnTo>
                      <a:pt x="5" y="0"/>
                    </a:lnTo>
                    <a:lnTo>
                      <a:pt x="9" y="1"/>
                    </a:lnTo>
                    <a:lnTo>
                      <a:pt x="11" y="7"/>
                    </a:lnTo>
                    <a:lnTo>
                      <a:pt x="11" y="7"/>
                    </a:lnTo>
                    <a:lnTo>
                      <a:pt x="9" y="10"/>
                    </a:lnTo>
                    <a:lnTo>
                      <a:pt x="5" y="12"/>
                    </a:lnTo>
                    <a:lnTo>
                      <a:pt x="5" y="12"/>
                    </a:lnTo>
                    <a:lnTo>
                      <a:pt x="2" y="10"/>
                    </a:lnTo>
                    <a:lnTo>
                      <a:pt x="0" y="7"/>
                    </a:lnTo>
                    <a:lnTo>
                      <a:pt x="0" y="7"/>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914191">
                  <a:defRPr/>
                </a:pPr>
                <a:endParaRPr lang="en-US" sz="1764">
                  <a:solidFill>
                    <a:srgbClr val="FFFFFF"/>
                  </a:solidFill>
                  <a:latin typeface="Segoe UI"/>
                </a:endParaRPr>
              </a:p>
            </p:txBody>
          </p:sp>
          <p:sp>
            <p:nvSpPr>
              <p:cNvPr id="465" name="Rectangle 587"/>
              <p:cNvSpPr>
                <a:spLocks noChangeArrowheads="1"/>
              </p:cNvSpPr>
              <p:nvPr/>
            </p:nvSpPr>
            <p:spPr bwMode="auto">
              <a:xfrm>
                <a:off x="3112" y="1996"/>
                <a:ext cx="92" cy="2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29" tIns="44815" rIns="89629" bIns="44815" numCol="1" anchor="t" anchorCtr="0" compatLnSpc="1">
                <a:prstTxWarp prst="textNoShape">
                  <a:avLst/>
                </a:prstTxWarp>
              </a:bodyPr>
              <a:lstStyle/>
              <a:p>
                <a:pPr defTabSz="914191">
                  <a:defRPr/>
                </a:pPr>
                <a:endParaRPr lang="en-US" sz="1764">
                  <a:solidFill>
                    <a:srgbClr val="FFFFFF"/>
                  </a:solidFill>
                  <a:latin typeface="Segoe UI"/>
                </a:endParaRPr>
              </a:p>
            </p:txBody>
          </p:sp>
          <p:sp>
            <p:nvSpPr>
              <p:cNvPr id="466" name="Rectangle 588"/>
              <p:cNvSpPr>
                <a:spLocks noChangeArrowheads="1"/>
              </p:cNvSpPr>
              <p:nvPr/>
            </p:nvSpPr>
            <p:spPr bwMode="auto">
              <a:xfrm>
                <a:off x="3116" y="2000"/>
                <a:ext cx="3"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29" tIns="44815" rIns="89629" bIns="44815" numCol="1" anchor="t" anchorCtr="0" compatLnSpc="1">
                <a:prstTxWarp prst="textNoShape">
                  <a:avLst/>
                </a:prstTxWarp>
              </a:bodyPr>
              <a:lstStyle/>
              <a:p>
                <a:pPr defTabSz="914191">
                  <a:defRPr/>
                </a:pPr>
                <a:endParaRPr lang="en-US" sz="1764">
                  <a:solidFill>
                    <a:srgbClr val="FFFFFF"/>
                  </a:solidFill>
                  <a:latin typeface="Segoe UI"/>
                </a:endParaRPr>
              </a:p>
            </p:txBody>
          </p:sp>
          <p:sp>
            <p:nvSpPr>
              <p:cNvPr id="467" name="Rectangle 589"/>
              <p:cNvSpPr>
                <a:spLocks noChangeArrowheads="1"/>
              </p:cNvSpPr>
              <p:nvPr/>
            </p:nvSpPr>
            <p:spPr bwMode="auto">
              <a:xfrm>
                <a:off x="3121" y="2000"/>
                <a:ext cx="4"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29" tIns="44815" rIns="89629" bIns="44815" numCol="1" anchor="t" anchorCtr="0" compatLnSpc="1">
                <a:prstTxWarp prst="textNoShape">
                  <a:avLst/>
                </a:prstTxWarp>
              </a:bodyPr>
              <a:lstStyle/>
              <a:p>
                <a:pPr defTabSz="914191">
                  <a:defRPr/>
                </a:pPr>
                <a:endParaRPr lang="en-US" sz="1764">
                  <a:solidFill>
                    <a:srgbClr val="FFFFFF"/>
                  </a:solidFill>
                  <a:latin typeface="Segoe UI"/>
                </a:endParaRPr>
              </a:p>
            </p:txBody>
          </p:sp>
          <p:sp>
            <p:nvSpPr>
              <p:cNvPr id="468" name="Rectangle 590"/>
              <p:cNvSpPr>
                <a:spLocks noChangeArrowheads="1"/>
              </p:cNvSpPr>
              <p:nvPr/>
            </p:nvSpPr>
            <p:spPr bwMode="auto">
              <a:xfrm>
                <a:off x="3127" y="2000"/>
                <a:ext cx="2"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29" tIns="44815" rIns="89629" bIns="44815" numCol="1" anchor="t" anchorCtr="0" compatLnSpc="1">
                <a:prstTxWarp prst="textNoShape">
                  <a:avLst/>
                </a:prstTxWarp>
              </a:bodyPr>
              <a:lstStyle/>
              <a:p>
                <a:pPr defTabSz="914191">
                  <a:defRPr/>
                </a:pPr>
                <a:endParaRPr lang="en-US" sz="1764">
                  <a:solidFill>
                    <a:srgbClr val="FFFFFF"/>
                  </a:solidFill>
                  <a:latin typeface="Segoe UI"/>
                </a:endParaRPr>
              </a:p>
            </p:txBody>
          </p:sp>
          <p:sp>
            <p:nvSpPr>
              <p:cNvPr id="469" name="Rectangle 591"/>
              <p:cNvSpPr>
                <a:spLocks noChangeArrowheads="1"/>
              </p:cNvSpPr>
              <p:nvPr/>
            </p:nvSpPr>
            <p:spPr bwMode="auto">
              <a:xfrm>
                <a:off x="3131" y="2000"/>
                <a:ext cx="3"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29" tIns="44815" rIns="89629" bIns="44815" numCol="1" anchor="t" anchorCtr="0" compatLnSpc="1">
                <a:prstTxWarp prst="textNoShape">
                  <a:avLst/>
                </a:prstTxWarp>
              </a:bodyPr>
              <a:lstStyle/>
              <a:p>
                <a:pPr defTabSz="914191">
                  <a:defRPr/>
                </a:pPr>
                <a:endParaRPr lang="en-US" sz="1764">
                  <a:solidFill>
                    <a:srgbClr val="FFFFFF"/>
                  </a:solidFill>
                  <a:latin typeface="Segoe UI"/>
                </a:endParaRPr>
              </a:p>
            </p:txBody>
          </p:sp>
          <p:sp>
            <p:nvSpPr>
              <p:cNvPr id="470" name="Rectangle 592"/>
              <p:cNvSpPr>
                <a:spLocks noChangeArrowheads="1"/>
              </p:cNvSpPr>
              <p:nvPr/>
            </p:nvSpPr>
            <p:spPr bwMode="auto">
              <a:xfrm>
                <a:off x="3136" y="2000"/>
                <a:ext cx="2"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29" tIns="44815" rIns="89629" bIns="44815" numCol="1" anchor="t" anchorCtr="0" compatLnSpc="1">
                <a:prstTxWarp prst="textNoShape">
                  <a:avLst/>
                </a:prstTxWarp>
              </a:bodyPr>
              <a:lstStyle/>
              <a:p>
                <a:pPr defTabSz="914191">
                  <a:defRPr/>
                </a:pPr>
                <a:endParaRPr lang="en-US" sz="1764">
                  <a:solidFill>
                    <a:srgbClr val="FFFFFF"/>
                  </a:solidFill>
                  <a:latin typeface="Segoe UI"/>
                </a:endParaRPr>
              </a:p>
            </p:txBody>
          </p:sp>
          <p:sp>
            <p:nvSpPr>
              <p:cNvPr id="471" name="Rectangle 593"/>
              <p:cNvSpPr>
                <a:spLocks noChangeArrowheads="1"/>
              </p:cNvSpPr>
              <p:nvPr/>
            </p:nvSpPr>
            <p:spPr bwMode="auto">
              <a:xfrm>
                <a:off x="3141" y="2000"/>
                <a:ext cx="3"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29" tIns="44815" rIns="89629" bIns="44815" numCol="1" anchor="t" anchorCtr="0" compatLnSpc="1">
                <a:prstTxWarp prst="textNoShape">
                  <a:avLst/>
                </a:prstTxWarp>
              </a:bodyPr>
              <a:lstStyle/>
              <a:p>
                <a:pPr defTabSz="914191">
                  <a:defRPr/>
                </a:pPr>
                <a:endParaRPr lang="en-US" sz="1764">
                  <a:solidFill>
                    <a:srgbClr val="FFFFFF"/>
                  </a:solidFill>
                  <a:latin typeface="Segoe UI"/>
                </a:endParaRPr>
              </a:p>
            </p:txBody>
          </p:sp>
          <p:sp>
            <p:nvSpPr>
              <p:cNvPr id="472" name="Freeform 594"/>
              <p:cNvSpPr>
                <a:spLocks/>
              </p:cNvSpPr>
              <p:nvPr/>
            </p:nvSpPr>
            <p:spPr bwMode="auto">
              <a:xfrm>
                <a:off x="3190" y="2006"/>
                <a:ext cx="6" cy="6"/>
              </a:xfrm>
              <a:custGeom>
                <a:avLst/>
                <a:gdLst>
                  <a:gd name="T0" fmla="*/ 0 w 11"/>
                  <a:gd name="T1" fmla="*/ 5 h 10"/>
                  <a:gd name="T2" fmla="*/ 0 w 11"/>
                  <a:gd name="T3" fmla="*/ 5 h 10"/>
                  <a:gd name="T4" fmla="*/ 2 w 11"/>
                  <a:gd name="T5" fmla="*/ 1 h 10"/>
                  <a:gd name="T6" fmla="*/ 5 w 11"/>
                  <a:gd name="T7" fmla="*/ 0 h 10"/>
                  <a:gd name="T8" fmla="*/ 5 w 11"/>
                  <a:gd name="T9" fmla="*/ 0 h 10"/>
                  <a:gd name="T10" fmla="*/ 9 w 11"/>
                  <a:gd name="T11" fmla="*/ 1 h 10"/>
                  <a:gd name="T12" fmla="*/ 11 w 11"/>
                  <a:gd name="T13" fmla="*/ 5 h 10"/>
                  <a:gd name="T14" fmla="*/ 11 w 11"/>
                  <a:gd name="T15" fmla="*/ 5 h 10"/>
                  <a:gd name="T16" fmla="*/ 9 w 11"/>
                  <a:gd name="T17" fmla="*/ 9 h 10"/>
                  <a:gd name="T18" fmla="*/ 5 w 11"/>
                  <a:gd name="T19" fmla="*/ 10 h 10"/>
                  <a:gd name="T20" fmla="*/ 5 w 11"/>
                  <a:gd name="T21" fmla="*/ 10 h 10"/>
                  <a:gd name="T22" fmla="*/ 2 w 11"/>
                  <a:gd name="T23" fmla="*/ 9 h 10"/>
                  <a:gd name="T24" fmla="*/ 0 w 11"/>
                  <a:gd name="T25" fmla="*/ 5 h 10"/>
                  <a:gd name="T26" fmla="*/ 0 w 11"/>
                  <a:gd name="T27" fmla="*/ 5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 h="10">
                    <a:moveTo>
                      <a:pt x="0" y="5"/>
                    </a:moveTo>
                    <a:lnTo>
                      <a:pt x="0" y="5"/>
                    </a:lnTo>
                    <a:lnTo>
                      <a:pt x="2" y="1"/>
                    </a:lnTo>
                    <a:lnTo>
                      <a:pt x="5" y="0"/>
                    </a:lnTo>
                    <a:lnTo>
                      <a:pt x="5" y="0"/>
                    </a:lnTo>
                    <a:lnTo>
                      <a:pt x="9" y="1"/>
                    </a:lnTo>
                    <a:lnTo>
                      <a:pt x="11" y="5"/>
                    </a:lnTo>
                    <a:lnTo>
                      <a:pt x="11" y="5"/>
                    </a:lnTo>
                    <a:lnTo>
                      <a:pt x="9" y="9"/>
                    </a:lnTo>
                    <a:lnTo>
                      <a:pt x="5" y="10"/>
                    </a:lnTo>
                    <a:lnTo>
                      <a:pt x="5" y="10"/>
                    </a:lnTo>
                    <a:lnTo>
                      <a:pt x="2" y="9"/>
                    </a:lnTo>
                    <a:lnTo>
                      <a:pt x="0" y="5"/>
                    </a:lnTo>
                    <a:lnTo>
                      <a:pt x="0" y="5"/>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914191">
                  <a:defRPr/>
                </a:pPr>
                <a:endParaRPr lang="en-US" sz="1764">
                  <a:solidFill>
                    <a:srgbClr val="FFFFFF"/>
                  </a:solidFill>
                  <a:latin typeface="Segoe UI"/>
                </a:endParaRPr>
              </a:p>
            </p:txBody>
          </p:sp>
          <p:sp>
            <p:nvSpPr>
              <p:cNvPr id="473" name="Rectangle 595"/>
              <p:cNvSpPr>
                <a:spLocks noChangeArrowheads="1"/>
              </p:cNvSpPr>
              <p:nvPr/>
            </p:nvSpPr>
            <p:spPr bwMode="auto">
              <a:xfrm>
                <a:off x="3112" y="2028"/>
                <a:ext cx="92" cy="2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29" tIns="44815" rIns="89629" bIns="44815" numCol="1" anchor="t" anchorCtr="0" compatLnSpc="1">
                <a:prstTxWarp prst="textNoShape">
                  <a:avLst/>
                </a:prstTxWarp>
              </a:bodyPr>
              <a:lstStyle/>
              <a:p>
                <a:pPr defTabSz="914191">
                  <a:defRPr/>
                </a:pPr>
                <a:endParaRPr lang="en-US" sz="1764">
                  <a:solidFill>
                    <a:srgbClr val="FFFFFF"/>
                  </a:solidFill>
                  <a:latin typeface="Segoe UI"/>
                </a:endParaRPr>
              </a:p>
            </p:txBody>
          </p:sp>
          <p:sp>
            <p:nvSpPr>
              <p:cNvPr id="474" name="Rectangle 596"/>
              <p:cNvSpPr>
                <a:spLocks noChangeArrowheads="1"/>
              </p:cNvSpPr>
              <p:nvPr/>
            </p:nvSpPr>
            <p:spPr bwMode="auto">
              <a:xfrm>
                <a:off x="3116" y="2031"/>
                <a:ext cx="3" cy="1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29" tIns="44815" rIns="89629" bIns="44815" numCol="1" anchor="t" anchorCtr="0" compatLnSpc="1">
                <a:prstTxWarp prst="textNoShape">
                  <a:avLst/>
                </a:prstTxWarp>
              </a:bodyPr>
              <a:lstStyle/>
              <a:p>
                <a:pPr defTabSz="914191">
                  <a:defRPr/>
                </a:pPr>
                <a:endParaRPr lang="en-US" sz="1764">
                  <a:solidFill>
                    <a:srgbClr val="FFFFFF"/>
                  </a:solidFill>
                  <a:latin typeface="Segoe UI"/>
                </a:endParaRPr>
              </a:p>
            </p:txBody>
          </p:sp>
          <p:sp>
            <p:nvSpPr>
              <p:cNvPr id="475" name="Rectangle 597"/>
              <p:cNvSpPr>
                <a:spLocks noChangeArrowheads="1"/>
              </p:cNvSpPr>
              <p:nvPr/>
            </p:nvSpPr>
            <p:spPr bwMode="auto">
              <a:xfrm>
                <a:off x="3121" y="2031"/>
                <a:ext cx="4" cy="1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29" tIns="44815" rIns="89629" bIns="44815" numCol="1" anchor="t" anchorCtr="0" compatLnSpc="1">
                <a:prstTxWarp prst="textNoShape">
                  <a:avLst/>
                </a:prstTxWarp>
              </a:bodyPr>
              <a:lstStyle/>
              <a:p>
                <a:pPr defTabSz="914191">
                  <a:defRPr/>
                </a:pPr>
                <a:endParaRPr lang="en-US" sz="1764">
                  <a:solidFill>
                    <a:srgbClr val="FFFFFF"/>
                  </a:solidFill>
                  <a:latin typeface="Segoe UI"/>
                </a:endParaRPr>
              </a:p>
            </p:txBody>
          </p:sp>
          <p:sp>
            <p:nvSpPr>
              <p:cNvPr id="476" name="Rectangle 598"/>
              <p:cNvSpPr>
                <a:spLocks noChangeArrowheads="1"/>
              </p:cNvSpPr>
              <p:nvPr/>
            </p:nvSpPr>
            <p:spPr bwMode="auto">
              <a:xfrm>
                <a:off x="3127" y="2031"/>
                <a:ext cx="2" cy="1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29" tIns="44815" rIns="89629" bIns="44815" numCol="1" anchor="t" anchorCtr="0" compatLnSpc="1">
                <a:prstTxWarp prst="textNoShape">
                  <a:avLst/>
                </a:prstTxWarp>
              </a:bodyPr>
              <a:lstStyle/>
              <a:p>
                <a:pPr defTabSz="914191">
                  <a:defRPr/>
                </a:pPr>
                <a:endParaRPr lang="en-US" sz="1764">
                  <a:solidFill>
                    <a:srgbClr val="FFFFFF"/>
                  </a:solidFill>
                  <a:latin typeface="Segoe UI"/>
                </a:endParaRPr>
              </a:p>
            </p:txBody>
          </p:sp>
          <p:sp>
            <p:nvSpPr>
              <p:cNvPr id="477" name="Rectangle 599"/>
              <p:cNvSpPr>
                <a:spLocks noChangeArrowheads="1"/>
              </p:cNvSpPr>
              <p:nvPr/>
            </p:nvSpPr>
            <p:spPr bwMode="auto">
              <a:xfrm>
                <a:off x="3131" y="2031"/>
                <a:ext cx="3" cy="1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29" tIns="44815" rIns="89629" bIns="44815" numCol="1" anchor="t" anchorCtr="0" compatLnSpc="1">
                <a:prstTxWarp prst="textNoShape">
                  <a:avLst/>
                </a:prstTxWarp>
              </a:bodyPr>
              <a:lstStyle/>
              <a:p>
                <a:pPr defTabSz="914191">
                  <a:defRPr/>
                </a:pPr>
                <a:endParaRPr lang="en-US" sz="1764">
                  <a:solidFill>
                    <a:srgbClr val="FFFFFF"/>
                  </a:solidFill>
                  <a:latin typeface="Segoe UI"/>
                </a:endParaRPr>
              </a:p>
            </p:txBody>
          </p:sp>
          <p:sp>
            <p:nvSpPr>
              <p:cNvPr id="478" name="Rectangle 600"/>
              <p:cNvSpPr>
                <a:spLocks noChangeArrowheads="1"/>
              </p:cNvSpPr>
              <p:nvPr/>
            </p:nvSpPr>
            <p:spPr bwMode="auto">
              <a:xfrm>
                <a:off x="3136" y="2031"/>
                <a:ext cx="2" cy="1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29" tIns="44815" rIns="89629" bIns="44815" numCol="1" anchor="t" anchorCtr="0" compatLnSpc="1">
                <a:prstTxWarp prst="textNoShape">
                  <a:avLst/>
                </a:prstTxWarp>
              </a:bodyPr>
              <a:lstStyle/>
              <a:p>
                <a:pPr defTabSz="914191">
                  <a:defRPr/>
                </a:pPr>
                <a:endParaRPr lang="en-US" sz="1764">
                  <a:solidFill>
                    <a:srgbClr val="FFFFFF"/>
                  </a:solidFill>
                  <a:latin typeface="Segoe UI"/>
                </a:endParaRPr>
              </a:p>
            </p:txBody>
          </p:sp>
          <p:sp>
            <p:nvSpPr>
              <p:cNvPr id="479" name="Rectangle 601"/>
              <p:cNvSpPr>
                <a:spLocks noChangeArrowheads="1"/>
              </p:cNvSpPr>
              <p:nvPr/>
            </p:nvSpPr>
            <p:spPr bwMode="auto">
              <a:xfrm>
                <a:off x="3141" y="2031"/>
                <a:ext cx="3" cy="1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29" tIns="44815" rIns="89629" bIns="44815" numCol="1" anchor="t" anchorCtr="0" compatLnSpc="1">
                <a:prstTxWarp prst="textNoShape">
                  <a:avLst/>
                </a:prstTxWarp>
              </a:bodyPr>
              <a:lstStyle/>
              <a:p>
                <a:pPr defTabSz="914191">
                  <a:defRPr/>
                </a:pPr>
                <a:endParaRPr lang="en-US" sz="1764">
                  <a:solidFill>
                    <a:srgbClr val="FFFFFF"/>
                  </a:solidFill>
                  <a:latin typeface="Segoe UI"/>
                </a:endParaRPr>
              </a:p>
            </p:txBody>
          </p:sp>
          <p:sp>
            <p:nvSpPr>
              <p:cNvPr id="480" name="Freeform 602"/>
              <p:cNvSpPr>
                <a:spLocks/>
              </p:cNvSpPr>
              <p:nvPr/>
            </p:nvSpPr>
            <p:spPr bwMode="auto">
              <a:xfrm>
                <a:off x="3190" y="2036"/>
                <a:ext cx="6" cy="4"/>
              </a:xfrm>
              <a:custGeom>
                <a:avLst/>
                <a:gdLst>
                  <a:gd name="T0" fmla="*/ 0 w 11"/>
                  <a:gd name="T1" fmla="*/ 5 h 9"/>
                  <a:gd name="T2" fmla="*/ 0 w 11"/>
                  <a:gd name="T3" fmla="*/ 5 h 9"/>
                  <a:gd name="T4" fmla="*/ 2 w 11"/>
                  <a:gd name="T5" fmla="*/ 2 h 9"/>
                  <a:gd name="T6" fmla="*/ 5 w 11"/>
                  <a:gd name="T7" fmla="*/ 0 h 9"/>
                  <a:gd name="T8" fmla="*/ 5 w 11"/>
                  <a:gd name="T9" fmla="*/ 0 h 9"/>
                  <a:gd name="T10" fmla="*/ 9 w 11"/>
                  <a:gd name="T11" fmla="*/ 2 h 9"/>
                  <a:gd name="T12" fmla="*/ 11 w 11"/>
                  <a:gd name="T13" fmla="*/ 5 h 9"/>
                  <a:gd name="T14" fmla="*/ 11 w 11"/>
                  <a:gd name="T15" fmla="*/ 5 h 9"/>
                  <a:gd name="T16" fmla="*/ 9 w 11"/>
                  <a:gd name="T17" fmla="*/ 7 h 9"/>
                  <a:gd name="T18" fmla="*/ 5 w 11"/>
                  <a:gd name="T19" fmla="*/ 9 h 9"/>
                  <a:gd name="T20" fmla="*/ 5 w 11"/>
                  <a:gd name="T21" fmla="*/ 9 h 9"/>
                  <a:gd name="T22" fmla="*/ 2 w 11"/>
                  <a:gd name="T23" fmla="*/ 7 h 9"/>
                  <a:gd name="T24" fmla="*/ 0 w 11"/>
                  <a:gd name="T25" fmla="*/ 5 h 9"/>
                  <a:gd name="T26" fmla="*/ 0 w 11"/>
                  <a:gd name="T27" fmla="*/ 5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 h="9">
                    <a:moveTo>
                      <a:pt x="0" y="5"/>
                    </a:moveTo>
                    <a:lnTo>
                      <a:pt x="0" y="5"/>
                    </a:lnTo>
                    <a:lnTo>
                      <a:pt x="2" y="2"/>
                    </a:lnTo>
                    <a:lnTo>
                      <a:pt x="5" y="0"/>
                    </a:lnTo>
                    <a:lnTo>
                      <a:pt x="5" y="0"/>
                    </a:lnTo>
                    <a:lnTo>
                      <a:pt x="9" y="2"/>
                    </a:lnTo>
                    <a:lnTo>
                      <a:pt x="11" y="5"/>
                    </a:lnTo>
                    <a:lnTo>
                      <a:pt x="11" y="5"/>
                    </a:lnTo>
                    <a:lnTo>
                      <a:pt x="9" y="7"/>
                    </a:lnTo>
                    <a:lnTo>
                      <a:pt x="5" y="9"/>
                    </a:lnTo>
                    <a:lnTo>
                      <a:pt x="5" y="9"/>
                    </a:lnTo>
                    <a:lnTo>
                      <a:pt x="2" y="7"/>
                    </a:lnTo>
                    <a:lnTo>
                      <a:pt x="0" y="5"/>
                    </a:lnTo>
                    <a:lnTo>
                      <a:pt x="0" y="5"/>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914191">
                  <a:defRPr/>
                </a:pPr>
                <a:endParaRPr lang="en-US" sz="1764">
                  <a:solidFill>
                    <a:srgbClr val="FFFFFF"/>
                  </a:solidFill>
                  <a:latin typeface="Segoe UI"/>
                </a:endParaRPr>
              </a:p>
            </p:txBody>
          </p:sp>
          <p:sp>
            <p:nvSpPr>
              <p:cNvPr id="481" name="Rectangle 603"/>
              <p:cNvSpPr>
                <a:spLocks noChangeArrowheads="1"/>
              </p:cNvSpPr>
              <p:nvPr/>
            </p:nvSpPr>
            <p:spPr bwMode="auto">
              <a:xfrm>
                <a:off x="3112" y="2057"/>
                <a:ext cx="92" cy="2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29" tIns="44815" rIns="89629" bIns="44815" numCol="1" anchor="t" anchorCtr="0" compatLnSpc="1">
                <a:prstTxWarp prst="textNoShape">
                  <a:avLst/>
                </a:prstTxWarp>
              </a:bodyPr>
              <a:lstStyle/>
              <a:p>
                <a:pPr defTabSz="914191">
                  <a:defRPr/>
                </a:pPr>
                <a:endParaRPr lang="en-US" sz="1764">
                  <a:solidFill>
                    <a:srgbClr val="FFFFFF"/>
                  </a:solidFill>
                  <a:latin typeface="Segoe UI"/>
                </a:endParaRPr>
              </a:p>
            </p:txBody>
          </p:sp>
          <p:sp>
            <p:nvSpPr>
              <p:cNvPr id="482" name="Rectangle 604"/>
              <p:cNvSpPr>
                <a:spLocks noChangeArrowheads="1"/>
              </p:cNvSpPr>
              <p:nvPr/>
            </p:nvSpPr>
            <p:spPr bwMode="auto">
              <a:xfrm>
                <a:off x="3116" y="2060"/>
                <a:ext cx="3"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29" tIns="44815" rIns="89629" bIns="44815" numCol="1" anchor="t" anchorCtr="0" compatLnSpc="1">
                <a:prstTxWarp prst="textNoShape">
                  <a:avLst/>
                </a:prstTxWarp>
              </a:bodyPr>
              <a:lstStyle/>
              <a:p>
                <a:pPr defTabSz="914191">
                  <a:defRPr/>
                </a:pPr>
                <a:endParaRPr lang="en-US" sz="1764">
                  <a:solidFill>
                    <a:srgbClr val="FFFFFF"/>
                  </a:solidFill>
                  <a:latin typeface="Segoe UI"/>
                </a:endParaRPr>
              </a:p>
            </p:txBody>
          </p:sp>
          <p:sp>
            <p:nvSpPr>
              <p:cNvPr id="483" name="Rectangle 605"/>
              <p:cNvSpPr>
                <a:spLocks noChangeArrowheads="1"/>
              </p:cNvSpPr>
              <p:nvPr/>
            </p:nvSpPr>
            <p:spPr bwMode="auto">
              <a:xfrm>
                <a:off x="3121" y="2060"/>
                <a:ext cx="4"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29" tIns="44815" rIns="89629" bIns="44815" numCol="1" anchor="t" anchorCtr="0" compatLnSpc="1">
                <a:prstTxWarp prst="textNoShape">
                  <a:avLst/>
                </a:prstTxWarp>
              </a:bodyPr>
              <a:lstStyle/>
              <a:p>
                <a:pPr defTabSz="914191">
                  <a:defRPr/>
                </a:pPr>
                <a:endParaRPr lang="en-US" sz="1764">
                  <a:solidFill>
                    <a:srgbClr val="FFFFFF"/>
                  </a:solidFill>
                  <a:latin typeface="Segoe UI"/>
                </a:endParaRPr>
              </a:p>
            </p:txBody>
          </p:sp>
          <p:sp>
            <p:nvSpPr>
              <p:cNvPr id="484" name="Rectangle 606"/>
              <p:cNvSpPr>
                <a:spLocks noChangeArrowheads="1"/>
              </p:cNvSpPr>
              <p:nvPr/>
            </p:nvSpPr>
            <p:spPr bwMode="auto">
              <a:xfrm>
                <a:off x="3127" y="2060"/>
                <a:ext cx="2"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29" tIns="44815" rIns="89629" bIns="44815" numCol="1" anchor="t" anchorCtr="0" compatLnSpc="1">
                <a:prstTxWarp prst="textNoShape">
                  <a:avLst/>
                </a:prstTxWarp>
              </a:bodyPr>
              <a:lstStyle/>
              <a:p>
                <a:pPr defTabSz="914191">
                  <a:defRPr/>
                </a:pPr>
                <a:endParaRPr lang="en-US" sz="1764">
                  <a:solidFill>
                    <a:srgbClr val="FFFFFF"/>
                  </a:solidFill>
                  <a:latin typeface="Segoe UI"/>
                </a:endParaRPr>
              </a:p>
            </p:txBody>
          </p:sp>
        </p:grpSp>
        <p:sp>
          <p:nvSpPr>
            <p:cNvPr id="157" name="Rectangle 608"/>
            <p:cNvSpPr>
              <a:spLocks noChangeArrowheads="1"/>
            </p:cNvSpPr>
            <p:nvPr/>
          </p:nvSpPr>
          <p:spPr bwMode="auto">
            <a:xfrm>
              <a:off x="4908550" y="3643313"/>
              <a:ext cx="4763" cy="2540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29" tIns="44815" rIns="89629" bIns="44815" numCol="1" anchor="t" anchorCtr="0" compatLnSpc="1">
              <a:prstTxWarp prst="textNoShape">
                <a:avLst/>
              </a:prstTxWarp>
            </a:bodyPr>
            <a:lstStyle/>
            <a:p>
              <a:pPr defTabSz="914191">
                <a:defRPr/>
              </a:pPr>
              <a:endParaRPr lang="en-US" sz="1764">
                <a:solidFill>
                  <a:srgbClr val="FFFFFF"/>
                </a:solidFill>
                <a:latin typeface="Segoe UI"/>
              </a:endParaRPr>
            </a:p>
          </p:txBody>
        </p:sp>
        <p:sp>
          <p:nvSpPr>
            <p:cNvPr id="158" name="Rectangle 609"/>
            <p:cNvSpPr>
              <a:spLocks noChangeArrowheads="1"/>
            </p:cNvSpPr>
            <p:nvPr/>
          </p:nvSpPr>
          <p:spPr bwMode="auto">
            <a:xfrm>
              <a:off x="4916487" y="3643313"/>
              <a:ext cx="3175" cy="2540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29" tIns="44815" rIns="89629" bIns="44815" numCol="1" anchor="t" anchorCtr="0" compatLnSpc="1">
              <a:prstTxWarp prst="textNoShape">
                <a:avLst/>
              </a:prstTxWarp>
            </a:bodyPr>
            <a:lstStyle/>
            <a:p>
              <a:pPr defTabSz="914191">
                <a:defRPr/>
              </a:pPr>
              <a:endParaRPr lang="en-US" sz="1764">
                <a:solidFill>
                  <a:srgbClr val="FFFFFF"/>
                </a:solidFill>
                <a:latin typeface="Segoe UI"/>
              </a:endParaRPr>
            </a:p>
          </p:txBody>
        </p:sp>
        <p:sp>
          <p:nvSpPr>
            <p:cNvPr id="159" name="Rectangle 610"/>
            <p:cNvSpPr>
              <a:spLocks noChangeArrowheads="1"/>
            </p:cNvSpPr>
            <p:nvPr/>
          </p:nvSpPr>
          <p:spPr bwMode="auto">
            <a:xfrm>
              <a:off x="4924425" y="3643313"/>
              <a:ext cx="4763" cy="2540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29" tIns="44815" rIns="89629" bIns="44815" numCol="1" anchor="t" anchorCtr="0" compatLnSpc="1">
              <a:prstTxWarp prst="textNoShape">
                <a:avLst/>
              </a:prstTxWarp>
            </a:bodyPr>
            <a:lstStyle/>
            <a:p>
              <a:pPr defTabSz="914191">
                <a:defRPr/>
              </a:pPr>
              <a:endParaRPr lang="en-US" sz="1764">
                <a:solidFill>
                  <a:srgbClr val="FFFFFF"/>
                </a:solidFill>
                <a:latin typeface="Segoe UI"/>
              </a:endParaRPr>
            </a:p>
          </p:txBody>
        </p:sp>
        <p:sp>
          <p:nvSpPr>
            <p:cNvPr id="160" name="Freeform 611"/>
            <p:cNvSpPr>
              <a:spLocks/>
            </p:cNvSpPr>
            <p:nvPr/>
          </p:nvSpPr>
          <p:spPr bwMode="auto">
            <a:xfrm>
              <a:off x="5002212" y="3652838"/>
              <a:ext cx="9525" cy="9525"/>
            </a:xfrm>
            <a:custGeom>
              <a:avLst/>
              <a:gdLst>
                <a:gd name="T0" fmla="*/ 0 w 11"/>
                <a:gd name="T1" fmla="*/ 6 h 13"/>
                <a:gd name="T2" fmla="*/ 0 w 11"/>
                <a:gd name="T3" fmla="*/ 6 h 13"/>
                <a:gd name="T4" fmla="*/ 2 w 11"/>
                <a:gd name="T5" fmla="*/ 2 h 13"/>
                <a:gd name="T6" fmla="*/ 5 w 11"/>
                <a:gd name="T7" fmla="*/ 0 h 13"/>
                <a:gd name="T8" fmla="*/ 5 w 11"/>
                <a:gd name="T9" fmla="*/ 0 h 13"/>
                <a:gd name="T10" fmla="*/ 9 w 11"/>
                <a:gd name="T11" fmla="*/ 2 h 13"/>
                <a:gd name="T12" fmla="*/ 11 w 11"/>
                <a:gd name="T13" fmla="*/ 6 h 13"/>
                <a:gd name="T14" fmla="*/ 11 w 11"/>
                <a:gd name="T15" fmla="*/ 6 h 13"/>
                <a:gd name="T16" fmla="*/ 9 w 11"/>
                <a:gd name="T17" fmla="*/ 11 h 13"/>
                <a:gd name="T18" fmla="*/ 5 w 11"/>
                <a:gd name="T19" fmla="*/ 13 h 13"/>
                <a:gd name="T20" fmla="*/ 5 w 11"/>
                <a:gd name="T21" fmla="*/ 13 h 13"/>
                <a:gd name="T22" fmla="*/ 2 w 11"/>
                <a:gd name="T23" fmla="*/ 11 h 13"/>
                <a:gd name="T24" fmla="*/ 0 w 11"/>
                <a:gd name="T25" fmla="*/ 6 h 13"/>
                <a:gd name="T26" fmla="*/ 0 w 11"/>
                <a:gd name="T27" fmla="*/ 6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 h="13">
                  <a:moveTo>
                    <a:pt x="0" y="6"/>
                  </a:moveTo>
                  <a:lnTo>
                    <a:pt x="0" y="6"/>
                  </a:lnTo>
                  <a:lnTo>
                    <a:pt x="2" y="2"/>
                  </a:lnTo>
                  <a:lnTo>
                    <a:pt x="5" y="0"/>
                  </a:lnTo>
                  <a:lnTo>
                    <a:pt x="5" y="0"/>
                  </a:lnTo>
                  <a:lnTo>
                    <a:pt x="9" y="2"/>
                  </a:lnTo>
                  <a:lnTo>
                    <a:pt x="11" y="6"/>
                  </a:lnTo>
                  <a:lnTo>
                    <a:pt x="11" y="6"/>
                  </a:lnTo>
                  <a:lnTo>
                    <a:pt x="9" y="11"/>
                  </a:lnTo>
                  <a:lnTo>
                    <a:pt x="5" y="13"/>
                  </a:lnTo>
                  <a:lnTo>
                    <a:pt x="5" y="13"/>
                  </a:lnTo>
                  <a:lnTo>
                    <a:pt x="2" y="11"/>
                  </a:lnTo>
                  <a:lnTo>
                    <a:pt x="0" y="6"/>
                  </a:lnTo>
                  <a:lnTo>
                    <a:pt x="0" y="6"/>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914191">
                <a:defRPr/>
              </a:pPr>
              <a:endParaRPr lang="en-US" sz="1764">
                <a:solidFill>
                  <a:srgbClr val="FFFFFF"/>
                </a:solidFill>
                <a:latin typeface="Segoe UI"/>
              </a:endParaRPr>
            </a:p>
          </p:txBody>
        </p:sp>
        <p:sp>
          <p:nvSpPr>
            <p:cNvPr id="161" name="Rectangle 612"/>
            <p:cNvSpPr>
              <a:spLocks noChangeArrowheads="1"/>
            </p:cNvSpPr>
            <p:nvPr/>
          </p:nvSpPr>
          <p:spPr bwMode="auto">
            <a:xfrm>
              <a:off x="4878387" y="3686176"/>
              <a:ext cx="146050" cy="3810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29" tIns="44815" rIns="89629" bIns="44815" numCol="1" anchor="t" anchorCtr="0" compatLnSpc="1">
              <a:prstTxWarp prst="textNoShape">
                <a:avLst/>
              </a:prstTxWarp>
            </a:bodyPr>
            <a:lstStyle/>
            <a:p>
              <a:pPr defTabSz="914191">
                <a:defRPr/>
              </a:pPr>
              <a:endParaRPr lang="en-US" sz="1764">
                <a:solidFill>
                  <a:srgbClr val="FFFFFF"/>
                </a:solidFill>
                <a:latin typeface="Segoe UI"/>
              </a:endParaRPr>
            </a:p>
          </p:txBody>
        </p:sp>
        <p:sp>
          <p:nvSpPr>
            <p:cNvPr id="162" name="Rectangle 613"/>
            <p:cNvSpPr>
              <a:spLocks noChangeArrowheads="1"/>
            </p:cNvSpPr>
            <p:nvPr/>
          </p:nvSpPr>
          <p:spPr bwMode="auto">
            <a:xfrm>
              <a:off x="4884737" y="3692526"/>
              <a:ext cx="4763" cy="2540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29" tIns="44815" rIns="89629" bIns="44815" numCol="1" anchor="t" anchorCtr="0" compatLnSpc="1">
              <a:prstTxWarp prst="textNoShape">
                <a:avLst/>
              </a:prstTxWarp>
            </a:bodyPr>
            <a:lstStyle/>
            <a:p>
              <a:pPr defTabSz="914191">
                <a:defRPr/>
              </a:pPr>
              <a:endParaRPr lang="en-US" sz="1764">
                <a:solidFill>
                  <a:srgbClr val="FFFFFF"/>
                </a:solidFill>
                <a:latin typeface="Segoe UI"/>
              </a:endParaRPr>
            </a:p>
          </p:txBody>
        </p:sp>
        <p:sp>
          <p:nvSpPr>
            <p:cNvPr id="163" name="Rectangle 614"/>
            <p:cNvSpPr>
              <a:spLocks noChangeArrowheads="1"/>
            </p:cNvSpPr>
            <p:nvPr/>
          </p:nvSpPr>
          <p:spPr bwMode="auto">
            <a:xfrm>
              <a:off x="4892675" y="3692526"/>
              <a:ext cx="6350" cy="2540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29" tIns="44815" rIns="89629" bIns="44815" numCol="1" anchor="t" anchorCtr="0" compatLnSpc="1">
              <a:prstTxWarp prst="textNoShape">
                <a:avLst/>
              </a:prstTxWarp>
            </a:bodyPr>
            <a:lstStyle/>
            <a:p>
              <a:pPr defTabSz="914191">
                <a:defRPr/>
              </a:pPr>
              <a:endParaRPr lang="en-US" sz="1764">
                <a:solidFill>
                  <a:srgbClr val="FFFFFF"/>
                </a:solidFill>
                <a:latin typeface="Segoe UI"/>
              </a:endParaRPr>
            </a:p>
          </p:txBody>
        </p:sp>
        <p:sp>
          <p:nvSpPr>
            <p:cNvPr id="164" name="Rectangle 615"/>
            <p:cNvSpPr>
              <a:spLocks noChangeArrowheads="1"/>
            </p:cNvSpPr>
            <p:nvPr/>
          </p:nvSpPr>
          <p:spPr bwMode="auto">
            <a:xfrm>
              <a:off x="4902200" y="3692526"/>
              <a:ext cx="3175" cy="2540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29" tIns="44815" rIns="89629" bIns="44815" numCol="1" anchor="t" anchorCtr="0" compatLnSpc="1">
              <a:prstTxWarp prst="textNoShape">
                <a:avLst/>
              </a:prstTxWarp>
            </a:bodyPr>
            <a:lstStyle/>
            <a:p>
              <a:pPr defTabSz="914191">
                <a:defRPr/>
              </a:pPr>
              <a:endParaRPr lang="en-US" sz="1764">
                <a:solidFill>
                  <a:srgbClr val="FFFFFF"/>
                </a:solidFill>
                <a:latin typeface="Segoe UI"/>
              </a:endParaRPr>
            </a:p>
          </p:txBody>
        </p:sp>
        <p:sp>
          <p:nvSpPr>
            <p:cNvPr id="165" name="Rectangle 616"/>
            <p:cNvSpPr>
              <a:spLocks noChangeArrowheads="1"/>
            </p:cNvSpPr>
            <p:nvPr/>
          </p:nvSpPr>
          <p:spPr bwMode="auto">
            <a:xfrm>
              <a:off x="4908550" y="3692526"/>
              <a:ext cx="4763" cy="2540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29" tIns="44815" rIns="89629" bIns="44815" numCol="1" anchor="t" anchorCtr="0" compatLnSpc="1">
              <a:prstTxWarp prst="textNoShape">
                <a:avLst/>
              </a:prstTxWarp>
            </a:bodyPr>
            <a:lstStyle/>
            <a:p>
              <a:pPr defTabSz="914191">
                <a:defRPr/>
              </a:pPr>
              <a:endParaRPr lang="en-US" sz="1764">
                <a:solidFill>
                  <a:srgbClr val="FFFFFF"/>
                </a:solidFill>
                <a:latin typeface="Segoe UI"/>
              </a:endParaRPr>
            </a:p>
          </p:txBody>
        </p:sp>
        <p:sp>
          <p:nvSpPr>
            <p:cNvPr id="166" name="Rectangle 617"/>
            <p:cNvSpPr>
              <a:spLocks noChangeArrowheads="1"/>
            </p:cNvSpPr>
            <p:nvPr/>
          </p:nvSpPr>
          <p:spPr bwMode="auto">
            <a:xfrm>
              <a:off x="4916487" y="3692526"/>
              <a:ext cx="3175" cy="2540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29" tIns="44815" rIns="89629" bIns="44815" numCol="1" anchor="t" anchorCtr="0" compatLnSpc="1">
              <a:prstTxWarp prst="textNoShape">
                <a:avLst/>
              </a:prstTxWarp>
            </a:bodyPr>
            <a:lstStyle/>
            <a:p>
              <a:pPr defTabSz="914191">
                <a:defRPr/>
              </a:pPr>
              <a:endParaRPr lang="en-US" sz="1764">
                <a:solidFill>
                  <a:srgbClr val="FFFFFF"/>
                </a:solidFill>
                <a:latin typeface="Segoe UI"/>
              </a:endParaRPr>
            </a:p>
          </p:txBody>
        </p:sp>
        <p:sp>
          <p:nvSpPr>
            <p:cNvPr id="167" name="Rectangle 618"/>
            <p:cNvSpPr>
              <a:spLocks noChangeArrowheads="1"/>
            </p:cNvSpPr>
            <p:nvPr/>
          </p:nvSpPr>
          <p:spPr bwMode="auto">
            <a:xfrm>
              <a:off x="4924425" y="3692526"/>
              <a:ext cx="4763" cy="2540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29" tIns="44815" rIns="89629" bIns="44815" numCol="1" anchor="t" anchorCtr="0" compatLnSpc="1">
              <a:prstTxWarp prst="textNoShape">
                <a:avLst/>
              </a:prstTxWarp>
            </a:bodyPr>
            <a:lstStyle/>
            <a:p>
              <a:pPr defTabSz="914191">
                <a:defRPr/>
              </a:pPr>
              <a:endParaRPr lang="en-US" sz="1764">
                <a:solidFill>
                  <a:srgbClr val="FFFFFF"/>
                </a:solidFill>
                <a:latin typeface="Segoe UI"/>
              </a:endParaRPr>
            </a:p>
          </p:txBody>
        </p:sp>
        <p:sp>
          <p:nvSpPr>
            <p:cNvPr id="168" name="Freeform 619"/>
            <p:cNvSpPr>
              <a:spLocks/>
            </p:cNvSpPr>
            <p:nvPr/>
          </p:nvSpPr>
          <p:spPr bwMode="auto">
            <a:xfrm>
              <a:off x="5002212" y="3700463"/>
              <a:ext cx="9525" cy="9525"/>
            </a:xfrm>
            <a:custGeom>
              <a:avLst/>
              <a:gdLst>
                <a:gd name="T0" fmla="*/ 0 w 11"/>
                <a:gd name="T1" fmla="*/ 6 h 11"/>
                <a:gd name="T2" fmla="*/ 0 w 11"/>
                <a:gd name="T3" fmla="*/ 6 h 11"/>
                <a:gd name="T4" fmla="*/ 2 w 11"/>
                <a:gd name="T5" fmla="*/ 2 h 11"/>
                <a:gd name="T6" fmla="*/ 5 w 11"/>
                <a:gd name="T7" fmla="*/ 0 h 11"/>
                <a:gd name="T8" fmla="*/ 5 w 11"/>
                <a:gd name="T9" fmla="*/ 0 h 11"/>
                <a:gd name="T10" fmla="*/ 9 w 11"/>
                <a:gd name="T11" fmla="*/ 2 h 11"/>
                <a:gd name="T12" fmla="*/ 11 w 11"/>
                <a:gd name="T13" fmla="*/ 6 h 11"/>
                <a:gd name="T14" fmla="*/ 11 w 11"/>
                <a:gd name="T15" fmla="*/ 6 h 11"/>
                <a:gd name="T16" fmla="*/ 9 w 11"/>
                <a:gd name="T17" fmla="*/ 9 h 11"/>
                <a:gd name="T18" fmla="*/ 5 w 11"/>
                <a:gd name="T19" fmla="*/ 11 h 11"/>
                <a:gd name="T20" fmla="*/ 5 w 11"/>
                <a:gd name="T21" fmla="*/ 11 h 11"/>
                <a:gd name="T22" fmla="*/ 2 w 11"/>
                <a:gd name="T23" fmla="*/ 9 h 11"/>
                <a:gd name="T24" fmla="*/ 0 w 11"/>
                <a:gd name="T25" fmla="*/ 6 h 11"/>
                <a:gd name="T26" fmla="*/ 0 w 11"/>
                <a:gd name="T27" fmla="*/ 6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 h="11">
                  <a:moveTo>
                    <a:pt x="0" y="6"/>
                  </a:moveTo>
                  <a:lnTo>
                    <a:pt x="0" y="6"/>
                  </a:lnTo>
                  <a:lnTo>
                    <a:pt x="2" y="2"/>
                  </a:lnTo>
                  <a:lnTo>
                    <a:pt x="5" y="0"/>
                  </a:lnTo>
                  <a:lnTo>
                    <a:pt x="5" y="0"/>
                  </a:lnTo>
                  <a:lnTo>
                    <a:pt x="9" y="2"/>
                  </a:lnTo>
                  <a:lnTo>
                    <a:pt x="11" y="6"/>
                  </a:lnTo>
                  <a:lnTo>
                    <a:pt x="11" y="6"/>
                  </a:lnTo>
                  <a:lnTo>
                    <a:pt x="9" y="9"/>
                  </a:lnTo>
                  <a:lnTo>
                    <a:pt x="5" y="11"/>
                  </a:lnTo>
                  <a:lnTo>
                    <a:pt x="5" y="11"/>
                  </a:lnTo>
                  <a:lnTo>
                    <a:pt x="2" y="9"/>
                  </a:lnTo>
                  <a:lnTo>
                    <a:pt x="0" y="6"/>
                  </a:lnTo>
                  <a:lnTo>
                    <a:pt x="0" y="6"/>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914191">
                <a:defRPr/>
              </a:pPr>
              <a:endParaRPr lang="en-US" sz="1764">
                <a:solidFill>
                  <a:srgbClr val="FFFFFF"/>
                </a:solidFill>
                <a:latin typeface="Segoe UI"/>
              </a:endParaRPr>
            </a:p>
          </p:txBody>
        </p:sp>
        <p:sp>
          <p:nvSpPr>
            <p:cNvPr id="169" name="Rectangle 620"/>
            <p:cNvSpPr>
              <a:spLocks noChangeArrowheads="1"/>
            </p:cNvSpPr>
            <p:nvPr/>
          </p:nvSpPr>
          <p:spPr bwMode="auto">
            <a:xfrm>
              <a:off x="5080000" y="3367088"/>
              <a:ext cx="204788" cy="42545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29" tIns="44815" rIns="89629" bIns="44815" numCol="1" anchor="t" anchorCtr="0" compatLnSpc="1">
              <a:prstTxWarp prst="textNoShape">
                <a:avLst/>
              </a:prstTxWarp>
            </a:bodyPr>
            <a:lstStyle/>
            <a:p>
              <a:pPr defTabSz="914191">
                <a:defRPr/>
              </a:pPr>
              <a:endParaRPr lang="en-US" sz="1764">
                <a:solidFill>
                  <a:srgbClr val="FFFFFF"/>
                </a:solidFill>
                <a:latin typeface="Segoe UI"/>
              </a:endParaRPr>
            </a:p>
          </p:txBody>
        </p:sp>
        <p:sp>
          <p:nvSpPr>
            <p:cNvPr id="170" name="Rectangle 621"/>
            <p:cNvSpPr>
              <a:spLocks noChangeArrowheads="1"/>
            </p:cNvSpPr>
            <p:nvPr/>
          </p:nvSpPr>
          <p:spPr bwMode="auto">
            <a:xfrm>
              <a:off x="5099050" y="3387726"/>
              <a:ext cx="165100" cy="3698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29" tIns="44815" rIns="89629" bIns="44815" numCol="1" anchor="t" anchorCtr="0" compatLnSpc="1">
              <a:prstTxWarp prst="textNoShape">
                <a:avLst/>
              </a:prstTxWarp>
            </a:bodyPr>
            <a:lstStyle/>
            <a:p>
              <a:pPr defTabSz="914191">
                <a:defRPr/>
              </a:pPr>
              <a:endParaRPr lang="en-US" sz="1764">
                <a:solidFill>
                  <a:srgbClr val="FFFFFF"/>
                </a:solidFill>
                <a:latin typeface="Segoe UI"/>
              </a:endParaRPr>
            </a:p>
          </p:txBody>
        </p:sp>
        <p:sp>
          <p:nvSpPr>
            <p:cNvPr id="171" name="Rectangle 622"/>
            <p:cNvSpPr>
              <a:spLocks noChangeArrowheads="1"/>
            </p:cNvSpPr>
            <p:nvPr/>
          </p:nvSpPr>
          <p:spPr bwMode="auto">
            <a:xfrm>
              <a:off x="5108575" y="3400426"/>
              <a:ext cx="147638" cy="3651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29" tIns="44815" rIns="89629" bIns="44815" numCol="1" anchor="t" anchorCtr="0" compatLnSpc="1">
              <a:prstTxWarp prst="textNoShape">
                <a:avLst/>
              </a:prstTxWarp>
            </a:bodyPr>
            <a:lstStyle/>
            <a:p>
              <a:pPr defTabSz="914191">
                <a:defRPr/>
              </a:pPr>
              <a:endParaRPr lang="en-US" sz="1764">
                <a:solidFill>
                  <a:srgbClr val="FFFFFF"/>
                </a:solidFill>
                <a:latin typeface="Segoe UI"/>
              </a:endParaRPr>
            </a:p>
          </p:txBody>
        </p:sp>
        <p:sp>
          <p:nvSpPr>
            <p:cNvPr id="172" name="Rectangle 623"/>
            <p:cNvSpPr>
              <a:spLocks noChangeArrowheads="1"/>
            </p:cNvSpPr>
            <p:nvPr/>
          </p:nvSpPr>
          <p:spPr bwMode="auto">
            <a:xfrm>
              <a:off x="5114925" y="3403601"/>
              <a:ext cx="3175" cy="2698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29" tIns="44815" rIns="89629" bIns="44815" numCol="1" anchor="t" anchorCtr="0" compatLnSpc="1">
              <a:prstTxWarp prst="textNoShape">
                <a:avLst/>
              </a:prstTxWarp>
            </a:bodyPr>
            <a:lstStyle/>
            <a:p>
              <a:pPr defTabSz="914191">
                <a:defRPr/>
              </a:pPr>
              <a:endParaRPr lang="en-US" sz="1764">
                <a:solidFill>
                  <a:srgbClr val="FFFFFF"/>
                </a:solidFill>
                <a:latin typeface="Segoe UI"/>
              </a:endParaRPr>
            </a:p>
          </p:txBody>
        </p:sp>
        <p:sp>
          <p:nvSpPr>
            <p:cNvPr id="173" name="Rectangle 624"/>
            <p:cNvSpPr>
              <a:spLocks noChangeArrowheads="1"/>
            </p:cNvSpPr>
            <p:nvPr/>
          </p:nvSpPr>
          <p:spPr bwMode="auto">
            <a:xfrm>
              <a:off x="5122862" y="3403601"/>
              <a:ext cx="4763" cy="2698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29" tIns="44815" rIns="89629" bIns="44815" numCol="1" anchor="t" anchorCtr="0" compatLnSpc="1">
              <a:prstTxWarp prst="textNoShape">
                <a:avLst/>
              </a:prstTxWarp>
            </a:bodyPr>
            <a:lstStyle/>
            <a:p>
              <a:pPr defTabSz="914191">
                <a:defRPr/>
              </a:pPr>
              <a:endParaRPr lang="en-US" sz="1764">
                <a:solidFill>
                  <a:srgbClr val="FFFFFF"/>
                </a:solidFill>
                <a:latin typeface="Segoe UI"/>
              </a:endParaRPr>
            </a:p>
          </p:txBody>
        </p:sp>
        <p:sp>
          <p:nvSpPr>
            <p:cNvPr id="174" name="Rectangle 625"/>
            <p:cNvSpPr>
              <a:spLocks noChangeArrowheads="1"/>
            </p:cNvSpPr>
            <p:nvPr/>
          </p:nvSpPr>
          <p:spPr bwMode="auto">
            <a:xfrm>
              <a:off x="5130800" y="3403601"/>
              <a:ext cx="4763" cy="2698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29" tIns="44815" rIns="89629" bIns="44815" numCol="1" anchor="t" anchorCtr="0" compatLnSpc="1">
              <a:prstTxWarp prst="textNoShape">
                <a:avLst/>
              </a:prstTxWarp>
            </a:bodyPr>
            <a:lstStyle/>
            <a:p>
              <a:pPr defTabSz="914191">
                <a:defRPr/>
              </a:pPr>
              <a:endParaRPr lang="en-US" sz="1764">
                <a:solidFill>
                  <a:srgbClr val="FFFFFF"/>
                </a:solidFill>
                <a:latin typeface="Segoe UI"/>
              </a:endParaRPr>
            </a:p>
          </p:txBody>
        </p:sp>
        <p:sp>
          <p:nvSpPr>
            <p:cNvPr id="175" name="Rectangle 626"/>
            <p:cNvSpPr>
              <a:spLocks noChangeArrowheads="1"/>
            </p:cNvSpPr>
            <p:nvPr/>
          </p:nvSpPr>
          <p:spPr bwMode="auto">
            <a:xfrm>
              <a:off x="5140325" y="3403601"/>
              <a:ext cx="3175" cy="2698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29" tIns="44815" rIns="89629" bIns="44815" numCol="1" anchor="t" anchorCtr="0" compatLnSpc="1">
              <a:prstTxWarp prst="textNoShape">
                <a:avLst/>
              </a:prstTxWarp>
            </a:bodyPr>
            <a:lstStyle/>
            <a:p>
              <a:pPr defTabSz="914191">
                <a:defRPr/>
              </a:pPr>
              <a:endParaRPr lang="en-US" sz="1764">
                <a:solidFill>
                  <a:srgbClr val="FFFFFF"/>
                </a:solidFill>
                <a:latin typeface="Segoe UI"/>
              </a:endParaRPr>
            </a:p>
          </p:txBody>
        </p:sp>
        <p:sp>
          <p:nvSpPr>
            <p:cNvPr id="176" name="Rectangle 627"/>
            <p:cNvSpPr>
              <a:spLocks noChangeArrowheads="1"/>
            </p:cNvSpPr>
            <p:nvPr/>
          </p:nvSpPr>
          <p:spPr bwMode="auto">
            <a:xfrm>
              <a:off x="5148262" y="3403601"/>
              <a:ext cx="3175" cy="2698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29" tIns="44815" rIns="89629" bIns="44815" numCol="1" anchor="t" anchorCtr="0" compatLnSpc="1">
              <a:prstTxWarp prst="textNoShape">
                <a:avLst/>
              </a:prstTxWarp>
            </a:bodyPr>
            <a:lstStyle/>
            <a:p>
              <a:pPr defTabSz="914191">
                <a:defRPr/>
              </a:pPr>
              <a:endParaRPr lang="en-US" sz="1764">
                <a:solidFill>
                  <a:srgbClr val="FFFFFF"/>
                </a:solidFill>
                <a:latin typeface="Segoe UI"/>
              </a:endParaRPr>
            </a:p>
          </p:txBody>
        </p:sp>
        <p:sp>
          <p:nvSpPr>
            <p:cNvPr id="177" name="Rectangle 628"/>
            <p:cNvSpPr>
              <a:spLocks noChangeArrowheads="1"/>
            </p:cNvSpPr>
            <p:nvPr/>
          </p:nvSpPr>
          <p:spPr bwMode="auto">
            <a:xfrm>
              <a:off x="5156200" y="3403601"/>
              <a:ext cx="1588" cy="2698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29" tIns="44815" rIns="89629" bIns="44815" numCol="1" anchor="t" anchorCtr="0" compatLnSpc="1">
              <a:prstTxWarp prst="textNoShape">
                <a:avLst/>
              </a:prstTxWarp>
            </a:bodyPr>
            <a:lstStyle/>
            <a:p>
              <a:pPr defTabSz="914191">
                <a:defRPr/>
              </a:pPr>
              <a:endParaRPr lang="en-US" sz="1764">
                <a:solidFill>
                  <a:srgbClr val="FFFFFF"/>
                </a:solidFill>
                <a:latin typeface="Segoe UI"/>
              </a:endParaRPr>
            </a:p>
          </p:txBody>
        </p:sp>
        <p:sp>
          <p:nvSpPr>
            <p:cNvPr id="178" name="Freeform 629"/>
            <p:cNvSpPr>
              <a:spLocks/>
            </p:cNvSpPr>
            <p:nvPr/>
          </p:nvSpPr>
          <p:spPr bwMode="auto">
            <a:xfrm>
              <a:off x="5232400" y="3413126"/>
              <a:ext cx="11113" cy="11113"/>
            </a:xfrm>
            <a:custGeom>
              <a:avLst/>
              <a:gdLst>
                <a:gd name="T0" fmla="*/ 0 w 13"/>
                <a:gd name="T1" fmla="*/ 7 h 15"/>
                <a:gd name="T2" fmla="*/ 0 w 13"/>
                <a:gd name="T3" fmla="*/ 7 h 15"/>
                <a:gd name="T4" fmla="*/ 0 w 13"/>
                <a:gd name="T5" fmla="*/ 6 h 15"/>
                <a:gd name="T6" fmla="*/ 2 w 13"/>
                <a:gd name="T7" fmla="*/ 2 h 15"/>
                <a:gd name="T8" fmla="*/ 4 w 13"/>
                <a:gd name="T9" fmla="*/ 2 h 15"/>
                <a:gd name="T10" fmla="*/ 6 w 13"/>
                <a:gd name="T11" fmla="*/ 0 h 15"/>
                <a:gd name="T12" fmla="*/ 6 w 13"/>
                <a:gd name="T13" fmla="*/ 0 h 15"/>
                <a:gd name="T14" fmla="*/ 9 w 13"/>
                <a:gd name="T15" fmla="*/ 2 h 15"/>
                <a:gd name="T16" fmla="*/ 11 w 13"/>
                <a:gd name="T17" fmla="*/ 2 h 15"/>
                <a:gd name="T18" fmla="*/ 13 w 13"/>
                <a:gd name="T19" fmla="*/ 6 h 15"/>
                <a:gd name="T20" fmla="*/ 13 w 13"/>
                <a:gd name="T21" fmla="*/ 7 h 15"/>
                <a:gd name="T22" fmla="*/ 13 w 13"/>
                <a:gd name="T23" fmla="*/ 7 h 15"/>
                <a:gd name="T24" fmla="*/ 13 w 13"/>
                <a:gd name="T25" fmla="*/ 11 h 15"/>
                <a:gd name="T26" fmla="*/ 11 w 13"/>
                <a:gd name="T27" fmla="*/ 13 h 15"/>
                <a:gd name="T28" fmla="*/ 9 w 13"/>
                <a:gd name="T29" fmla="*/ 15 h 15"/>
                <a:gd name="T30" fmla="*/ 6 w 13"/>
                <a:gd name="T31" fmla="*/ 15 h 15"/>
                <a:gd name="T32" fmla="*/ 6 w 13"/>
                <a:gd name="T33" fmla="*/ 15 h 15"/>
                <a:gd name="T34" fmla="*/ 4 w 13"/>
                <a:gd name="T35" fmla="*/ 15 h 15"/>
                <a:gd name="T36" fmla="*/ 2 w 13"/>
                <a:gd name="T37" fmla="*/ 13 h 15"/>
                <a:gd name="T38" fmla="*/ 0 w 13"/>
                <a:gd name="T39" fmla="*/ 11 h 15"/>
                <a:gd name="T40" fmla="*/ 0 w 13"/>
                <a:gd name="T41" fmla="*/ 7 h 15"/>
                <a:gd name="T42" fmla="*/ 0 w 13"/>
                <a:gd name="T43" fmla="*/ 7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3" h="15">
                  <a:moveTo>
                    <a:pt x="0" y="7"/>
                  </a:moveTo>
                  <a:lnTo>
                    <a:pt x="0" y="7"/>
                  </a:lnTo>
                  <a:lnTo>
                    <a:pt x="0" y="6"/>
                  </a:lnTo>
                  <a:lnTo>
                    <a:pt x="2" y="2"/>
                  </a:lnTo>
                  <a:lnTo>
                    <a:pt x="4" y="2"/>
                  </a:lnTo>
                  <a:lnTo>
                    <a:pt x="6" y="0"/>
                  </a:lnTo>
                  <a:lnTo>
                    <a:pt x="6" y="0"/>
                  </a:lnTo>
                  <a:lnTo>
                    <a:pt x="9" y="2"/>
                  </a:lnTo>
                  <a:lnTo>
                    <a:pt x="11" y="2"/>
                  </a:lnTo>
                  <a:lnTo>
                    <a:pt x="13" y="6"/>
                  </a:lnTo>
                  <a:lnTo>
                    <a:pt x="13" y="7"/>
                  </a:lnTo>
                  <a:lnTo>
                    <a:pt x="13" y="7"/>
                  </a:lnTo>
                  <a:lnTo>
                    <a:pt x="13" y="11"/>
                  </a:lnTo>
                  <a:lnTo>
                    <a:pt x="11" y="13"/>
                  </a:lnTo>
                  <a:lnTo>
                    <a:pt x="9" y="15"/>
                  </a:lnTo>
                  <a:lnTo>
                    <a:pt x="6" y="15"/>
                  </a:lnTo>
                  <a:lnTo>
                    <a:pt x="6" y="15"/>
                  </a:lnTo>
                  <a:lnTo>
                    <a:pt x="4" y="15"/>
                  </a:lnTo>
                  <a:lnTo>
                    <a:pt x="2" y="13"/>
                  </a:lnTo>
                  <a:lnTo>
                    <a:pt x="0" y="11"/>
                  </a:lnTo>
                  <a:lnTo>
                    <a:pt x="0" y="7"/>
                  </a:lnTo>
                  <a:lnTo>
                    <a:pt x="0" y="7"/>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914191">
                <a:defRPr/>
              </a:pPr>
              <a:endParaRPr lang="en-US" sz="1764">
                <a:solidFill>
                  <a:srgbClr val="FFFFFF"/>
                </a:solidFill>
                <a:latin typeface="Segoe UI"/>
              </a:endParaRPr>
            </a:p>
          </p:txBody>
        </p:sp>
        <p:sp>
          <p:nvSpPr>
            <p:cNvPr id="179" name="Rectangle 630"/>
            <p:cNvSpPr>
              <a:spLocks noChangeArrowheads="1"/>
            </p:cNvSpPr>
            <p:nvPr/>
          </p:nvSpPr>
          <p:spPr bwMode="auto">
            <a:xfrm>
              <a:off x="5108575" y="3444876"/>
              <a:ext cx="147638" cy="396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29" tIns="44815" rIns="89629" bIns="44815" numCol="1" anchor="t" anchorCtr="0" compatLnSpc="1">
              <a:prstTxWarp prst="textNoShape">
                <a:avLst/>
              </a:prstTxWarp>
            </a:bodyPr>
            <a:lstStyle/>
            <a:p>
              <a:pPr defTabSz="914191">
                <a:defRPr/>
              </a:pPr>
              <a:endParaRPr lang="en-US" sz="1764">
                <a:solidFill>
                  <a:srgbClr val="FFFFFF"/>
                </a:solidFill>
                <a:latin typeface="Segoe UI"/>
              </a:endParaRPr>
            </a:p>
          </p:txBody>
        </p:sp>
        <p:sp>
          <p:nvSpPr>
            <p:cNvPr id="180" name="Rectangle 631"/>
            <p:cNvSpPr>
              <a:spLocks noChangeArrowheads="1"/>
            </p:cNvSpPr>
            <p:nvPr/>
          </p:nvSpPr>
          <p:spPr bwMode="auto">
            <a:xfrm>
              <a:off x="5114925" y="3451226"/>
              <a:ext cx="3175" cy="2540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29" tIns="44815" rIns="89629" bIns="44815" numCol="1" anchor="t" anchorCtr="0" compatLnSpc="1">
              <a:prstTxWarp prst="textNoShape">
                <a:avLst/>
              </a:prstTxWarp>
            </a:bodyPr>
            <a:lstStyle/>
            <a:p>
              <a:pPr defTabSz="914191">
                <a:defRPr/>
              </a:pPr>
              <a:endParaRPr lang="en-US" sz="1764">
                <a:solidFill>
                  <a:srgbClr val="FFFFFF"/>
                </a:solidFill>
                <a:latin typeface="Segoe UI"/>
              </a:endParaRPr>
            </a:p>
          </p:txBody>
        </p:sp>
        <p:sp>
          <p:nvSpPr>
            <p:cNvPr id="181" name="Rectangle 632"/>
            <p:cNvSpPr>
              <a:spLocks noChangeArrowheads="1"/>
            </p:cNvSpPr>
            <p:nvPr/>
          </p:nvSpPr>
          <p:spPr bwMode="auto">
            <a:xfrm>
              <a:off x="5122862" y="3451226"/>
              <a:ext cx="4763" cy="2540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29" tIns="44815" rIns="89629" bIns="44815" numCol="1" anchor="t" anchorCtr="0" compatLnSpc="1">
              <a:prstTxWarp prst="textNoShape">
                <a:avLst/>
              </a:prstTxWarp>
            </a:bodyPr>
            <a:lstStyle/>
            <a:p>
              <a:pPr defTabSz="914191">
                <a:defRPr/>
              </a:pPr>
              <a:endParaRPr lang="en-US" sz="1764">
                <a:solidFill>
                  <a:srgbClr val="FFFFFF"/>
                </a:solidFill>
                <a:latin typeface="Segoe UI"/>
              </a:endParaRPr>
            </a:p>
          </p:txBody>
        </p:sp>
        <p:sp>
          <p:nvSpPr>
            <p:cNvPr id="182" name="Rectangle 633"/>
            <p:cNvSpPr>
              <a:spLocks noChangeArrowheads="1"/>
            </p:cNvSpPr>
            <p:nvPr/>
          </p:nvSpPr>
          <p:spPr bwMode="auto">
            <a:xfrm>
              <a:off x="5130800" y="3451226"/>
              <a:ext cx="4763" cy="2540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29" tIns="44815" rIns="89629" bIns="44815" numCol="1" anchor="t" anchorCtr="0" compatLnSpc="1">
              <a:prstTxWarp prst="textNoShape">
                <a:avLst/>
              </a:prstTxWarp>
            </a:bodyPr>
            <a:lstStyle/>
            <a:p>
              <a:pPr defTabSz="914191">
                <a:defRPr/>
              </a:pPr>
              <a:endParaRPr lang="en-US" sz="1764">
                <a:solidFill>
                  <a:srgbClr val="FFFFFF"/>
                </a:solidFill>
                <a:latin typeface="Segoe UI"/>
              </a:endParaRPr>
            </a:p>
          </p:txBody>
        </p:sp>
        <p:sp>
          <p:nvSpPr>
            <p:cNvPr id="183" name="Rectangle 634"/>
            <p:cNvSpPr>
              <a:spLocks noChangeArrowheads="1"/>
            </p:cNvSpPr>
            <p:nvPr/>
          </p:nvSpPr>
          <p:spPr bwMode="auto">
            <a:xfrm>
              <a:off x="5140325" y="3451226"/>
              <a:ext cx="3175" cy="2540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29" tIns="44815" rIns="89629" bIns="44815" numCol="1" anchor="t" anchorCtr="0" compatLnSpc="1">
              <a:prstTxWarp prst="textNoShape">
                <a:avLst/>
              </a:prstTxWarp>
            </a:bodyPr>
            <a:lstStyle/>
            <a:p>
              <a:pPr defTabSz="914191">
                <a:defRPr/>
              </a:pPr>
              <a:endParaRPr lang="en-US" sz="1764">
                <a:solidFill>
                  <a:srgbClr val="FFFFFF"/>
                </a:solidFill>
                <a:latin typeface="Segoe UI"/>
              </a:endParaRPr>
            </a:p>
          </p:txBody>
        </p:sp>
        <p:sp>
          <p:nvSpPr>
            <p:cNvPr id="184" name="Rectangle 635"/>
            <p:cNvSpPr>
              <a:spLocks noChangeArrowheads="1"/>
            </p:cNvSpPr>
            <p:nvPr/>
          </p:nvSpPr>
          <p:spPr bwMode="auto">
            <a:xfrm>
              <a:off x="5148262" y="3451226"/>
              <a:ext cx="3175" cy="2540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29" tIns="44815" rIns="89629" bIns="44815" numCol="1" anchor="t" anchorCtr="0" compatLnSpc="1">
              <a:prstTxWarp prst="textNoShape">
                <a:avLst/>
              </a:prstTxWarp>
            </a:bodyPr>
            <a:lstStyle/>
            <a:p>
              <a:pPr defTabSz="914191">
                <a:defRPr/>
              </a:pPr>
              <a:endParaRPr lang="en-US" sz="1764">
                <a:solidFill>
                  <a:srgbClr val="FFFFFF"/>
                </a:solidFill>
                <a:latin typeface="Segoe UI"/>
              </a:endParaRPr>
            </a:p>
          </p:txBody>
        </p:sp>
        <p:sp>
          <p:nvSpPr>
            <p:cNvPr id="185" name="Rectangle 636"/>
            <p:cNvSpPr>
              <a:spLocks noChangeArrowheads="1"/>
            </p:cNvSpPr>
            <p:nvPr/>
          </p:nvSpPr>
          <p:spPr bwMode="auto">
            <a:xfrm>
              <a:off x="5156200" y="3451226"/>
              <a:ext cx="1588" cy="2540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29" tIns="44815" rIns="89629" bIns="44815" numCol="1" anchor="t" anchorCtr="0" compatLnSpc="1">
              <a:prstTxWarp prst="textNoShape">
                <a:avLst/>
              </a:prstTxWarp>
            </a:bodyPr>
            <a:lstStyle/>
            <a:p>
              <a:pPr defTabSz="914191">
                <a:defRPr/>
              </a:pPr>
              <a:endParaRPr lang="en-US" sz="1764">
                <a:solidFill>
                  <a:srgbClr val="FFFFFF"/>
                </a:solidFill>
                <a:latin typeface="Segoe UI"/>
              </a:endParaRPr>
            </a:p>
          </p:txBody>
        </p:sp>
        <p:sp>
          <p:nvSpPr>
            <p:cNvPr id="186" name="Freeform 637"/>
            <p:cNvSpPr>
              <a:spLocks/>
            </p:cNvSpPr>
            <p:nvPr/>
          </p:nvSpPr>
          <p:spPr bwMode="auto">
            <a:xfrm>
              <a:off x="5232400" y="3460751"/>
              <a:ext cx="11113" cy="9525"/>
            </a:xfrm>
            <a:custGeom>
              <a:avLst/>
              <a:gdLst>
                <a:gd name="T0" fmla="*/ 0 w 13"/>
                <a:gd name="T1" fmla="*/ 6 h 11"/>
                <a:gd name="T2" fmla="*/ 0 w 13"/>
                <a:gd name="T3" fmla="*/ 6 h 11"/>
                <a:gd name="T4" fmla="*/ 2 w 13"/>
                <a:gd name="T5" fmla="*/ 2 h 11"/>
                <a:gd name="T6" fmla="*/ 6 w 13"/>
                <a:gd name="T7" fmla="*/ 0 h 11"/>
                <a:gd name="T8" fmla="*/ 6 w 13"/>
                <a:gd name="T9" fmla="*/ 0 h 11"/>
                <a:gd name="T10" fmla="*/ 11 w 13"/>
                <a:gd name="T11" fmla="*/ 2 h 11"/>
                <a:gd name="T12" fmla="*/ 13 w 13"/>
                <a:gd name="T13" fmla="*/ 6 h 11"/>
                <a:gd name="T14" fmla="*/ 13 w 13"/>
                <a:gd name="T15" fmla="*/ 6 h 11"/>
                <a:gd name="T16" fmla="*/ 11 w 13"/>
                <a:gd name="T17" fmla="*/ 9 h 11"/>
                <a:gd name="T18" fmla="*/ 6 w 13"/>
                <a:gd name="T19" fmla="*/ 11 h 11"/>
                <a:gd name="T20" fmla="*/ 6 w 13"/>
                <a:gd name="T21" fmla="*/ 11 h 11"/>
                <a:gd name="T22" fmla="*/ 2 w 13"/>
                <a:gd name="T23" fmla="*/ 9 h 11"/>
                <a:gd name="T24" fmla="*/ 0 w 13"/>
                <a:gd name="T25" fmla="*/ 6 h 11"/>
                <a:gd name="T26" fmla="*/ 0 w 13"/>
                <a:gd name="T27" fmla="*/ 6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 h="11">
                  <a:moveTo>
                    <a:pt x="0" y="6"/>
                  </a:moveTo>
                  <a:lnTo>
                    <a:pt x="0" y="6"/>
                  </a:lnTo>
                  <a:lnTo>
                    <a:pt x="2" y="2"/>
                  </a:lnTo>
                  <a:lnTo>
                    <a:pt x="6" y="0"/>
                  </a:lnTo>
                  <a:lnTo>
                    <a:pt x="6" y="0"/>
                  </a:lnTo>
                  <a:lnTo>
                    <a:pt x="11" y="2"/>
                  </a:lnTo>
                  <a:lnTo>
                    <a:pt x="13" y="6"/>
                  </a:lnTo>
                  <a:lnTo>
                    <a:pt x="13" y="6"/>
                  </a:lnTo>
                  <a:lnTo>
                    <a:pt x="11" y="9"/>
                  </a:lnTo>
                  <a:lnTo>
                    <a:pt x="6" y="11"/>
                  </a:lnTo>
                  <a:lnTo>
                    <a:pt x="6" y="11"/>
                  </a:lnTo>
                  <a:lnTo>
                    <a:pt x="2" y="9"/>
                  </a:lnTo>
                  <a:lnTo>
                    <a:pt x="0" y="6"/>
                  </a:lnTo>
                  <a:lnTo>
                    <a:pt x="0" y="6"/>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914191">
                <a:defRPr/>
              </a:pPr>
              <a:endParaRPr lang="en-US" sz="1764">
                <a:solidFill>
                  <a:srgbClr val="FFFFFF"/>
                </a:solidFill>
                <a:latin typeface="Segoe UI"/>
              </a:endParaRPr>
            </a:p>
          </p:txBody>
        </p:sp>
        <p:sp>
          <p:nvSpPr>
            <p:cNvPr id="187" name="Rectangle 638"/>
            <p:cNvSpPr>
              <a:spLocks noChangeArrowheads="1"/>
            </p:cNvSpPr>
            <p:nvPr/>
          </p:nvSpPr>
          <p:spPr bwMode="auto">
            <a:xfrm>
              <a:off x="5108575" y="3495676"/>
              <a:ext cx="147638" cy="3810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29" tIns="44815" rIns="89629" bIns="44815" numCol="1" anchor="t" anchorCtr="0" compatLnSpc="1">
              <a:prstTxWarp prst="textNoShape">
                <a:avLst/>
              </a:prstTxWarp>
            </a:bodyPr>
            <a:lstStyle/>
            <a:p>
              <a:pPr defTabSz="914191">
                <a:defRPr/>
              </a:pPr>
              <a:endParaRPr lang="en-US" sz="1764">
                <a:solidFill>
                  <a:srgbClr val="FFFFFF"/>
                </a:solidFill>
                <a:latin typeface="Segoe UI"/>
              </a:endParaRPr>
            </a:p>
          </p:txBody>
        </p:sp>
        <p:sp>
          <p:nvSpPr>
            <p:cNvPr id="188" name="Rectangle 639"/>
            <p:cNvSpPr>
              <a:spLocks noChangeArrowheads="1"/>
            </p:cNvSpPr>
            <p:nvPr/>
          </p:nvSpPr>
          <p:spPr bwMode="auto">
            <a:xfrm>
              <a:off x="5114925" y="3500438"/>
              <a:ext cx="3175" cy="2698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29" tIns="44815" rIns="89629" bIns="44815" numCol="1" anchor="t" anchorCtr="0" compatLnSpc="1">
              <a:prstTxWarp prst="textNoShape">
                <a:avLst/>
              </a:prstTxWarp>
            </a:bodyPr>
            <a:lstStyle/>
            <a:p>
              <a:pPr defTabSz="914191">
                <a:defRPr/>
              </a:pPr>
              <a:endParaRPr lang="en-US" sz="1764">
                <a:solidFill>
                  <a:srgbClr val="FFFFFF"/>
                </a:solidFill>
                <a:latin typeface="Segoe UI"/>
              </a:endParaRPr>
            </a:p>
          </p:txBody>
        </p:sp>
        <p:sp>
          <p:nvSpPr>
            <p:cNvPr id="189" name="Rectangle 640"/>
            <p:cNvSpPr>
              <a:spLocks noChangeArrowheads="1"/>
            </p:cNvSpPr>
            <p:nvPr/>
          </p:nvSpPr>
          <p:spPr bwMode="auto">
            <a:xfrm>
              <a:off x="5122862" y="3500438"/>
              <a:ext cx="4763" cy="2698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29" tIns="44815" rIns="89629" bIns="44815" numCol="1" anchor="t" anchorCtr="0" compatLnSpc="1">
              <a:prstTxWarp prst="textNoShape">
                <a:avLst/>
              </a:prstTxWarp>
            </a:bodyPr>
            <a:lstStyle/>
            <a:p>
              <a:pPr defTabSz="914191">
                <a:defRPr/>
              </a:pPr>
              <a:endParaRPr lang="en-US" sz="1764">
                <a:solidFill>
                  <a:srgbClr val="FFFFFF"/>
                </a:solidFill>
                <a:latin typeface="Segoe UI"/>
              </a:endParaRPr>
            </a:p>
          </p:txBody>
        </p:sp>
        <p:sp>
          <p:nvSpPr>
            <p:cNvPr id="190" name="Rectangle 641"/>
            <p:cNvSpPr>
              <a:spLocks noChangeArrowheads="1"/>
            </p:cNvSpPr>
            <p:nvPr/>
          </p:nvSpPr>
          <p:spPr bwMode="auto">
            <a:xfrm>
              <a:off x="5130800" y="3500438"/>
              <a:ext cx="4763" cy="2698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29" tIns="44815" rIns="89629" bIns="44815" numCol="1" anchor="t" anchorCtr="0" compatLnSpc="1">
              <a:prstTxWarp prst="textNoShape">
                <a:avLst/>
              </a:prstTxWarp>
            </a:bodyPr>
            <a:lstStyle/>
            <a:p>
              <a:pPr defTabSz="914191">
                <a:defRPr/>
              </a:pPr>
              <a:endParaRPr lang="en-US" sz="1764">
                <a:solidFill>
                  <a:srgbClr val="FFFFFF"/>
                </a:solidFill>
                <a:latin typeface="Segoe UI"/>
              </a:endParaRPr>
            </a:p>
          </p:txBody>
        </p:sp>
        <p:sp>
          <p:nvSpPr>
            <p:cNvPr id="191" name="Rectangle 642"/>
            <p:cNvSpPr>
              <a:spLocks noChangeArrowheads="1"/>
            </p:cNvSpPr>
            <p:nvPr/>
          </p:nvSpPr>
          <p:spPr bwMode="auto">
            <a:xfrm>
              <a:off x="5140325" y="3500438"/>
              <a:ext cx="3175" cy="2698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29" tIns="44815" rIns="89629" bIns="44815" numCol="1" anchor="t" anchorCtr="0" compatLnSpc="1">
              <a:prstTxWarp prst="textNoShape">
                <a:avLst/>
              </a:prstTxWarp>
            </a:bodyPr>
            <a:lstStyle/>
            <a:p>
              <a:pPr defTabSz="914191">
                <a:defRPr/>
              </a:pPr>
              <a:endParaRPr lang="en-US" sz="1764">
                <a:solidFill>
                  <a:srgbClr val="FFFFFF"/>
                </a:solidFill>
                <a:latin typeface="Segoe UI"/>
              </a:endParaRPr>
            </a:p>
          </p:txBody>
        </p:sp>
        <p:sp>
          <p:nvSpPr>
            <p:cNvPr id="192" name="Rectangle 643"/>
            <p:cNvSpPr>
              <a:spLocks noChangeArrowheads="1"/>
            </p:cNvSpPr>
            <p:nvPr/>
          </p:nvSpPr>
          <p:spPr bwMode="auto">
            <a:xfrm>
              <a:off x="5148262" y="3500438"/>
              <a:ext cx="3175" cy="2698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29" tIns="44815" rIns="89629" bIns="44815" numCol="1" anchor="t" anchorCtr="0" compatLnSpc="1">
              <a:prstTxWarp prst="textNoShape">
                <a:avLst/>
              </a:prstTxWarp>
            </a:bodyPr>
            <a:lstStyle/>
            <a:p>
              <a:pPr defTabSz="914191">
                <a:defRPr/>
              </a:pPr>
              <a:endParaRPr lang="en-US" sz="1764">
                <a:solidFill>
                  <a:srgbClr val="FFFFFF"/>
                </a:solidFill>
                <a:latin typeface="Segoe UI"/>
              </a:endParaRPr>
            </a:p>
          </p:txBody>
        </p:sp>
        <p:sp>
          <p:nvSpPr>
            <p:cNvPr id="193" name="Rectangle 644"/>
            <p:cNvSpPr>
              <a:spLocks noChangeArrowheads="1"/>
            </p:cNvSpPr>
            <p:nvPr/>
          </p:nvSpPr>
          <p:spPr bwMode="auto">
            <a:xfrm>
              <a:off x="5156200" y="3500438"/>
              <a:ext cx="1588" cy="2698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29" tIns="44815" rIns="89629" bIns="44815" numCol="1" anchor="t" anchorCtr="0" compatLnSpc="1">
              <a:prstTxWarp prst="textNoShape">
                <a:avLst/>
              </a:prstTxWarp>
            </a:bodyPr>
            <a:lstStyle/>
            <a:p>
              <a:pPr defTabSz="914191">
                <a:defRPr/>
              </a:pPr>
              <a:endParaRPr lang="en-US" sz="1764">
                <a:solidFill>
                  <a:srgbClr val="FFFFFF"/>
                </a:solidFill>
                <a:latin typeface="Segoe UI"/>
              </a:endParaRPr>
            </a:p>
          </p:txBody>
        </p:sp>
        <p:sp>
          <p:nvSpPr>
            <p:cNvPr id="194" name="Freeform 645"/>
            <p:cNvSpPr>
              <a:spLocks/>
            </p:cNvSpPr>
            <p:nvPr/>
          </p:nvSpPr>
          <p:spPr bwMode="auto">
            <a:xfrm>
              <a:off x="5232400" y="3508376"/>
              <a:ext cx="11113" cy="9525"/>
            </a:xfrm>
            <a:custGeom>
              <a:avLst/>
              <a:gdLst>
                <a:gd name="T0" fmla="*/ 0 w 13"/>
                <a:gd name="T1" fmla="*/ 7 h 12"/>
                <a:gd name="T2" fmla="*/ 0 w 13"/>
                <a:gd name="T3" fmla="*/ 7 h 12"/>
                <a:gd name="T4" fmla="*/ 2 w 13"/>
                <a:gd name="T5" fmla="*/ 1 h 12"/>
                <a:gd name="T6" fmla="*/ 6 w 13"/>
                <a:gd name="T7" fmla="*/ 0 h 12"/>
                <a:gd name="T8" fmla="*/ 6 w 13"/>
                <a:gd name="T9" fmla="*/ 0 h 12"/>
                <a:gd name="T10" fmla="*/ 11 w 13"/>
                <a:gd name="T11" fmla="*/ 1 h 12"/>
                <a:gd name="T12" fmla="*/ 13 w 13"/>
                <a:gd name="T13" fmla="*/ 7 h 12"/>
                <a:gd name="T14" fmla="*/ 13 w 13"/>
                <a:gd name="T15" fmla="*/ 7 h 12"/>
                <a:gd name="T16" fmla="*/ 11 w 13"/>
                <a:gd name="T17" fmla="*/ 10 h 12"/>
                <a:gd name="T18" fmla="*/ 6 w 13"/>
                <a:gd name="T19" fmla="*/ 12 h 12"/>
                <a:gd name="T20" fmla="*/ 6 w 13"/>
                <a:gd name="T21" fmla="*/ 12 h 12"/>
                <a:gd name="T22" fmla="*/ 2 w 13"/>
                <a:gd name="T23" fmla="*/ 10 h 12"/>
                <a:gd name="T24" fmla="*/ 0 w 13"/>
                <a:gd name="T25" fmla="*/ 7 h 12"/>
                <a:gd name="T26" fmla="*/ 0 w 13"/>
                <a:gd name="T27" fmla="*/ 7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 h="12">
                  <a:moveTo>
                    <a:pt x="0" y="7"/>
                  </a:moveTo>
                  <a:lnTo>
                    <a:pt x="0" y="7"/>
                  </a:lnTo>
                  <a:lnTo>
                    <a:pt x="2" y="1"/>
                  </a:lnTo>
                  <a:lnTo>
                    <a:pt x="6" y="0"/>
                  </a:lnTo>
                  <a:lnTo>
                    <a:pt x="6" y="0"/>
                  </a:lnTo>
                  <a:lnTo>
                    <a:pt x="11" y="1"/>
                  </a:lnTo>
                  <a:lnTo>
                    <a:pt x="13" y="7"/>
                  </a:lnTo>
                  <a:lnTo>
                    <a:pt x="13" y="7"/>
                  </a:lnTo>
                  <a:lnTo>
                    <a:pt x="11" y="10"/>
                  </a:lnTo>
                  <a:lnTo>
                    <a:pt x="6" y="12"/>
                  </a:lnTo>
                  <a:lnTo>
                    <a:pt x="6" y="12"/>
                  </a:lnTo>
                  <a:lnTo>
                    <a:pt x="2" y="10"/>
                  </a:lnTo>
                  <a:lnTo>
                    <a:pt x="0" y="7"/>
                  </a:lnTo>
                  <a:lnTo>
                    <a:pt x="0" y="7"/>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914191">
                <a:defRPr/>
              </a:pPr>
              <a:endParaRPr lang="en-US" sz="1764">
                <a:solidFill>
                  <a:srgbClr val="FFFFFF"/>
                </a:solidFill>
                <a:latin typeface="Segoe UI"/>
              </a:endParaRPr>
            </a:p>
          </p:txBody>
        </p:sp>
        <p:sp>
          <p:nvSpPr>
            <p:cNvPr id="195" name="Rectangle 646"/>
            <p:cNvSpPr>
              <a:spLocks noChangeArrowheads="1"/>
            </p:cNvSpPr>
            <p:nvPr/>
          </p:nvSpPr>
          <p:spPr bwMode="auto">
            <a:xfrm>
              <a:off x="5108575" y="3541713"/>
              <a:ext cx="147638" cy="396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29" tIns="44815" rIns="89629" bIns="44815" numCol="1" anchor="t" anchorCtr="0" compatLnSpc="1">
              <a:prstTxWarp prst="textNoShape">
                <a:avLst/>
              </a:prstTxWarp>
            </a:bodyPr>
            <a:lstStyle/>
            <a:p>
              <a:pPr defTabSz="914191">
                <a:defRPr/>
              </a:pPr>
              <a:endParaRPr lang="en-US" sz="1764">
                <a:solidFill>
                  <a:srgbClr val="FFFFFF"/>
                </a:solidFill>
                <a:latin typeface="Segoe UI"/>
              </a:endParaRPr>
            </a:p>
          </p:txBody>
        </p:sp>
        <p:sp>
          <p:nvSpPr>
            <p:cNvPr id="196" name="Rectangle 647"/>
            <p:cNvSpPr>
              <a:spLocks noChangeArrowheads="1"/>
            </p:cNvSpPr>
            <p:nvPr/>
          </p:nvSpPr>
          <p:spPr bwMode="auto">
            <a:xfrm>
              <a:off x="5114925" y="3548063"/>
              <a:ext cx="3175" cy="2540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29" tIns="44815" rIns="89629" bIns="44815" numCol="1" anchor="t" anchorCtr="0" compatLnSpc="1">
              <a:prstTxWarp prst="textNoShape">
                <a:avLst/>
              </a:prstTxWarp>
            </a:bodyPr>
            <a:lstStyle/>
            <a:p>
              <a:pPr defTabSz="914191">
                <a:defRPr/>
              </a:pPr>
              <a:endParaRPr lang="en-US" sz="1764">
                <a:solidFill>
                  <a:srgbClr val="FFFFFF"/>
                </a:solidFill>
                <a:latin typeface="Segoe UI"/>
              </a:endParaRPr>
            </a:p>
          </p:txBody>
        </p:sp>
        <p:sp>
          <p:nvSpPr>
            <p:cNvPr id="197" name="Rectangle 648"/>
            <p:cNvSpPr>
              <a:spLocks noChangeArrowheads="1"/>
            </p:cNvSpPr>
            <p:nvPr/>
          </p:nvSpPr>
          <p:spPr bwMode="auto">
            <a:xfrm>
              <a:off x="5122862" y="3548063"/>
              <a:ext cx="4763" cy="2540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29" tIns="44815" rIns="89629" bIns="44815" numCol="1" anchor="t" anchorCtr="0" compatLnSpc="1">
              <a:prstTxWarp prst="textNoShape">
                <a:avLst/>
              </a:prstTxWarp>
            </a:bodyPr>
            <a:lstStyle/>
            <a:p>
              <a:pPr defTabSz="914191">
                <a:defRPr/>
              </a:pPr>
              <a:endParaRPr lang="en-US" sz="1764">
                <a:solidFill>
                  <a:srgbClr val="FFFFFF"/>
                </a:solidFill>
                <a:latin typeface="Segoe UI"/>
              </a:endParaRPr>
            </a:p>
          </p:txBody>
        </p:sp>
        <p:sp>
          <p:nvSpPr>
            <p:cNvPr id="198" name="Rectangle 649"/>
            <p:cNvSpPr>
              <a:spLocks noChangeArrowheads="1"/>
            </p:cNvSpPr>
            <p:nvPr/>
          </p:nvSpPr>
          <p:spPr bwMode="auto">
            <a:xfrm>
              <a:off x="5130800" y="3548063"/>
              <a:ext cx="4763" cy="2540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29" tIns="44815" rIns="89629" bIns="44815" numCol="1" anchor="t" anchorCtr="0" compatLnSpc="1">
              <a:prstTxWarp prst="textNoShape">
                <a:avLst/>
              </a:prstTxWarp>
            </a:bodyPr>
            <a:lstStyle/>
            <a:p>
              <a:pPr defTabSz="914191">
                <a:defRPr/>
              </a:pPr>
              <a:endParaRPr lang="en-US" sz="1764">
                <a:solidFill>
                  <a:srgbClr val="FFFFFF"/>
                </a:solidFill>
                <a:latin typeface="Segoe UI"/>
              </a:endParaRPr>
            </a:p>
          </p:txBody>
        </p:sp>
        <p:sp>
          <p:nvSpPr>
            <p:cNvPr id="199" name="Rectangle 650"/>
            <p:cNvSpPr>
              <a:spLocks noChangeArrowheads="1"/>
            </p:cNvSpPr>
            <p:nvPr/>
          </p:nvSpPr>
          <p:spPr bwMode="auto">
            <a:xfrm>
              <a:off x="5140325" y="3548063"/>
              <a:ext cx="3175" cy="2540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29" tIns="44815" rIns="89629" bIns="44815" numCol="1" anchor="t" anchorCtr="0" compatLnSpc="1">
              <a:prstTxWarp prst="textNoShape">
                <a:avLst/>
              </a:prstTxWarp>
            </a:bodyPr>
            <a:lstStyle/>
            <a:p>
              <a:pPr defTabSz="914191">
                <a:defRPr/>
              </a:pPr>
              <a:endParaRPr lang="en-US" sz="1764">
                <a:solidFill>
                  <a:srgbClr val="FFFFFF"/>
                </a:solidFill>
                <a:latin typeface="Segoe UI"/>
              </a:endParaRPr>
            </a:p>
          </p:txBody>
        </p:sp>
        <p:sp>
          <p:nvSpPr>
            <p:cNvPr id="200" name="Rectangle 651"/>
            <p:cNvSpPr>
              <a:spLocks noChangeArrowheads="1"/>
            </p:cNvSpPr>
            <p:nvPr/>
          </p:nvSpPr>
          <p:spPr bwMode="auto">
            <a:xfrm>
              <a:off x="5148262" y="3548063"/>
              <a:ext cx="3175" cy="2540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29" tIns="44815" rIns="89629" bIns="44815" numCol="1" anchor="t" anchorCtr="0" compatLnSpc="1">
              <a:prstTxWarp prst="textNoShape">
                <a:avLst/>
              </a:prstTxWarp>
            </a:bodyPr>
            <a:lstStyle/>
            <a:p>
              <a:pPr defTabSz="914191">
                <a:defRPr/>
              </a:pPr>
              <a:endParaRPr lang="en-US" sz="1764">
                <a:solidFill>
                  <a:srgbClr val="FFFFFF"/>
                </a:solidFill>
                <a:latin typeface="Segoe UI"/>
              </a:endParaRPr>
            </a:p>
          </p:txBody>
        </p:sp>
        <p:sp>
          <p:nvSpPr>
            <p:cNvPr id="201" name="Rectangle 652"/>
            <p:cNvSpPr>
              <a:spLocks noChangeArrowheads="1"/>
            </p:cNvSpPr>
            <p:nvPr/>
          </p:nvSpPr>
          <p:spPr bwMode="auto">
            <a:xfrm>
              <a:off x="5156200" y="3548063"/>
              <a:ext cx="1588" cy="2540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29" tIns="44815" rIns="89629" bIns="44815" numCol="1" anchor="t" anchorCtr="0" compatLnSpc="1">
              <a:prstTxWarp prst="textNoShape">
                <a:avLst/>
              </a:prstTxWarp>
            </a:bodyPr>
            <a:lstStyle/>
            <a:p>
              <a:pPr defTabSz="914191">
                <a:defRPr/>
              </a:pPr>
              <a:endParaRPr lang="en-US" sz="1764">
                <a:solidFill>
                  <a:srgbClr val="FFFFFF"/>
                </a:solidFill>
                <a:latin typeface="Segoe UI"/>
              </a:endParaRPr>
            </a:p>
          </p:txBody>
        </p:sp>
        <p:sp>
          <p:nvSpPr>
            <p:cNvPr id="202" name="Freeform 653"/>
            <p:cNvSpPr>
              <a:spLocks/>
            </p:cNvSpPr>
            <p:nvPr/>
          </p:nvSpPr>
          <p:spPr bwMode="auto">
            <a:xfrm>
              <a:off x="5232400" y="3557588"/>
              <a:ext cx="11113" cy="9525"/>
            </a:xfrm>
            <a:custGeom>
              <a:avLst/>
              <a:gdLst>
                <a:gd name="T0" fmla="*/ 0 w 13"/>
                <a:gd name="T1" fmla="*/ 5 h 10"/>
                <a:gd name="T2" fmla="*/ 0 w 13"/>
                <a:gd name="T3" fmla="*/ 5 h 10"/>
                <a:gd name="T4" fmla="*/ 2 w 13"/>
                <a:gd name="T5" fmla="*/ 1 h 10"/>
                <a:gd name="T6" fmla="*/ 6 w 13"/>
                <a:gd name="T7" fmla="*/ 0 h 10"/>
                <a:gd name="T8" fmla="*/ 6 w 13"/>
                <a:gd name="T9" fmla="*/ 0 h 10"/>
                <a:gd name="T10" fmla="*/ 11 w 13"/>
                <a:gd name="T11" fmla="*/ 1 h 10"/>
                <a:gd name="T12" fmla="*/ 13 w 13"/>
                <a:gd name="T13" fmla="*/ 5 h 10"/>
                <a:gd name="T14" fmla="*/ 13 w 13"/>
                <a:gd name="T15" fmla="*/ 5 h 10"/>
                <a:gd name="T16" fmla="*/ 11 w 13"/>
                <a:gd name="T17" fmla="*/ 9 h 10"/>
                <a:gd name="T18" fmla="*/ 6 w 13"/>
                <a:gd name="T19" fmla="*/ 10 h 10"/>
                <a:gd name="T20" fmla="*/ 6 w 13"/>
                <a:gd name="T21" fmla="*/ 10 h 10"/>
                <a:gd name="T22" fmla="*/ 2 w 13"/>
                <a:gd name="T23" fmla="*/ 9 h 10"/>
                <a:gd name="T24" fmla="*/ 0 w 13"/>
                <a:gd name="T25" fmla="*/ 5 h 10"/>
                <a:gd name="T26" fmla="*/ 0 w 13"/>
                <a:gd name="T27" fmla="*/ 5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 h="10">
                  <a:moveTo>
                    <a:pt x="0" y="5"/>
                  </a:moveTo>
                  <a:lnTo>
                    <a:pt x="0" y="5"/>
                  </a:lnTo>
                  <a:lnTo>
                    <a:pt x="2" y="1"/>
                  </a:lnTo>
                  <a:lnTo>
                    <a:pt x="6" y="0"/>
                  </a:lnTo>
                  <a:lnTo>
                    <a:pt x="6" y="0"/>
                  </a:lnTo>
                  <a:lnTo>
                    <a:pt x="11" y="1"/>
                  </a:lnTo>
                  <a:lnTo>
                    <a:pt x="13" y="5"/>
                  </a:lnTo>
                  <a:lnTo>
                    <a:pt x="13" y="5"/>
                  </a:lnTo>
                  <a:lnTo>
                    <a:pt x="11" y="9"/>
                  </a:lnTo>
                  <a:lnTo>
                    <a:pt x="6" y="10"/>
                  </a:lnTo>
                  <a:lnTo>
                    <a:pt x="6" y="10"/>
                  </a:lnTo>
                  <a:lnTo>
                    <a:pt x="2" y="9"/>
                  </a:lnTo>
                  <a:lnTo>
                    <a:pt x="0" y="5"/>
                  </a:lnTo>
                  <a:lnTo>
                    <a:pt x="0" y="5"/>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914191">
                <a:defRPr/>
              </a:pPr>
              <a:endParaRPr lang="en-US" sz="1764">
                <a:solidFill>
                  <a:srgbClr val="FFFFFF"/>
                </a:solidFill>
                <a:latin typeface="Segoe UI"/>
              </a:endParaRPr>
            </a:p>
          </p:txBody>
        </p:sp>
        <p:sp>
          <p:nvSpPr>
            <p:cNvPr id="203" name="Rectangle 654"/>
            <p:cNvSpPr>
              <a:spLocks noChangeArrowheads="1"/>
            </p:cNvSpPr>
            <p:nvPr/>
          </p:nvSpPr>
          <p:spPr bwMode="auto">
            <a:xfrm>
              <a:off x="5108575" y="3592513"/>
              <a:ext cx="147638" cy="3651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29" tIns="44815" rIns="89629" bIns="44815" numCol="1" anchor="t" anchorCtr="0" compatLnSpc="1">
              <a:prstTxWarp prst="textNoShape">
                <a:avLst/>
              </a:prstTxWarp>
            </a:bodyPr>
            <a:lstStyle/>
            <a:p>
              <a:pPr defTabSz="914191">
                <a:defRPr/>
              </a:pPr>
              <a:endParaRPr lang="en-US" sz="1764">
                <a:solidFill>
                  <a:srgbClr val="FFFFFF"/>
                </a:solidFill>
                <a:latin typeface="Segoe UI"/>
              </a:endParaRPr>
            </a:p>
          </p:txBody>
        </p:sp>
        <p:sp>
          <p:nvSpPr>
            <p:cNvPr id="204" name="Rectangle 655"/>
            <p:cNvSpPr>
              <a:spLocks noChangeArrowheads="1"/>
            </p:cNvSpPr>
            <p:nvPr/>
          </p:nvSpPr>
          <p:spPr bwMode="auto">
            <a:xfrm>
              <a:off x="5114925" y="3597276"/>
              <a:ext cx="3175" cy="2381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29" tIns="44815" rIns="89629" bIns="44815" numCol="1" anchor="t" anchorCtr="0" compatLnSpc="1">
              <a:prstTxWarp prst="textNoShape">
                <a:avLst/>
              </a:prstTxWarp>
            </a:bodyPr>
            <a:lstStyle/>
            <a:p>
              <a:pPr defTabSz="914191">
                <a:defRPr/>
              </a:pPr>
              <a:endParaRPr lang="en-US" sz="1764">
                <a:solidFill>
                  <a:srgbClr val="FFFFFF"/>
                </a:solidFill>
                <a:latin typeface="Segoe UI"/>
              </a:endParaRPr>
            </a:p>
          </p:txBody>
        </p:sp>
        <p:sp>
          <p:nvSpPr>
            <p:cNvPr id="205" name="Rectangle 656"/>
            <p:cNvSpPr>
              <a:spLocks noChangeArrowheads="1"/>
            </p:cNvSpPr>
            <p:nvPr/>
          </p:nvSpPr>
          <p:spPr bwMode="auto">
            <a:xfrm>
              <a:off x="5122862" y="3597276"/>
              <a:ext cx="4763" cy="2381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29" tIns="44815" rIns="89629" bIns="44815" numCol="1" anchor="t" anchorCtr="0" compatLnSpc="1">
              <a:prstTxWarp prst="textNoShape">
                <a:avLst/>
              </a:prstTxWarp>
            </a:bodyPr>
            <a:lstStyle/>
            <a:p>
              <a:pPr defTabSz="914191">
                <a:defRPr/>
              </a:pPr>
              <a:endParaRPr lang="en-US" sz="1764">
                <a:solidFill>
                  <a:srgbClr val="FFFFFF"/>
                </a:solidFill>
                <a:latin typeface="Segoe UI"/>
              </a:endParaRPr>
            </a:p>
          </p:txBody>
        </p:sp>
        <p:sp>
          <p:nvSpPr>
            <p:cNvPr id="206" name="Rectangle 657"/>
            <p:cNvSpPr>
              <a:spLocks noChangeArrowheads="1"/>
            </p:cNvSpPr>
            <p:nvPr/>
          </p:nvSpPr>
          <p:spPr bwMode="auto">
            <a:xfrm>
              <a:off x="5130800" y="3597276"/>
              <a:ext cx="4763" cy="2381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29" tIns="44815" rIns="89629" bIns="44815" numCol="1" anchor="t" anchorCtr="0" compatLnSpc="1">
              <a:prstTxWarp prst="textNoShape">
                <a:avLst/>
              </a:prstTxWarp>
            </a:bodyPr>
            <a:lstStyle/>
            <a:p>
              <a:pPr defTabSz="914191">
                <a:defRPr/>
              </a:pPr>
              <a:endParaRPr lang="en-US" sz="1764">
                <a:solidFill>
                  <a:srgbClr val="FFFFFF"/>
                </a:solidFill>
                <a:latin typeface="Segoe UI"/>
              </a:endParaRPr>
            </a:p>
          </p:txBody>
        </p:sp>
        <p:sp>
          <p:nvSpPr>
            <p:cNvPr id="207" name="Rectangle 658"/>
            <p:cNvSpPr>
              <a:spLocks noChangeArrowheads="1"/>
            </p:cNvSpPr>
            <p:nvPr/>
          </p:nvSpPr>
          <p:spPr bwMode="auto">
            <a:xfrm>
              <a:off x="5140325" y="3597276"/>
              <a:ext cx="3175" cy="2381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29" tIns="44815" rIns="89629" bIns="44815" numCol="1" anchor="t" anchorCtr="0" compatLnSpc="1">
              <a:prstTxWarp prst="textNoShape">
                <a:avLst/>
              </a:prstTxWarp>
            </a:bodyPr>
            <a:lstStyle/>
            <a:p>
              <a:pPr defTabSz="914191">
                <a:defRPr/>
              </a:pPr>
              <a:endParaRPr lang="en-US" sz="1764">
                <a:solidFill>
                  <a:srgbClr val="FFFFFF"/>
                </a:solidFill>
                <a:latin typeface="Segoe UI"/>
              </a:endParaRPr>
            </a:p>
          </p:txBody>
        </p:sp>
        <p:sp>
          <p:nvSpPr>
            <p:cNvPr id="208" name="Rectangle 659"/>
            <p:cNvSpPr>
              <a:spLocks noChangeArrowheads="1"/>
            </p:cNvSpPr>
            <p:nvPr/>
          </p:nvSpPr>
          <p:spPr bwMode="auto">
            <a:xfrm>
              <a:off x="5148262" y="3597276"/>
              <a:ext cx="3175" cy="2381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29" tIns="44815" rIns="89629" bIns="44815" numCol="1" anchor="t" anchorCtr="0" compatLnSpc="1">
              <a:prstTxWarp prst="textNoShape">
                <a:avLst/>
              </a:prstTxWarp>
            </a:bodyPr>
            <a:lstStyle/>
            <a:p>
              <a:pPr defTabSz="914191">
                <a:defRPr/>
              </a:pPr>
              <a:endParaRPr lang="en-US" sz="1764">
                <a:solidFill>
                  <a:srgbClr val="FFFFFF"/>
                </a:solidFill>
                <a:latin typeface="Segoe UI"/>
              </a:endParaRPr>
            </a:p>
          </p:txBody>
        </p:sp>
        <p:sp>
          <p:nvSpPr>
            <p:cNvPr id="209" name="Rectangle 660"/>
            <p:cNvSpPr>
              <a:spLocks noChangeArrowheads="1"/>
            </p:cNvSpPr>
            <p:nvPr/>
          </p:nvSpPr>
          <p:spPr bwMode="auto">
            <a:xfrm>
              <a:off x="5156200" y="3597276"/>
              <a:ext cx="1588" cy="2381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29" tIns="44815" rIns="89629" bIns="44815" numCol="1" anchor="t" anchorCtr="0" compatLnSpc="1">
              <a:prstTxWarp prst="textNoShape">
                <a:avLst/>
              </a:prstTxWarp>
            </a:bodyPr>
            <a:lstStyle/>
            <a:p>
              <a:pPr defTabSz="914191">
                <a:defRPr/>
              </a:pPr>
              <a:endParaRPr lang="en-US" sz="1764">
                <a:solidFill>
                  <a:srgbClr val="FFFFFF"/>
                </a:solidFill>
                <a:latin typeface="Segoe UI"/>
              </a:endParaRPr>
            </a:p>
          </p:txBody>
        </p:sp>
        <p:sp>
          <p:nvSpPr>
            <p:cNvPr id="210" name="Freeform 661"/>
            <p:cNvSpPr>
              <a:spLocks/>
            </p:cNvSpPr>
            <p:nvPr/>
          </p:nvSpPr>
          <p:spPr bwMode="auto">
            <a:xfrm>
              <a:off x="5232400" y="3605213"/>
              <a:ext cx="11113" cy="6350"/>
            </a:xfrm>
            <a:custGeom>
              <a:avLst/>
              <a:gdLst>
                <a:gd name="T0" fmla="*/ 0 w 13"/>
                <a:gd name="T1" fmla="*/ 5 h 9"/>
                <a:gd name="T2" fmla="*/ 0 w 13"/>
                <a:gd name="T3" fmla="*/ 5 h 9"/>
                <a:gd name="T4" fmla="*/ 2 w 13"/>
                <a:gd name="T5" fmla="*/ 2 h 9"/>
                <a:gd name="T6" fmla="*/ 6 w 13"/>
                <a:gd name="T7" fmla="*/ 0 h 9"/>
                <a:gd name="T8" fmla="*/ 6 w 13"/>
                <a:gd name="T9" fmla="*/ 0 h 9"/>
                <a:gd name="T10" fmla="*/ 11 w 13"/>
                <a:gd name="T11" fmla="*/ 2 h 9"/>
                <a:gd name="T12" fmla="*/ 13 w 13"/>
                <a:gd name="T13" fmla="*/ 5 h 9"/>
                <a:gd name="T14" fmla="*/ 13 w 13"/>
                <a:gd name="T15" fmla="*/ 5 h 9"/>
                <a:gd name="T16" fmla="*/ 11 w 13"/>
                <a:gd name="T17" fmla="*/ 7 h 9"/>
                <a:gd name="T18" fmla="*/ 6 w 13"/>
                <a:gd name="T19" fmla="*/ 9 h 9"/>
                <a:gd name="T20" fmla="*/ 6 w 13"/>
                <a:gd name="T21" fmla="*/ 9 h 9"/>
                <a:gd name="T22" fmla="*/ 2 w 13"/>
                <a:gd name="T23" fmla="*/ 7 h 9"/>
                <a:gd name="T24" fmla="*/ 0 w 13"/>
                <a:gd name="T25" fmla="*/ 5 h 9"/>
                <a:gd name="T26" fmla="*/ 0 w 13"/>
                <a:gd name="T27" fmla="*/ 5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 h="9">
                  <a:moveTo>
                    <a:pt x="0" y="5"/>
                  </a:moveTo>
                  <a:lnTo>
                    <a:pt x="0" y="5"/>
                  </a:lnTo>
                  <a:lnTo>
                    <a:pt x="2" y="2"/>
                  </a:lnTo>
                  <a:lnTo>
                    <a:pt x="6" y="0"/>
                  </a:lnTo>
                  <a:lnTo>
                    <a:pt x="6" y="0"/>
                  </a:lnTo>
                  <a:lnTo>
                    <a:pt x="11" y="2"/>
                  </a:lnTo>
                  <a:lnTo>
                    <a:pt x="13" y="5"/>
                  </a:lnTo>
                  <a:lnTo>
                    <a:pt x="13" y="5"/>
                  </a:lnTo>
                  <a:lnTo>
                    <a:pt x="11" y="7"/>
                  </a:lnTo>
                  <a:lnTo>
                    <a:pt x="6" y="9"/>
                  </a:lnTo>
                  <a:lnTo>
                    <a:pt x="6" y="9"/>
                  </a:lnTo>
                  <a:lnTo>
                    <a:pt x="2" y="7"/>
                  </a:lnTo>
                  <a:lnTo>
                    <a:pt x="0" y="5"/>
                  </a:lnTo>
                  <a:lnTo>
                    <a:pt x="0" y="5"/>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914191">
                <a:defRPr/>
              </a:pPr>
              <a:endParaRPr lang="en-US" sz="1764">
                <a:solidFill>
                  <a:srgbClr val="FFFFFF"/>
                </a:solidFill>
                <a:latin typeface="Segoe UI"/>
              </a:endParaRPr>
            </a:p>
          </p:txBody>
        </p:sp>
        <p:sp>
          <p:nvSpPr>
            <p:cNvPr id="211" name="Rectangle 662"/>
            <p:cNvSpPr>
              <a:spLocks noChangeArrowheads="1"/>
            </p:cNvSpPr>
            <p:nvPr/>
          </p:nvSpPr>
          <p:spPr bwMode="auto">
            <a:xfrm>
              <a:off x="5108575" y="3638551"/>
              <a:ext cx="147638" cy="3810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29" tIns="44815" rIns="89629" bIns="44815" numCol="1" anchor="t" anchorCtr="0" compatLnSpc="1">
              <a:prstTxWarp prst="textNoShape">
                <a:avLst/>
              </a:prstTxWarp>
            </a:bodyPr>
            <a:lstStyle/>
            <a:p>
              <a:pPr defTabSz="914191">
                <a:defRPr/>
              </a:pPr>
              <a:endParaRPr lang="en-US" sz="1764">
                <a:solidFill>
                  <a:srgbClr val="FFFFFF"/>
                </a:solidFill>
                <a:latin typeface="Segoe UI"/>
              </a:endParaRPr>
            </a:p>
          </p:txBody>
        </p:sp>
        <p:sp>
          <p:nvSpPr>
            <p:cNvPr id="212" name="Rectangle 663"/>
            <p:cNvSpPr>
              <a:spLocks noChangeArrowheads="1"/>
            </p:cNvSpPr>
            <p:nvPr/>
          </p:nvSpPr>
          <p:spPr bwMode="auto">
            <a:xfrm>
              <a:off x="5114925" y="3643313"/>
              <a:ext cx="3175" cy="2540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29" tIns="44815" rIns="89629" bIns="44815" numCol="1" anchor="t" anchorCtr="0" compatLnSpc="1">
              <a:prstTxWarp prst="textNoShape">
                <a:avLst/>
              </a:prstTxWarp>
            </a:bodyPr>
            <a:lstStyle/>
            <a:p>
              <a:pPr defTabSz="914191">
                <a:defRPr/>
              </a:pPr>
              <a:endParaRPr lang="en-US" sz="1764">
                <a:solidFill>
                  <a:srgbClr val="FFFFFF"/>
                </a:solidFill>
                <a:latin typeface="Segoe UI"/>
              </a:endParaRPr>
            </a:p>
          </p:txBody>
        </p:sp>
        <p:sp>
          <p:nvSpPr>
            <p:cNvPr id="213" name="Rectangle 664"/>
            <p:cNvSpPr>
              <a:spLocks noChangeArrowheads="1"/>
            </p:cNvSpPr>
            <p:nvPr/>
          </p:nvSpPr>
          <p:spPr bwMode="auto">
            <a:xfrm>
              <a:off x="5122862" y="3643313"/>
              <a:ext cx="4763" cy="2540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29" tIns="44815" rIns="89629" bIns="44815" numCol="1" anchor="t" anchorCtr="0" compatLnSpc="1">
              <a:prstTxWarp prst="textNoShape">
                <a:avLst/>
              </a:prstTxWarp>
            </a:bodyPr>
            <a:lstStyle/>
            <a:p>
              <a:pPr defTabSz="914191">
                <a:defRPr/>
              </a:pPr>
              <a:endParaRPr lang="en-US" sz="1764">
                <a:solidFill>
                  <a:srgbClr val="FFFFFF"/>
                </a:solidFill>
                <a:latin typeface="Segoe UI"/>
              </a:endParaRPr>
            </a:p>
          </p:txBody>
        </p:sp>
        <p:sp>
          <p:nvSpPr>
            <p:cNvPr id="214" name="Rectangle 665"/>
            <p:cNvSpPr>
              <a:spLocks noChangeArrowheads="1"/>
            </p:cNvSpPr>
            <p:nvPr/>
          </p:nvSpPr>
          <p:spPr bwMode="auto">
            <a:xfrm>
              <a:off x="5130800" y="3643313"/>
              <a:ext cx="4763" cy="2540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29" tIns="44815" rIns="89629" bIns="44815" numCol="1" anchor="t" anchorCtr="0" compatLnSpc="1">
              <a:prstTxWarp prst="textNoShape">
                <a:avLst/>
              </a:prstTxWarp>
            </a:bodyPr>
            <a:lstStyle/>
            <a:p>
              <a:pPr defTabSz="914191">
                <a:defRPr/>
              </a:pPr>
              <a:endParaRPr lang="en-US" sz="1764">
                <a:solidFill>
                  <a:srgbClr val="FFFFFF"/>
                </a:solidFill>
                <a:latin typeface="Segoe UI"/>
              </a:endParaRPr>
            </a:p>
          </p:txBody>
        </p:sp>
        <p:sp>
          <p:nvSpPr>
            <p:cNvPr id="215" name="Rectangle 666"/>
            <p:cNvSpPr>
              <a:spLocks noChangeArrowheads="1"/>
            </p:cNvSpPr>
            <p:nvPr/>
          </p:nvSpPr>
          <p:spPr bwMode="auto">
            <a:xfrm>
              <a:off x="5140325" y="3643313"/>
              <a:ext cx="3175" cy="2540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29" tIns="44815" rIns="89629" bIns="44815" numCol="1" anchor="t" anchorCtr="0" compatLnSpc="1">
              <a:prstTxWarp prst="textNoShape">
                <a:avLst/>
              </a:prstTxWarp>
            </a:bodyPr>
            <a:lstStyle/>
            <a:p>
              <a:pPr defTabSz="914191">
                <a:defRPr/>
              </a:pPr>
              <a:endParaRPr lang="en-US" sz="1764">
                <a:solidFill>
                  <a:srgbClr val="FFFFFF"/>
                </a:solidFill>
                <a:latin typeface="Segoe UI"/>
              </a:endParaRPr>
            </a:p>
          </p:txBody>
        </p:sp>
        <p:sp>
          <p:nvSpPr>
            <p:cNvPr id="216" name="Rectangle 667"/>
            <p:cNvSpPr>
              <a:spLocks noChangeArrowheads="1"/>
            </p:cNvSpPr>
            <p:nvPr/>
          </p:nvSpPr>
          <p:spPr bwMode="auto">
            <a:xfrm>
              <a:off x="5148262" y="3643313"/>
              <a:ext cx="3175" cy="2540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29" tIns="44815" rIns="89629" bIns="44815" numCol="1" anchor="t" anchorCtr="0" compatLnSpc="1">
              <a:prstTxWarp prst="textNoShape">
                <a:avLst/>
              </a:prstTxWarp>
            </a:bodyPr>
            <a:lstStyle/>
            <a:p>
              <a:pPr defTabSz="914191">
                <a:defRPr/>
              </a:pPr>
              <a:endParaRPr lang="en-US" sz="1764">
                <a:solidFill>
                  <a:srgbClr val="FFFFFF"/>
                </a:solidFill>
                <a:latin typeface="Segoe UI"/>
              </a:endParaRPr>
            </a:p>
          </p:txBody>
        </p:sp>
        <p:sp>
          <p:nvSpPr>
            <p:cNvPr id="217" name="Rectangle 668"/>
            <p:cNvSpPr>
              <a:spLocks noChangeArrowheads="1"/>
            </p:cNvSpPr>
            <p:nvPr/>
          </p:nvSpPr>
          <p:spPr bwMode="auto">
            <a:xfrm>
              <a:off x="5156200" y="3643313"/>
              <a:ext cx="1588" cy="2540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29" tIns="44815" rIns="89629" bIns="44815" numCol="1" anchor="t" anchorCtr="0" compatLnSpc="1">
              <a:prstTxWarp prst="textNoShape">
                <a:avLst/>
              </a:prstTxWarp>
            </a:bodyPr>
            <a:lstStyle/>
            <a:p>
              <a:pPr defTabSz="914191">
                <a:defRPr/>
              </a:pPr>
              <a:endParaRPr lang="en-US" sz="1764">
                <a:solidFill>
                  <a:srgbClr val="FFFFFF"/>
                </a:solidFill>
                <a:latin typeface="Segoe UI"/>
              </a:endParaRPr>
            </a:p>
          </p:txBody>
        </p:sp>
        <p:sp>
          <p:nvSpPr>
            <p:cNvPr id="218" name="Freeform 669"/>
            <p:cNvSpPr>
              <a:spLocks/>
            </p:cNvSpPr>
            <p:nvPr/>
          </p:nvSpPr>
          <p:spPr bwMode="auto">
            <a:xfrm>
              <a:off x="5232400" y="3652838"/>
              <a:ext cx="11113" cy="9525"/>
            </a:xfrm>
            <a:custGeom>
              <a:avLst/>
              <a:gdLst>
                <a:gd name="T0" fmla="*/ 0 w 13"/>
                <a:gd name="T1" fmla="*/ 6 h 13"/>
                <a:gd name="T2" fmla="*/ 0 w 13"/>
                <a:gd name="T3" fmla="*/ 6 h 13"/>
                <a:gd name="T4" fmla="*/ 2 w 13"/>
                <a:gd name="T5" fmla="*/ 2 h 13"/>
                <a:gd name="T6" fmla="*/ 6 w 13"/>
                <a:gd name="T7" fmla="*/ 0 h 13"/>
                <a:gd name="T8" fmla="*/ 6 w 13"/>
                <a:gd name="T9" fmla="*/ 0 h 13"/>
                <a:gd name="T10" fmla="*/ 11 w 13"/>
                <a:gd name="T11" fmla="*/ 2 h 13"/>
                <a:gd name="T12" fmla="*/ 13 w 13"/>
                <a:gd name="T13" fmla="*/ 6 h 13"/>
                <a:gd name="T14" fmla="*/ 13 w 13"/>
                <a:gd name="T15" fmla="*/ 6 h 13"/>
                <a:gd name="T16" fmla="*/ 11 w 13"/>
                <a:gd name="T17" fmla="*/ 11 h 13"/>
                <a:gd name="T18" fmla="*/ 6 w 13"/>
                <a:gd name="T19" fmla="*/ 13 h 13"/>
                <a:gd name="T20" fmla="*/ 6 w 13"/>
                <a:gd name="T21" fmla="*/ 13 h 13"/>
                <a:gd name="T22" fmla="*/ 2 w 13"/>
                <a:gd name="T23" fmla="*/ 11 h 13"/>
                <a:gd name="T24" fmla="*/ 0 w 13"/>
                <a:gd name="T25" fmla="*/ 6 h 13"/>
                <a:gd name="T26" fmla="*/ 0 w 13"/>
                <a:gd name="T27" fmla="*/ 6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 h="13">
                  <a:moveTo>
                    <a:pt x="0" y="6"/>
                  </a:moveTo>
                  <a:lnTo>
                    <a:pt x="0" y="6"/>
                  </a:lnTo>
                  <a:lnTo>
                    <a:pt x="2" y="2"/>
                  </a:lnTo>
                  <a:lnTo>
                    <a:pt x="6" y="0"/>
                  </a:lnTo>
                  <a:lnTo>
                    <a:pt x="6" y="0"/>
                  </a:lnTo>
                  <a:lnTo>
                    <a:pt x="11" y="2"/>
                  </a:lnTo>
                  <a:lnTo>
                    <a:pt x="13" y="6"/>
                  </a:lnTo>
                  <a:lnTo>
                    <a:pt x="13" y="6"/>
                  </a:lnTo>
                  <a:lnTo>
                    <a:pt x="11" y="11"/>
                  </a:lnTo>
                  <a:lnTo>
                    <a:pt x="6" y="13"/>
                  </a:lnTo>
                  <a:lnTo>
                    <a:pt x="6" y="13"/>
                  </a:lnTo>
                  <a:lnTo>
                    <a:pt x="2" y="11"/>
                  </a:lnTo>
                  <a:lnTo>
                    <a:pt x="0" y="6"/>
                  </a:lnTo>
                  <a:lnTo>
                    <a:pt x="0" y="6"/>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914191">
                <a:defRPr/>
              </a:pPr>
              <a:endParaRPr lang="en-US" sz="1764">
                <a:solidFill>
                  <a:srgbClr val="FFFFFF"/>
                </a:solidFill>
                <a:latin typeface="Segoe UI"/>
              </a:endParaRPr>
            </a:p>
          </p:txBody>
        </p:sp>
        <p:sp>
          <p:nvSpPr>
            <p:cNvPr id="219" name="Rectangle 670"/>
            <p:cNvSpPr>
              <a:spLocks noChangeArrowheads="1"/>
            </p:cNvSpPr>
            <p:nvPr/>
          </p:nvSpPr>
          <p:spPr bwMode="auto">
            <a:xfrm>
              <a:off x="5108575" y="3686176"/>
              <a:ext cx="147638" cy="3810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29" tIns="44815" rIns="89629" bIns="44815" numCol="1" anchor="t" anchorCtr="0" compatLnSpc="1">
              <a:prstTxWarp prst="textNoShape">
                <a:avLst/>
              </a:prstTxWarp>
            </a:bodyPr>
            <a:lstStyle/>
            <a:p>
              <a:pPr defTabSz="914191">
                <a:defRPr/>
              </a:pPr>
              <a:endParaRPr lang="en-US" sz="1764">
                <a:solidFill>
                  <a:srgbClr val="FFFFFF"/>
                </a:solidFill>
                <a:latin typeface="Segoe UI"/>
              </a:endParaRPr>
            </a:p>
          </p:txBody>
        </p:sp>
        <p:sp>
          <p:nvSpPr>
            <p:cNvPr id="220" name="Rectangle 671"/>
            <p:cNvSpPr>
              <a:spLocks noChangeArrowheads="1"/>
            </p:cNvSpPr>
            <p:nvPr/>
          </p:nvSpPr>
          <p:spPr bwMode="auto">
            <a:xfrm>
              <a:off x="5114925" y="3692526"/>
              <a:ext cx="3175" cy="2540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29" tIns="44815" rIns="89629" bIns="44815" numCol="1" anchor="t" anchorCtr="0" compatLnSpc="1">
              <a:prstTxWarp prst="textNoShape">
                <a:avLst/>
              </a:prstTxWarp>
            </a:bodyPr>
            <a:lstStyle/>
            <a:p>
              <a:pPr defTabSz="914191">
                <a:defRPr/>
              </a:pPr>
              <a:endParaRPr lang="en-US" sz="1764">
                <a:solidFill>
                  <a:srgbClr val="FFFFFF"/>
                </a:solidFill>
                <a:latin typeface="Segoe UI"/>
              </a:endParaRPr>
            </a:p>
          </p:txBody>
        </p:sp>
        <p:sp>
          <p:nvSpPr>
            <p:cNvPr id="221" name="Rectangle 672"/>
            <p:cNvSpPr>
              <a:spLocks noChangeArrowheads="1"/>
            </p:cNvSpPr>
            <p:nvPr/>
          </p:nvSpPr>
          <p:spPr bwMode="auto">
            <a:xfrm>
              <a:off x="5122862" y="3692526"/>
              <a:ext cx="4763" cy="2540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29" tIns="44815" rIns="89629" bIns="44815" numCol="1" anchor="t" anchorCtr="0" compatLnSpc="1">
              <a:prstTxWarp prst="textNoShape">
                <a:avLst/>
              </a:prstTxWarp>
            </a:bodyPr>
            <a:lstStyle/>
            <a:p>
              <a:pPr defTabSz="914191">
                <a:defRPr/>
              </a:pPr>
              <a:endParaRPr lang="en-US" sz="1764">
                <a:solidFill>
                  <a:srgbClr val="FFFFFF"/>
                </a:solidFill>
                <a:latin typeface="Segoe UI"/>
              </a:endParaRPr>
            </a:p>
          </p:txBody>
        </p:sp>
        <p:sp>
          <p:nvSpPr>
            <p:cNvPr id="222" name="Rectangle 673"/>
            <p:cNvSpPr>
              <a:spLocks noChangeArrowheads="1"/>
            </p:cNvSpPr>
            <p:nvPr/>
          </p:nvSpPr>
          <p:spPr bwMode="auto">
            <a:xfrm>
              <a:off x="5130800" y="3692526"/>
              <a:ext cx="4763" cy="2540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29" tIns="44815" rIns="89629" bIns="44815" numCol="1" anchor="t" anchorCtr="0" compatLnSpc="1">
              <a:prstTxWarp prst="textNoShape">
                <a:avLst/>
              </a:prstTxWarp>
            </a:bodyPr>
            <a:lstStyle/>
            <a:p>
              <a:pPr defTabSz="914191">
                <a:defRPr/>
              </a:pPr>
              <a:endParaRPr lang="en-US" sz="1764">
                <a:solidFill>
                  <a:srgbClr val="FFFFFF"/>
                </a:solidFill>
                <a:latin typeface="Segoe UI"/>
              </a:endParaRPr>
            </a:p>
          </p:txBody>
        </p:sp>
        <p:sp>
          <p:nvSpPr>
            <p:cNvPr id="223" name="Rectangle 674"/>
            <p:cNvSpPr>
              <a:spLocks noChangeArrowheads="1"/>
            </p:cNvSpPr>
            <p:nvPr/>
          </p:nvSpPr>
          <p:spPr bwMode="auto">
            <a:xfrm>
              <a:off x="5140325" y="3692526"/>
              <a:ext cx="3175" cy="2540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29" tIns="44815" rIns="89629" bIns="44815" numCol="1" anchor="t" anchorCtr="0" compatLnSpc="1">
              <a:prstTxWarp prst="textNoShape">
                <a:avLst/>
              </a:prstTxWarp>
            </a:bodyPr>
            <a:lstStyle/>
            <a:p>
              <a:pPr defTabSz="914191">
                <a:defRPr/>
              </a:pPr>
              <a:endParaRPr lang="en-US" sz="1764">
                <a:solidFill>
                  <a:srgbClr val="FFFFFF"/>
                </a:solidFill>
                <a:latin typeface="Segoe UI"/>
              </a:endParaRPr>
            </a:p>
          </p:txBody>
        </p:sp>
        <p:sp>
          <p:nvSpPr>
            <p:cNvPr id="224" name="Rectangle 675"/>
            <p:cNvSpPr>
              <a:spLocks noChangeArrowheads="1"/>
            </p:cNvSpPr>
            <p:nvPr/>
          </p:nvSpPr>
          <p:spPr bwMode="auto">
            <a:xfrm>
              <a:off x="5148262" y="3692526"/>
              <a:ext cx="3175" cy="2540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29" tIns="44815" rIns="89629" bIns="44815" numCol="1" anchor="t" anchorCtr="0" compatLnSpc="1">
              <a:prstTxWarp prst="textNoShape">
                <a:avLst/>
              </a:prstTxWarp>
            </a:bodyPr>
            <a:lstStyle/>
            <a:p>
              <a:pPr defTabSz="914191">
                <a:defRPr/>
              </a:pPr>
              <a:endParaRPr lang="en-US" sz="1764">
                <a:solidFill>
                  <a:srgbClr val="FFFFFF"/>
                </a:solidFill>
                <a:latin typeface="Segoe UI"/>
              </a:endParaRPr>
            </a:p>
          </p:txBody>
        </p:sp>
        <p:sp>
          <p:nvSpPr>
            <p:cNvPr id="225" name="Rectangle 676"/>
            <p:cNvSpPr>
              <a:spLocks noChangeArrowheads="1"/>
            </p:cNvSpPr>
            <p:nvPr/>
          </p:nvSpPr>
          <p:spPr bwMode="auto">
            <a:xfrm>
              <a:off x="5156200" y="3692526"/>
              <a:ext cx="1588" cy="2540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29" tIns="44815" rIns="89629" bIns="44815" numCol="1" anchor="t" anchorCtr="0" compatLnSpc="1">
              <a:prstTxWarp prst="textNoShape">
                <a:avLst/>
              </a:prstTxWarp>
            </a:bodyPr>
            <a:lstStyle/>
            <a:p>
              <a:pPr defTabSz="914191">
                <a:defRPr/>
              </a:pPr>
              <a:endParaRPr lang="en-US" sz="1764">
                <a:solidFill>
                  <a:srgbClr val="FFFFFF"/>
                </a:solidFill>
                <a:latin typeface="Segoe UI"/>
              </a:endParaRPr>
            </a:p>
          </p:txBody>
        </p:sp>
        <p:sp>
          <p:nvSpPr>
            <p:cNvPr id="226" name="Freeform 677"/>
            <p:cNvSpPr>
              <a:spLocks/>
            </p:cNvSpPr>
            <p:nvPr/>
          </p:nvSpPr>
          <p:spPr bwMode="auto">
            <a:xfrm>
              <a:off x="5232400" y="3700463"/>
              <a:ext cx="11113" cy="9525"/>
            </a:xfrm>
            <a:custGeom>
              <a:avLst/>
              <a:gdLst>
                <a:gd name="T0" fmla="*/ 0 w 13"/>
                <a:gd name="T1" fmla="*/ 6 h 11"/>
                <a:gd name="T2" fmla="*/ 0 w 13"/>
                <a:gd name="T3" fmla="*/ 6 h 11"/>
                <a:gd name="T4" fmla="*/ 2 w 13"/>
                <a:gd name="T5" fmla="*/ 2 h 11"/>
                <a:gd name="T6" fmla="*/ 6 w 13"/>
                <a:gd name="T7" fmla="*/ 0 h 11"/>
                <a:gd name="T8" fmla="*/ 6 w 13"/>
                <a:gd name="T9" fmla="*/ 0 h 11"/>
                <a:gd name="T10" fmla="*/ 11 w 13"/>
                <a:gd name="T11" fmla="*/ 2 h 11"/>
                <a:gd name="T12" fmla="*/ 13 w 13"/>
                <a:gd name="T13" fmla="*/ 6 h 11"/>
                <a:gd name="T14" fmla="*/ 13 w 13"/>
                <a:gd name="T15" fmla="*/ 6 h 11"/>
                <a:gd name="T16" fmla="*/ 11 w 13"/>
                <a:gd name="T17" fmla="*/ 9 h 11"/>
                <a:gd name="T18" fmla="*/ 6 w 13"/>
                <a:gd name="T19" fmla="*/ 11 h 11"/>
                <a:gd name="T20" fmla="*/ 6 w 13"/>
                <a:gd name="T21" fmla="*/ 11 h 11"/>
                <a:gd name="T22" fmla="*/ 2 w 13"/>
                <a:gd name="T23" fmla="*/ 9 h 11"/>
                <a:gd name="T24" fmla="*/ 0 w 13"/>
                <a:gd name="T25" fmla="*/ 6 h 11"/>
                <a:gd name="T26" fmla="*/ 0 w 13"/>
                <a:gd name="T27" fmla="*/ 6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 h="11">
                  <a:moveTo>
                    <a:pt x="0" y="6"/>
                  </a:moveTo>
                  <a:lnTo>
                    <a:pt x="0" y="6"/>
                  </a:lnTo>
                  <a:lnTo>
                    <a:pt x="2" y="2"/>
                  </a:lnTo>
                  <a:lnTo>
                    <a:pt x="6" y="0"/>
                  </a:lnTo>
                  <a:lnTo>
                    <a:pt x="6" y="0"/>
                  </a:lnTo>
                  <a:lnTo>
                    <a:pt x="11" y="2"/>
                  </a:lnTo>
                  <a:lnTo>
                    <a:pt x="13" y="6"/>
                  </a:lnTo>
                  <a:lnTo>
                    <a:pt x="13" y="6"/>
                  </a:lnTo>
                  <a:lnTo>
                    <a:pt x="11" y="9"/>
                  </a:lnTo>
                  <a:lnTo>
                    <a:pt x="6" y="11"/>
                  </a:lnTo>
                  <a:lnTo>
                    <a:pt x="6" y="11"/>
                  </a:lnTo>
                  <a:lnTo>
                    <a:pt x="2" y="9"/>
                  </a:lnTo>
                  <a:lnTo>
                    <a:pt x="0" y="6"/>
                  </a:lnTo>
                  <a:lnTo>
                    <a:pt x="0" y="6"/>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914191">
                <a:defRPr/>
              </a:pPr>
              <a:endParaRPr lang="en-US" sz="1764">
                <a:solidFill>
                  <a:srgbClr val="FFFFFF"/>
                </a:solidFill>
                <a:latin typeface="Segoe UI"/>
              </a:endParaRPr>
            </a:p>
          </p:txBody>
        </p:sp>
        <p:sp>
          <p:nvSpPr>
            <p:cNvPr id="227" name="Rectangle 678"/>
            <p:cNvSpPr>
              <a:spLocks noChangeArrowheads="1"/>
            </p:cNvSpPr>
            <p:nvPr/>
          </p:nvSpPr>
          <p:spPr bwMode="auto">
            <a:xfrm>
              <a:off x="5080000" y="3367088"/>
              <a:ext cx="204788" cy="42545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29" tIns="44815" rIns="89629" bIns="44815" numCol="1" anchor="t" anchorCtr="0" compatLnSpc="1">
              <a:prstTxWarp prst="textNoShape">
                <a:avLst/>
              </a:prstTxWarp>
            </a:bodyPr>
            <a:lstStyle/>
            <a:p>
              <a:pPr defTabSz="914191">
                <a:defRPr/>
              </a:pPr>
              <a:endParaRPr lang="en-US" sz="1764">
                <a:solidFill>
                  <a:srgbClr val="FFFFFF"/>
                </a:solidFill>
                <a:latin typeface="Segoe UI"/>
              </a:endParaRPr>
            </a:p>
          </p:txBody>
        </p:sp>
        <p:sp>
          <p:nvSpPr>
            <p:cNvPr id="228" name="Rectangle 679"/>
            <p:cNvSpPr>
              <a:spLocks noChangeArrowheads="1"/>
            </p:cNvSpPr>
            <p:nvPr/>
          </p:nvSpPr>
          <p:spPr bwMode="auto">
            <a:xfrm>
              <a:off x="5099050" y="3387726"/>
              <a:ext cx="165100" cy="3698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29" tIns="44815" rIns="89629" bIns="44815" numCol="1" anchor="t" anchorCtr="0" compatLnSpc="1">
              <a:prstTxWarp prst="textNoShape">
                <a:avLst/>
              </a:prstTxWarp>
            </a:bodyPr>
            <a:lstStyle/>
            <a:p>
              <a:pPr defTabSz="914191">
                <a:defRPr/>
              </a:pPr>
              <a:endParaRPr lang="en-US" sz="1764">
                <a:solidFill>
                  <a:srgbClr val="FFFFFF"/>
                </a:solidFill>
                <a:latin typeface="Segoe UI"/>
              </a:endParaRPr>
            </a:p>
          </p:txBody>
        </p:sp>
        <p:sp>
          <p:nvSpPr>
            <p:cNvPr id="229" name="Rectangle 680"/>
            <p:cNvSpPr>
              <a:spLocks noChangeArrowheads="1"/>
            </p:cNvSpPr>
            <p:nvPr/>
          </p:nvSpPr>
          <p:spPr bwMode="auto">
            <a:xfrm>
              <a:off x="5108575" y="3400426"/>
              <a:ext cx="147638" cy="3651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29" tIns="44815" rIns="89629" bIns="44815" numCol="1" anchor="t" anchorCtr="0" compatLnSpc="1">
              <a:prstTxWarp prst="textNoShape">
                <a:avLst/>
              </a:prstTxWarp>
            </a:bodyPr>
            <a:lstStyle/>
            <a:p>
              <a:pPr defTabSz="914191">
                <a:defRPr/>
              </a:pPr>
              <a:endParaRPr lang="en-US" sz="1764">
                <a:solidFill>
                  <a:srgbClr val="FFFFFF"/>
                </a:solidFill>
                <a:latin typeface="Segoe UI"/>
              </a:endParaRPr>
            </a:p>
          </p:txBody>
        </p:sp>
        <p:sp>
          <p:nvSpPr>
            <p:cNvPr id="230" name="Rectangle 681"/>
            <p:cNvSpPr>
              <a:spLocks noChangeArrowheads="1"/>
            </p:cNvSpPr>
            <p:nvPr/>
          </p:nvSpPr>
          <p:spPr bwMode="auto">
            <a:xfrm>
              <a:off x="5114925" y="3403601"/>
              <a:ext cx="3175" cy="2698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29" tIns="44815" rIns="89629" bIns="44815" numCol="1" anchor="t" anchorCtr="0" compatLnSpc="1">
              <a:prstTxWarp prst="textNoShape">
                <a:avLst/>
              </a:prstTxWarp>
            </a:bodyPr>
            <a:lstStyle/>
            <a:p>
              <a:pPr defTabSz="914191">
                <a:defRPr/>
              </a:pPr>
              <a:endParaRPr lang="en-US" sz="1764">
                <a:solidFill>
                  <a:srgbClr val="FFFFFF"/>
                </a:solidFill>
                <a:latin typeface="Segoe UI"/>
              </a:endParaRPr>
            </a:p>
          </p:txBody>
        </p:sp>
        <p:sp>
          <p:nvSpPr>
            <p:cNvPr id="231" name="Rectangle 682"/>
            <p:cNvSpPr>
              <a:spLocks noChangeArrowheads="1"/>
            </p:cNvSpPr>
            <p:nvPr/>
          </p:nvSpPr>
          <p:spPr bwMode="auto">
            <a:xfrm>
              <a:off x="5122862" y="3403601"/>
              <a:ext cx="4763" cy="2698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29" tIns="44815" rIns="89629" bIns="44815" numCol="1" anchor="t" anchorCtr="0" compatLnSpc="1">
              <a:prstTxWarp prst="textNoShape">
                <a:avLst/>
              </a:prstTxWarp>
            </a:bodyPr>
            <a:lstStyle/>
            <a:p>
              <a:pPr defTabSz="914191">
                <a:defRPr/>
              </a:pPr>
              <a:endParaRPr lang="en-US" sz="1764">
                <a:solidFill>
                  <a:srgbClr val="FFFFFF"/>
                </a:solidFill>
                <a:latin typeface="Segoe UI"/>
              </a:endParaRPr>
            </a:p>
          </p:txBody>
        </p:sp>
        <p:sp>
          <p:nvSpPr>
            <p:cNvPr id="232" name="Rectangle 683"/>
            <p:cNvSpPr>
              <a:spLocks noChangeArrowheads="1"/>
            </p:cNvSpPr>
            <p:nvPr/>
          </p:nvSpPr>
          <p:spPr bwMode="auto">
            <a:xfrm>
              <a:off x="5130800" y="3403601"/>
              <a:ext cx="4763" cy="2698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29" tIns="44815" rIns="89629" bIns="44815" numCol="1" anchor="t" anchorCtr="0" compatLnSpc="1">
              <a:prstTxWarp prst="textNoShape">
                <a:avLst/>
              </a:prstTxWarp>
            </a:bodyPr>
            <a:lstStyle/>
            <a:p>
              <a:pPr defTabSz="914191">
                <a:defRPr/>
              </a:pPr>
              <a:endParaRPr lang="en-US" sz="1764">
                <a:solidFill>
                  <a:srgbClr val="FFFFFF"/>
                </a:solidFill>
                <a:latin typeface="Segoe UI"/>
              </a:endParaRPr>
            </a:p>
          </p:txBody>
        </p:sp>
        <p:sp>
          <p:nvSpPr>
            <p:cNvPr id="233" name="Rectangle 684"/>
            <p:cNvSpPr>
              <a:spLocks noChangeArrowheads="1"/>
            </p:cNvSpPr>
            <p:nvPr/>
          </p:nvSpPr>
          <p:spPr bwMode="auto">
            <a:xfrm>
              <a:off x="5140325" y="3403601"/>
              <a:ext cx="3175" cy="2698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29" tIns="44815" rIns="89629" bIns="44815" numCol="1" anchor="t" anchorCtr="0" compatLnSpc="1">
              <a:prstTxWarp prst="textNoShape">
                <a:avLst/>
              </a:prstTxWarp>
            </a:bodyPr>
            <a:lstStyle/>
            <a:p>
              <a:pPr defTabSz="914191">
                <a:defRPr/>
              </a:pPr>
              <a:endParaRPr lang="en-US" sz="1764">
                <a:solidFill>
                  <a:srgbClr val="FFFFFF"/>
                </a:solidFill>
                <a:latin typeface="Segoe UI"/>
              </a:endParaRPr>
            </a:p>
          </p:txBody>
        </p:sp>
        <p:sp>
          <p:nvSpPr>
            <p:cNvPr id="234" name="Rectangle 685"/>
            <p:cNvSpPr>
              <a:spLocks noChangeArrowheads="1"/>
            </p:cNvSpPr>
            <p:nvPr/>
          </p:nvSpPr>
          <p:spPr bwMode="auto">
            <a:xfrm>
              <a:off x="5148262" y="3403601"/>
              <a:ext cx="3175" cy="2698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29" tIns="44815" rIns="89629" bIns="44815" numCol="1" anchor="t" anchorCtr="0" compatLnSpc="1">
              <a:prstTxWarp prst="textNoShape">
                <a:avLst/>
              </a:prstTxWarp>
            </a:bodyPr>
            <a:lstStyle/>
            <a:p>
              <a:pPr defTabSz="914191">
                <a:defRPr/>
              </a:pPr>
              <a:endParaRPr lang="en-US" sz="1764">
                <a:solidFill>
                  <a:srgbClr val="FFFFFF"/>
                </a:solidFill>
                <a:latin typeface="Segoe UI"/>
              </a:endParaRPr>
            </a:p>
          </p:txBody>
        </p:sp>
        <p:sp>
          <p:nvSpPr>
            <p:cNvPr id="235" name="Rectangle 686"/>
            <p:cNvSpPr>
              <a:spLocks noChangeArrowheads="1"/>
            </p:cNvSpPr>
            <p:nvPr/>
          </p:nvSpPr>
          <p:spPr bwMode="auto">
            <a:xfrm>
              <a:off x="5156200" y="3403601"/>
              <a:ext cx="1588" cy="2698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29" tIns="44815" rIns="89629" bIns="44815" numCol="1" anchor="t" anchorCtr="0" compatLnSpc="1">
              <a:prstTxWarp prst="textNoShape">
                <a:avLst/>
              </a:prstTxWarp>
            </a:bodyPr>
            <a:lstStyle/>
            <a:p>
              <a:pPr defTabSz="914191">
                <a:defRPr/>
              </a:pPr>
              <a:endParaRPr lang="en-US" sz="1764">
                <a:solidFill>
                  <a:srgbClr val="FFFFFF"/>
                </a:solidFill>
                <a:latin typeface="Segoe UI"/>
              </a:endParaRPr>
            </a:p>
          </p:txBody>
        </p:sp>
        <p:sp>
          <p:nvSpPr>
            <p:cNvPr id="236" name="Freeform 687"/>
            <p:cNvSpPr>
              <a:spLocks/>
            </p:cNvSpPr>
            <p:nvPr/>
          </p:nvSpPr>
          <p:spPr bwMode="auto">
            <a:xfrm>
              <a:off x="5232400" y="3413126"/>
              <a:ext cx="11113" cy="11113"/>
            </a:xfrm>
            <a:custGeom>
              <a:avLst/>
              <a:gdLst>
                <a:gd name="T0" fmla="*/ 0 w 13"/>
                <a:gd name="T1" fmla="*/ 7 h 15"/>
                <a:gd name="T2" fmla="*/ 0 w 13"/>
                <a:gd name="T3" fmla="*/ 7 h 15"/>
                <a:gd name="T4" fmla="*/ 0 w 13"/>
                <a:gd name="T5" fmla="*/ 6 h 15"/>
                <a:gd name="T6" fmla="*/ 2 w 13"/>
                <a:gd name="T7" fmla="*/ 2 h 15"/>
                <a:gd name="T8" fmla="*/ 4 w 13"/>
                <a:gd name="T9" fmla="*/ 2 h 15"/>
                <a:gd name="T10" fmla="*/ 6 w 13"/>
                <a:gd name="T11" fmla="*/ 0 h 15"/>
                <a:gd name="T12" fmla="*/ 6 w 13"/>
                <a:gd name="T13" fmla="*/ 0 h 15"/>
                <a:gd name="T14" fmla="*/ 9 w 13"/>
                <a:gd name="T15" fmla="*/ 2 h 15"/>
                <a:gd name="T16" fmla="*/ 11 w 13"/>
                <a:gd name="T17" fmla="*/ 2 h 15"/>
                <a:gd name="T18" fmla="*/ 13 w 13"/>
                <a:gd name="T19" fmla="*/ 6 h 15"/>
                <a:gd name="T20" fmla="*/ 13 w 13"/>
                <a:gd name="T21" fmla="*/ 7 h 15"/>
                <a:gd name="T22" fmla="*/ 13 w 13"/>
                <a:gd name="T23" fmla="*/ 7 h 15"/>
                <a:gd name="T24" fmla="*/ 13 w 13"/>
                <a:gd name="T25" fmla="*/ 11 h 15"/>
                <a:gd name="T26" fmla="*/ 11 w 13"/>
                <a:gd name="T27" fmla="*/ 13 h 15"/>
                <a:gd name="T28" fmla="*/ 9 w 13"/>
                <a:gd name="T29" fmla="*/ 15 h 15"/>
                <a:gd name="T30" fmla="*/ 6 w 13"/>
                <a:gd name="T31" fmla="*/ 15 h 15"/>
                <a:gd name="T32" fmla="*/ 6 w 13"/>
                <a:gd name="T33" fmla="*/ 15 h 15"/>
                <a:gd name="T34" fmla="*/ 4 w 13"/>
                <a:gd name="T35" fmla="*/ 15 h 15"/>
                <a:gd name="T36" fmla="*/ 2 w 13"/>
                <a:gd name="T37" fmla="*/ 13 h 15"/>
                <a:gd name="T38" fmla="*/ 0 w 13"/>
                <a:gd name="T39" fmla="*/ 11 h 15"/>
                <a:gd name="T40" fmla="*/ 0 w 13"/>
                <a:gd name="T41" fmla="*/ 7 h 15"/>
                <a:gd name="T42" fmla="*/ 0 w 13"/>
                <a:gd name="T43" fmla="*/ 7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3" h="15">
                  <a:moveTo>
                    <a:pt x="0" y="7"/>
                  </a:moveTo>
                  <a:lnTo>
                    <a:pt x="0" y="7"/>
                  </a:lnTo>
                  <a:lnTo>
                    <a:pt x="0" y="6"/>
                  </a:lnTo>
                  <a:lnTo>
                    <a:pt x="2" y="2"/>
                  </a:lnTo>
                  <a:lnTo>
                    <a:pt x="4" y="2"/>
                  </a:lnTo>
                  <a:lnTo>
                    <a:pt x="6" y="0"/>
                  </a:lnTo>
                  <a:lnTo>
                    <a:pt x="6" y="0"/>
                  </a:lnTo>
                  <a:lnTo>
                    <a:pt x="9" y="2"/>
                  </a:lnTo>
                  <a:lnTo>
                    <a:pt x="11" y="2"/>
                  </a:lnTo>
                  <a:lnTo>
                    <a:pt x="13" y="6"/>
                  </a:lnTo>
                  <a:lnTo>
                    <a:pt x="13" y="7"/>
                  </a:lnTo>
                  <a:lnTo>
                    <a:pt x="13" y="7"/>
                  </a:lnTo>
                  <a:lnTo>
                    <a:pt x="13" y="11"/>
                  </a:lnTo>
                  <a:lnTo>
                    <a:pt x="11" y="13"/>
                  </a:lnTo>
                  <a:lnTo>
                    <a:pt x="9" y="15"/>
                  </a:lnTo>
                  <a:lnTo>
                    <a:pt x="6" y="15"/>
                  </a:lnTo>
                  <a:lnTo>
                    <a:pt x="6" y="15"/>
                  </a:lnTo>
                  <a:lnTo>
                    <a:pt x="4" y="15"/>
                  </a:lnTo>
                  <a:lnTo>
                    <a:pt x="2" y="13"/>
                  </a:lnTo>
                  <a:lnTo>
                    <a:pt x="0" y="11"/>
                  </a:lnTo>
                  <a:lnTo>
                    <a:pt x="0" y="7"/>
                  </a:lnTo>
                  <a:lnTo>
                    <a:pt x="0" y="7"/>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914191">
                <a:defRPr/>
              </a:pPr>
              <a:endParaRPr lang="en-US" sz="1764">
                <a:solidFill>
                  <a:srgbClr val="FFFFFF"/>
                </a:solidFill>
                <a:latin typeface="Segoe UI"/>
              </a:endParaRPr>
            </a:p>
          </p:txBody>
        </p:sp>
        <p:sp>
          <p:nvSpPr>
            <p:cNvPr id="237" name="Rectangle 688"/>
            <p:cNvSpPr>
              <a:spLocks noChangeArrowheads="1"/>
            </p:cNvSpPr>
            <p:nvPr/>
          </p:nvSpPr>
          <p:spPr bwMode="auto">
            <a:xfrm>
              <a:off x="5108575" y="3444876"/>
              <a:ext cx="147638" cy="396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29" tIns="44815" rIns="89629" bIns="44815" numCol="1" anchor="t" anchorCtr="0" compatLnSpc="1">
              <a:prstTxWarp prst="textNoShape">
                <a:avLst/>
              </a:prstTxWarp>
            </a:bodyPr>
            <a:lstStyle/>
            <a:p>
              <a:pPr defTabSz="914191">
                <a:defRPr/>
              </a:pPr>
              <a:endParaRPr lang="en-US" sz="1764">
                <a:solidFill>
                  <a:srgbClr val="FFFFFF"/>
                </a:solidFill>
                <a:latin typeface="Segoe UI"/>
              </a:endParaRPr>
            </a:p>
          </p:txBody>
        </p:sp>
        <p:sp>
          <p:nvSpPr>
            <p:cNvPr id="238" name="Rectangle 689"/>
            <p:cNvSpPr>
              <a:spLocks noChangeArrowheads="1"/>
            </p:cNvSpPr>
            <p:nvPr/>
          </p:nvSpPr>
          <p:spPr bwMode="auto">
            <a:xfrm>
              <a:off x="5114925" y="3451226"/>
              <a:ext cx="3175" cy="2540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29" tIns="44815" rIns="89629" bIns="44815" numCol="1" anchor="t" anchorCtr="0" compatLnSpc="1">
              <a:prstTxWarp prst="textNoShape">
                <a:avLst/>
              </a:prstTxWarp>
            </a:bodyPr>
            <a:lstStyle/>
            <a:p>
              <a:pPr defTabSz="914191">
                <a:defRPr/>
              </a:pPr>
              <a:endParaRPr lang="en-US" sz="1764">
                <a:solidFill>
                  <a:srgbClr val="FFFFFF"/>
                </a:solidFill>
                <a:latin typeface="Segoe UI"/>
              </a:endParaRPr>
            </a:p>
          </p:txBody>
        </p:sp>
        <p:sp>
          <p:nvSpPr>
            <p:cNvPr id="239" name="Rectangle 690"/>
            <p:cNvSpPr>
              <a:spLocks noChangeArrowheads="1"/>
            </p:cNvSpPr>
            <p:nvPr/>
          </p:nvSpPr>
          <p:spPr bwMode="auto">
            <a:xfrm>
              <a:off x="5122862" y="3451226"/>
              <a:ext cx="4763" cy="2540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29" tIns="44815" rIns="89629" bIns="44815" numCol="1" anchor="t" anchorCtr="0" compatLnSpc="1">
              <a:prstTxWarp prst="textNoShape">
                <a:avLst/>
              </a:prstTxWarp>
            </a:bodyPr>
            <a:lstStyle/>
            <a:p>
              <a:pPr defTabSz="914191">
                <a:defRPr/>
              </a:pPr>
              <a:endParaRPr lang="en-US" sz="1764">
                <a:solidFill>
                  <a:srgbClr val="FFFFFF"/>
                </a:solidFill>
                <a:latin typeface="Segoe UI"/>
              </a:endParaRPr>
            </a:p>
          </p:txBody>
        </p:sp>
        <p:sp>
          <p:nvSpPr>
            <p:cNvPr id="240" name="Rectangle 691"/>
            <p:cNvSpPr>
              <a:spLocks noChangeArrowheads="1"/>
            </p:cNvSpPr>
            <p:nvPr/>
          </p:nvSpPr>
          <p:spPr bwMode="auto">
            <a:xfrm>
              <a:off x="5130800" y="3451226"/>
              <a:ext cx="4763" cy="2540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29" tIns="44815" rIns="89629" bIns="44815" numCol="1" anchor="t" anchorCtr="0" compatLnSpc="1">
              <a:prstTxWarp prst="textNoShape">
                <a:avLst/>
              </a:prstTxWarp>
            </a:bodyPr>
            <a:lstStyle/>
            <a:p>
              <a:pPr defTabSz="914191">
                <a:defRPr/>
              </a:pPr>
              <a:endParaRPr lang="en-US" sz="1764">
                <a:solidFill>
                  <a:srgbClr val="FFFFFF"/>
                </a:solidFill>
                <a:latin typeface="Segoe UI"/>
              </a:endParaRPr>
            </a:p>
          </p:txBody>
        </p:sp>
        <p:sp>
          <p:nvSpPr>
            <p:cNvPr id="241" name="Rectangle 692"/>
            <p:cNvSpPr>
              <a:spLocks noChangeArrowheads="1"/>
            </p:cNvSpPr>
            <p:nvPr/>
          </p:nvSpPr>
          <p:spPr bwMode="auto">
            <a:xfrm>
              <a:off x="5140325" y="3451226"/>
              <a:ext cx="3175" cy="2540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29" tIns="44815" rIns="89629" bIns="44815" numCol="1" anchor="t" anchorCtr="0" compatLnSpc="1">
              <a:prstTxWarp prst="textNoShape">
                <a:avLst/>
              </a:prstTxWarp>
            </a:bodyPr>
            <a:lstStyle/>
            <a:p>
              <a:pPr defTabSz="914191">
                <a:defRPr/>
              </a:pPr>
              <a:endParaRPr lang="en-US" sz="1764">
                <a:solidFill>
                  <a:srgbClr val="FFFFFF"/>
                </a:solidFill>
                <a:latin typeface="Segoe UI"/>
              </a:endParaRPr>
            </a:p>
          </p:txBody>
        </p:sp>
        <p:sp>
          <p:nvSpPr>
            <p:cNvPr id="242" name="Rectangle 693"/>
            <p:cNvSpPr>
              <a:spLocks noChangeArrowheads="1"/>
            </p:cNvSpPr>
            <p:nvPr/>
          </p:nvSpPr>
          <p:spPr bwMode="auto">
            <a:xfrm>
              <a:off x="5148262" y="3451226"/>
              <a:ext cx="3175" cy="2540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29" tIns="44815" rIns="89629" bIns="44815" numCol="1" anchor="t" anchorCtr="0" compatLnSpc="1">
              <a:prstTxWarp prst="textNoShape">
                <a:avLst/>
              </a:prstTxWarp>
            </a:bodyPr>
            <a:lstStyle/>
            <a:p>
              <a:pPr defTabSz="914191">
                <a:defRPr/>
              </a:pPr>
              <a:endParaRPr lang="en-US" sz="1764">
                <a:solidFill>
                  <a:srgbClr val="FFFFFF"/>
                </a:solidFill>
                <a:latin typeface="Segoe UI"/>
              </a:endParaRPr>
            </a:p>
          </p:txBody>
        </p:sp>
        <p:sp>
          <p:nvSpPr>
            <p:cNvPr id="243" name="Rectangle 694"/>
            <p:cNvSpPr>
              <a:spLocks noChangeArrowheads="1"/>
            </p:cNvSpPr>
            <p:nvPr/>
          </p:nvSpPr>
          <p:spPr bwMode="auto">
            <a:xfrm>
              <a:off x="5156200" y="3451226"/>
              <a:ext cx="1588" cy="2540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29" tIns="44815" rIns="89629" bIns="44815" numCol="1" anchor="t" anchorCtr="0" compatLnSpc="1">
              <a:prstTxWarp prst="textNoShape">
                <a:avLst/>
              </a:prstTxWarp>
            </a:bodyPr>
            <a:lstStyle/>
            <a:p>
              <a:pPr defTabSz="914191">
                <a:defRPr/>
              </a:pPr>
              <a:endParaRPr lang="en-US" sz="1764">
                <a:solidFill>
                  <a:srgbClr val="FFFFFF"/>
                </a:solidFill>
                <a:latin typeface="Segoe UI"/>
              </a:endParaRPr>
            </a:p>
          </p:txBody>
        </p:sp>
        <p:sp>
          <p:nvSpPr>
            <p:cNvPr id="244" name="Freeform 695"/>
            <p:cNvSpPr>
              <a:spLocks/>
            </p:cNvSpPr>
            <p:nvPr/>
          </p:nvSpPr>
          <p:spPr bwMode="auto">
            <a:xfrm>
              <a:off x="5232400" y="3460751"/>
              <a:ext cx="11113" cy="9525"/>
            </a:xfrm>
            <a:custGeom>
              <a:avLst/>
              <a:gdLst>
                <a:gd name="T0" fmla="*/ 0 w 13"/>
                <a:gd name="T1" fmla="*/ 6 h 11"/>
                <a:gd name="T2" fmla="*/ 0 w 13"/>
                <a:gd name="T3" fmla="*/ 6 h 11"/>
                <a:gd name="T4" fmla="*/ 2 w 13"/>
                <a:gd name="T5" fmla="*/ 2 h 11"/>
                <a:gd name="T6" fmla="*/ 6 w 13"/>
                <a:gd name="T7" fmla="*/ 0 h 11"/>
                <a:gd name="T8" fmla="*/ 6 w 13"/>
                <a:gd name="T9" fmla="*/ 0 h 11"/>
                <a:gd name="T10" fmla="*/ 11 w 13"/>
                <a:gd name="T11" fmla="*/ 2 h 11"/>
                <a:gd name="T12" fmla="*/ 13 w 13"/>
                <a:gd name="T13" fmla="*/ 6 h 11"/>
                <a:gd name="T14" fmla="*/ 13 w 13"/>
                <a:gd name="T15" fmla="*/ 6 h 11"/>
                <a:gd name="T16" fmla="*/ 11 w 13"/>
                <a:gd name="T17" fmla="*/ 9 h 11"/>
                <a:gd name="T18" fmla="*/ 6 w 13"/>
                <a:gd name="T19" fmla="*/ 11 h 11"/>
                <a:gd name="T20" fmla="*/ 6 w 13"/>
                <a:gd name="T21" fmla="*/ 11 h 11"/>
                <a:gd name="T22" fmla="*/ 2 w 13"/>
                <a:gd name="T23" fmla="*/ 9 h 11"/>
                <a:gd name="T24" fmla="*/ 0 w 13"/>
                <a:gd name="T25" fmla="*/ 6 h 11"/>
                <a:gd name="T26" fmla="*/ 0 w 13"/>
                <a:gd name="T27" fmla="*/ 6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 h="11">
                  <a:moveTo>
                    <a:pt x="0" y="6"/>
                  </a:moveTo>
                  <a:lnTo>
                    <a:pt x="0" y="6"/>
                  </a:lnTo>
                  <a:lnTo>
                    <a:pt x="2" y="2"/>
                  </a:lnTo>
                  <a:lnTo>
                    <a:pt x="6" y="0"/>
                  </a:lnTo>
                  <a:lnTo>
                    <a:pt x="6" y="0"/>
                  </a:lnTo>
                  <a:lnTo>
                    <a:pt x="11" y="2"/>
                  </a:lnTo>
                  <a:lnTo>
                    <a:pt x="13" y="6"/>
                  </a:lnTo>
                  <a:lnTo>
                    <a:pt x="13" y="6"/>
                  </a:lnTo>
                  <a:lnTo>
                    <a:pt x="11" y="9"/>
                  </a:lnTo>
                  <a:lnTo>
                    <a:pt x="6" y="11"/>
                  </a:lnTo>
                  <a:lnTo>
                    <a:pt x="6" y="11"/>
                  </a:lnTo>
                  <a:lnTo>
                    <a:pt x="2" y="9"/>
                  </a:lnTo>
                  <a:lnTo>
                    <a:pt x="0" y="6"/>
                  </a:lnTo>
                  <a:lnTo>
                    <a:pt x="0" y="6"/>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914191">
                <a:defRPr/>
              </a:pPr>
              <a:endParaRPr lang="en-US" sz="1764">
                <a:solidFill>
                  <a:srgbClr val="FFFFFF"/>
                </a:solidFill>
                <a:latin typeface="Segoe UI"/>
              </a:endParaRPr>
            </a:p>
          </p:txBody>
        </p:sp>
        <p:sp>
          <p:nvSpPr>
            <p:cNvPr id="245" name="Rectangle 696"/>
            <p:cNvSpPr>
              <a:spLocks noChangeArrowheads="1"/>
            </p:cNvSpPr>
            <p:nvPr/>
          </p:nvSpPr>
          <p:spPr bwMode="auto">
            <a:xfrm>
              <a:off x="5108575" y="3495676"/>
              <a:ext cx="147638" cy="3810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29" tIns="44815" rIns="89629" bIns="44815" numCol="1" anchor="t" anchorCtr="0" compatLnSpc="1">
              <a:prstTxWarp prst="textNoShape">
                <a:avLst/>
              </a:prstTxWarp>
            </a:bodyPr>
            <a:lstStyle/>
            <a:p>
              <a:pPr defTabSz="914191">
                <a:defRPr/>
              </a:pPr>
              <a:endParaRPr lang="en-US" sz="1764">
                <a:solidFill>
                  <a:srgbClr val="FFFFFF"/>
                </a:solidFill>
                <a:latin typeface="Segoe UI"/>
              </a:endParaRPr>
            </a:p>
          </p:txBody>
        </p:sp>
        <p:sp>
          <p:nvSpPr>
            <p:cNvPr id="246" name="Rectangle 697"/>
            <p:cNvSpPr>
              <a:spLocks noChangeArrowheads="1"/>
            </p:cNvSpPr>
            <p:nvPr/>
          </p:nvSpPr>
          <p:spPr bwMode="auto">
            <a:xfrm>
              <a:off x="5114925" y="3500438"/>
              <a:ext cx="3175" cy="2698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29" tIns="44815" rIns="89629" bIns="44815" numCol="1" anchor="t" anchorCtr="0" compatLnSpc="1">
              <a:prstTxWarp prst="textNoShape">
                <a:avLst/>
              </a:prstTxWarp>
            </a:bodyPr>
            <a:lstStyle/>
            <a:p>
              <a:pPr defTabSz="914191">
                <a:defRPr/>
              </a:pPr>
              <a:endParaRPr lang="en-US" sz="1764">
                <a:solidFill>
                  <a:srgbClr val="FFFFFF"/>
                </a:solidFill>
                <a:latin typeface="Segoe UI"/>
              </a:endParaRPr>
            </a:p>
          </p:txBody>
        </p:sp>
        <p:sp>
          <p:nvSpPr>
            <p:cNvPr id="247" name="Rectangle 698"/>
            <p:cNvSpPr>
              <a:spLocks noChangeArrowheads="1"/>
            </p:cNvSpPr>
            <p:nvPr/>
          </p:nvSpPr>
          <p:spPr bwMode="auto">
            <a:xfrm>
              <a:off x="5122862" y="3500438"/>
              <a:ext cx="4763" cy="2698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29" tIns="44815" rIns="89629" bIns="44815" numCol="1" anchor="t" anchorCtr="0" compatLnSpc="1">
              <a:prstTxWarp prst="textNoShape">
                <a:avLst/>
              </a:prstTxWarp>
            </a:bodyPr>
            <a:lstStyle/>
            <a:p>
              <a:pPr defTabSz="914191">
                <a:defRPr/>
              </a:pPr>
              <a:endParaRPr lang="en-US" sz="1764">
                <a:solidFill>
                  <a:srgbClr val="FFFFFF"/>
                </a:solidFill>
                <a:latin typeface="Segoe UI"/>
              </a:endParaRPr>
            </a:p>
          </p:txBody>
        </p:sp>
        <p:sp>
          <p:nvSpPr>
            <p:cNvPr id="248" name="Rectangle 699"/>
            <p:cNvSpPr>
              <a:spLocks noChangeArrowheads="1"/>
            </p:cNvSpPr>
            <p:nvPr/>
          </p:nvSpPr>
          <p:spPr bwMode="auto">
            <a:xfrm>
              <a:off x="5130800" y="3500438"/>
              <a:ext cx="4763" cy="2698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29" tIns="44815" rIns="89629" bIns="44815" numCol="1" anchor="t" anchorCtr="0" compatLnSpc="1">
              <a:prstTxWarp prst="textNoShape">
                <a:avLst/>
              </a:prstTxWarp>
            </a:bodyPr>
            <a:lstStyle/>
            <a:p>
              <a:pPr defTabSz="914191">
                <a:defRPr/>
              </a:pPr>
              <a:endParaRPr lang="en-US" sz="1764">
                <a:solidFill>
                  <a:srgbClr val="FFFFFF"/>
                </a:solidFill>
                <a:latin typeface="Segoe UI"/>
              </a:endParaRPr>
            </a:p>
          </p:txBody>
        </p:sp>
        <p:sp>
          <p:nvSpPr>
            <p:cNvPr id="249" name="Rectangle 700"/>
            <p:cNvSpPr>
              <a:spLocks noChangeArrowheads="1"/>
            </p:cNvSpPr>
            <p:nvPr/>
          </p:nvSpPr>
          <p:spPr bwMode="auto">
            <a:xfrm>
              <a:off x="5140325" y="3500438"/>
              <a:ext cx="3175" cy="2698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29" tIns="44815" rIns="89629" bIns="44815" numCol="1" anchor="t" anchorCtr="0" compatLnSpc="1">
              <a:prstTxWarp prst="textNoShape">
                <a:avLst/>
              </a:prstTxWarp>
            </a:bodyPr>
            <a:lstStyle/>
            <a:p>
              <a:pPr defTabSz="914191">
                <a:defRPr/>
              </a:pPr>
              <a:endParaRPr lang="en-US" sz="1764">
                <a:solidFill>
                  <a:srgbClr val="FFFFFF"/>
                </a:solidFill>
                <a:latin typeface="Segoe UI"/>
              </a:endParaRPr>
            </a:p>
          </p:txBody>
        </p:sp>
        <p:sp>
          <p:nvSpPr>
            <p:cNvPr id="250" name="Rectangle 701"/>
            <p:cNvSpPr>
              <a:spLocks noChangeArrowheads="1"/>
            </p:cNvSpPr>
            <p:nvPr/>
          </p:nvSpPr>
          <p:spPr bwMode="auto">
            <a:xfrm>
              <a:off x="5148262" y="3500438"/>
              <a:ext cx="3175" cy="2698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29" tIns="44815" rIns="89629" bIns="44815" numCol="1" anchor="t" anchorCtr="0" compatLnSpc="1">
              <a:prstTxWarp prst="textNoShape">
                <a:avLst/>
              </a:prstTxWarp>
            </a:bodyPr>
            <a:lstStyle/>
            <a:p>
              <a:pPr defTabSz="914191">
                <a:defRPr/>
              </a:pPr>
              <a:endParaRPr lang="en-US" sz="1764">
                <a:solidFill>
                  <a:srgbClr val="FFFFFF"/>
                </a:solidFill>
                <a:latin typeface="Segoe UI"/>
              </a:endParaRPr>
            </a:p>
          </p:txBody>
        </p:sp>
        <p:sp>
          <p:nvSpPr>
            <p:cNvPr id="251" name="Rectangle 702"/>
            <p:cNvSpPr>
              <a:spLocks noChangeArrowheads="1"/>
            </p:cNvSpPr>
            <p:nvPr/>
          </p:nvSpPr>
          <p:spPr bwMode="auto">
            <a:xfrm>
              <a:off x="5156200" y="3500438"/>
              <a:ext cx="1588" cy="2698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29" tIns="44815" rIns="89629" bIns="44815" numCol="1" anchor="t" anchorCtr="0" compatLnSpc="1">
              <a:prstTxWarp prst="textNoShape">
                <a:avLst/>
              </a:prstTxWarp>
            </a:bodyPr>
            <a:lstStyle/>
            <a:p>
              <a:pPr defTabSz="914191">
                <a:defRPr/>
              </a:pPr>
              <a:endParaRPr lang="en-US" sz="1764">
                <a:solidFill>
                  <a:srgbClr val="FFFFFF"/>
                </a:solidFill>
                <a:latin typeface="Segoe UI"/>
              </a:endParaRPr>
            </a:p>
          </p:txBody>
        </p:sp>
        <p:sp>
          <p:nvSpPr>
            <p:cNvPr id="252" name="Freeform 703"/>
            <p:cNvSpPr>
              <a:spLocks/>
            </p:cNvSpPr>
            <p:nvPr/>
          </p:nvSpPr>
          <p:spPr bwMode="auto">
            <a:xfrm>
              <a:off x="5232400" y="3508376"/>
              <a:ext cx="11113" cy="9525"/>
            </a:xfrm>
            <a:custGeom>
              <a:avLst/>
              <a:gdLst>
                <a:gd name="T0" fmla="*/ 0 w 13"/>
                <a:gd name="T1" fmla="*/ 7 h 12"/>
                <a:gd name="T2" fmla="*/ 0 w 13"/>
                <a:gd name="T3" fmla="*/ 7 h 12"/>
                <a:gd name="T4" fmla="*/ 2 w 13"/>
                <a:gd name="T5" fmla="*/ 1 h 12"/>
                <a:gd name="T6" fmla="*/ 6 w 13"/>
                <a:gd name="T7" fmla="*/ 0 h 12"/>
                <a:gd name="T8" fmla="*/ 6 w 13"/>
                <a:gd name="T9" fmla="*/ 0 h 12"/>
                <a:gd name="T10" fmla="*/ 11 w 13"/>
                <a:gd name="T11" fmla="*/ 1 h 12"/>
                <a:gd name="T12" fmla="*/ 13 w 13"/>
                <a:gd name="T13" fmla="*/ 7 h 12"/>
                <a:gd name="T14" fmla="*/ 13 w 13"/>
                <a:gd name="T15" fmla="*/ 7 h 12"/>
                <a:gd name="T16" fmla="*/ 11 w 13"/>
                <a:gd name="T17" fmla="*/ 10 h 12"/>
                <a:gd name="T18" fmla="*/ 6 w 13"/>
                <a:gd name="T19" fmla="*/ 12 h 12"/>
                <a:gd name="T20" fmla="*/ 6 w 13"/>
                <a:gd name="T21" fmla="*/ 12 h 12"/>
                <a:gd name="T22" fmla="*/ 2 w 13"/>
                <a:gd name="T23" fmla="*/ 10 h 12"/>
                <a:gd name="T24" fmla="*/ 0 w 13"/>
                <a:gd name="T25" fmla="*/ 7 h 12"/>
                <a:gd name="T26" fmla="*/ 0 w 13"/>
                <a:gd name="T27" fmla="*/ 7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 h="12">
                  <a:moveTo>
                    <a:pt x="0" y="7"/>
                  </a:moveTo>
                  <a:lnTo>
                    <a:pt x="0" y="7"/>
                  </a:lnTo>
                  <a:lnTo>
                    <a:pt x="2" y="1"/>
                  </a:lnTo>
                  <a:lnTo>
                    <a:pt x="6" y="0"/>
                  </a:lnTo>
                  <a:lnTo>
                    <a:pt x="6" y="0"/>
                  </a:lnTo>
                  <a:lnTo>
                    <a:pt x="11" y="1"/>
                  </a:lnTo>
                  <a:lnTo>
                    <a:pt x="13" y="7"/>
                  </a:lnTo>
                  <a:lnTo>
                    <a:pt x="13" y="7"/>
                  </a:lnTo>
                  <a:lnTo>
                    <a:pt x="11" y="10"/>
                  </a:lnTo>
                  <a:lnTo>
                    <a:pt x="6" y="12"/>
                  </a:lnTo>
                  <a:lnTo>
                    <a:pt x="6" y="12"/>
                  </a:lnTo>
                  <a:lnTo>
                    <a:pt x="2" y="10"/>
                  </a:lnTo>
                  <a:lnTo>
                    <a:pt x="0" y="7"/>
                  </a:lnTo>
                  <a:lnTo>
                    <a:pt x="0" y="7"/>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914191">
                <a:defRPr/>
              </a:pPr>
              <a:endParaRPr lang="en-US" sz="1764">
                <a:solidFill>
                  <a:srgbClr val="FFFFFF"/>
                </a:solidFill>
                <a:latin typeface="Segoe UI"/>
              </a:endParaRPr>
            </a:p>
          </p:txBody>
        </p:sp>
        <p:sp>
          <p:nvSpPr>
            <p:cNvPr id="253" name="Rectangle 704"/>
            <p:cNvSpPr>
              <a:spLocks noChangeArrowheads="1"/>
            </p:cNvSpPr>
            <p:nvPr/>
          </p:nvSpPr>
          <p:spPr bwMode="auto">
            <a:xfrm>
              <a:off x="5108575" y="3541713"/>
              <a:ext cx="147638" cy="396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29" tIns="44815" rIns="89629" bIns="44815" numCol="1" anchor="t" anchorCtr="0" compatLnSpc="1">
              <a:prstTxWarp prst="textNoShape">
                <a:avLst/>
              </a:prstTxWarp>
            </a:bodyPr>
            <a:lstStyle/>
            <a:p>
              <a:pPr defTabSz="914191">
                <a:defRPr/>
              </a:pPr>
              <a:endParaRPr lang="en-US" sz="1764">
                <a:solidFill>
                  <a:srgbClr val="FFFFFF"/>
                </a:solidFill>
                <a:latin typeface="Segoe UI"/>
              </a:endParaRPr>
            </a:p>
          </p:txBody>
        </p:sp>
        <p:sp>
          <p:nvSpPr>
            <p:cNvPr id="254" name="Rectangle 705"/>
            <p:cNvSpPr>
              <a:spLocks noChangeArrowheads="1"/>
            </p:cNvSpPr>
            <p:nvPr/>
          </p:nvSpPr>
          <p:spPr bwMode="auto">
            <a:xfrm>
              <a:off x="5114925" y="3548063"/>
              <a:ext cx="3175" cy="2540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29" tIns="44815" rIns="89629" bIns="44815" numCol="1" anchor="t" anchorCtr="0" compatLnSpc="1">
              <a:prstTxWarp prst="textNoShape">
                <a:avLst/>
              </a:prstTxWarp>
            </a:bodyPr>
            <a:lstStyle/>
            <a:p>
              <a:pPr defTabSz="914191">
                <a:defRPr/>
              </a:pPr>
              <a:endParaRPr lang="en-US" sz="1764">
                <a:solidFill>
                  <a:srgbClr val="FFFFFF"/>
                </a:solidFill>
                <a:latin typeface="Segoe UI"/>
              </a:endParaRPr>
            </a:p>
          </p:txBody>
        </p:sp>
        <p:sp>
          <p:nvSpPr>
            <p:cNvPr id="255" name="Rectangle 706"/>
            <p:cNvSpPr>
              <a:spLocks noChangeArrowheads="1"/>
            </p:cNvSpPr>
            <p:nvPr/>
          </p:nvSpPr>
          <p:spPr bwMode="auto">
            <a:xfrm>
              <a:off x="5122862" y="3548063"/>
              <a:ext cx="4763" cy="2540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29" tIns="44815" rIns="89629" bIns="44815" numCol="1" anchor="t" anchorCtr="0" compatLnSpc="1">
              <a:prstTxWarp prst="textNoShape">
                <a:avLst/>
              </a:prstTxWarp>
            </a:bodyPr>
            <a:lstStyle/>
            <a:p>
              <a:pPr defTabSz="914191">
                <a:defRPr/>
              </a:pPr>
              <a:endParaRPr lang="en-US" sz="1764">
                <a:solidFill>
                  <a:srgbClr val="FFFFFF"/>
                </a:solidFill>
                <a:latin typeface="Segoe UI"/>
              </a:endParaRPr>
            </a:p>
          </p:txBody>
        </p:sp>
        <p:sp>
          <p:nvSpPr>
            <p:cNvPr id="256" name="Rectangle 707"/>
            <p:cNvSpPr>
              <a:spLocks noChangeArrowheads="1"/>
            </p:cNvSpPr>
            <p:nvPr/>
          </p:nvSpPr>
          <p:spPr bwMode="auto">
            <a:xfrm>
              <a:off x="5130800" y="3548063"/>
              <a:ext cx="4763" cy="2540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29" tIns="44815" rIns="89629" bIns="44815" numCol="1" anchor="t" anchorCtr="0" compatLnSpc="1">
              <a:prstTxWarp prst="textNoShape">
                <a:avLst/>
              </a:prstTxWarp>
            </a:bodyPr>
            <a:lstStyle/>
            <a:p>
              <a:pPr defTabSz="914191">
                <a:defRPr/>
              </a:pPr>
              <a:endParaRPr lang="en-US" sz="1764">
                <a:solidFill>
                  <a:srgbClr val="FFFFFF"/>
                </a:solidFill>
                <a:latin typeface="Segoe UI"/>
              </a:endParaRPr>
            </a:p>
          </p:txBody>
        </p:sp>
        <p:sp>
          <p:nvSpPr>
            <p:cNvPr id="257" name="Rectangle 708"/>
            <p:cNvSpPr>
              <a:spLocks noChangeArrowheads="1"/>
            </p:cNvSpPr>
            <p:nvPr/>
          </p:nvSpPr>
          <p:spPr bwMode="auto">
            <a:xfrm>
              <a:off x="5140325" y="3548063"/>
              <a:ext cx="3175" cy="2540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29" tIns="44815" rIns="89629" bIns="44815" numCol="1" anchor="t" anchorCtr="0" compatLnSpc="1">
              <a:prstTxWarp prst="textNoShape">
                <a:avLst/>
              </a:prstTxWarp>
            </a:bodyPr>
            <a:lstStyle/>
            <a:p>
              <a:pPr defTabSz="914191">
                <a:defRPr/>
              </a:pPr>
              <a:endParaRPr lang="en-US" sz="1764">
                <a:solidFill>
                  <a:srgbClr val="FFFFFF"/>
                </a:solidFill>
                <a:latin typeface="Segoe UI"/>
              </a:endParaRPr>
            </a:p>
          </p:txBody>
        </p:sp>
        <p:sp>
          <p:nvSpPr>
            <p:cNvPr id="258" name="Rectangle 709"/>
            <p:cNvSpPr>
              <a:spLocks noChangeArrowheads="1"/>
            </p:cNvSpPr>
            <p:nvPr/>
          </p:nvSpPr>
          <p:spPr bwMode="auto">
            <a:xfrm>
              <a:off x="5148262" y="3548063"/>
              <a:ext cx="3175" cy="2540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29" tIns="44815" rIns="89629" bIns="44815" numCol="1" anchor="t" anchorCtr="0" compatLnSpc="1">
              <a:prstTxWarp prst="textNoShape">
                <a:avLst/>
              </a:prstTxWarp>
            </a:bodyPr>
            <a:lstStyle/>
            <a:p>
              <a:pPr defTabSz="914191">
                <a:defRPr/>
              </a:pPr>
              <a:endParaRPr lang="en-US" sz="1764">
                <a:solidFill>
                  <a:srgbClr val="FFFFFF"/>
                </a:solidFill>
                <a:latin typeface="Segoe UI"/>
              </a:endParaRPr>
            </a:p>
          </p:txBody>
        </p:sp>
        <p:sp>
          <p:nvSpPr>
            <p:cNvPr id="259" name="Rectangle 710"/>
            <p:cNvSpPr>
              <a:spLocks noChangeArrowheads="1"/>
            </p:cNvSpPr>
            <p:nvPr/>
          </p:nvSpPr>
          <p:spPr bwMode="auto">
            <a:xfrm>
              <a:off x="5156200" y="3548063"/>
              <a:ext cx="1588" cy="2540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29" tIns="44815" rIns="89629" bIns="44815" numCol="1" anchor="t" anchorCtr="0" compatLnSpc="1">
              <a:prstTxWarp prst="textNoShape">
                <a:avLst/>
              </a:prstTxWarp>
            </a:bodyPr>
            <a:lstStyle/>
            <a:p>
              <a:pPr defTabSz="914191">
                <a:defRPr/>
              </a:pPr>
              <a:endParaRPr lang="en-US" sz="1764">
                <a:solidFill>
                  <a:srgbClr val="FFFFFF"/>
                </a:solidFill>
                <a:latin typeface="Segoe UI"/>
              </a:endParaRPr>
            </a:p>
          </p:txBody>
        </p:sp>
        <p:sp>
          <p:nvSpPr>
            <p:cNvPr id="260" name="Freeform 711"/>
            <p:cNvSpPr>
              <a:spLocks/>
            </p:cNvSpPr>
            <p:nvPr/>
          </p:nvSpPr>
          <p:spPr bwMode="auto">
            <a:xfrm>
              <a:off x="5232400" y="3557588"/>
              <a:ext cx="11113" cy="9525"/>
            </a:xfrm>
            <a:custGeom>
              <a:avLst/>
              <a:gdLst>
                <a:gd name="T0" fmla="*/ 0 w 13"/>
                <a:gd name="T1" fmla="*/ 5 h 10"/>
                <a:gd name="T2" fmla="*/ 0 w 13"/>
                <a:gd name="T3" fmla="*/ 5 h 10"/>
                <a:gd name="T4" fmla="*/ 2 w 13"/>
                <a:gd name="T5" fmla="*/ 1 h 10"/>
                <a:gd name="T6" fmla="*/ 6 w 13"/>
                <a:gd name="T7" fmla="*/ 0 h 10"/>
                <a:gd name="T8" fmla="*/ 6 w 13"/>
                <a:gd name="T9" fmla="*/ 0 h 10"/>
                <a:gd name="T10" fmla="*/ 11 w 13"/>
                <a:gd name="T11" fmla="*/ 1 h 10"/>
                <a:gd name="T12" fmla="*/ 13 w 13"/>
                <a:gd name="T13" fmla="*/ 5 h 10"/>
                <a:gd name="T14" fmla="*/ 13 w 13"/>
                <a:gd name="T15" fmla="*/ 5 h 10"/>
                <a:gd name="T16" fmla="*/ 11 w 13"/>
                <a:gd name="T17" fmla="*/ 9 h 10"/>
                <a:gd name="T18" fmla="*/ 6 w 13"/>
                <a:gd name="T19" fmla="*/ 10 h 10"/>
                <a:gd name="T20" fmla="*/ 6 w 13"/>
                <a:gd name="T21" fmla="*/ 10 h 10"/>
                <a:gd name="T22" fmla="*/ 2 w 13"/>
                <a:gd name="T23" fmla="*/ 9 h 10"/>
                <a:gd name="T24" fmla="*/ 0 w 13"/>
                <a:gd name="T25" fmla="*/ 5 h 10"/>
                <a:gd name="T26" fmla="*/ 0 w 13"/>
                <a:gd name="T27" fmla="*/ 5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 h="10">
                  <a:moveTo>
                    <a:pt x="0" y="5"/>
                  </a:moveTo>
                  <a:lnTo>
                    <a:pt x="0" y="5"/>
                  </a:lnTo>
                  <a:lnTo>
                    <a:pt x="2" y="1"/>
                  </a:lnTo>
                  <a:lnTo>
                    <a:pt x="6" y="0"/>
                  </a:lnTo>
                  <a:lnTo>
                    <a:pt x="6" y="0"/>
                  </a:lnTo>
                  <a:lnTo>
                    <a:pt x="11" y="1"/>
                  </a:lnTo>
                  <a:lnTo>
                    <a:pt x="13" y="5"/>
                  </a:lnTo>
                  <a:lnTo>
                    <a:pt x="13" y="5"/>
                  </a:lnTo>
                  <a:lnTo>
                    <a:pt x="11" y="9"/>
                  </a:lnTo>
                  <a:lnTo>
                    <a:pt x="6" y="10"/>
                  </a:lnTo>
                  <a:lnTo>
                    <a:pt x="6" y="10"/>
                  </a:lnTo>
                  <a:lnTo>
                    <a:pt x="2" y="9"/>
                  </a:lnTo>
                  <a:lnTo>
                    <a:pt x="0" y="5"/>
                  </a:lnTo>
                  <a:lnTo>
                    <a:pt x="0" y="5"/>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914191">
                <a:defRPr/>
              </a:pPr>
              <a:endParaRPr lang="en-US" sz="1764">
                <a:solidFill>
                  <a:srgbClr val="FFFFFF"/>
                </a:solidFill>
                <a:latin typeface="Segoe UI"/>
              </a:endParaRPr>
            </a:p>
          </p:txBody>
        </p:sp>
        <p:sp>
          <p:nvSpPr>
            <p:cNvPr id="261" name="Rectangle 712"/>
            <p:cNvSpPr>
              <a:spLocks noChangeArrowheads="1"/>
            </p:cNvSpPr>
            <p:nvPr/>
          </p:nvSpPr>
          <p:spPr bwMode="auto">
            <a:xfrm>
              <a:off x="5108575" y="3592513"/>
              <a:ext cx="147638" cy="3651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29" tIns="44815" rIns="89629" bIns="44815" numCol="1" anchor="t" anchorCtr="0" compatLnSpc="1">
              <a:prstTxWarp prst="textNoShape">
                <a:avLst/>
              </a:prstTxWarp>
            </a:bodyPr>
            <a:lstStyle/>
            <a:p>
              <a:pPr defTabSz="914191">
                <a:defRPr/>
              </a:pPr>
              <a:endParaRPr lang="en-US" sz="1764">
                <a:solidFill>
                  <a:srgbClr val="FFFFFF"/>
                </a:solidFill>
                <a:latin typeface="Segoe UI"/>
              </a:endParaRPr>
            </a:p>
          </p:txBody>
        </p:sp>
        <p:sp>
          <p:nvSpPr>
            <p:cNvPr id="262" name="Rectangle 713"/>
            <p:cNvSpPr>
              <a:spLocks noChangeArrowheads="1"/>
            </p:cNvSpPr>
            <p:nvPr/>
          </p:nvSpPr>
          <p:spPr bwMode="auto">
            <a:xfrm>
              <a:off x="5114925" y="3597276"/>
              <a:ext cx="3175" cy="2381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29" tIns="44815" rIns="89629" bIns="44815" numCol="1" anchor="t" anchorCtr="0" compatLnSpc="1">
              <a:prstTxWarp prst="textNoShape">
                <a:avLst/>
              </a:prstTxWarp>
            </a:bodyPr>
            <a:lstStyle/>
            <a:p>
              <a:pPr defTabSz="914191">
                <a:defRPr/>
              </a:pPr>
              <a:endParaRPr lang="en-US" sz="1764">
                <a:solidFill>
                  <a:srgbClr val="FFFFFF"/>
                </a:solidFill>
                <a:latin typeface="Segoe UI"/>
              </a:endParaRPr>
            </a:p>
          </p:txBody>
        </p:sp>
        <p:sp>
          <p:nvSpPr>
            <p:cNvPr id="263" name="Rectangle 714"/>
            <p:cNvSpPr>
              <a:spLocks noChangeArrowheads="1"/>
            </p:cNvSpPr>
            <p:nvPr/>
          </p:nvSpPr>
          <p:spPr bwMode="auto">
            <a:xfrm>
              <a:off x="5122862" y="3597276"/>
              <a:ext cx="4763" cy="2381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29" tIns="44815" rIns="89629" bIns="44815" numCol="1" anchor="t" anchorCtr="0" compatLnSpc="1">
              <a:prstTxWarp prst="textNoShape">
                <a:avLst/>
              </a:prstTxWarp>
            </a:bodyPr>
            <a:lstStyle/>
            <a:p>
              <a:pPr defTabSz="914191">
                <a:defRPr/>
              </a:pPr>
              <a:endParaRPr lang="en-US" sz="1764">
                <a:solidFill>
                  <a:srgbClr val="FFFFFF"/>
                </a:solidFill>
                <a:latin typeface="Segoe UI"/>
              </a:endParaRPr>
            </a:p>
          </p:txBody>
        </p:sp>
        <p:sp>
          <p:nvSpPr>
            <p:cNvPr id="264" name="Rectangle 715"/>
            <p:cNvSpPr>
              <a:spLocks noChangeArrowheads="1"/>
            </p:cNvSpPr>
            <p:nvPr/>
          </p:nvSpPr>
          <p:spPr bwMode="auto">
            <a:xfrm>
              <a:off x="5130800" y="3597276"/>
              <a:ext cx="4763" cy="2381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29" tIns="44815" rIns="89629" bIns="44815" numCol="1" anchor="t" anchorCtr="0" compatLnSpc="1">
              <a:prstTxWarp prst="textNoShape">
                <a:avLst/>
              </a:prstTxWarp>
            </a:bodyPr>
            <a:lstStyle/>
            <a:p>
              <a:pPr defTabSz="914191">
                <a:defRPr/>
              </a:pPr>
              <a:endParaRPr lang="en-US" sz="1764">
                <a:solidFill>
                  <a:srgbClr val="FFFFFF"/>
                </a:solidFill>
                <a:latin typeface="Segoe UI"/>
              </a:endParaRPr>
            </a:p>
          </p:txBody>
        </p:sp>
        <p:sp>
          <p:nvSpPr>
            <p:cNvPr id="265" name="Rectangle 716"/>
            <p:cNvSpPr>
              <a:spLocks noChangeArrowheads="1"/>
            </p:cNvSpPr>
            <p:nvPr/>
          </p:nvSpPr>
          <p:spPr bwMode="auto">
            <a:xfrm>
              <a:off x="5140325" y="3597276"/>
              <a:ext cx="3175" cy="2381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29" tIns="44815" rIns="89629" bIns="44815" numCol="1" anchor="t" anchorCtr="0" compatLnSpc="1">
              <a:prstTxWarp prst="textNoShape">
                <a:avLst/>
              </a:prstTxWarp>
            </a:bodyPr>
            <a:lstStyle/>
            <a:p>
              <a:pPr defTabSz="914191">
                <a:defRPr/>
              </a:pPr>
              <a:endParaRPr lang="en-US" sz="1764">
                <a:solidFill>
                  <a:srgbClr val="FFFFFF"/>
                </a:solidFill>
                <a:latin typeface="Segoe UI"/>
              </a:endParaRPr>
            </a:p>
          </p:txBody>
        </p:sp>
        <p:sp>
          <p:nvSpPr>
            <p:cNvPr id="266" name="Rectangle 717"/>
            <p:cNvSpPr>
              <a:spLocks noChangeArrowheads="1"/>
            </p:cNvSpPr>
            <p:nvPr/>
          </p:nvSpPr>
          <p:spPr bwMode="auto">
            <a:xfrm>
              <a:off x="5148262" y="3597276"/>
              <a:ext cx="3175" cy="2381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29" tIns="44815" rIns="89629" bIns="44815" numCol="1" anchor="t" anchorCtr="0" compatLnSpc="1">
              <a:prstTxWarp prst="textNoShape">
                <a:avLst/>
              </a:prstTxWarp>
            </a:bodyPr>
            <a:lstStyle/>
            <a:p>
              <a:pPr defTabSz="914191">
                <a:defRPr/>
              </a:pPr>
              <a:endParaRPr lang="en-US" sz="1764">
                <a:solidFill>
                  <a:srgbClr val="FFFFFF"/>
                </a:solidFill>
                <a:latin typeface="Segoe UI"/>
              </a:endParaRPr>
            </a:p>
          </p:txBody>
        </p:sp>
        <p:sp>
          <p:nvSpPr>
            <p:cNvPr id="267" name="Rectangle 718"/>
            <p:cNvSpPr>
              <a:spLocks noChangeArrowheads="1"/>
            </p:cNvSpPr>
            <p:nvPr/>
          </p:nvSpPr>
          <p:spPr bwMode="auto">
            <a:xfrm>
              <a:off x="5156200" y="3597276"/>
              <a:ext cx="1588" cy="2381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29" tIns="44815" rIns="89629" bIns="44815" numCol="1" anchor="t" anchorCtr="0" compatLnSpc="1">
              <a:prstTxWarp prst="textNoShape">
                <a:avLst/>
              </a:prstTxWarp>
            </a:bodyPr>
            <a:lstStyle/>
            <a:p>
              <a:pPr defTabSz="914191">
                <a:defRPr/>
              </a:pPr>
              <a:endParaRPr lang="en-US" sz="1764">
                <a:solidFill>
                  <a:srgbClr val="FFFFFF"/>
                </a:solidFill>
                <a:latin typeface="Segoe UI"/>
              </a:endParaRPr>
            </a:p>
          </p:txBody>
        </p:sp>
        <p:sp>
          <p:nvSpPr>
            <p:cNvPr id="268" name="Freeform 719"/>
            <p:cNvSpPr>
              <a:spLocks/>
            </p:cNvSpPr>
            <p:nvPr/>
          </p:nvSpPr>
          <p:spPr bwMode="auto">
            <a:xfrm>
              <a:off x="5232400" y="3605213"/>
              <a:ext cx="11113" cy="6350"/>
            </a:xfrm>
            <a:custGeom>
              <a:avLst/>
              <a:gdLst>
                <a:gd name="T0" fmla="*/ 0 w 13"/>
                <a:gd name="T1" fmla="*/ 5 h 9"/>
                <a:gd name="T2" fmla="*/ 0 w 13"/>
                <a:gd name="T3" fmla="*/ 5 h 9"/>
                <a:gd name="T4" fmla="*/ 2 w 13"/>
                <a:gd name="T5" fmla="*/ 2 h 9"/>
                <a:gd name="T6" fmla="*/ 6 w 13"/>
                <a:gd name="T7" fmla="*/ 0 h 9"/>
                <a:gd name="T8" fmla="*/ 6 w 13"/>
                <a:gd name="T9" fmla="*/ 0 h 9"/>
                <a:gd name="T10" fmla="*/ 11 w 13"/>
                <a:gd name="T11" fmla="*/ 2 h 9"/>
                <a:gd name="T12" fmla="*/ 13 w 13"/>
                <a:gd name="T13" fmla="*/ 5 h 9"/>
                <a:gd name="T14" fmla="*/ 13 w 13"/>
                <a:gd name="T15" fmla="*/ 5 h 9"/>
                <a:gd name="T16" fmla="*/ 11 w 13"/>
                <a:gd name="T17" fmla="*/ 7 h 9"/>
                <a:gd name="T18" fmla="*/ 6 w 13"/>
                <a:gd name="T19" fmla="*/ 9 h 9"/>
                <a:gd name="T20" fmla="*/ 6 w 13"/>
                <a:gd name="T21" fmla="*/ 9 h 9"/>
                <a:gd name="T22" fmla="*/ 2 w 13"/>
                <a:gd name="T23" fmla="*/ 7 h 9"/>
                <a:gd name="T24" fmla="*/ 0 w 13"/>
                <a:gd name="T25" fmla="*/ 5 h 9"/>
                <a:gd name="T26" fmla="*/ 0 w 13"/>
                <a:gd name="T27" fmla="*/ 5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 h="9">
                  <a:moveTo>
                    <a:pt x="0" y="5"/>
                  </a:moveTo>
                  <a:lnTo>
                    <a:pt x="0" y="5"/>
                  </a:lnTo>
                  <a:lnTo>
                    <a:pt x="2" y="2"/>
                  </a:lnTo>
                  <a:lnTo>
                    <a:pt x="6" y="0"/>
                  </a:lnTo>
                  <a:lnTo>
                    <a:pt x="6" y="0"/>
                  </a:lnTo>
                  <a:lnTo>
                    <a:pt x="11" y="2"/>
                  </a:lnTo>
                  <a:lnTo>
                    <a:pt x="13" y="5"/>
                  </a:lnTo>
                  <a:lnTo>
                    <a:pt x="13" y="5"/>
                  </a:lnTo>
                  <a:lnTo>
                    <a:pt x="11" y="7"/>
                  </a:lnTo>
                  <a:lnTo>
                    <a:pt x="6" y="9"/>
                  </a:lnTo>
                  <a:lnTo>
                    <a:pt x="6" y="9"/>
                  </a:lnTo>
                  <a:lnTo>
                    <a:pt x="2" y="7"/>
                  </a:lnTo>
                  <a:lnTo>
                    <a:pt x="0" y="5"/>
                  </a:lnTo>
                  <a:lnTo>
                    <a:pt x="0" y="5"/>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914191">
                <a:defRPr/>
              </a:pPr>
              <a:endParaRPr lang="en-US" sz="1764">
                <a:solidFill>
                  <a:srgbClr val="FFFFFF"/>
                </a:solidFill>
                <a:latin typeface="Segoe UI"/>
              </a:endParaRPr>
            </a:p>
          </p:txBody>
        </p:sp>
        <p:sp>
          <p:nvSpPr>
            <p:cNvPr id="269" name="Rectangle 720"/>
            <p:cNvSpPr>
              <a:spLocks noChangeArrowheads="1"/>
            </p:cNvSpPr>
            <p:nvPr/>
          </p:nvSpPr>
          <p:spPr bwMode="auto">
            <a:xfrm>
              <a:off x="5108575" y="3638551"/>
              <a:ext cx="147638" cy="3810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29" tIns="44815" rIns="89629" bIns="44815" numCol="1" anchor="t" anchorCtr="0" compatLnSpc="1">
              <a:prstTxWarp prst="textNoShape">
                <a:avLst/>
              </a:prstTxWarp>
            </a:bodyPr>
            <a:lstStyle/>
            <a:p>
              <a:pPr defTabSz="914191">
                <a:defRPr/>
              </a:pPr>
              <a:endParaRPr lang="en-US" sz="1764">
                <a:solidFill>
                  <a:srgbClr val="FFFFFF"/>
                </a:solidFill>
                <a:latin typeface="Segoe UI"/>
              </a:endParaRPr>
            </a:p>
          </p:txBody>
        </p:sp>
        <p:sp>
          <p:nvSpPr>
            <p:cNvPr id="270" name="Rectangle 721"/>
            <p:cNvSpPr>
              <a:spLocks noChangeArrowheads="1"/>
            </p:cNvSpPr>
            <p:nvPr/>
          </p:nvSpPr>
          <p:spPr bwMode="auto">
            <a:xfrm>
              <a:off x="5114925" y="3643313"/>
              <a:ext cx="3175" cy="2540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29" tIns="44815" rIns="89629" bIns="44815" numCol="1" anchor="t" anchorCtr="0" compatLnSpc="1">
              <a:prstTxWarp prst="textNoShape">
                <a:avLst/>
              </a:prstTxWarp>
            </a:bodyPr>
            <a:lstStyle/>
            <a:p>
              <a:pPr defTabSz="914191">
                <a:defRPr/>
              </a:pPr>
              <a:endParaRPr lang="en-US" sz="1764">
                <a:solidFill>
                  <a:srgbClr val="FFFFFF"/>
                </a:solidFill>
                <a:latin typeface="Segoe UI"/>
              </a:endParaRPr>
            </a:p>
          </p:txBody>
        </p:sp>
        <p:sp>
          <p:nvSpPr>
            <p:cNvPr id="271" name="Rectangle 722"/>
            <p:cNvSpPr>
              <a:spLocks noChangeArrowheads="1"/>
            </p:cNvSpPr>
            <p:nvPr/>
          </p:nvSpPr>
          <p:spPr bwMode="auto">
            <a:xfrm>
              <a:off x="5122862" y="3643313"/>
              <a:ext cx="4763" cy="2540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29" tIns="44815" rIns="89629" bIns="44815" numCol="1" anchor="t" anchorCtr="0" compatLnSpc="1">
              <a:prstTxWarp prst="textNoShape">
                <a:avLst/>
              </a:prstTxWarp>
            </a:bodyPr>
            <a:lstStyle/>
            <a:p>
              <a:pPr defTabSz="914191">
                <a:defRPr/>
              </a:pPr>
              <a:endParaRPr lang="en-US" sz="1764">
                <a:solidFill>
                  <a:srgbClr val="FFFFFF"/>
                </a:solidFill>
                <a:latin typeface="Segoe UI"/>
              </a:endParaRPr>
            </a:p>
          </p:txBody>
        </p:sp>
        <p:sp>
          <p:nvSpPr>
            <p:cNvPr id="272" name="Rectangle 723"/>
            <p:cNvSpPr>
              <a:spLocks noChangeArrowheads="1"/>
            </p:cNvSpPr>
            <p:nvPr/>
          </p:nvSpPr>
          <p:spPr bwMode="auto">
            <a:xfrm>
              <a:off x="5130800" y="3643313"/>
              <a:ext cx="4763" cy="2540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29" tIns="44815" rIns="89629" bIns="44815" numCol="1" anchor="t" anchorCtr="0" compatLnSpc="1">
              <a:prstTxWarp prst="textNoShape">
                <a:avLst/>
              </a:prstTxWarp>
            </a:bodyPr>
            <a:lstStyle/>
            <a:p>
              <a:pPr defTabSz="914191">
                <a:defRPr/>
              </a:pPr>
              <a:endParaRPr lang="en-US" sz="1764">
                <a:solidFill>
                  <a:srgbClr val="FFFFFF"/>
                </a:solidFill>
                <a:latin typeface="Segoe UI"/>
              </a:endParaRPr>
            </a:p>
          </p:txBody>
        </p:sp>
        <p:sp>
          <p:nvSpPr>
            <p:cNvPr id="273" name="Rectangle 724"/>
            <p:cNvSpPr>
              <a:spLocks noChangeArrowheads="1"/>
            </p:cNvSpPr>
            <p:nvPr/>
          </p:nvSpPr>
          <p:spPr bwMode="auto">
            <a:xfrm>
              <a:off x="5140325" y="3643313"/>
              <a:ext cx="3175" cy="2540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29" tIns="44815" rIns="89629" bIns="44815" numCol="1" anchor="t" anchorCtr="0" compatLnSpc="1">
              <a:prstTxWarp prst="textNoShape">
                <a:avLst/>
              </a:prstTxWarp>
            </a:bodyPr>
            <a:lstStyle/>
            <a:p>
              <a:pPr defTabSz="914191">
                <a:defRPr/>
              </a:pPr>
              <a:endParaRPr lang="en-US" sz="1764">
                <a:solidFill>
                  <a:srgbClr val="FFFFFF"/>
                </a:solidFill>
                <a:latin typeface="Segoe UI"/>
              </a:endParaRPr>
            </a:p>
          </p:txBody>
        </p:sp>
        <p:sp>
          <p:nvSpPr>
            <p:cNvPr id="274" name="Rectangle 725"/>
            <p:cNvSpPr>
              <a:spLocks noChangeArrowheads="1"/>
            </p:cNvSpPr>
            <p:nvPr/>
          </p:nvSpPr>
          <p:spPr bwMode="auto">
            <a:xfrm>
              <a:off x="5148262" y="3643313"/>
              <a:ext cx="3175" cy="2540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29" tIns="44815" rIns="89629" bIns="44815" numCol="1" anchor="t" anchorCtr="0" compatLnSpc="1">
              <a:prstTxWarp prst="textNoShape">
                <a:avLst/>
              </a:prstTxWarp>
            </a:bodyPr>
            <a:lstStyle/>
            <a:p>
              <a:pPr defTabSz="914191">
                <a:defRPr/>
              </a:pPr>
              <a:endParaRPr lang="en-US" sz="1764">
                <a:solidFill>
                  <a:srgbClr val="FFFFFF"/>
                </a:solidFill>
                <a:latin typeface="Segoe UI"/>
              </a:endParaRPr>
            </a:p>
          </p:txBody>
        </p:sp>
        <p:sp>
          <p:nvSpPr>
            <p:cNvPr id="275" name="Rectangle 726"/>
            <p:cNvSpPr>
              <a:spLocks noChangeArrowheads="1"/>
            </p:cNvSpPr>
            <p:nvPr/>
          </p:nvSpPr>
          <p:spPr bwMode="auto">
            <a:xfrm>
              <a:off x="5156200" y="3643313"/>
              <a:ext cx="1588" cy="2540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29" tIns="44815" rIns="89629" bIns="44815" numCol="1" anchor="t" anchorCtr="0" compatLnSpc="1">
              <a:prstTxWarp prst="textNoShape">
                <a:avLst/>
              </a:prstTxWarp>
            </a:bodyPr>
            <a:lstStyle/>
            <a:p>
              <a:pPr defTabSz="914191">
                <a:defRPr/>
              </a:pPr>
              <a:endParaRPr lang="en-US" sz="1764">
                <a:solidFill>
                  <a:srgbClr val="FFFFFF"/>
                </a:solidFill>
                <a:latin typeface="Segoe UI"/>
              </a:endParaRPr>
            </a:p>
          </p:txBody>
        </p:sp>
        <p:sp>
          <p:nvSpPr>
            <p:cNvPr id="276" name="Freeform 727"/>
            <p:cNvSpPr>
              <a:spLocks/>
            </p:cNvSpPr>
            <p:nvPr/>
          </p:nvSpPr>
          <p:spPr bwMode="auto">
            <a:xfrm>
              <a:off x="5232400" y="3652838"/>
              <a:ext cx="11113" cy="9525"/>
            </a:xfrm>
            <a:custGeom>
              <a:avLst/>
              <a:gdLst>
                <a:gd name="T0" fmla="*/ 0 w 13"/>
                <a:gd name="T1" fmla="*/ 6 h 13"/>
                <a:gd name="T2" fmla="*/ 0 w 13"/>
                <a:gd name="T3" fmla="*/ 6 h 13"/>
                <a:gd name="T4" fmla="*/ 2 w 13"/>
                <a:gd name="T5" fmla="*/ 2 h 13"/>
                <a:gd name="T6" fmla="*/ 6 w 13"/>
                <a:gd name="T7" fmla="*/ 0 h 13"/>
                <a:gd name="T8" fmla="*/ 6 w 13"/>
                <a:gd name="T9" fmla="*/ 0 h 13"/>
                <a:gd name="T10" fmla="*/ 11 w 13"/>
                <a:gd name="T11" fmla="*/ 2 h 13"/>
                <a:gd name="T12" fmla="*/ 13 w 13"/>
                <a:gd name="T13" fmla="*/ 6 h 13"/>
                <a:gd name="T14" fmla="*/ 13 w 13"/>
                <a:gd name="T15" fmla="*/ 6 h 13"/>
                <a:gd name="T16" fmla="*/ 11 w 13"/>
                <a:gd name="T17" fmla="*/ 11 h 13"/>
                <a:gd name="T18" fmla="*/ 6 w 13"/>
                <a:gd name="T19" fmla="*/ 13 h 13"/>
                <a:gd name="T20" fmla="*/ 6 w 13"/>
                <a:gd name="T21" fmla="*/ 13 h 13"/>
                <a:gd name="T22" fmla="*/ 2 w 13"/>
                <a:gd name="T23" fmla="*/ 11 h 13"/>
                <a:gd name="T24" fmla="*/ 0 w 13"/>
                <a:gd name="T25" fmla="*/ 6 h 13"/>
                <a:gd name="T26" fmla="*/ 0 w 13"/>
                <a:gd name="T27" fmla="*/ 6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 h="13">
                  <a:moveTo>
                    <a:pt x="0" y="6"/>
                  </a:moveTo>
                  <a:lnTo>
                    <a:pt x="0" y="6"/>
                  </a:lnTo>
                  <a:lnTo>
                    <a:pt x="2" y="2"/>
                  </a:lnTo>
                  <a:lnTo>
                    <a:pt x="6" y="0"/>
                  </a:lnTo>
                  <a:lnTo>
                    <a:pt x="6" y="0"/>
                  </a:lnTo>
                  <a:lnTo>
                    <a:pt x="11" y="2"/>
                  </a:lnTo>
                  <a:lnTo>
                    <a:pt x="13" y="6"/>
                  </a:lnTo>
                  <a:lnTo>
                    <a:pt x="13" y="6"/>
                  </a:lnTo>
                  <a:lnTo>
                    <a:pt x="11" y="11"/>
                  </a:lnTo>
                  <a:lnTo>
                    <a:pt x="6" y="13"/>
                  </a:lnTo>
                  <a:lnTo>
                    <a:pt x="6" y="13"/>
                  </a:lnTo>
                  <a:lnTo>
                    <a:pt x="2" y="11"/>
                  </a:lnTo>
                  <a:lnTo>
                    <a:pt x="0" y="6"/>
                  </a:lnTo>
                  <a:lnTo>
                    <a:pt x="0" y="6"/>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914191">
                <a:defRPr/>
              </a:pPr>
              <a:endParaRPr lang="en-US" sz="1764">
                <a:solidFill>
                  <a:srgbClr val="FFFFFF"/>
                </a:solidFill>
                <a:latin typeface="Segoe UI"/>
              </a:endParaRPr>
            </a:p>
          </p:txBody>
        </p:sp>
        <p:sp>
          <p:nvSpPr>
            <p:cNvPr id="277" name="Rectangle 728"/>
            <p:cNvSpPr>
              <a:spLocks noChangeArrowheads="1"/>
            </p:cNvSpPr>
            <p:nvPr/>
          </p:nvSpPr>
          <p:spPr bwMode="auto">
            <a:xfrm>
              <a:off x="5108575" y="3686176"/>
              <a:ext cx="147638" cy="3810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29" tIns="44815" rIns="89629" bIns="44815" numCol="1" anchor="t" anchorCtr="0" compatLnSpc="1">
              <a:prstTxWarp prst="textNoShape">
                <a:avLst/>
              </a:prstTxWarp>
            </a:bodyPr>
            <a:lstStyle/>
            <a:p>
              <a:pPr defTabSz="914191">
                <a:defRPr/>
              </a:pPr>
              <a:endParaRPr lang="en-US" sz="1764">
                <a:solidFill>
                  <a:srgbClr val="FFFFFF"/>
                </a:solidFill>
                <a:latin typeface="Segoe UI"/>
              </a:endParaRPr>
            </a:p>
          </p:txBody>
        </p:sp>
        <p:sp>
          <p:nvSpPr>
            <p:cNvPr id="278" name="Rectangle 729"/>
            <p:cNvSpPr>
              <a:spLocks noChangeArrowheads="1"/>
            </p:cNvSpPr>
            <p:nvPr/>
          </p:nvSpPr>
          <p:spPr bwMode="auto">
            <a:xfrm>
              <a:off x="5114925" y="3692526"/>
              <a:ext cx="3175" cy="2540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29" tIns="44815" rIns="89629" bIns="44815" numCol="1" anchor="t" anchorCtr="0" compatLnSpc="1">
              <a:prstTxWarp prst="textNoShape">
                <a:avLst/>
              </a:prstTxWarp>
            </a:bodyPr>
            <a:lstStyle/>
            <a:p>
              <a:pPr defTabSz="914191">
                <a:defRPr/>
              </a:pPr>
              <a:endParaRPr lang="en-US" sz="1764">
                <a:solidFill>
                  <a:srgbClr val="FFFFFF"/>
                </a:solidFill>
                <a:latin typeface="Segoe UI"/>
              </a:endParaRPr>
            </a:p>
          </p:txBody>
        </p:sp>
        <p:sp>
          <p:nvSpPr>
            <p:cNvPr id="279" name="Rectangle 730"/>
            <p:cNvSpPr>
              <a:spLocks noChangeArrowheads="1"/>
            </p:cNvSpPr>
            <p:nvPr/>
          </p:nvSpPr>
          <p:spPr bwMode="auto">
            <a:xfrm>
              <a:off x="5122862" y="3692526"/>
              <a:ext cx="4763" cy="2540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29" tIns="44815" rIns="89629" bIns="44815" numCol="1" anchor="t" anchorCtr="0" compatLnSpc="1">
              <a:prstTxWarp prst="textNoShape">
                <a:avLst/>
              </a:prstTxWarp>
            </a:bodyPr>
            <a:lstStyle/>
            <a:p>
              <a:pPr defTabSz="914191">
                <a:defRPr/>
              </a:pPr>
              <a:endParaRPr lang="en-US" sz="1764">
                <a:solidFill>
                  <a:srgbClr val="FFFFFF"/>
                </a:solidFill>
                <a:latin typeface="Segoe UI"/>
              </a:endParaRPr>
            </a:p>
          </p:txBody>
        </p:sp>
        <p:sp>
          <p:nvSpPr>
            <p:cNvPr id="280" name="Rectangle 731"/>
            <p:cNvSpPr>
              <a:spLocks noChangeArrowheads="1"/>
            </p:cNvSpPr>
            <p:nvPr/>
          </p:nvSpPr>
          <p:spPr bwMode="auto">
            <a:xfrm>
              <a:off x="5130800" y="3692526"/>
              <a:ext cx="4763" cy="2540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29" tIns="44815" rIns="89629" bIns="44815" numCol="1" anchor="t" anchorCtr="0" compatLnSpc="1">
              <a:prstTxWarp prst="textNoShape">
                <a:avLst/>
              </a:prstTxWarp>
            </a:bodyPr>
            <a:lstStyle/>
            <a:p>
              <a:pPr defTabSz="914191">
                <a:defRPr/>
              </a:pPr>
              <a:endParaRPr lang="en-US" sz="1764">
                <a:solidFill>
                  <a:srgbClr val="FFFFFF"/>
                </a:solidFill>
                <a:latin typeface="Segoe UI"/>
              </a:endParaRPr>
            </a:p>
          </p:txBody>
        </p:sp>
        <p:sp>
          <p:nvSpPr>
            <p:cNvPr id="281" name="Rectangle 732"/>
            <p:cNvSpPr>
              <a:spLocks noChangeArrowheads="1"/>
            </p:cNvSpPr>
            <p:nvPr/>
          </p:nvSpPr>
          <p:spPr bwMode="auto">
            <a:xfrm>
              <a:off x="5140325" y="3692526"/>
              <a:ext cx="3175" cy="2540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29" tIns="44815" rIns="89629" bIns="44815" numCol="1" anchor="t" anchorCtr="0" compatLnSpc="1">
              <a:prstTxWarp prst="textNoShape">
                <a:avLst/>
              </a:prstTxWarp>
            </a:bodyPr>
            <a:lstStyle/>
            <a:p>
              <a:pPr defTabSz="914191">
                <a:defRPr/>
              </a:pPr>
              <a:endParaRPr lang="en-US" sz="1764">
                <a:solidFill>
                  <a:srgbClr val="FFFFFF"/>
                </a:solidFill>
                <a:latin typeface="Segoe UI"/>
              </a:endParaRPr>
            </a:p>
          </p:txBody>
        </p:sp>
        <p:sp>
          <p:nvSpPr>
            <p:cNvPr id="282" name="Rectangle 733"/>
            <p:cNvSpPr>
              <a:spLocks noChangeArrowheads="1"/>
            </p:cNvSpPr>
            <p:nvPr/>
          </p:nvSpPr>
          <p:spPr bwMode="auto">
            <a:xfrm>
              <a:off x="5148262" y="3692526"/>
              <a:ext cx="3175" cy="2540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29" tIns="44815" rIns="89629" bIns="44815" numCol="1" anchor="t" anchorCtr="0" compatLnSpc="1">
              <a:prstTxWarp prst="textNoShape">
                <a:avLst/>
              </a:prstTxWarp>
            </a:bodyPr>
            <a:lstStyle/>
            <a:p>
              <a:pPr defTabSz="914191">
                <a:defRPr/>
              </a:pPr>
              <a:endParaRPr lang="en-US" sz="1764">
                <a:solidFill>
                  <a:srgbClr val="FFFFFF"/>
                </a:solidFill>
                <a:latin typeface="Segoe UI"/>
              </a:endParaRPr>
            </a:p>
          </p:txBody>
        </p:sp>
        <p:sp>
          <p:nvSpPr>
            <p:cNvPr id="283" name="Rectangle 734"/>
            <p:cNvSpPr>
              <a:spLocks noChangeArrowheads="1"/>
            </p:cNvSpPr>
            <p:nvPr/>
          </p:nvSpPr>
          <p:spPr bwMode="auto">
            <a:xfrm>
              <a:off x="5156200" y="3692526"/>
              <a:ext cx="1588" cy="2540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29" tIns="44815" rIns="89629" bIns="44815" numCol="1" anchor="t" anchorCtr="0" compatLnSpc="1">
              <a:prstTxWarp prst="textNoShape">
                <a:avLst/>
              </a:prstTxWarp>
            </a:bodyPr>
            <a:lstStyle/>
            <a:p>
              <a:pPr defTabSz="914191">
                <a:defRPr/>
              </a:pPr>
              <a:endParaRPr lang="en-US" sz="1764">
                <a:solidFill>
                  <a:srgbClr val="FFFFFF"/>
                </a:solidFill>
                <a:latin typeface="Segoe UI"/>
              </a:endParaRPr>
            </a:p>
          </p:txBody>
        </p:sp>
        <p:sp>
          <p:nvSpPr>
            <p:cNvPr id="284" name="Freeform 735"/>
            <p:cNvSpPr>
              <a:spLocks/>
            </p:cNvSpPr>
            <p:nvPr/>
          </p:nvSpPr>
          <p:spPr bwMode="auto">
            <a:xfrm>
              <a:off x="5232400" y="3700463"/>
              <a:ext cx="11113" cy="9525"/>
            </a:xfrm>
            <a:custGeom>
              <a:avLst/>
              <a:gdLst>
                <a:gd name="T0" fmla="*/ 0 w 13"/>
                <a:gd name="T1" fmla="*/ 6 h 11"/>
                <a:gd name="T2" fmla="*/ 0 w 13"/>
                <a:gd name="T3" fmla="*/ 6 h 11"/>
                <a:gd name="T4" fmla="*/ 2 w 13"/>
                <a:gd name="T5" fmla="*/ 2 h 11"/>
                <a:gd name="T6" fmla="*/ 6 w 13"/>
                <a:gd name="T7" fmla="*/ 0 h 11"/>
                <a:gd name="T8" fmla="*/ 6 w 13"/>
                <a:gd name="T9" fmla="*/ 0 h 11"/>
                <a:gd name="T10" fmla="*/ 11 w 13"/>
                <a:gd name="T11" fmla="*/ 2 h 11"/>
                <a:gd name="T12" fmla="*/ 13 w 13"/>
                <a:gd name="T13" fmla="*/ 6 h 11"/>
                <a:gd name="T14" fmla="*/ 13 w 13"/>
                <a:gd name="T15" fmla="*/ 6 h 11"/>
                <a:gd name="T16" fmla="*/ 11 w 13"/>
                <a:gd name="T17" fmla="*/ 9 h 11"/>
                <a:gd name="T18" fmla="*/ 6 w 13"/>
                <a:gd name="T19" fmla="*/ 11 h 11"/>
                <a:gd name="T20" fmla="*/ 6 w 13"/>
                <a:gd name="T21" fmla="*/ 11 h 11"/>
                <a:gd name="T22" fmla="*/ 2 w 13"/>
                <a:gd name="T23" fmla="*/ 9 h 11"/>
                <a:gd name="T24" fmla="*/ 0 w 13"/>
                <a:gd name="T25" fmla="*/ 6 h 11"/>
                <a:gd name="T26" fmla="*/ 0 w 13"/>
                <a:gd name="T27" fmla="*/ 6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 h="11">
                  <a:moveTo>
                    <a:pt x="0" y="6"/>
                  </a:moveTo>
                  <a:lnTo>
                    <a:pt x="0" y="6"/>
                  </a:lnTo>
                  <a:lnTo>
                    <a:pt x="2" y="2"/>
                  </a:lnTo>
                  <a:lnTo>
                    <a:pt x="6" y="0"/>
                  </a:lnTo>
                  <a:lnTo>
                    <a:pt x="6" y="0"/>
                  </a:lnTo>
                  <a:lnTo>
                    <a:pt x="11" y="2"/>
                  </a:lnTo>
                  <a:lnTo>
                    <a:pt x="13" y="6"/>
                  </a:lnTo>
                  <a:lnTo>
                    <a:pt x="13" y="6"/>
                  </a:lnTo>
                  <a:lnTo>
                    <a:pt x="11" y="9"/>
                  </a:lnTo>
                  <a:lnTo>
                    <a:pt x="6" y="11"/>
                  </a:lnTo>
                  <a:lnTo>
                    <a:pt x="6" y="11"/>
                  </a:lnTo>
                  <a:lnTo>
                    <a:pt x="2" y="9"/>
                  </a:lnTo>
                  <a:lnTo>
                    <a:pt x="0" y="6"/>
                  </a:lnTo>
                  <a:lnTo>
                    <a:pt x="0" y="6"/>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914191">
                <a:defRPr/>
              </a:pPr>
              <a:endParaRPr lang="en-US" sz="1764">
                <a:solidFill>
                  <a:srgbClr val="FFFFFF"/>
                </a:solidFill>
                <a:latin typeface="Segoe UI"/>
              </a:endParaRPr>
            </a:p>
          </p:txBody>
        </p:sp>
      </p:grpSp>
    </p:spTree>
    <p:extLst>
      <p:ext uri="{BB962C8B-B14F-4D97-AF65-F5344CB8AC3E}">
        <p14:creationId xmlns:p14="http://schemas.microsoft.com/office/powerpoint/2010/main" val="2348081335"/>
      </p:ext>
    </p:extLst>
  </p:cSld>
  <p:clrMapOvr>
    <a:masterClrMapping/>
  </p:clrMapOvr>
  <p:transition>
    <p:fade/>
  </p:transition>
</p:sld>
</file>

<file path=ppt/slides/slide11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366168" y="1212851"/>
            <a:ext cx="11370425" cy="4505849"/>
          </a:xfrm>
        </p:spPr>
        <p:txBody>
          <a:bodyPr/>
          <a:lstStyle/>
          <a:p>
            <a:r>
              <a:rPr lang="en-US" dirty="0"/>
              <a:t>We will continue to support Web/Worker Roles on ASM</a:t>
            </a:r>
          </a:p>
          <a:p>
            <a:r>
              <a:rPr lang="en-US" dirty="0"/>
              <a:t>Web/Worker Roles will co-exist with ARM resources</a:t>
            </a:r>
          </a:p>
          <a:p>
            <a:r>
              <a:rPr lang="en-US" dirty="0"/>
              <a:t>We will continue to expand new services (VM Scale </a:t>
            </a:r>
            <a:br>
              <a:rPr lang="en-US" dirty="0"/>
            </a:br>
            <a:r>
              <a:rPr lang="en-US" dirty="0"/>
              <a:t>Sets and Service Fabric) to fill the requirements of Web/Worker roles</a:t>
            </a:r>
          </a:p>
          <a:p>
            <a:r>
              <a:rPr lang="en-US" dirty="0"/>
              <a:t>For customers who want to leverage new functionality in ARM based PaaS options, we’ll provide transition assistance</a:t>
            </a:r>
          </a:p>
        </p:txBody>
      </p:sp>
      <p:sp>
        <p:nvSpPr>
          <p:cNvPr id="3" name="Title 2"/>
          <p:cNvSpPr>
            <a:spLocks noGrp="1"/>
          </p:cNvSpPr>
          <p:nvPr>
            <p:ph type="title"/>
          </p:nvPr>
        </p:nvSpPr>
        <p:spPr/>
        <p:txBody>
          <a:bodyPr/>
          <a:lstStyle/>
          <a:p>
            <a:r>
              <a:rPr lang="en-US" dirty="0"/>
              <a:t>Web/Worker roles roadmap</a:t>
            </a:r>
          </a:p>
        </p:txBody>
      </p:sp>
    </p:spTree>
    <p:extLst>
      <p:ext uri="{BB962C8B-B14F-4D97-AF65-F5344CB8AC3E}">
        <p14:creationId xmlns:p14="http://schemas.microsoft.com/office/powerpoint/2010/main" val="30158171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1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Title 4"/>
          <p:cNvSpPr>
            <a:spLocks noGrp="1"/>
          </p:cNvSpPr>
          <p:nvPr>
            <p:ph type="title"/>
          </p:nvPr>
        </p:nvSpPr>
        <p:spPr>
          <a:xfrm>
            <a:off x="366169" y="295278"/>
            <a:ext cx="11702551" cy="917575"/>
          </a:xfrm>
        </p:spPr>
        <p:txBody>
          <a:bodyPr/>
          <a:lstStyle/>
          <a:p>
            <a:r>
              <a:rPr lang="en-US" dirty="0"/>
              <a:t>Compute – Key decision points</a:t>
            </a:r>
          </a:p>
        </p:txBody>
      </p:sp>
      <p:graphicFrame>
        <p:nvGraphicFramePr>
          <p:cNvPr id="3" name="Table 2"/>
          <p:cNvGraphicFramePr>
            <a:graphicFrameLocks noGrp="1"/>
          </p:cNvGraphicFramePr>
          <p:nvPr>
            <p:extLst>
              <p:ext uri="{D42A27DB-BD31-4B8C-83A1-F6EECF244321}">
                <p14:modId xmlns:p14="http://schemas.microsoft.com/office/powerpoint/2010/main" val="2629267795"/>
              </p:ext>
            </p:extLst>
          </p:nvPr>
        </p:nvGraphicFramePr>
        <p:xfrm>
          <a:off x="502444" y="1266757"/>
          <a:ext cx="11658942" cy="4390290"/>
        </p:xfrm>
        <a:graphic>
          <a:graphicData uri="http://schemas.openxmlformats.org/drawingml/2006/table">
            <a:tbl>
              <a:tblPr firstRow="1" bandRow="1">
                <a:tableStyleId>{F2DE63D5-997A-4646-A377-4702673A728D}</a:tableStyleId>
              </a:tblPr>
              <a:tblGrid>
                <a:gridCol w="2914735">
                  <a:extLst>
                    <a:ext uri="{9D8B030D-6E8A-4147-A177-3AD203B41FA5}">
                      <a16:colId xmlns:a16="http://schemas.microsoft.com/office/drawing/2014/main" val="3323723136"/>
                    </a:ext>
                  </a:extLst>
                </a:gridCol>
                <a:gridCol w="2104255">
                  <a:extLst>
                    <a:ext uri="{9D8B030D-6E8A-4147-A177-3AD203B41FA5}">
                      <a16:colId xmlns:a16="http://schemas.microsoft.com/office/drawing/2014/main" val="3937888222"/>
                    </a:ext>
                  </a:extLst>
                </a:gridCol>
                <a:gridCol w="2461222">
                  <a:extLst>
                    <a:ext uri="{9D8B030D-6E8A-4147-A177-3AD203B41FA5}">
                      <a16:colId xmlns:a16="http://schemas.microsoft.com/office/drawing/2014/main" val="1410519535"/>
                    </a:ext>
                  </a:extLst>
                </a:gridCol>
                <a:gridCol w="4178730">
                  <a:extLst>
                    <a:ext uri="{9D8B030D-6E8A-4147-A177-3AD203B41FA5}">
                      <a16:colId xmlns:a16="http://schemas.microsoft.com/office/drawing/2014/main" val="3764866363"/>
                    </a:ext>
                  </a:extLst>
                </a:gridCol>
              </a:tblGrid>
              <a:tr h="823179">
                <a:tc>
                  <a:txBody>
                    <a:bodyPr/>
                    <a:lstStyle/>
                    <a:p>
                      <a:r>
                        <a:rPr lang="en-US" sz="2400" b="0" i="0" dirty="0">
                          <a:latin typeface="Segoe UI Semibold" panose="020B0702040204020203" pitchFamily="34" charset="0"/>
                          <a:cs typeface="Segoe UI Semibold" panose="020B0702040204020203" pitchFamily="34" charset="0"/>
                        </a:rPr>
                        <a:t>Service name</a:t>
                      </a:r>
                    </a:p>
                  </a:txBody>
                  <a:tcPr marL="91464" marR="91464" marT="45732" marB="45732">
                    <a:solidFill>
                      <a:schemeClr val="accent1"/>
                    </a:solidFill>
                  </a:tcPr>
                </a:tc>
                <a:tc>
                  <a:txBody>
                    <a:bodyPr/>
                    <a:lstStyle/>
                    <a:p>
                      <a:r>
                        <a:rPr lang="en-US" sz="2400" b="0" i="0" dirty="0">
                          <a:latin typeface="Segoe UI Semibold" panose="020B0702040204020203" pitchFamily="34" charset="0"/>
                          <a:cs typeface="Segoe UI Semibold" panose="020B0702040204020203" pitchFamily="34" charset="0"/>
                        </a:rPr>
                        <a:t>Management</a:t>
                      </a:r>
                    </a:p>
                  </a:txBody>
                  <a:tcPr marL="91464" marR="91464" marT="45732" marB="45732">
                    <a:solidFill>
                      <a:schemeClr val="accent1"/>
                    </a:solidFill>
                  </a:tcPr>
                </a:tc>
                <a:tc>
                  <a:txBody>
                    <a:bodyPr/>
                    <a:lstStyle/>
                    <a:p>
                      <a:r>
                        <a:rPr lang="en-US" sz="2400" b="0" i="0" dirty="0">
                          <a:latin typeface="Segoe UI Semibold" panose="020B0702040204020203" pitchFamily="34" charset="0"/>
                          <a:cs typeface="Segoe UI Semibold" panose="020B0702040204020203" pitchFamily="34" charset="0"/>
                        </a:rPr>
                        <a:t>Peering (public, private, both)</a:t>
                      </a:r>
                    </a:p>
                  </a:txBody>
                  <a:tcPr marL="91464" marR="91464" marT="45732" marB="45732">
                    <a:solidFill>
                      <a:schemeClr val="accent1"/>
                    </a:solidFill>
                  </a:tcPr>
                </a:tc>
                <a:tc>
                  <a:txBody>
                    <a:bodyPr/>
                    <a:lstStyle/>
                    <a:p>
                      <a:r>
                        <a:rPr lang="en-US" sz="2400" b="0" i="0" dirty="0">
                          <a:latin typeface="Segoe UI Semibold" panose="020B0702040204020203" pitchFamily="34" charset="0"/>
                          <a:cs typeface="Segoe UI Semibold" panose="020B0702040204020203" pitchFamily="34" charset="0"/>
                        </a:rPr>
                        <a:t>Connectivity options</a:t>
                      </a:r>
                    </a:p>
                    <a:p>
                      <a:r>
                        <a:rPr lang="en-US" sz="2400" b="0" i="0" dirty="0">
                          <a:latin typeface="Segoe UI Semibold" panose="020B0702040204020203" pitchFamily="34" charset="0"/>
                          <a:cs typeface="Segoe UI Semibold" panose="020B0702040204020203" pitchFamily="34" charset="0"/>
                        </a:rPr>
                        <a:t>(To on-</a:t>
                      </a:r>
                      <a:r>
                        <a:rPr lang="en-US" sz="2400" b="0" i="0" dirty="0" err="1">
                          <a:latin typeface="Segoe UI Semibold" panose="020B0702040204020203" pitchFamily="34" charset="0"/>
                          <a:cs typeface="Segoe UI Semibold" panose="020B0702040204020203" pitchFamily="34" charset="0"/>
                        </a:rPr>
                        <a:t>prem</a:t>
                      </a:r>
                      <a:r>
                        <a:rPr lang="en-US" sz="2400" b="0" i="0" dirty="0">
                          <a:latin typeface="Segoe UI Semibold" panose="020B0702040204020203" pitchFamily="34" charset="0"/>
                          <a:cs typeface="Segoe UI Semibold" panose="020B0702040204020203" pitchFamily="34" charset="0"/>
                        </a:rPr>
                        <a:t> resources)</a:t>
                      </a:r>
                    </a:p>
                  </a:txBody>
                  <a:tcPr marL="91464" marR="91464" marT="45732" marB="45732">
                    <a:solidFill>
                      <a:schemeClr val="accent1"/>
                    </a:solidFill>
                  </a:tcPr>
                </a:tc>
                <a:extLst>
                  <a:ext uri="{0D108BD9-81ED-4DB2-BD59-A6C34878D82A}">
                    <a16:rowId xmlns:a16="http://schemas.microsoft.com/office/drawing/2014/main" val="3157971493"/>
                  </a:ext>
                </a:extLst>
              </a:tr>
              <a:tr h="457322">
                <a:tc>
                  <a:txBody>
                    <a:bodyPr/>
                    <a:lstStyle/>
                    <a:p>
                      <a:r>
                        <a:rPr lang="en-US" sz="2400" b="0" i="0" dirty="0">
                          <a:latin typeface="Segoe UI Semibold" panose="020B0702040204020203" pitchFamily="34" charset="0"/>
                          <a:cs typeface="Segoe UI Semibold" panose="020B0702040204020203" pitchFamily="34" charset="0"/>
                        </a:rPr>
                        <a:t>Virtual Machines</a:t>
                      </a:r>
                    </a:p>
                  </a:txBody>
                  <a:tcPr marL="91464" marR="91464" marT="45732" marB="45732"/>
                </a:tc>
                <a:tc>
                  <a:txBody>
                    <a:bodyPr/>
                    <a:lstStyle/>
                    <a:p>
                      <a:r>
                        <a:rPr lang="en-US" sz="2400" dirty="0"/>
                        <a:t>ARM</a:t>
                      </a:r>
                    </a:p>
                  </a:txBody>
                  <a:tcPr marL="91464" marR="91464" marT="45732" marB="45732"/>
                </a:tc>
                <a:tc>
                  <a:txBody>
                    <a:bodyPr/>
                    <a:lstStyle/>
                    <a:p>
                      <a:r>
                        <a:rPr lang="en-US" sz="2400" dirty="0"/>
                        <a:t>Both</a:t>
                      </a:r>
                    </a:p>
                  </a:txBody>
                  <a:tcPr marL="91464" marR="91464" marT="45732" marB="45732"/>
                </a:tc>
                <a:tc>
                  <a:txBody>
                    <a:bodyPr/>
                    <a:lstStyle/>
                    <a:p>
                      <a:pPr marL="0" marR="0" lvl="0" indent="0" algn="l" defTabSz="768113" rtl="0" eaLnBrk="1" fontAlgn="auto" latinLnBrk="0" hangingPunct="1">
                        <a:lnSpc>
                          <a:spcPct val="100000"/>
                        </a:lnSpc>
                        <a:spcBef>
                          <a:spcPts val="0"/>
                        </a:spcBef>
                        <a:spcAft>
                          <a:spcPts val="0"/>
                        </a:spcAft>
                        <a:buClrTx/>
                        <a:buSzTx/>
                        <a:buFontTx/>
                        <a:buNone/>
                        <a:tabLst/>
                        <a:defRPr/>
                      </a:pPr>
                      <a:r>
                        <a:rPr lang="en-US" sz="2400" dirty="0" err="1"/>
                        <a:t>VNet</a:t>
                      </a:r>
                      <a:r>
                        <a:rPr lang="en-US" sz="2400" dirty="0"/>
                        <a:t>(S2S, ER), Relay</a:t>
                      </a:r>
                    </a:p>
                  </a:txBody>
                  <a:tcPr marL="91464" marR="91464" marT="45732" marB="45732"/>
                </a:tc>
                <a:extLst>
                  <a:ext uri="{0D108BD9-81ED-4DB2-BD59-A6C34878D82A}">
                    <a16:rowId xmlns:a16="http://schemas.microsoft.com/office/drawing/2014/main" val="4133688658"/>
                  </a:ext>
                </a:extLst>
              </a:tr>
              <a:tr h="457322">
                <a:tc>
                  <a:txBody>
                    <a:bodyPr/>
                    <a:lstStyle/>
                    <a:p>
                      <a:r>
                        <a:rPr lang="en-US" sz="2400" b="0" i="0" dirty="0">
                          <a:latin typeface="Segoe UI Semibold" panose="020B0702040204020203" pitchFamily="34" charset="0"/>
                          <a:cs typeface="Segoe UI Semibold" panose="020B0702040204020203" pitchFamily="34" charset="0"/>
                        </a:rPr>
                        <a:t>VM</a:t>
                      </a:r>
                      <a:r>
                        <a:rPr lang="en-US" sz="2400" b="0" i="0" baseline="0" dirty="0">
                          <a:latin typeface="Segoe UI Semibold" panose="020B0702040204020203" pitchFamily="34" charset="0"/>
                          <a:cs typeface="Segoe UI Semibold" panose="020B0702040204020203" pitchFamily="34" charset="0"/>
                        </a:rPr>
                        <a:t> Scale Sets</a:t>
                      </a:r>
                      <a:endParaRPr lang="en-US" sz="2400" b="0" i="0" dirty="0">
                        <a:latin typeface="Segoe UI Semibold" panose="020B0702040204020203" pitchFamily="34" charset="0"/>
                        <a:cs typeface="Segoe UI Semibold" panose="020B0702040204020203" pitchFamily="34" charset="0"/>
                      </a:endParaRPr>
                    </a:p>
                  </a:txBody>
                  <a:tcPr marL="91464" marR="91464" marT="45732" marB="45732"/>
                </a:tc>
                <a:tc>
                  <a:txBody>
                    <a:bodyPr/>
                    <a:lstStyle/>
                    <a:p>
                      <a:r>
                        <a:rPr lang="en-US" sz="2400" dirty="0"/>
                        <a:t>ARM</a:t>
                      </a:r>
                    </a:p>
                  </a:txBody>
                  <a:tcPr marL="91464" marR="91464" marT="45732" marB="45732"/>
                </a:tc>
                <a:tc>
                  <a:txBody>
                    <a:bodyPr/>
                    <a:lstStyle/>
                    <a:p>
                      <a:r>
                        <a:rPr lang="en-US" sz="2400" dirty="0"/>
                        <a:t>Both</a:t>
                      </a:r>
                    </a:p>
                  </a:txBody>
                  <a:tcPr marL="91464" marR="91464" marT="45732" marB="45732"/>
                </a:tc>
                <a:tc>
                  <a:txBody>
                    <a:bodyPr/>
                    <a:lstStyle/>
                    <a:p>
                      <a:r>
                        <a:rPr lang="en-US" sz="2400" dirty="0" err="1"/>
                        <a:t>VNet</a:t>
                      </a:r>
                      <a:r>
                        <a:rPr lang="en-US" sz="2400" dirty="0"/>
                        <a:t>(S2S, ER), Relay</a:t>
                      </a:r>
                    </a:p>
                  </a:txBody>
                  <a:tcPr marL="91464" marR="91464" marT="45732" marB="45732"/>
                </a:tc>
                <a:extLst>
                  <a:ext uri="{0D108BD9-81ED-4DB2-BD59-A6C34878D82A}">
                    <a16:rowId xmlns:a16="http://schemas.microsoft.com/office/drawing/2014/main" val="1987288546"/>
                  </a:ext>
                </a:extLst>
              </a:tr>
              <a:tr h="823179">
                <a:tc>
                  <a:txBody>
                    <a:bodyPr/>
                    <a:lstStyle/>
                    <a:p>
                      <a:r>
                        <a:rPr lang="en-US" sz="2400" b="0" i="0" dirty="0">
                          <a:latin typeface="Segoe UI Semibold" panose="020B0702040204020203" pitchFamily="34" charset="0"/>
                          <a:cs typeface="Segoe UI Semibold" panose="020B0702040204020203" pitchFamily="34" charset="0"/>
                        </a:rPr>
                        <a:t>Cloud Services</a:t>
                      </a:r>
                    </a:p>
                    <a:p>
                      <a:r>
                        <a:rPr lang="en-US" sz="2400" b="0" i="0" dirty="0">
                          <a:latin typeface="Segoe UI Semibold" panose="020B0702040204020203" pitchFamily="34" charset="0"/>
                          <a:cs typeface="Segoe UI Semibold" panose="020B0702040204020203" pitchFamily="34" charset="0"/>
                        </a:rPr>
                        <a:t>(Web/Worker)</a:t>
                      </a:r>
                    </a:p>
                  </a:txBody>
                  <a:tcPr marL="91464" marR="91464" marT="45732" marB="45732"/>
                </a:tc>
                <a:tc>
                  <a:txBody>
                    <a:bodyPr/>
                    <a:lstStyle/>
                    <a:p>
                      <a:r>
                        <a:rPr lang="en-US" sz="2400" b="1" dirty="0">
                          <a:solidFill>
                            <a:srgbClr val="FF0000"/>
                          </a:solidFill>
                        </a:rPr>
                        <a:t>ASM</a:t>
                      </a:r>
                    </a:p>
                  </a:txBody>
                  <a:tcPr marL="91464" marR="91464" marT="45732" marB="45732"/>
                </a:tc>
                <a:tc>
                  <a:txBody>
                    <a:bodyPr/>
                    <a:lstStyle/>
                    <a:p>
                      <a:r>
                        <a:rPr lang="en-US" sz="2400" dirty="0"/>
                        <a:t>Both</a:t>
                      </a:r>
                    </a:p>
                  </a:txBody>
                  <a:tcPr marL="91464" marR="91464" marT="45732" marB="45732"/>
                </a:tc>
                <a:tc>
                  <a:txBody>
                    <a:bodyPr/>
                    <a:lstStyle/>
                    <a:p>
                      <a:pPr marL="0" marR="0" lvl="0" indent="0" algn="l" defTabSz="768113" rtl="0" eaLnBrk="1" fontAlgn="auto" latinLnBrk="0" hangingPunct="1">
                        <a:lnSpc>
                          <a:spcPct val="100000"/>
                        </a:lnSpc>
                        <a:spcBef>
                          <a:spcPts val="0"/>
                        </a:spcBef>
                        <a:spcAft>
                          <a:spcPts val="0"/>
                        </a:spcAft>
                        <a:buClrTx/>
                        <a:buSzTx/>
                        <a:buFontTx/>
                        <a:buNone/>
                        <a:tabLst/>
                        <a:defRPr/>
                      </a:pPr>
                      <a:r>
                        <a:rPr lang="en-US" sz="2400" dirty="0" err="1"/>
                        <a:t>VNet</a:t>
                      </a:r>
                      <a:r>
                        <a:rPr lang="en-US" sz="2400" dirty="0"/>
                        <a:t>(S2S, ER), Relay</a:t>
                      </a:r>
                    </a:p>
                    <a:p>
                      <a:endParaRPr lang="en-US" sz="2400" dirty="0"/>
                    </a:p>
                  </a:txBody>
                  <a:tcPr marL="91464" marR="91464" marT="45732" marB="45732"/>
                </a:tc>
                <a:extLst>
                  <a:ext uri="{0D108BD9-81ED-4DB2-BD59-A6C34878D82A}">
                    <a16:rowId xmlns:a16="http://schemas.microsoft.com/office/drawing/2014/main" val="1094197510"/>
                  </a:ext>
                </a:extLst>
              </a:tr>
              <a:tr h="457322">
                <a:tc>
                  <a:txBody>
                    <a:bodyPr/>
                    <a:lstStyle/>
                    <a:p>
                      <a:r>
                        <a:rPr lang="en-US" sz="2400" b="0" i="0" dirty="0">
                          <a:latin typeface="Segoe UI Semibold" panose="020B0702040204020203" pitchFamily="34" charset="0"/>
                          <a:cs typeface="Segoe UI Semibold" panose="020B0702040204020203" pitchFamily="34" charset="0"/>
                        </a:rPr>
                        <a:t>Batch</a:t>
                      </a:r>
                    </a:p>
                  </a:txBody>
                  <a:tcPr marL="91464" marR="91464" marT="45732" marB="45732"/>
                </a:tc>
                <a:tc>
                  <a:txBody>
                    <a:bodyPr/>
                    <a:lstStyle/>
                    <a:p>
                      <a:r>
                        <a:rPr lang="en-US" sz="2400" dirty="0"/>
                        <a:t>ARM</a:t>
                      </a:r>
                    </a:p>
                  </a:txBody>
                  <a:tcPr marL="91464" marR="91464" marT="45732" marB="45732"/>
                </a:tc>
                <a:tc>
                  <a:txBody>
                    <a:bodyPr/>
                    <a:lstStyle/>
                    <a:p>
                      <a:r>
                        <a:rPr lang="en-US" sz="2400" dirty="0"/>
                        <a:t>-</a:t>
                      </a:r>
                    </a:p>
                  </a:txBody>
                  <a:tcPr marL="91464" marR="91464" marT="45732" marB="45732"/>
                </a:tc>
                <a:tc>
                  <a:txBody>
                    <a:bodyPr/>
                    <a:lstStyle/>
                    <a:p>
                      <a:r>
                        <a:rPr lang="en-US" sz="2400" dirty="0"/>
                        <a:t>Relay</a:t>
                      </a:r>
                    </a:p>
                  </a:txBody>
                  <a:tcPr marL="91464" marR="91464" marT="45732" marB="45732"/>
                </a:tc>
                <a:extLst>
                  <a:ext uri="{0D108BD9-81ED-4DB2-BD59-A6C34878D82A}">
                    <a16:rowId xmlns:a16="http://schemas.microsoft.com/office/drawing/2014/main" val="2747725307"/>
                  </a:ext>
                </a:extLst>
              </a:tr>
              <a:tr h="457322">
                <a:tc>
                  <a:txBody>
                    <a:bodyPr/>
                    <a:lstStyle/>
                    <a:p>
                      <a:r>
                        <a:rPr lang="en-US" sz="2400" b="0" i="0" dirty="0">
                          <a:latin typeface="Segoe UI Semibold" panose="020B0702040204020203" pitchFamily="34" charset="0"/>
                          <a:cs typeface="Segoe UI Semibold" panose="020B0702040204020203" pitchFamily="34" charset="0"/>
                        </a:rPr>
                        <a:t>Remote App</a:t>
                      </a:r>
                      <a:r>
                        <a:rPr lang="en-US" sz="2400" b="0" i="0" baseline="30000" dirty="0">
                          <a:latin typeface="Segoe UI Semibold" panose="020B0702040204020203" pitchFamily="34" charset="0"/>
                          <a:cs typeface="Segoe UI Semibold" panose="020B0702040204020203" pitchFamily="34" charset="0"/>
                        </a:rPr>
                        <a:t>1</a:t>
                      </a:r>
                    </a:p>
                  </a:txBody>
                  <a:tcPr marL="91464" marR="91464" marT="45732" marB="45732"/>
                </a:tc>
                <a:tc>
                  <a:txBody>
                    <a:bodyPr/>
                    <a:lstStyle/>
                    <a:p>
                      <a:r>
                        <a:rPr lang="en-US" sz="2400" b="1" dirty="0">
                          <a:solidFill>
                            <a:srgbClr val="FF0000"/>
                          </a:solidFill>
                        </a:rPr>
                        <a:t>ASM</a:t>
                      </a:r>
                    </a:p>
                  </a:txBody>
                  <a:tcPr marL="91464" marR="91464" marT="45732" marB="45732"/>
                </a:tc>
                <a:tc>
                  <a:txBody>
                    <a:bodyPr/>
                    <a:lstStyle/>
                    <a:p>
                      <a:r>
                        <a:rPr lang="en-US" sz="2400" dirty="0"/>
                        <a:t>Public</a:t>
                      </a:r>
                    </a:p>
                  </a:txBody>
                  <a:tcPr marL="91464" marR="91464" marT="45732" marB="45732"/>
                </a:tc>
                <a:tc>
                  <a:txBody>
                    <a:bodyPr/>
                    <a:lstStyle/>
                    <a:p>
                      <a:r>
                        <a:rPr lang="en-US" sz="2400" dirty="0" err="1"/>
                        <a:t>VNet</a:t>
                      </a:r>
                      <a:r>
                        <a:rPr lang="en-US" sz="2400" dirty="0"/>
                        <a:t>(S2S, ER), Relay</a:t>
                      </a:r>
                    </a:p>
                  </a:txBody>
                  <a:tcPr marL="91464" marR="91464" marT="45732" marB="45732"/>
                </a:tc>
                <a:extLst>
                  <a:ext uri="{0D108BD9-81ED-4DB2-BD59-A6C34878D82A}">
                    <a16:rowId xmlns:a16="http://schemas.microsoft.com/office/drawing/2014/main" val="4183746000"/>
                  </a:ext>
                </a:extLst>
              </a:tr>
              <a:tr h="457322">
                <a:tc>
                  <a:txBody>
                    <a:bodyPr/>
                    <a:lstStyle/>
                    <a:p>
                      <a:r>
                        <a:rPr lang="en-US" sz="2400" b="0" i="0" dirty="0">
                          <a:latin typeface="Segoe UI Semibold" panose="020B0702040204020203" pitchFamily="34" charset="0"/>
                          <a:cs typeface="Segoe UI Semibold" panose="020B0702040204020203" pitchFamily="34" charset="0"/>
                        </a:rPr>
                        <a:t>Service Fabric</a:t>
                      </a:r>
                    </a:p>
                  </a:txBody>
                  <a:tcPr marL="91464" marR="91464" marT="45732" marB="45732"/>
                </a:tc>
                <a:tc>
                  <a:txBody>
                    <a:bodyPr/>
                    <a:lstStyle/>
                    <a:p>
                      <a:r>
                        <a:rPr lang="en-US" sz="2400" dirty="0"/>
                        <a:t>ARM</a:t>
                      </a:r>
                    </a:p>
                  </a:txBody>
                  <a:tcPr marL="91464" marR="91464" marT="45732" marB="45732"/>
                </a:tc>
                <a:tc>
                  <a:txBody>
                    <a:bodyPr/>
                    <a:lstStyle/>
                    <a:p>
                      <a:r>
                        <a:rPr lang="en-US" sz="2400" dirty="0"/>
                        <a:t>Both</a:t>
                      </a:r>
                    </a:p>
                  </a:txBody>
                  <a:tcPr marL="91464" marR="91464" marT="45732" marB="45732"/>
                </a:tc>
                <a:tc>
                  <a:txBody>
                    <a:bodyPr/>
                    <a:lstStyle/>
                    <a:p>
                      <a:r>
                        <a:rPr lang="en-US" sz="2400" dirty="0" err="1"/>
                        <a:t>VNet</a:t>
                      </a:r>
                      <a:r>
                        <a:rPr lang="en-US" sz="2400" dirty="0"/>
                        <a:t>(S2S, ER), Relay</a:t>
                      </a:r>
                    </a:p>
                  </a:txBody>
                  <a:tcPr marL="91464" marR="91464" marT="45732" marB="45732"/>
                </a:tc>
                <a:extLst>
                  <a:ext uri="{0D108BD9-81ED-4DB2-BD59-A6C34878D82A}">
                    <a16:rowId xmlns:a16="http://schemas.microsoft.com/office/drawing/2014/main" val="1616361047"/>
                  </a:ext>
                </a:extLst>
              </a:tr>
              <a:tr h="457322">
                <a:tc>
                  <a:txBody>
                    <a:bodyPr/>
                    <a:lstStyle/>
                    <a:p>
                      <a:r>
                        <a:rPr lang="en-US" sz="2400" b="0" i="0" dirty="0">
                          <a:latin typeface="Segoe UI Semibold" panose="020B0702040204020203" pitchFamily="34" charset="0"/>
                          <a:cs typeface="Segoe UI Semibold" panose="020B0702040204020203" pitchFamily="34" charset="0"/>
                        </a:rPr>
                        <a:t>Container Service</a:t>
                      </a:r>
                    </a:p>
                  </a:txBody>
                  <a:tcPr marL="91464" marR="91464" marT="45732" marB="45732"/>
                </a:tc>
                <a:tc>
                  <a:txBody>
                    <a:bodyPr/>
                    <a:lstStyle/>
                    <a:p>
                      <a:r>
                        <a:rPr lang="en-US" sz="2400" dirty="0"/>
                        <a:t>ARM</a:t>
                      </a:r>
                    </a:p>
                  </a:txBody>
                  <a:tcPr marL="91464" marR="91464" marT="45732" marB="45732"/>
                </a:tc>
                <a:tc>
                  <a:txBody>
                    <a:bodyPr/>
                    <a:lstStyle/>
                    <a:p>
                      <a:r>
                        <a:rPr lang="en-US" sz="2400" dirty="0"/>
                        <a:t>Both</a:t>
                      </a:r>
                    </a:p>
                  </a:txBody>
                  <a:tcPr marL="91464" marR="91464" marT="45732" marB="45732"/>
                </a:tc>
                <a:tc>
                  <a:txBody>
                    <a:bodyPr/>
                    <a:lstStyle/>
                    <a:p>
                      <a:r>
                        <a:rPr lang="en-US" sz="2400" dirty="0" err="1"/>
                        <a:t>VNet</a:t>
                      </a:r>
                      <a:r>
                        <a:rPr lang="en-US" sz="2400" dirty="0"/>
                        <a:t>(S2S, ER), Relay</a:t>
                      </a:r>
                    </a:p>
                  </a:txBody>
                  <a:tcPr marL="91464" marR="91464" marT="45732" marB="45732"/>
                </a:tc>
                <a:extLst>
                  <a:ext uri="{0D108BD9-81ED-4DB2-BD59-A6C34878D82A}">
                    <a16:rowId xmlns:a16="http://schemas.microsoft.com/office/drawing/2014/main" val="2541156677"/>
                  </a:ext>
                </a:extLst>
              </a:tr>
            </a:tbl>
          </a:graphicData>
        </a:graphic>
      </p:graphicFrame>
      <p:sp>
        <p:nvSpPr>
          <p:cNvPr id="4" name="TextBox 3"/>
          <p:cNvSpPr txBox="1"/>
          <p:nvPr/>
        </p:nvSpPr>
        <p:spPr>
          <a:xfrm>
            <a:off x="366169" y="5937434"/>
            <a:ext cx="8839200" cy="627864"/>
          </a:xfrm>
          <a:prstGeom prst="rect">
            <a:avLst/>
          </a:prstGeom>
          <a:noFill/>
        </p:spPr>
        <p:txBody>
          <a:bodyPr wrap="square" lIns="182880" tIns="146304" rIns="182880" bIns="146304" rtlCol="0">
            <a:spAutoFit/>
          </a:bodyPr>
          <a:lstStyle/>
          <a:p>
            <a:pPr>
              <a:lnSpc>
                <a:spcPct val="90000"/>
              </a:lnSpc>
              <a:spcAft>
                <a:spcPts val="600"/>
              </a:spcAft>
            </a:pPr>
            <a:r>
              <a:rPr lang="en-US" sz="1200" baseline="30000" dirty="0">
                <a:gradFill>
                  <a:gsLst>
                    <a:gs pos="2917">
                      <a:schemeClr val="tx1"/>
                    </a:gs>
                    <a:gs pos="30000">
                      <a:schemeClr val="tx1"/>
                    </a:gs>
                  </a:gsLst>
                  <a:lin ang="5400000" scaled="0"/>
                </a:gradFill>
              </a:rPr>
              <a:t>1</a:t>
            </a:r>
            <a:r>
              <a:rPr lang="en-US" sz="1200" dirty="0">
                <a:gradFill>
                  <a:gsLst>
                    <a:gs pos="2917">
                      <a:schemeClr val="tx1"/>
                    </a:gs>
                    <a:gs pos="30000">
                      <a:schemeClr val="tx1"/>
                    </a:gs>
                  </a:gsLst>
                  <a:lin ang="5400000" scaled="0"/>
                </a:gradFill>
              </a:rPr>
              <a:t> Remote App is being depr</a:t>
            </a:r>
            <a:r>
              <a:rPr lang="en-US" sz="1200" dirty="0">
                <a:gradFill>
                  <a:gsLst>
                    <a:gs pos="2917">
                      <a:schemeClr val="tx1"/>
                    </a:gs>
                    <a:gs pos="30000">
                      <a:schemeClr val="tx1"/>
                    </a:gs>
                  </a:gsLst>
                  <a:lin ang="5400000" scaled="0"/>
                </a:gradFill>
                <a:hlinkClick r:id="rId3"/>
              </a:rPr>
              <a:t>e</a:t>
            </a:r>
            <a:r>
              <a:rPr lang="en-US" sz="1200" dirty="0">
                <a:gradFill>
                  <a:gsLst>
                    <a:gs pos="2917">
                      <a:schemeClr val="tx1"/>
                    </a:gs>
                    <a:gs pos="30000">
                      <a:schemeClr val="tx1"/>
                    </a:gs>
                  </a:gsLst>
                  <a:lin ang="5400000" scaled="0"/>
                </a:gradFill>
              </a:rPr>
              <a:t>cated, see the following for more information:  </a:t>
            </a:r>
            <a:r>
              <a:rPr lang="en-US" sz="1200" dirty="0">
                <a:gradFill>
                  <a:gsLst>
                    <a:gs pos="2917">
                      <a:schemeClr val="tx1"/>
                    </a:gs>
                    <a:gs pos="30000">
                      <a:schemeClr val="tx1"/>
                    </a:gs>
                  </a:gsLst>
                  <a:lin ang="5400000" scaled="0"/>
                </a:gradFill>
                <a:hlinkClick r:id="rId3"/>
              </a:rPr>
              <a:t>https://blogs.technet.microsoft.com/enterprisemobility/2016/08/12/application-remoting-and-the-cloud/</a:t>
            </a:r>
            <a:r>
              <a:rPr lang="en-US" sz="1200" dirty="0">
                <a:gradFill>
                  <a:gsLst>
                    <a:gs pos="2917">
                      <a:schemeClr val="tx1"/>
                    </a:gs>
                    <a:gs pos="30000">
                      <a:schemeClr val="tx1"/>
                    </a:gs>
                  </a:gsLst>
                  <a:lin ang="5400000" scaled="0"/>
                </a:gradFill>
              </a:rPr>
              <a:t> </a:t>
            </a:r>
          </a:p>
        </p:txBody>
      </p:sp>
    </p:spTree>
    <p:extLst>
      <p:ext uri="{BB962C8B-B14F-4D97-AF65-F5344CB8AC3E}">
        <p14:creationId xmlns:p14="http://schemas.microsoft.com/office/powerpoint/2010/main" val="390693470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1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6" name="Table 5"/>
          <p:cNvGraphicFramePr>
            <a:graphicFrameLocks noGrp="1"/>
          </p:cNvGraphicFramePr>
          <p:nvPr>
            <p:extLst>
              <p:ext uri="{D42A27DB-BD31-4B8C-83A1-F6EECF244321}">
                <p14:modId xmlns:p14="http://schemas.microsoft.com/office/powerpoint/2010/main" val="1541006909"/>
              </p:ext>
            </p:extLst>
          </p:nvPr>
        </p:nvGraphicFramePr>
        <p:xfrm>
          <a:off x="502444" y="1212850"/>
          <a:ext cx="11658942" cy="5487861"/>
        </p:xfrm>
        <a:graphic>
          <a:graphicData uri="http://schemas.openxmlformats.org/drawingml/2006/table">
            <a:tbl>
              <a:tblPr firstRow="1" bandRow="1">
                <a:tableStyleId>{F2DE63D5-997A-4646-A377-4702673A728D}</a:tableStyleId>
              </a:tblPr>
              <a:tblGrid>
                <a:gridCol w="3260439">
                  <a:extLst>
                    <a:ext uri="{9D8B030D-6E8A-4147-A177-3AD203B41FA5}">
                      <a16:colId xmlns:a16="http://schemas.microsoft.com/office/drawing/2014/main" val="3323723136"/>
                    </a:ext>
                  </a:extLst>
                </a:gridCol>
                <a:gridCol w="3941984">
                  <a:extLst>
                    <a:ext uri="{9D8B030D-6E8A-4147-A177-3AD203B41FA5}">
                      <a16:colId xmlns:a16="http://schemas.microsoft.com/office/drawing/2014/main" val="3937888222"/>
                    </a:ext>
                  </a:extLst>
                </a:gridCol>
                <a:gridCol w="4456519">
                  <a:extLst>
                    <a:ext uri="{9D8B030D-6E8A-4147-A177-3AD203B41FA5}">
                      <a16:colId xmlns:a16="http://schemas.microsoft.com/office/drawing/2014/main" val="1410519535"/>
                    </a:ext>
                  </a:extLst>
                </a:gridCol>
              </a:tblGrid>
              <a:tr h="457322">
                <a:tc>
                  <a:txBody>
                    <a:bodyPr/>
                    <a:lstStyle/>
                    <a:p>
                      <a:r>
                        <a:rPr lang="en-US" sz="2400" b="0" i="0" dirty="0">
                          <a:latin typeface="Segoe UI Semibold" panose="020B0702040204020203" pitchFamily="34" charset="0"/>
                          <a:cs typeface="Segoe UI Semibold" panose="020B0702040204020203" pitchFamily="34" charset="0"/>
                        </a:rPr>
                        <a:t>Service name</a:t>
                      </a:r>
                    </a:p>
                  </a:txBody>
                  <a:tcPr marL="91464" marR="91464" marT="45732" marB="45732">
                    <a:solidFill>
                      <a:schemeClr val="accent1"/>
                    </a:solidFill>
                  </a:tcPr>
                </a:tc>
                <a:tc>
                  <a:txBody>
                    <a:bodyPr/>
                    <a:lstStyle/>
                    <a:p>
                      <a:r>
                        <a:rPr lang="en-US" sz="2400" b="0" i="0" dirty="0">
                          <a:latin typeface="Segoe UI Semibold" panose="020B0702040204020203" pitchFamily="34" charset="0"/>
                          <a:cs typeface="Segoe UI Semibold" panose="020B0702040204020203" pitchFamily="34" charset="0"/>
                        </a:rPr>
                        <a:t>Service level</a:t>
                      </a:r>
                    </a:p>
                  </a:txBody>
                  <a:tcPr marL="91464" marR="91464" marT="45732" marB="45732">
                    <a:solidFill>
                      <a:schemeClr val="accent1"/>
                    </a:solidFill>
                  </a:tcPr>
                </a:tc>
                <a:tc>
                  <a:txBody>
                    <a:bodyPr/>
                    <a:lstStyle/>
                    <a:p>
                      <a:r>
                        <a:rPr lang="en-US" sz="2400" b="0" i="0" dirty="0">
                          <a:latin typeface="Segoe UI Semibold" panose="020B0702040204020203" pitchFamily="34" charset="0"/>
                          <a:cs typeface="Segoe UI Semibold" panose="020B0702040204020203" pitchFamily="34" charset="0"/>
                        </a:rPr>
                        <a:t>Subscription</a:t>
                      </a:r>
                      <a:r>
                        <a:rPr lang="en-US" sz="2400" b="0" i="0" baseline="0" dirty="0">
                          <a:latin typeface="Segoe UI Semibold" panose="020B0702040204020203" pitchFamily="34" charset="0"/>
                          <a:cs typeface="Segoe UI Semibold" panose="020B0702040204020203" pitchFamily="34" charset="0"/>
                        </a:rPr>
                        <a:t> level</a:t>
                      </a:r>
                      <a:endParaRPr lang="en-US" sz="2400" b="0" i="0" dirty="0">
                        <a:latin typeface="Segoe UI Semibold" panose="020B0702040204020203" pitchFamily="34" charset="0"/>
                        <a:cs typeface="Segoe UI Semibold" panose="020B0702040204020203" pitchFamily="34" charset="0"/>
                      </a:endParaRPr>
                    </a:p>
                  </a:txBody>
                  <a:tcPr marL="91464" marR="91464" marT="45732" marB="45732">
                    <a:solidFill>
                      <a:schemeClr val="accent1"/>
                    </a:solidFill>
                  </a:tcPr>
                </a:tc>
                <a:extLst>
                  <a:ext uri="{0D108BD9-81ED-4DB2-BD59-A6C34878D82A}">
                    <a16:rowId xmlns:a16="http://schemas.microsoft.com/office/drawing/2014/main" val="3157971493"/>
                  </a:ext>
                </a:extLst>
              </a:tr>
              <a:tr h="823179">
                <a:tc>
                  <a:txBody>
                    <a:bodyPr/>
                    <a:lstStyle/>
                    <a:p>
                      <a:r>
                        <a:rPr lang="en-US" sz="2400" b="0" i="0" dirty="0">
                          <a:latin typeface="Segoe UI Semibold" panose="020B0702040204020203" pitchFamily="34" charset="0"/>
                          <a:cs typeface="Segoe UI Semibold" panose="020B0702040204020203" pitchFamily="34" charset="0"/>
                        </a:rPr>
                        <a:t>Virtual Machines</a:t>
                      </a:r>
                    </a:p>
                  </a:txBody>
                  <a:tcPr marL="91464" marR="91464" marT="45732" marB="45732"/>
                </a:tc>
                <a:tc>
                  <a:txBody>
                    <a:bodyPr/>
                    <a:lstStyle/>
                    <a:p>
                      <a:r>
                        <a:rPr lang="en-US" sz="2400" dirty="0"/>
                        <a:t>50 VMs/cloud service</a:t>
                      </a:r>
                    </a:p>
                  </a:txBody>
                  <a:tcPr marL="91464" marR="91464" marT="45732" marB="45732"/>
                </a:tc>
                <a:tc>
                  <a:txBody>
                    <a:bodyPr/>
                    <a:lstStyle/>
                    <a:p>
                      <a:r>
                        <a:rPr lang="en-US" sz="2400" dirty="0"/>
                        <a:t>Cores per Subscriptions:</a:t>
                      </a:r>
                    </a:p>
                    <a:p>
                      <a:r>
                        <a:rPr lang="en-US" sz="2400" dirty="0"/>
                        <a:t>Default = 20, Max = 10000</a:t>
                      </a:r>
                    </a:p>
                  </a:txBody>
                  <a:tcPr marL="91464" marR="91464" marT="45732" marB="45732"/>
                </a:tc>
                <a:extLst>
                  <a:ext uri="{0D108BD9-81ED-4DB2-BD59-A6C34878D82A}">
                    <a16:rowId xmlns:a16="http://schemas.microsoft.com/office/drawing/2014/main" val="4133688658"/>
                  </a:ext>
                </a:extLst>
              </a:tr>
              <a:tr h="457322">
                <a:tc>
                  <a:txBody>
                    <a:bodyPr/>
                    <a:lstStyle/>
                    <a:p>
                      <a:r>
                        <a:rPr lang="en-US" sz="2400" b="0" i="0" dirty="0">
                          <a:latin typeface="Segoe UI Semibold" panose="020B0702040204020203" pitchFamily="34" charset="0"/>
                          <a:cs typeface="Segoe UI Semibold" panose="020B0702040204020203" pitchFamily="34" charset="0"/>
                        </a:rPr>
                        <a:t>VM</a:t>
                      </a:r>
                      <a:r>
                        <a:rPr lang="en-US" sz="2400" b="0" i="0" baseline="0" dirty="0">
                          <a:latin typeface="Segoe UI Semibold" panose="020B0702040204020203" pitchFamily="34" charset="0"/>
                          <a:cs typeface="Segoe UI Semibold" panose="020B0702040204020203" pitchFamily="34" charset="0"/>
                        </a:rPr>
                        <a:t> Scale Sets</a:t>
                      </a:r>
                      <a:endParaRPr lang="en-US" sz="2400" b="0" i="0" dirty="0">
                        <a:latin typeface="Segoe UI Semibold" panose="020B0702040204020203" pitchFamily="34" charset="0"/>
                        <a:cs typeface="Segoe UI Semibold" panose="020B0702040204020203" pitchFamily="34" charset="0"/>
                      </a:endParaRPr>
                    </a:p>
                  </a:txBody>
                  <a:tcPr marL="91464" marR="91464" marT="45732" marB="45732"/>
                </a:tc>
                <a:tc>
                  <a:txBody>
                    <a:bodyPr/>
                    <a:lstStyle/>
                    <a:p>
                      <a:r>
                        <a:rPr lang="en-US" sz="2400" dirty="0"/>
                        <a:t>100 VMs/scale set</a:t>
                      </a:r>
                    </a:p>
                  </a:txBody>
                  <a:tcPr marL="91464" marR="91464" marT="45732" marB="45732"/>
                </a:tc>
                <a:tc>
                  <a:txBody>
                    <a:bodyPr/>
                    <a:lstStyle/>
                    <a:p>
                      <a:r>
                        <a:rPr lang="en-US" sz="2400" dirty="0"/>
                        <a:t>50 per region</a:t>
                      </a:r>
                    </a:p>
                  </a:txBody>
                  <a:tcPr marL="91464" marR="91464" marT="45732" marB="45732"/>
                </a:tc>
                <a:extLst>
                  <a:ext uri="{0D108BD9-81ED-4DB2-BD59-A6C34878D82A}">
                    <a16:rowId xmlns:a16="http://schemas.microsoft.com/office/drawing/2014/main" val="1987288546"/>
                  </a:ext>
                </a:extLst>
              </a:tr>
              <a:tr h="823179">
                <a:tc>
                  <a:txBody>
                    <a:bodyPr/>
                    <a:lstStyle/>
                    <a:p>
                      <a:r>
                        <a:rPr lang="en-US" sz="2400" b="0" i="0" dirty="0">
                          <a:latin typeface="Segoe UI Semibold" panose="020B0702040204020203" pitchFamily="34" charset="0"/>
                          <a:cs typeface="Segoe UI Semibold" panose="020B0702040204020203" pitchFamily="34" charset="0"/>
                        </a:rPr>
                        <a:t>Cloud Services</a:t>
                      </a:r>
                    </a:p>
                    <a:p>
                      <a:r>
                        <a:rPr lang="en-US" sz="2400" b="0" i="0" dirty="0">
                          <a:latin typeface="Segoe UI Semibold" panose="020B0702040204020203" pitchFamily="34" charset="0"/>
                          <a:cs typeface="Segoe UI Semibold" panose="020B0702040204020203" pitchFamily="34" charset="0"/>
                        </a:rPr>
                        <a:t>(Web/Worker)</a:t>
                      </a:r>
                    </a:p>
                  </a:txBody>
                  <a:tcPr marL="91464" marR="91464" marT="45732" marB="45732"/>
                </a:tc>
                <a:tc>
                  <a:txBody>
                    <a:bodyPr/>
                    <a:lstStyle/>
                    <a:p>
                      <a:r>
                        <a:rPr lang="en-US" sz="2400" dirty="0"/>
                        <a:t>25 roles/deployment</a:t>
                      </a:r>
                    </a:p>
                  </a:txBody>
                  <a:tcPr marL="91464" marR="91464" marT="45732" marB="45732"/>
                </a:tc>
                <a:tc>
                  <a:txBody>
                    <a:bodyPr/>
                    <a:lstStyle/>
                    <a:p>
                      <a:r>
                        <a:rPr lang="en-US" sz="2400" dirty="0"/>
                        <a:t>Default = 20;</a:t>
                      </a:r>
                      <a:r>
                        <a:rPr lang="en-US" sz="2400" baseline="0" dirty="0"/>
                        <a:t> Max = 200</a:t>
                      </a:r>
                      <a:endParaRPr lang="en-US" sz="2400" dirty="0"/>
                    </a:p>
                  </a:txBody>
                  <a:tcPr marL="91464" marR="91464" marT="45732" marB="45732"/>
                </a:tc>
                <a:extLst>
                  <a:ext uri="{0D108BD9-81ED-4DB2-BD59-A6C34878D82A}">
                    <a16:rowId xmlns:a16="http://schemas.microsoft.com/office/drawing/2014/main" val="1094197510"/>
                  </a:ext>
                </a:extLst>
              </a:tr>
              <a:tr h="823179">
                <a:tc>
                  <a:txBody>
                    <a:bodyPr/>
                    <a:lstStyle/>
                    <a:p>
                      <a:r>
                        <a:rPr lang="en-US" sz="2400" b="0" i="0" dirty="0">
                          <a:latin typeface="Segoe UI Semibold" panose="020B0702040204020203" pitchFamily="34" charset="0"/>
                          <a:cs typeface="Segoe UI Semibold" panose="020B0702040204020203" pitchFamily="34" charset="0"/>
                        </a:rPr>
                        <a:t>Batch</a:t>
                      </a:r>
                    </a:p>
                  </a:txBody>
                  <a:tcPr marL="91464" marR="91464" marT="45732" marB="45732"/>
                </a:tc>
                <a:tc>
                  <a:txBody>
                    <a:bodyPr/>
                    <a:lstStyle/>
                    <a:p>
                      <a:r>
                        <a:rPr lang="en-US" sz="2400" dirty="0"/>
                        <a:t>Jobs and Job Schedules:</a:t>
                      </a:r>
                    </a:p>
                    <a:p>
                      <a:r>
                        <a:rPr lang="en-US" sz="2400" dirty="0"/>
                        <a:t>Default = 20, Max = 10000</a:t>
                      </a:r>
                    </a:p>
                  </a:txBody>
                  <a:tcPr marL="91464" marR="91464" marT="45732" marB="45732"/>
                </a:tc>
                <a:tc>
                  <a:txBody>
                    <a:bodyPr/>
                    <a:lstStyle/>
                    <a:p>
                      <a:r>
                        <a:rPr lang="en-US" sz="2400" dirty="0"/>
                        <a:t>Account per</a:t>
                      </a:r>
                      <a:r>
                        <a:rPr lang="en-US" sz="2400" baseline="0" dirty="0"/>
                        <a:t> </a:t>
                      </a:r>
                      <a:r>
                        <a:rPr lang="en-US" sz="2400" dirty="0"/>
                        <a:t>Region/Sub: Default</a:t>
                      </a:r>
                      <a:r>
                        <a:rPr lang="en-US" sz="2400" baseline="0" dirty="0"/>
                        <a:t> = 1; Max = 50</a:t>
                      </a:r>
                      <a:endParaRPr lang="en-US" sz="2400" dirty="0"/>
                    </a:p>
                  </a:txBody>
                  <a:tcPr marL="91464" marR="91464" marT="45732" marB="45732"/>
                </a:tc>
                <a:extLst>
                  <a:ext uri="{0D108BD9-81ED-4DB2-BD59-A6C34878D82A}">
                    <a16:rowId xmlns:a16="http://schemas.microsoft.com/office/drawing/2014/main" val="2747725307"/>
                  </a:ext>
                </a:extLst>
              </a:tr>
              <a:tr h="457322">
                <a:tc>
                  <a:txBody>
                    <a:bodyPr/>
                    <a:lstStyle/>
                    <a:p>
                      <a:r>
                        <a:rPr lang="en-US" sz="2400" b="0" i="0" dirty="0">
                          <a:latin typeface="Segoe UI Semibold" panose="020B0702040204020203" pitchFamily="34" charset="0"/>
                          <a:cs typeface="Segoe UI Semibold" panose="020B0702040204020203" pitchFamily="34" charset="0"/>
                        </a:rPr>
                        <a:t>Remote App</a:t>
                      </a:r>
                    </a:p>
                  </a:txBody>
                  <a:tcPr marL="91464" marR="91464" marT="45732" marB="45732"/>
                </a:tc>
                <a:tc>
                  <a:txBody>
                    <a:bodyPr/>
                    <a:lstStyle/>
                    <a:p>
                      <a:r>
                        <a:rPr lang="en-US" sz="2400" dirty="0"/>
                        <a:t>-</a:t>
                      </a:r>
                    </a:p>
                  </a:txBody>
                  <a:tcPr marL="91464" marR="91464" marT="45732" marB="45732"/>
                </a:tc>
                <a:tc>
                  <a:txBody>
                    <a:bodyPr/>
                    <a:lstStyle/>
                    <a:p>
                      <a:r>
                        <a:rPr lang="en-US" sz="2400" dirty="0"/>
                        <a:t>-</a:t>
                      </a:r>
                    </a:p>
                  </a:txBody>
                  <a:tcPr marL="91464" marR="91464" marT="45732" marB="45732"/>
                </a:tc>
                <a:extLst>
                  <a:ext uri="{0D108BD9-81ED-4DB2-BD59-A6C34878D82A}">
                    <a16:rowId xmlns:a16="http://schemas.microsoft.com/office/drawing/2014/main" val="4183746000"/>
                  </a:ext>
                </a:extLst>
              </a:tr>
              <a:tr h="823179">
                <a:tc>
                  <a:txBody>
                    <a:bodyPr/>
                    <a:lstStyle/>
                    <a:p>
                      <a:r>
                        <a:rPr lang="en-US" sz="2400" b="0" i="0" dirty="0">
                          <a:latin typeface="Segoe UI Semibold" panose="020B0702040204020203" pitchFamily="34" charset="0"/>
                          <a:cs typeface="Segoe UI Semibold" panose="020B0702040204020203" pitchFamily="34" charset="0"/>
                        </a:rPr>
                        <a:t>Service Fabric</a:t>
                      </a:r>
                    </a:p>
                  </a:txBody>
                  <a:tcPr marL="91464" marR="91464" marT="45732" marB="45732"/>
                </a:tc>
                <a:tc>
                  <a:txBody>
                    <a:bodyPr/>
                    <a:lstStyle/>
                    <a:p>
                      <a:r>
                        <a:rPr lang="en-US" sz="2400" dirty="0"/>
                        <a:t>{See VM/VM Scale Sets, Storage, IP Addresses}</a:t>
                      </a:r>
                    </a:p>
                  </a:txBody>
                  <a:tcPr marL="91464" marR="91464" marT="45732" marB="45732"/>
                </a:tc>
                <a:tc>
                  <a:txBody>
                    <a:bodyPr/>
                    <a:lstStyle/>
                    <a:p>
                      <a:r>
                        <a:rPr lang="en-US" sz="2400" dirty="0"/>
                        <a:t>{See VM/VM Scale Sets, Storage, IP Addresses}</a:t>
                      </a:r>
                    </a:p>
                  </a:txBody>
                  <a:tcPr marL="91464" marR="91464" marT="45732" marB="45732"/>
                </a:tc>
                <a:extLst>
                  <a:ext uri="{0D108BD9-81ED-4DB2-BD59-A6C34878D82A}">
                    <a16:rowId xmlns:a16="http://schemas.microsoft.com/office/drawing/2014/main" val="1616361047"/>
                  </a:ext>
                </a:extLst>
              </a:tr>
              <a:tr h="823179">
                <a:tc>
                  <a:txBody>
                    <a:bodyPr/>
                    <a:lstStyle/>
                    <a:p>
                      <a:r>
                        <a:rPr lang="en-US" sz="2400" b="0" i="0" dirty="0">
                          <a:latin typeface="Segoe UI Semibold" panose="020B0702040204020203" pitchFamily="34" charset="0"/>
                          <a:cs typeface="Segoe UI Semibold" panose="020B0702040204020203" pitchFamily="34" charset="0"/>
                        </a:rPr>
                        <a:t>Container Service</a:t>
                      </a:r>
                    </a:p>
                  </a:txBody>
                  <a:tcPr marL="91464" marR="91464" marT="45732" marB="45732"/>
                </a:tc>
                <a:tc>
                  <a:txBody>
                    <a:bodyPr/>
                    <a:lstStyle/>
                    <a:p>
                      <a:pPr marL="0" marR="0" lvl="0" indent="0" algn="l" defTabSz="768113" rtl="0" eaLnBrk="1" fontAlgn="auto" latinLnBrk="0" hangingPunct="1">
                        <a:lnSpc>
                          <a:spcPct val="100000"/>
                        </a:lnSpc>
                        <a:spcBef>
                          <a:spcPts val="0"/>
                        </a:spcBef>
                        <a:spcAft>
                          <a:spcPts val="0"/>
                        </a:spcAft>
                        <a:buClrTx/>
                        <a:buSzTx/>
                        <a:buFontTx/>
                        <a:buNone/>
                        <a:tabLst/>
                        <a:defRPr/>
                      </a:pPr>
                      <a:r>
                        <a:rPr lang="en-US" sz="2400" dirty="0"/>
                        <a:t>{See VM/VM Scale Sets, Storage, Networking}</a:t>
                      </a:r>
                    </a:p>
                  </a:txBody>
                  <a:tcPr marL="91464" marR="91464" marT="45732" marB="45732"/>
                </a:tc>
                <a:tc>
                  <a:txBody>
                    <a:bodyPr/>
                    <a:lstStyle/>
                    <a:p>
                      <a:pPr marL="0" marR="0" lvl="0" indent="0" algn="l" defTabSz="768113" rtl="0" eaLnBrk="1" fontAlgn="auto" latinLnBrk="0" hangingPunct="1">
                        <a:lnSpc>
                          <a:spcPct val="100000"/>
                        </a:lnSpc>
                        <a:spcBef>
                          <a:spcPts val="0"/>
                        </a:spcBef>
                        <a:spcAft>
                          <a:spcPts val="0"/>
                        </a:spcAft>
                        <a:buClrTx/>
                        <a:buSzTx/>
                        <a:buFontTx/>
                        <a:buNone/>
                        <a:tabLst/>
                        <a:defRPr/>
                      </a:pPr>
                      <a:r>
                        <a:rPr lang="en-US" sz="2400" dirty="0"/>
                        <a:t>{See VM/VM Scale Sets, Storage, Networking}</a:t>
                      </a:r>
                    </a:p>
                  </a:txBody>
                  <a:tcPr marL="91464" marR="91464" marT="45732" marB="45732"/>
                </a:tc>
                <a:extLst>
                  <a:ext uri="{0D108BD9-81ED-4DB2-BD59-A6C34878D82A}">
                    <a16:rowId xmlns:a16="http://schemas.microsoft.com/office/drawing/2014/main" val="2541156677"/>
                  </a:ext>
                </a:extLst>
              </a:tr>
            </a:tbl>
          </a:graphicData>
        </a:graphic>
      </p:graphicFrame>
      <p:sp>
        <p:nvSpPr>
          <p:cNvPr id="5" name="Title 4"/>
          <p:cNvSpPr>
            <a:spLocks noGrp="1"/>
          </p:cNvSpPr>
          <p:nvPr>
            <p:ph type="title"/>
          </p:nvPr>
        </p:nvSpPr>
        <p:spPr>
          <a:xfrm>
            <a:off x="366169" y="295278"/>
            <a:ext cx="11702551" cy="917575"/>
          </a:xfrm>
        </p:spPr>
        <p:txBody>
          <a:bodyPr/>
          <a:lstStyle/>
          <a:p>
            <a:r>
              <a:rPr lang="en-US" dirty="0"/>
              <a:t>Compute – Key quotas, limits</a:t>
            </a:r>
          </a:p>
        </p:txBody>
      </p:sp>
    </p:spTree>
    <p:extLst>
      <p:ext uri="{BB962C8B-B14F-4D97-AF65-F5344CB8AC3E}">
        <p14:creationId xmlns:p14="http://schemas.microsoft.com/office/powerpoint/2010/main" val="260264929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1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7" name="Rectangle 26"/>
          <p:cNvSpPr/>
          <p:nvPr/>
        </p:nvSpPr>
        <p:spPr bwMode="auto">
          <a:xfrm>
            <a:off x="1032458" y="2221178"/>
            <a:ext cx="3773637" cy="80469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23" tIns="109698" rIns="137123" bIns="109698" numCol="1" spcCol="0" rtlCol="0" fromWordArt="0" anchor="t" anchorCtr="0" forceAA="0" compatLnSpc="1">
            <a:prstTxWarp prst="textNoShape">
              <a:avLst/>
            </a:prstTxWarp>
            <a:noAutofit/>
          </a:bodyPr>
          <a:lstStyle/>
          <a:p>
            <a:pPr defTabSz="699150">
              <a:defRPr/>
            </a:pPr>
            <a:r>
              <a:rPr lang="en-US" sz="2800" dirty="0">
                <a:solidFill>
                  <a:schemeClr val="bg1">
                    <a:lumMod val="50000"/>
                  </a:schemeClr>
                </a:solidFill>
                <a:latin typeface="Segoe UI Light"/>
                <a:ea typeface="Segoe UI" pitchFamily="34" charset="0"/>
                <a:cs typeface="Segoe UI" pitchFamily="34" charset="0"/>
              </a:rPr>
              <a:t>Enterprise grade</a:t>
            </a:r>
            <a:endParaRPr lang="en-US" sz="3200" dirty="0">
              <a:solidFill>
                <a:schemeClr val="bg1">
                  <a:lumMod val="50000"/>
                </a:schemeClr>
              </a:solidFill>
              <a:ea typeface="Segoe UI" pitchFamily="34" charset="0"/>
              <a:cs typeface="Segoe UI" pitchFamily="34" charset="0"/>
            </a:endParaRPr>
          </a:p>
          <a:p>
            <a:pPr defTabSz="699150">
              <a:defRPr/>
            </a:pPr>
            <a:r>
              <a:rPr lang="en-US" sz="1000" dirty="0">
                <a:solidFill>
                  <a:schemeClr val="bg1">
                    <a:lumMod val="50000"/>
                  </a:schemeClr>
                </a:solidFill>
                <a:ea typeface="Segoe UI" pitchFamily="34" charset="0"/>
                <a:cs typeface="Segoe UI" pitchFamily="34" charset="0"/>
              </a:rPr>
              <a:t>Designed for secure mission-critical applications</a:t>
            </a:r>
          </a:p>
        </p:txBody>
      </p:sp>
      <p:sp>
        <p:nvSpPr>
          <p:cNvPr id="28" name="Rectangle 27"/>
          <p:cNvSpPr/>
          <p:nvPr/>
        </p:nvSpPr>
        <p:spPr bwMode="auto">
          <a:xfrm>
            <a:off x="4773531" y="2229748"/>
            <a:ext cx="3514182" cy="80469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23" tIns="109698" rIns="137123" bIns="109698" numCol="1" spcCol="0" rtlCol="0" fromWordArt="0" anchor="t" anchorCtr="0" forceAA="0" compatLnSpc="1">
            <a:prstTxWarp prst="textNoShape">
              <a:avLst/>
            </a:prstTxWarp>
            <a:noAutofit/>
          </a:bodyPr>
          <a:lstStyle/>
          <a:p>
            <a:pPr defTabSz="699150">
              <a:defRPr/>
            </a:pPr>
            <a:r>
              <a:rPr lang="en-US" sz="2800" dirty="0">
                <a:solidFill>
                  <a:schemeClr val="bg1">
                    <a:lumMod val="50000"/>
                  </a:schemeClr>
                </a:solidFill>
                <a:latin typeface="Segoe UI Light"/>
                <a:ea typeface="Segoe UI" pitchFamily="34" charset="0"/>
                <a:cs typeface="Segoe UI" pitchFamily="34" charset="0"/>
              </a:rPr>
              <a:t>Fully managed</a:t>
            </a:r>
            <a:endParaRPr lang="en-US" sz="3200" dirty="0">
              <a:solidFill>
                <a:schemeClr val="bg1">
                  <a:lumMod val="50000"/>
                </a:schemeClr>
              </a:solidFill>
              <a:ea typeface="Segoe UI" pitchFamily="34" charset="0"/>
              <a:cs typeface="Segoe UI" pitchFamily="34" charset="0"/>
            </a:endParaRPr>
          </a:p>
          <a:p>
            <a:pPr defTabSz="699150">
              <a:defRPr/>
            </a:pPr>
            <a:r>
              <a:rPr lang="en-US" sz="1000" dirty="0">
                <a:solidFill>
                  <a:schemeClr val="bg1">
                    <a:lumMod val="50000"/>
                  </a:schemeClr>
                </a:solidFill>
              </a:rPr>
              <a:t>Optimized for Availability and Automatic scale</a:t>
            </a:r>
            <a:endParaRPr lang="en-US" sz="1000" dirty="0">
              <a:solidFill>
                <a:schemeClr val="bg1">
                  <a:lumMod val="50000"/>
                </a:schemeClr>
              </a:solidFill>
              <a:ea typeface="Segoe UI" pitchFamily="34" charset="0"/>
              <a:cs typeface="Segoe UI" pitchFamily="34" charset="0"/>
            </a:endParaRPr>
          </a:p>
        </p:txBody>
      </p:sp>
      <p:sp>
        <p:nvSpPr>
          <p:cNvPr id="29" name="Rectangle 28"/>
          <p:cNvSpPr/>
          <p:nvPr/>
        </p:nvSpPr>
        <p:spPr bwMode="auto">
          <a:xfrm>
            <a:off x="8355150" y="2229748"/>
            <a:ext cx="3229439" cy="80469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23" tIns="109698" rIns="137123" bIns="109698" numCol="1" spcCol="0" rtlCol="0" fromWordArt="0" anchor="t" anchorCtr="0" forceAA="0" compatLnSpc="1">
            <a:prstTxWarp prst="textNoShape">
              <a:avLst/>
            </a:prstTxWarp>
            <a:noAutofit/>
          </a:bodyPr>
          <a:lstStyle/>
          <a:p>
            <a:pPr defTabSz="699150">
              <a:defRPr/>
            </a:pPr>
            <a:r>
              <a:rPr lang="en-US" sz="2800" dirty="0">
                <a:solidFill>
                  <a:schemeClr val="bg1">
                    <a:lumMod val="50000"/>
                  </a:schemeClr>
                </a:solidFill>
                <a:latin typeface="Segoe UI Light"/>
                <a:ea typeface="Segoe UI" pitchFamily="34" charset="0"/>
                <a:cs typeface="Segoe UI" pitchFamily="34" charset="0"/>
              </a:rPr>
              <a:t>Built for </a:t>
            </a:r>
            <a:r>
              <a:rPr lang="en-US" sz="2800" dirty="0" err="1">
                <a:solidFill>
                  <a:schemeClr val="bg1">
                    <a:lumMod val="50000"/>
                  </a:schemeClr>
                </a:solidFill>
                <a:latin typeface="Segoe UI Light"/>
                <a:ea typeface="Segoe UI" pitchFamily="34" charset="0"/>
                <a:cs typeface="Segoe UI" pitchFamily="34" charset="0"/>
              </a:rPr>
              <a:t>DevOps</a:t>
            </a:r>
            <a:endParaRPr lang="en-US" sz="3200" dirty="0">
              <a:solidFill>
                <a:schemeClr val="bg1">
                  <a:lumMod val="50000"/>
                </a:schemeClr>
              </a:solidFill>
              <a:ea typeface="Segoe UI" pitchFamily="34" charset="0"/>
              <a:cs typeface="Segoe UI" pitchFamily="34" charset="0"/>
            </a:endParaRPr>
          </a:p>
          <a:p>
            <a:pPr defTabSz="699150">
              <a:defRPr/>
            </a:pPr>
            <a:r>
              <a:rPr lang="en-US" sz="1000" dirty="0">
                <a:solidFill>
                  <a:schemeClr val="bg1">
                    <a:lumMod val="50000"/>
                  </a:schemeClr>
                </a:solidFill>
              </a:rPr>
              <a:t>Agility through Continuous Deployment</a:t>
            </a:r>
            <a:endParaRPr lang="en-US" sz="1000" dirty="0">
              <a:solidFill>
                <a:schemeClr val="bg1">
                  <a:lumMod val="50000"/>
                </a:schemeClr>
              </a:solidFill>
              <a:ea typeface="Segoe UI" pitchFamily="34" charset="0"/>
              <a:cs typeface="Segoe UI" pitchFamily="34" charset="0"/>
            </a:endParaRPr>
          </a:p>
        </p:txBody>
      </p:sp>
      <p:sp>
        <p:nvSpPr>
          <p:cNvPr id="30" name="TextBox 29"/>
          <p:cNvSpPr txBox="1"/>
          <p:nvPr/>
        </p:nvSpPr>
        <p:spPr>
          <a:xfrm>
            <a:off x="1183947" y="3074279"/>
            <a:ext cx="3162350" cy="3324952"/>
          </a:xfrm>
          <a:prstGeom prst="rect">
            <a:avLst/>
          </a:prstGeom>
          <a:noFill/>
          <a:ln>
            <a:noFill/>
          </a:ln>
        </p:spPr>
        <p:txBody>
          <a:bodyPr wrap="square" lIns="137123" tIns="109698" rIns="137123" bIns="109698" rtlCol="0">
            <a:spAutoFit/>
          </a:bodyPr>
          <a:lstStyle/>
          <a:p>
            <a:pPr marL="285750" indent="-285750">
              <a:spcAft>
                <a:spcPts val="224"/>
              </a:spcAft>
              <a:buFont typeface="Arial" panose="020B0604020202020204" pitchFamily="34" charset="0"/>
              <a:buChar char="•"/>
              <a:defRPr/>
            </a:pPr>
            <a:r>
              <a:rPr lang="en-US" sz="1200" dirty="0">
                <a:solidFill>
                  <a:schemeClr val="bg1">
                    <a:lumMod val="50000"/>
                  </a:schemeClr>
                </a:solidFill>
                <a:latin typeface="Segoe UI" panose="020B0502040204020203" pitchFamily="34" charset="0"/>
                <a:ea typeface="Calibri" panose="020F0502020204030204" pitchFamily="34" charset="0"/>
                <a:cs typeface="Segoe UI" panose="020B0502040204020203" pitchFamily="34" charset="0"/>
              </a:rPr>
              <a:t>Premium Tier </a:t>
            </a:r>
          </a:p>
          <a:p>
            <a:pPr marL="285750" indent="-285750">
              <a:spcAft>
                <a:spcPts val="224"/>
              </a:spcAft>
              <a:buFont typeface="Arial" panose="020B0604020202020204" pitchFamily="34" charset="0"/>
              <a:buChar char="•"/>
              <a:defRPr/>
            </a:pPr>
            <a:r>
              <a:rPr lang="en-US" sz="1200" dirty="0">
                <a:solidFill>
                  <a:schemeClr val="bg1">
                    <a:lumMod val="50000"/>
                  </a:schemeClr>
                </a:solidFill>
                <a:latin typeface="Segoe UI" panose="020B0502040204020203" pitchFamily="34" charset="0"/>
                <a:ea typeface="Calibri" panose="020F0502020204030204" pitchFamily="34" charset="0"/>
                <a:cs typeface="Segoe UI" panose="020B0502040204020203" pitchFamily="34" charset="0"/>
              </a:rPr>
              <a:t>App Service Environments</a:t>
            </a:r>
          </a:p>
          <a:p>
            <a:pPr marL="285750" indent="-285750">
              <a:spcAft>
                <a:spcPts val="224"/>
              </a:spcAft>
              <a:buFont typeface="Arial" panose="020B0604020202020204" pitchFamily="34" charset="0"/>
              <a:buChar char="•"/>
              <a:defRPr/>
            </a:pPr>
            <a:r>
              <a:rPr lang="en-US" sz="1200" dirty="0">
                <a:solidFill>
                  <a:schemeClr val="bg1">
                    <a:lumMod val="50000"/>
                  </a:schemeClr>
                </a:solidFill>
                <a:latin typeface="Segoe UI" panose="020B0502040204020203" pitchFamily="34" charset="0"/>
                <a:ea typeface="Calibri" panose="020F0502020204030204" pitchFamily="34" charset="0"/>
                <a:cs typeface="Segoe UI" panose="020B0502040204020203" pitchFamily="34" charset="0"/>
              </a:rPr>
              <a:t>Hybrid Connections/Relay/VPN Support</a:t>
            </a:r>
          </a:p>
          <a:p>
            <a:pPr marL="285750" indent="-285750">
              <a:spcAft>
                <a:spcPts val="224"/>
              </a:spcAft>
              <a:buFont typeface="Arial" panose="020B0604020202020204" pitchFamily="34" charset="0"/>
              <a:buChar char="•"/>
              <a:defRPr/>
            </a:pPr>
            <a:r>
              <a:rPr lang="en-US" sz="1200" dirty="0">
                <a:solidFill>
                  <a:schemeClr val="bg1">
                    <a:lumMod val="50000"/>
                  </a:schemeClr>
                </a:solidFill>
                <a:latin typeface="Segoe UI" panose="020B0502040204020203" pitchFamily="34" charset="0"/>
                <a:ea typeface="Calibri" panose="020F0502020204030204" pitchFamily="34" charset="0"/>
                <a:cs typeface="Segoe UI" panose="020B0502040204020203" pitchFamily="34" charset="0"/>
              </a:rPr>
              <a:t>Scheduled Backup</a:t>
            </a:r>
          </a:p>
          <a:p>
            <a:pPr marL="285750" indent="-285750">
              <a:spcAft>
                <a:spcPts val="224"/>
              </a:spcAft>
              <a:buFont typeface="Arial" panose="020B0604020202020204" pitchFamily="34" charset="0"/>
              <a:buChar char="•"/>
              <a:defRPr/>
            </a:pPr>
            <a:r>
              <a:rPr lang="en-US" sz="1200" dirty="0">
                <a:solidFill>
                  <a:schemeClr val="bg1">
                    <a:lumMod val="50000"/>
                  </a:schemeClr>
                </a:solidFill>
                <a:latin typeface="Segoe UI" panose="020B0502040204020203" pitchFamily="34" charset="0"/>
                <a:ea typeface="Calibri" panose="020F0502020204030204" pitchFamily="34" charset="0"/>
                <a:cs typeface="Segoe UI" panose="020B0502040204020203" pitchFamily="34" charset="0"/>
              </a:rPr>
              <a:t>Azure Active Directory Integration </a:t>
            </a:r>
          </a:p>
          <a:p>
            <a:pPr marL="285750" indent="-285750">
              <a:spcAft>
                <a:spcPts val="224"/>
              </a:spcAft>
              <a:buFont typeface="Arial" panose="020B0604020202020204" pitchFamily="34" charset="0"/>
              <a:buChar char="•"/>
              <a:defRPr/>
            </a:pPr>
            <a:r>
              <a:rPr lang="en-US" sz="1200" dirty="0">
                <a:solidFill>
                  <a:schemeClr val="bg1">
                    <a:lumMod val="50000"/>
                  </a:schemeClr>
                </a:solidFill>
                <a:latin typeface="Segoe UI" panose="020B0502040204020203" pitchFamily="34" charset="0"/>
                <a:ea typeface="Calibri" panose="020F0502020204030204" pitchFamily="34" charset="0"/>
                <a:cs typeface="Segoe UI" panose="020B0502040204020203" pitchFamily="34" charset="0"/>
              </a:rPr>
              <a:t>Site Resiliency, HA, and DR</a:t>
            </a:r>
          </a:p>
          <a:p>
            <a:pPr marL="285750" indent="-285750">
              <a:spcAft>
                <a:spcPts val="224"/>
              </a:spcAft>
              <a:buFont typeface="Arial" panose="020B0604020202020204" pitchFamily="34" charset="0"/>
              <a:buChar char="•"/>
              <a:defRPr/>
            </a:pPr>
            <a:r>
              <a:rPr lang="en-US" sz="1200" dirty="0">
                <a:solidFill>
                  <a:schemeClr val="bg1">
                    <a:lumMod val="50000"/>
                  </a:schemeClr>
                </a:solidFill>
                <a:latin typeface="Segoe UI" panose="020B0502040204020203" pitchFamily="34" charset="0"/>
                <a:ea typeface="Calibri" panose="020F0502020204030204" pitchFamily="34" charset="0"/>
                <a:cs typeface="Segoe UI" panose="020B0502040204020203" pitchFamily="34" charset="0"/>
              </a:rPr>
              <a:t>Role Base Access Control </a:t>
            </a:r>
          </a:p>
          <a:p>
            <a:pPr marL="285750" indent="-285750">
              <a:spcAft>
                <a:spcPts val="224"/>
              </a:spcAft>
              <a:buFont typeface="Arial" panose="020B0604020202020204" pitchFamily="34" charset="0"/>
              <a:buChar char="•"/>
              <a:defRPr/>
            </a:pPr>
            <a:r>
              <a:rPr lang="en-US" sz="1200" dirty="0">
                <a:solidFill>
                  <a:schemeClr val="bg1">
                    <a:lumMod val="50000"/>
                  </a:schemeClr>
                </a:solidFill>
                <a:latin typeface="Segoe UI" panose="020B0502040204020203" pitchFamily="34" charset="0"/>
                <a:ea typeface="Calibri" panose="020F0502020204030204" pitchFamily="34" charset="0"/>
                <a:cs typeface="Segoe UI" panose="020B0502040204020203" pitchFamily="34" charset="0"/>
              </a:rPr>
              <a:t>Audit/Compliance </a:t>
            </a:r>
          </a:p>
          <a:p>
            <a:pPr marL="285750" indent="-285750">
              <a:spcAft>
                <a:spcPts val="224"/>
              </a:spcAft>
              <a:buFont typeface="Arial" panose="020B0604020202020204" pitchFamily="34" charset="0"/>
              <a:buChar char="•"/>
              <a:defRPr/>
            </a:pPr>
            <a:r>
              <a:rPr lang="en-US" sz="1200" dirty="0">
                <a:solidFill>
                  <a:schemeClr val="bg1">
                    <a:lumMod val="50000"/>
                  </a:schemeClr>
                </a:solidFill>
                <a:latin typeface="Segoe UI" panose="020B0502040204020203" pitchFamily="34" charset="0"/>
                <a:ea typeface="Calibri" panose="020F0502020204030204" pitchFamily="34" charset="0"/>
                <a:cs typeface="Segoe UI" panose="020B0502040204020203" pitchFamily="34" charset="0"/>
              </a:rPr>
              <a:t>Enterprise Migration</a:t>
            </a:r>
          </a:p>
          <a:p>
            <a:pPr marL="285750" indent="-285750">
              <a:spcAft>
                <a:spcPts val="224"/>
              </a:spcAft>
              <a:buFont typeface="Arial" panose="020B0604020202020204" pitchFamily="34" charset="0"/>
              <a:buChar char="•"/>
              <a:defRPr/>
            </a:pPr>
            <a:r>
              <a:rPr lang="en-US" sz="1200" dirty="0">
                <a:solidFill>
                  <a:schemeClr val="bg1">
                    <a:lumMod val="50000"/>
                  </a:schemeClr>
                </a:solidFill>
                <a:latin typeface="Segoe UI" panose="020B0502040204020203" pitchFamily="34" charset="0"/>
                <a:ea typeface="Calibri" panose="020F0502020204030204" pitchFamily="34" charset="0"/>
                <a:cs typeface="Segoe UI" panose="020B0502040204020203" pitchFamily="34" charset="0"/>
              </a:rPr>
              <a:t>Client Certs </a:t>
            </a:r>
          </a:p>
          <a:p>
            <a:pPr marL="285750" indent="-285750">
              <a:spcAft>
                <a:spcPts val="224"/>
              </a:spcAft>
              <a:buFont typeface="Arial" panose="020B0604020202020204" pitchFamily="34" charset="0"/>
              <a:buChar char="•"/>
              <a:defRPr/>
            </a:pPr>
            <a:r>
              <a:rPr lang="en-US" sz="1200" dirty="0">
                <a:solidFill>
                  <a:schemeClr val="bg1">
                    <a:lumMod val="50000"/>
                  </a:schemeClr>
                </a:solidFill>
                <a:latin typeface="Segoe UI" panose="020B0502040204020203" pitchFamily="34" charset="0"/>
                <a:ea typeface="Calibri" panose="020F0502020204030204" pitchFamily="34" charset="0"/>
                <a:cs typeface="Segoe UI" panose="020B0502040204020203" pitchFamily="34" charset="0"/>
              </a:rPr>
              <a:t>IP Restrictions/SSL</a:t>
            </a:r>
          </a:p>
          <a:p>
            <a:pPr marL="285750" indent="-285750">
              <a:spcAft>
                <a:spcPts val="224"/>
              </a:spcAft>
              <a:buFont typeface="Arial" panose="020B0604020202020204" pitchFamily="34" charset="0"/>
              <a:buChar char="•"/>
              <a:defRPr/>
            </a:pPr>
            <a:r>
              <a:rPr lang="en-US" sz="1200" dirty="0">
                <a:solidFill>
                  <a:schemeClr val="bg1">
                    <a:lumMod val="50000"/>
                  </a:schemeClr>
                </a:solidFill>
                <a:latin typeface="Segoe UI" panose="020B0502040204020203" pitchFamily="34" charset="0"/>
                <a:ea typeface="Calibri" panose="020F0502020204030204" pitchFamily="34" charset="0"/>
                <a:cs typeface="Segoe UI" panose="020B0502040204020203" pitchFamily="34" charset="0"/>
              </a:rPr>
              <a:t>Dedicated IP address IP/NSG</a:t>
            </a:r>
          </a:p>
          <a:p>
            <a:pPr marL="285750" indent="-285750">
              <a:spcAft>
                <a:spcPts val="224"/>
              </a:spcAft>
              <a:buFont typeface="Arial" panose="020B0604020202020204" pitchFamily="34" charset="0"/>
              <a:buChar char="•"/>
              <a:defRPr/>
            </a:pPr>
            <a:r>
              <a:rPr lang="en-US" sz="1200" dirty="0">
                <a:solidFill>
                  <a:schemeClr val="bg1">
                    <a:lumMod val="50000"/>
                  </a:schemeClr>
                </a:solidFill>
                <a:latin typeface="Segoe UI" panose="020B0502040204020203" pitchFamily="34" charset="0"/>
                <a:ea typeface="Calibri" panose="020F0502020204030204" pitchFamily="34" charset="0"/>
                <a:cs typeface="Segoe UI" panose="020B0502040204020203" pitchFamily="34" charset="0"/>
              </a:rPr>
              <a:t>Web Sockets</a:t>
            </a:r>
          </a:p>
          <a:p>
            <a:pPr marL="285750" indent="-285750">
              <a:spcAft>
                <a:spcPts val="224"/>
              </a:spcAft>
              <a:buFont typeface="Arial" panose="020B0604020202020204" pitchFamily="34" charset="0"/>
              <a:buChar char="•"/>
              <a:defRPr/>
            </a:pPr>
            <a:r>
              <a:rPr lang="en-US" sz="1200" dirty="0">
                <a:solidFill>
                  <a:schemeClr val="bg1">
                    <a:lumMod val="50000"/>
                  </a:schemeClr>
                </a:solidFill>
                <a:latin typeface="Segoe UI" panose="020B0502040204020203" pitchFamily="34" charset="0"/>
                <a:ea typeface="Calibri" panose="020F0502020204030204" pitchFamily="34" charset="0"/>
                <a:cs typeface="Segoe UI" panose="020B0502040204020203" pitchFamily="34" charset="0"/>
              </a:rPr>
              <a:t>WW Datacenter Coverage</a:t>
            </a:r>
          </a:p>
        </p:txBody>
      </p:sp>
      <p:sp>
        <p:nvSpPr>
          <p:cNvPr id="31" name="TextBox 30"/>
          <p:cNvSpPr txBox="1"/>
          <p:nvPr/>
        </p:nvSpPr>
        <p:spPr>
          <a:xfrm>
            <a:off x="4811274" y="3034444"/>
            <a:ext cx="2661570" cy="3535266"/>
          </a:xfrm>
          <a:prstGeom prst="rect">
            <a:avLst/>
          </a:prstGeom>
          <a:noFill/>
          <a:ln>
            <a:noFill/>
          </a:ln>
        </p:spPr>
        <p:txBody>
          <a:bodyPr wrap="square" lIns="137123" tIns="109698" rIns="137123" bIns="109698" rtlCol="0">
            <a:spAutoFit/>
          </a:bodyPr>
          <a:lstStyle/>
          <a:p>
            <a:pPr marL="285750" indent="-285750">
              <a:spcAft>
                <a:spcPts val="224"/>
              </a:spcAft>
              <a:buFont typeface="Arial" panose="020B0604020202020204" pitchFamily="34" charset="0"/>
              <a:buChar char="•"/>
              <a:defRPr/>
            </a:pPr>
            <a:r>
              <a:rPr lang="en-US" sz="1200" dirty="0">
                <a:solidFill>
                  <a:schemeClr val="bg1">
                    <a:lumMod val="50000"/>
                  </a:schemeClr>
                </a:solidFill>
                <a:latin typeface="Segoe UI" panose="020B0502040204020203" pitchFamily="34" charset="0"/>
                <a:ea typeface="Calibri" panose="020F0502020204030204" pitchFamily="34" charset="0"/>
                <a:cs typeface="Segoe UI" panose="020B0502040204020203" pitchFamily="34" charset="0"/>
              </a:rPr>
              <a:t>Automated Deployment</a:t>
            </a:r>
            <a:br>
              <a:rPr lang="en-US" sz="1200" dirty="0">
                <a:solidFill>
                  <a:schemeClr val="bg1">
                    <a:lumMod val="50000"/>
                  </a:schemeClr>
                </a:solidFill>
                <a:latin typeface="Segoe UI" panose="020B0502040204020203" pitchFamily="34" charset="0"/>
                <a:ea typeface="Calibri" panose="020F0502020204030204" pitchFamily="34" charset="0"/>
                <a:cs typeface="Segoe UI" panose="020B0502040204020203" pitchFamily="34" charset="0"/>
              </a:rPr>
            </a:br>
            <a:r>
              <a:rPr lang="en-US" sz="1200" dirty="0" err="1">
                <a:solidFill>
                  <a:schemeClr val="bg1">
                    <a:lumMod val="50000"/>
                  </a:schemeClr>
                </a:solidFill>
                <a:latin typeface="Segoe UI" panose="020B0502040204020203" pitchFamily="34" charset="0"/>
                <a:ea typeface="Calibri" panose="020F0502020204030204" pitchFamily="34" charset="0"/>
                <a:cs typeface="Segoe UI" panose="020B0502040204020203" pitchFamily="34" charset="0"/>
              </a:rPr>
              <a:t>AutoScale</a:t>
            </a:r>
            <a:endParaRPr lang="en-US" sz="1200" dirty="0">
              <a:solidFill>
                <a:schemeClr val="bg1">
                  <a:lumMod val="50000"/>
                </a:schemeClr>
              </a:solidFill>
              <a:latin typeface="Segoe UI" panose="020B0502040204020203" pitchFamily="34" charset="0"/>
              <a:ea typeface="Calibri" panose="020F0502020204030204" pitchFamily="34" charset="0"/>
              <a:cs typeface="Segoe UI" panose="020B0502040204020203" pitchFamily="34" charset="0"/>
            </a:endParaRPr>
          </a:p>
          <a:p>
            <a:pPr marL="285750" indent="-285750">
              <a:spcAft>
                <a:spcPts val="224"/>
              </a:spcAft>
              <a:buFont typeface="Arial" panose="020B0604020202020204" pitchFamily="34" charset="0"/>
              <a:buChar char="•"/>
              <a:defRPr/>
            </a:pPr>
            <a:r>
              <a:rPr lang="en-US" sz="1200" dirty="0">
                <a:solidFill>
                  <a:schemeClr val="bg1">
                    <a:lumMod val="50000"/>
                  </a:schemeClr>
                </a:solidFill>
                <a:latin typeface="Segoe UI" panose="020B0502040204020203" pitchFamily="34" charset="0"/>
                <a:ea typeface="Calibri" panose="020F0502020204030204" pitchFamily="34" charset="0"/>
                <a:cs typeface="Segoe UI" panose="020B0502040204020203" pitchFamily="34" charset="0"/>
              </a:rPr>
              <a:t>Built-in Load Balancing</a:t>
            </a:r>
          </a:p>
          <a:p>
            <a:pPr marL="285750" indent="-285750">
              <a:spcAft>
                <a:spcPts val="224"/>
              </a:spcAft>
              <a:buFont typeface="Arial" panose="020B0604020202020204" pitchFamily="34" charset="0"/>
              <a:buChar char="•"/>
              <a:defRPr/>
            </a:pPr>
            <a:r>
              <a:rPr lang="en-US" sz="1200" dirty="0">
                <a:solidFill>
                  <a:schemeClr val="bg1">
                    <a:lumMod val="50000"/>
                  </a:schemeClr>
                </a:solidFill>
                <a:latin typeface="Segoe UI" panose="020B0502040204020203" pitchFamily="34" charset="0"/>
                <a:ea typeface="Calibri" panose="020F0502020204030204" pitchFamily="34" charset="0"/>
                <a:cs typeface="Segoe UI" panose="020B0502040204020203" pitchFamily="34" charset="0"/>
              </a:rPr>
              <a:t>WW Datacenter Coverage</a:t>
            </a:r>
          </a:p>
          <a:p>
            <a:pPr marL="285750" indent="-285750">
              <a:spcAft>
                <a:spcPts val="224"/>
              </a:spcAft>
              <a:buFont typeface="Arial" panose="020B0604020202020204" pitchFamily="34" charset="0"/>
              <a:buChar char="•"/>
              <a:defRPr/>
            </a:pPr>
            <a:r>
              <a:rPr lang="en-US" sz="1200" dirty="0">
                <a:solidFill>
                  <a:schemeClr val="bg1">
                    <a:lumMod val="50000"/>
                  </a:schemeClr>
                </a:solidFill>
                <a:latin typeface="Segoe UI" panose="020B0502040204020203" pitchFamily="34" charset="0"/>
                <a:ea typeface="Calibri" panose="020F0502020204030204" pitchFamily="34" charset="0"/>
                <a:cs typeface="Segoe UI" panose="020B0502040204020203" pitchFamily="34" charset="0"/>
              </a:rPr>
              <a:t>End Point Monitoring &amp; Alerts</a:t>
            </a:r>
          </a:p>
          <a:p>
            <a:pPr marL="285750" indent="-285750">
              <a:spcAft>
                <a:spcPts val="224"/>
              </a:spcAft>
              <a:buFont typeface="Arial" panose="020B0604020202020204" pitchFamily="34" charset="0"/>
              <a:buChar char="•"/>
              <a:defRPr/>
            </a:pPr>
            <a:r>
              <a:rPr lang="en-US" sz="1200" dirty="0" err="1">
                <a:solidFill>
                  <a:schemeClr val="bg1">
                    <a:lumMod val="50000"/>
                  </a:schemeClr>
                </a:solidFill>
                <a:latin typeface="Segoe UI" panose="020B0502040204020203" pitchFamily="34" charset="0"/>
                <a:ea typeface="Calibri" panose="020F0502020204030204" pitchFamily="34" charset="0"/>
                <a:cs typeface="Segoe UI" panose="020B0502040204020203" pitchFamily="34" charset="0"/>
              </a:rPr>
              <a:t>WildCard</a:t>
            </a:r>
            <a:r>
              <a:rPr lang="en-US" sz="1200" dirty="0">
                <a:solidFill>
                  <a:schemeClr val="bg1">
                    <a:lumMod val="50000"/>
                  </a:schemeClr>
                </a:solidFill>
                <a:latin typeface="Segoe UI" panose="020B0502040204020203" pitchFamily="34" charset="0"/>
                <a:ea typeface="Calibri" panose="020F0502020204030204" pitchFamily="34" charset="0"/>
                <a:cs typeface="Segoe UI" panose="020B0502040204020203" pitchFamily="34" charset="0"/>
              </a:rPr>
              <a:t> Support</a:t>
            </a:r>
          </a:p>
          <a:p>
            <a:pPr marL="285750" indent="-285750">
              <a:spcAft>
                <a:spcPts val="224"/>
              </a:spcAft>
              <a:buFont typeface="Arial" panose="020B0604020202020204" pitchFamily="34" charset="0"/>
              <a:buChar char="•"/>
              <a:defRPr/>
            </a:pPr>
            <a:r>
              <a:rPr lang="en-US" sz="1200" dirty="0">
                <a:solidFill>
                  <a:schemeClr val="bg1">
                    <a:lumMod val="50000"/>
                  </a:schemeClr>
                </a:solidFill>
                <a:latin typeface="Segoe UI" panose="020B0502040204020203" pitchFamily="34" charset="0"/>
                <a:ea typeface="Calibri" panose="020F0502020204030204" pitchFamily="34" charset="0"/>
                <a:cs typeface="Segoe UI" panose="020B0502040204020203" pitchFamily="34" charset="0"/>
              </a:rPr>
              <a:t>HTTP Compression </a:t>
            </a:r>
          </a:p>
          <a:p>
            <a:pPr marL="285750" indent="-285750">
              <a:spcAft>
                <a:spcPts val="224"/>
              </a:spcAft>
              <a:buFont typeface="Arial" panose="020B0604020202020204" pitchFamily="34" charset="0"/>
              <a:buChar char="•"/>
              <a:defRPr/>
            </a:pPr>
            <a:r>
              <a:rPr lang="en-US" sz="1200" dirty="0" err="1">
                <a:solidFill>
                  <a:schemeClr val="bg1">
                    <a:lumMod val="50000"/>
                  </a:schemeClr>
                </a:solidFill>
                <a:latin typeface="Segoe UI" panose="020B0502040204020203" pitchFamily="34" charset="0"/>
                <a:ea typeface="Calibri" panose="020F0502020204030204" pitchFamily="34" charset="0"/>
                <a:cs typeface="Segoe UI" panose="020B0502040204020203" pitchFamily="34" charset="0"/>
              </a:rPr>
              <a:t>WebJobs</a:t>
            </a:r>
            <a:endParaRPr lang="en-US" sz="1200" dirty="0">
              <a:solidFill>
                <a:schemeClr val="bg1">
                  <a:lumMod val="50000"/>
                </a:schemeClr>
              </a:solidFill>
              <a:latin typeface="Segoe UI" panose="020B0502040204020203" pitchFamily="34" charset="0"/>
              <a:ea typeface="Calibri" panose="020F0502020204030204" pitchFamily="34" charset="0"/>
              <a:cs typeface="Segoe UI" panose="020B0502040204020203" pitchFamily="34" charset="0"/>
            </a:endParaRPr>
          </a:p>
          <a:p>
            <a:pPr marL="285750" indent="-285750">
              <a:spcAft>
                <a:spcPts val="224"/>
              </a:spcAft>
              <a:buFont typeface="Arial" panose="020B0604020202020204" pitchFamily="34" charset="0"/>
              <a:buChar char="•"/>
              <a:defRPr/>
            </a:pPr>
            <a:r>
              <a:rPr lang="en-US" sz="1200" dirty="0">
                <a:solidFill>
                  <a:schemeClr val="bg1">
                    <a:lumMod val="50000"/>
                  </a:schemeClr>
                </a:solidFill>
                <a:latin typeface="Segoe UI" panose="020B0502040204020203" pitchFamily="34" charset="0"/>
                <a:ea typeface="Calibri" panose="020F0502020204030204" pitchFamily="34" charset="0"/>
                <a:cs typeface="Segoe UI" panose="020B0502040204020203" pitchFamily="34" charset="0"/>
              </a:rPr>
              <a:t>Sticky Sessions</a:t>
            </a:r>
          </a:p>
          <a:p>
            <a:pPr marL="285750" indent="-285750">
              <a:spcAft>
                <a:spcPts val="224"/>
              </a:spcAft>
              <a:buFont typeface="Arial" panose="020B0604020202020204" pitchFamily="34" charset="0"/>
              <a:buChar char="•"/>
              <a:defRPr/>
            </a:pPr>
            <a:r>
              <a:rPr lang="en-US" sz="1200" dirty="0">
                <a:solidFill>
                  <a:schemeClr val="bg1">
                    <a:lumMod val="50000"/>
                  </a:schemeClr>
                </a:solidFill>
                <a:latin typeface="Segoe UI" panose="020B0502040204020203" pitchFamily="34" charset="0"/>
                <a:ea typeface="Calibri" panose="020F0502020204030204" pitchFamily="34" charset="0"/>
                <a:cs typeface="Segoe UI" panose="020B0502040204020203" pitchFamily="34" charset="0"/>
              </a:rPr>
              <a:t>OS and Framework Patching  </a:t>
            </a:r>
          </a:p>
          <a:p>
            <a:pPr marL="285750" indent="-285750">
              <a:spcAft>
                <a:spcPts val="224"/>
              </a:spcAft>
              <a:buFont typeface="Arial" panose="020B0604020202020204" pitchFamily="34" charset="0"/>
              <a:buChar char="•"/>
              <a:defRPr/>
            </a:pPr>
            <a:r>
              <a:rPr lang="en-US" sz="1200" dirty="0">
                <a:solidFill>
                  <a:schemeClr val="bg1">
                    <a:lumMod val="50000"/>
                  </a:schemeClr>
                </a:solidFill>
                <a:latin typeface="Segoe UI" panose="020B0502040204020203" pitchFamily="34" charset="0"/>
                <a:ea typeface="Calibri" panose="020F0502020204030204" pitchFamily="34" charset="0"/>
                <a:cs typeface="Segoe UI" panose="020B0502040204020203" pitchFamily="34" charset="0"/>
              </a:rPr>
              <a:t>Auto-Healing</a:t>
            </a:r>
          </a:p>
          <a:p>
            <a:pPr marL="285750" indent="-285750">
              <a:spcAft>
                <a:spcPts val="224"/>
              </a:spcAft>
              <a:buFont typeface="Arial" panose="020B0604020202020204" pitchFamily="34" charset="0"/>
              <a:buChar char="•"/>
              <a:defRPr/>
            </a:pPr>
            <a:r>
              <a:rPr lang="en-US" sz="1200" dirty="0">
                <a:solidFill>
                  <a:schemeClr val="bg1">
                    <a:lumMod val="50000"/>
                  </a:schemeClr>
                </a:solidFill>
                <a:latin typeface="Segoe UI" panose="020B0502040204020203" pitchFamily="34" charset="0"/>
                <a:ea typeface="Calibri" panose="020F0502020204030204" pitchFamily="34" charset="0"/>
                <a:cs typeface="Segoe UI" panose="020B0502040204020203" pitchFamily="34" charset="0"/>
              </a:rPr>
              <a:t>Local Cache</a:t>
            </a:r>
          </a:p>
          <a:p>
            <a:pPr marL="285750" indent="-285750">
              <a:spcAft>
                <a:spcPts val="224"/>
              </a:spcAft>
              <a:buFont typeface="Arial" panose="020B0604020202020204" pitchFamily="34" charset="0"/>
              <a:buChar char="•"/>
              <a:defRPr/>
            </a:pPr>
            <a:r>
              <a:rPr lang="en-US" sz="1200" dirty="0" err="1">
                <a:solidFill>
                  <a:schemeClr val="bg1">
                    <a:lumMod val="50000"/>
                  </a:schemeClr>
                </a:solidFill>
                <a:latin typeface="Segoe UI" panose="020B0502040204020203" pitchFamily="34" charset="0"/>
                <a:ea typeface="Calibri" panose="020F0502020204030204" pitchFamily="34" charset="0"/>
                <a:cs typeface="Segoe UI" panose="020B0502040204020203" pitchFamily="34" charset="0"/>
              </a:rPr>
              <a:t>Init</a:t>
            </a:r>
            <a:r>
              <a:rPr lang="en-US" sz="1200" dirty="0">
                <a:solidFill>
                  <a:schemeClr val="bg1">
                    <a:lumMod val="50000"/>
                  </a:schemeClr>
                </a:solidFill>
                <a:latin typeface="Segoe UI" panose="020B0502040204020203" pitchFamily="34" charset="0"/>
                <a:ea typeface="Calibri" panose="020F0502020204030204" pitchFamily="34" charset="0"/>
                <a:cs typeface="Segoe UI" panose="020B0502040204020203" pitchFamily="34" charset="0"/>
              </a:rPr>
              <a:t> Module</a:t>
            </a:r>
          </a:p>
          <a:p>
            <a:pPr marL="285750" indent="-285750">
              <a:spcAft>
                <a:spcPts val="224"/>
              </a:spcAft>
              <a:buFont typeface="Arial" panose="020B0604020202020204" pitchFamily="34" charset="0"/>
              <a:buChar char="•"/>
              <a:defRPr/>
            </a:pPr>
            <a:r>
              <a:rPr lang="en-US" sz="1200" dirty="0">
                <a:solidFill>
                  <a:schemeClr val="bg1">
                    <a:lumMod val="50000"/>
                  </a:schemeClr>
                </a:solidFill>
                <a:latin typeface="Segoe UI" panose="020B0502040204020203" pitchFamily="34" charset="0"/>
                <a:ea typeface="Calibri" panose="020F0502020204030204" pitchFamily="34" charset="0"/>
                <a:cs typeface="Segoe UI" panose="020B0502040204020203" pitchFamily="34" charset="0"/>
              </a:rPr>
              <a:t>Per Site Scaling</a:t>
            </a:r>
          </a:p>
          <a:p>
            <a:pPr marL="285750" indent="-285750">
              <a:spcAft>
                <a:spcPts val="224"/>
              </a:spcAft>
              <a:buFont typeface="Arial" panose="020B0604020202020204" pitchFamily="34" charset="0"/>
              <a:buChar char="•"/>
              <a:defRPr/>
            </a:pPr>
            <a:r>
              <a:rPr lang="en-US" sz="1200" dirty="0">
                <a:solidFill>
                  <a:schemeClr val="bg1">
                    <a:lumMod val="50000"/>
                  </a:schemeClr>
                </a:solidFill>
                <a:latin typeface="Segoe UI" panose="020B0502040204020203" pitchFamily="34" charset="0"/>
                <a:ea typeface="Calibri" panose="020F0502020204030204" pitchFamily="34" charset="0"/>
                <a:cs typeface="Segoe UI" panose="020B0502040204020203" pitchFamily="34" charset="0"/>
              </a:rPr>
              <a:t>Admin-Site</a:t>
            </a:r>
          </a:p>
          <a:p>
            <a:pPr marL="285750" indent="-285750">
              <a:spcAft>
                <a:spcPts val="224"/>
              </a:spcAft>
              <a:buFont typeface="Arial" panose="020B0604020202020204" pitchFamily="34" charset="0"/>
              <a:buChar char="•"/>
              <a:defRPr/>
            </a:pPr>
            <a:endParaRPr lang="en-US" sz="1200" dirty="0">
              <a:solidFill>
                <a:schemeClr val="bg1">
                  <a:lumMod val="50000"/>
                </a:schemeClr>
              </a:solidFill>
              <a:latin typeface="Segoe UI" panose="020B0502040204020203" pitchFamily="34" charset="0"/>
              <a:ea typeface="Calibri" panose="020F0502020204030204" pitchFamily="34" charset="0"/>
              <a:cs typeface="Segoe UI" panose="020B0502040204020203" pitchFamily="34" charset="0"/>
            </a:endParaRPr>
          </a:p>
        </p:txBody>
      </p:sp>
      <p:sp>
        <p:nvSpPr>
          <p:cNvPr id="32" name="TextBox 31"/>
          <p:cNvSpPr txBox="1"/>
          <p:nvPr/>
        </p:nvSpPr>
        <p:spPr>
          <a:xfrm>
            <a:off x="8341297" y="3042789"/>
            <a:ext cx="3428034" cy="3599386"/>
          </a:xfrm>
          <a:prstGeom prst="rect">
            <a:avLst/>
          </a:prstGeom>
          <a:noFill/>
          <a:ln>
            <a:noFill/>
          </a:ln>
        </p:spPr>
        <p:txBody>
          <a:bodyPr wrap="square" lIns="137123" tIns="109698" rIns="137123" bIns="109698" rtlCol="0">
            <a:spAutoFit/>
          </a:bodyPr>
          <a:lstStyle/>
          <a:p>
            <a:pPr marL="285750" indent="-285750">
              <a:spcAft>
                <a:spcPts val="224"/>
              </a:spcAft>
              <a:buFont typeface="Arial" panose="020B0604020202020204" pitchFamily="34" charset="0"/>
              <a:buChar char="•"/>
              <a:defRPr/>
            </a:pPr>
            <a:r>
              <a:rPr lang="en-US" sz="1200" dirty="0">
                <a:solidFill>
                  <a:schemeClr val="bg1">
                    <a:lumMod val="50000"/>
                  </a:schemeClr>
                </a:solidFill>
                <a:latin typeface="Segoe UI" panose="020B0502040204020203" pitchFamily="34" charset="0"/>
                <a:ea typeface="Calibri" panose="020F0502020204030204" pitchFamily="34" charset="0"/>
                <a:cs typeface="Segoe UI" panose="020B0502040204020203" pitchFamily="34" charset="0"/>
              </a:rPr>
              <a:t>Remote Debugging w/ Visual Studio </a:t>
            </a:r>
          </a:p>
          <a:p>
            <a:pPr marL="285750" indent="-285750">
              <a:spcAft>
                <a:spcPts val="224"/>
              </a:spcAft>
              <a:buFont typeface="Arial" panose="020B0604020202020204" pitchFamily="34" charset="0"/>
              <a:buChar char="•"/>
              <a:defRPr/>
            </a:pPr>
            <a:r>
              <a:rPr lang="en-US" sz="1200" dirty="0">
                <a:solidFill>
                  <a:schemeClr val="bg1">
                    <a:lumMod val="50000"/>
                  </a:schemeClr>
                </a:solidFill>
                <a:latin typeface="Segoe UI" panose="020B0502040204020203" pitchFamily="34" charset="0"/>
                <a:ea typeface="Calibri" panose="020F0502020204030204" pitchFamily="34" charset="0"/>
                <a:cs typeface="Segoe UI" panose="020B0502040204020203" pitchFamily="34" charset="0"/>
              </a:rPr>
              <a:t>Site Staging Slots/Preview</a:t>
            </a:r>
          </a:p>
          <a:p>
            <a:pPr marL="285750" indent="-285750">
              <a:spcAft>
                <a:spcPts val="224"/>
              </a:spcAft>
              <a:buFont typeface="Arial" panose="020B0604020202020204" pitchFamily="34" charset="0"/>
              <a:buChar char="•"/>
              <a:defRPr/>
            </a:pPr>
            <a:r>
              <a:rPr lang="en-US" sz="1200" dirty="0">
                <a:solidFill>
                  <a:schemeClr val="bg1">
                    <a:lumMod val="50000"/>
                  </a:schemeClr>
                </a:solidFill>
                <a:latin typeface="Segoe UI" panose="020B0502040204020203" pitchFamily="34" charset="0"/>
                <a:ea typeface="Calibri" panose="020F0502020204030204" pitchFamily="34" charset="0"/>
                <a:cs typeface="Segoe UI" panose="020B0502040204020203" pitchFamily="34" charset="0"/>
              </a:rPr>
              <a:t>Traffic Routing</a:t>
            </a:r>
          </a:p>
          <a:p>
            <a:pPr marL="285750" indent="-285750">
              <a:spcAft>
                <a:spcPts val="224"/>
              </a:spcAft>
              <a:buFont typeface="Arial" panose="020B0604020202020204" pitchFamily="34" charset="0"/>
              <a:buChar char="•"/>
              <a:defRPr/>
            </a:pPr>
            <a:r>
              <a:rPr lang="en-US" sz="1200" dirty="0">
                <a:solidFill>
                  <a:schemeClr val="bg1">
                    <a:lumMod val="50000"/>
                  </a:schemeClr>
                </a:solidFill>
                <a:latin typeface="Segoe UI" panose="020B0502040204020203" pitchFamily="34" charset="0"/>
                <a:ea typeface="Calibri" panose="020F0502020204030204" pitchFamily="34" charset="0"/>
                <a:cs typeface="Segoe UI" panose="020B0502040204020203" pitchFamily="34" charset="0"/>
              </a:rPr>
              <a:t>Continuous Integration/Deployment </a:t>
            </a:r>
          </a:p>
          <a:p>
            <a:pPr marL="285750" indent="-285750">
              <a:spcAft>
                <a:spcPts val="224"/>
              </a:spcAft>
              <a:buFont typeface="Arial" panose="020B0604020202020204" pitchFamily="34" charset="0"/>
              <a:buChar char="•"/>
              <a:defRPr/>
            </a:pPr>
            <a:r>
              <a:rPr lang="en-US" sz="1200" dirty="0" err="1">
                <a:solidFill>
                  <a:schemeClr val="bg1">
                    <a:lumMod val="50000"/>
                  </a:schemeClr>
                </a:solidFill>
                <a:latin typeface="Segoe UI" panose="020B0502040204020203" pitchFamily="34" charset="0"/>
                <a:ea typeface="Calibri" panose="020F0502020204030204" pitchFamily="34" charset="0"/>
                <a:cs typeface="Segoe UI" panose="020B0502040204020203" pitchFamily="34" charset="0"/>
              </a:rPr>
              <a:t>Git</a:t>
            </a:r>
            <a:r>
              <a:rPr lang="en-US" sz="1200" dirty="0">
                <a:solidFill>
                  <a:schemeClr val="bg1">
                    <a:lumMod val="50000"/>
                  </a:schemeClr>
                </a:solidFill>
                <a:latin typeface="Segoe UI" panose="020B0502040204020203" pitchFamily="34" charset="0"/>
                <a:ea typeface="Calibri" panose="020F0502020204030204" pitchFamily="34" charset="0"/>
                <a:cs typeface="Segoe UI" panose="020B0502040204020203" pitchFamily="34" charset="0"/>
              </a:rPr>
              <a:t>/Hub, Visual Studio Team Services</a:t>
            </a:r>
          </a:p>
          <a:p>
            <a:pPr marL="285750" indent="-285750">
              <a:spcAft>
                <a:spcPts val="224"/>
              </a:spcAft>
              <a:buFont typeface="Arial" panose="020B0604020202020204" pitchFamily="34" charset="0"/>
              <a:buChar char="•"/>
              <a:defRPr/>
            </a:pPr>
            <a:r>
              <a:rPr lang="en-US" sz="1200" dirty="0">
                <a:solidFill>
                  <a:schemeClr val="bg1">
                    <a:lumMod val="50000"/>
                  </a:schemeClr>
                </a:solidFill>
                <a:latin typeface="Segoe UI" panose="020B0502040204020203" pitchFamily="34" charset="0"/>
                <a:ea typeface="Calibri" panose="020F0502020204030204" pitchFamily="34" charset="0"/>
                <a:cs typeface="Segoe UI" panose="020B0502040204020203" pitchFamily="34" charset="0"/>
              </a:rPr>
              <a:t>App &amp; Site Diagnostics</a:t>
            </a:r>
          </a:p>
          <a:p>
            <a:pPr marL="285750" indent="-285750">
              <a:spcAft>
                <a:spcPts val="224"/>
              </a:spcAft>
              <a:buFont typeface="Arial" panose="020B0604020202020204" pitchFamily="34" charset="0"/>
              <a:buChar char="•"/>
              <a:defRPr/>
            </a:pPr>
            <a:r>
              <a:rPr lang="en-US" sz="1200" dirty="0">
                <a:solidFill>
                  <a:schemeClr val="bg1">
                    <a:lumMod val="50000"/>
                  </a:schemeClr>
                </a:solidFill>
                <a:latin typeface="Segoe UI" panose="020B0502040204020203" pitchFamily="34" charset="0"/>
                <a:ea typeface="Calibri" panose="020F0502020204030204" pitchFamily="34" charset="0"/>
                <a:cs typeface="Segoe UI" panose="020B0502040204020203" pitchFamily="34" charset="0"/>
              </a:rPr>
              <a:t>Site Extensions/Gallery </a:t>
            </a:r>
          </a:p>
          <a:p>
            <a:pPr marL="285750" indent="-285750">
              <a:spcAft>
                <a:spcPts val="224"/>
              </a:spcAft>
              <a:buFont typeface="Arial" panose="020B0604020202020204" pitchFamily="34" charset="0"/>
              <a:buChar char="•"/>
              <a:defRPr/>
            </a:pPr>
            <a:r>
              <a:rPr lang="en-US" sz="1200" dirty="0">
                <a:solidFill>
                  <a:schemeClr val="bg1">
                    <a:lumMod val="50000"/>
                  </a:schemeClr>
                </a:solidFill>
                <a:latin typeface="Segoe UI" panose="020B0502040204020203" pitchFamily="34" charset="0"/>
                <a:ea typeface="Calibri" panose="020F0502020204030204" pitchFamily="34" charset="0"/>
                <a:cs typeface="Segoe UI" panose="020B0502040204020203" pitchFamily="34" charset="0"/>
              </a:rPr>
              <a:t>NET, PHP, Python, Node, Java, Go</a:t>
            </a:r>
          </a:p>
          <a:p>
            <a:pPr marL="285750" indent="-285750">
              <a:spcAft>
                <a:spcPts val="224"/>
              </a:spcAft>
              <a:buFont typeface="Arial" panose="020B0604020202020204" pitchFamily="34" charset="0"/>
              <a:buChar char="•"/>
              <a:defRPr/>
            </a:pPr>
            <a:r>
              <a:rPr lang="en-US" sz="1200" dirty="0">
                <a:solidFill>
                  <a:schemeClr val="bg1">
                    <a:lumMod val="50000"/>
                  </a:schemeClr>
                </a:solidFill>
                <a:latin typeface="Segoe UI" panose="020B0502040204020203" pitchFamily="34" charset="0"/>
                <a:ea typeface="Calibri" panose="020F0502020204030204" pitchFamily="34" charset="0"/>
                <a:cs typeface="Segoe UI" panose="020B0502040204020203" pitchFamily="34" charset="0"/>
              </a:rPr>
              <a:t>Framework Installer</a:t>
            </a:r>
          </a:p>
          <a:p>
            <a:pPr marL="285750" indent="-285750">
              <a:spcAft>
                <a:spcPts val="224"/>
              </a:spcAft>
              <a:buFont typeface="Arial" panose="020B0604020202020204" pitchFamily="34" charset="0"/>
              <a:buChar char="•"/>
              <a:defRPr/>
            </a:pPr>
            <a:r>
              <a:rPr lang="en-US" sz="1200" dirty="0">
                <a:solidFill>
                  <a:schemeClr val="bg1">
                    <a:lumMod val="50000"/>
                  </a:schemeClr>
                </a:solidFill>
                <a:latin typeface="Segoe UI" panose="020B0502040204020203" pitchFamily="34" charset="0"/>
                <a:ea typeface="Calibri" panose="020F0502020204030204" pitchFamily="34" charset="0"/>
                <a:cs typeface="Segoe UI" panose="020B0502040204020203" pitchFamily="34" charset="0"/>
              </a:rPr>
              <a:t>Browser-based editing</a:t>
            </a:r>
          </a:p>
          <a:p>
            <a:pPr marL="285750" indent="-285750">
              <a:spcAft>
                <a:spcPts val="224"/>
              </a:spcAft>
              <a:buFont typeface="Arial" panose="020B0604020202020204" pitchFamily="34" charset="0"/>
              <a:buChar char="•"/>
              <a:defRPr/>
            </a:pPr>
            <a:r>
              <a:rPr lang="en-US" sz="1200" dirty="0">
                <a:solidFill>
                  <a:schemeClr val="bg1">
                    <a:lumMod val="50000"/>
                  </a:schemeClr>
                </a:solidFill>
                <a:latin typeface="Segoe UI" panose="020B0502040204020203" pitchFamily="34" charset="0"/>
                <a:ea typeface="Calibri" panose="020F0502020204030204" pitchFamily="34" charset="0"/>
                <a:cs typeface="Segoe UI" panose="020B0502040204020203" pitchFamily="34" charset="0"/>
              </a:rPr>
              <a:t>Logging and Auditing </a:t>
            </a:r>
          </a:p>
          <a:p>
            <a:pPr marL="285750" indent="-285750">
              <a:spcAft>
                <a:spcPts val="306"/>
              </a:spcAft>
              <a:buFont typeface="Arial" panose="020B0604020202020204" pitchFamily="34" charset="0"/>
              <a:buChar char="•"/>
              <a:defRPr/>
            </a:pPr>
            <a:r>
              <a:rPr lang="en-US" sz="1200" dirty="0">
                <a:solidFill>
                  <a:schemeClr val="bg1">
                    <a:lumMod val="50000"/>
                  </a:schemeClr>
                </a:solidFill>
                <a:latin typeface="Segoe UI" panose="020B0502040204020203" pitchFamily="34" charset="0"/>
                <a:ea typeface="Calibri" panose="020F0502020204030204" pitchFamily="34" charset="0"/>
                <a:cs typeface="Segoe UI" panose="020B0502040204020203" pitchFamily="34" charset="0"/>
              </a:rPr>
              <a:t>Support Portal</a:t>
            </a:r>
          </a:p>
          <a:p>
            <a:pPr marL="285750" indent="-285750">
              <a:spcAft>
                <a:spcPts val="306"/>
              </a:spcAft>
              <a:buFont typeface="Arial" panose="020B0604020202020204" pitchFamily="34" charset="0"/>
              <a:buChar char="•"/>
              <a:defRPr/>
            </a:pPr>
            <a:r>
              <a:rPr lang="en-US" sz="1200" dirty="0">
                <a:solidFill>
                  <a:schemeClr val="bg1">
                    <a:lumMod val="50000"/>
                  </a:schemeClr>
                </a:solidFill>
                <a:latin typeface="Segoe UI" panose="020B0502040204020203" pitchFamily="34" charset="0"/>
                <a:ea typeface="Calibri" panose="020F0502020204030204" pitchFamily="34" charset="0"/>
                <a:cs typeface="Segoe UI" panose="020B0502040204020203" pitchFamily="34" charset="0"/>
              </a:rPr>
              <a:t>Web Jobs/SDK 1.1</a:t>
            </a:r>
          </a:p>
          <a:p>
            <a:pPr marL="285750" indent="-285750">
              <a:spcAft>
                <a:spcPts val="306"/>
              </a:spcAft>
              <a:buFont typeface="Arial" panose="020B0604020202020204" pitchFamily="34" charset="0"/>
              <a:buChar char="•"/>
              <a:defRPr/>
            </a:pPr>
            <a:r>
              <a:rPr lang="en-US" sz="1200" dirty="0">
                <a:solidFill>
                  <a:schemeClr val="bg1">
                    <a:lumMod val="50000"/>
                  </a:schemeClr>
                </a:solidFill>
                <a:latin typeface="Segoe UI" panose="020B0502040204020203" pitchFamily="34" charset="0"/>
                <a:ea typeface="Calibri" panose="020F0502020204030204" pitchFamily="34" charset="0"/>
                <a:cs typeface="Segoe UI" panose="020B0502040204020203" pitchFamily="34" charset="0"/>
              </a:rPr>
              <a:t>Recommendation Engine</a:t>
            </a:r>
          </a:p>
          <a:p>
            <a:pPr marL="285750" indent="-285750">
              <a:spcAft>
                <a:spcPts val="224"/>
              </a:spcAft>
              <a:buFont typeface="Arial" panose="020B0604020202020204" pitchFamily="34" charset="0"/>
              <a:buChar char="•"/>
              <a:defRPr/>
            </a:pPr>
            <a:r>
              <a:rPr lang="en-US" sz="1200" dirty="0">
                <a:solidFill>
                  <a:schemeClr val="bg1">
                    <a:lumMod val="50000"/>
                  </a:schemeClr>
                </a:solidFill>
                <a:latin typeface="Segoe UI" panose="020B0502040204020203" pitchFamily="34" charset="0"/>
                <a:ea typeface="Calibri" panose="020F0502020204030204" pitchFamily="34" charset="0"/>
                <a:cs typeface="Segoe UI" panose="020B0502040204020203" pitchFamily="34" charset="0"/>
              </a:rPr>
              <a:t>Site Cloning</a:t>
            </a:r>
          </a:p>
          <a:p>
            <a:pPr marL="285750" indent="-285750">
              <a:spcAft>
                <a:spcPts val="224"/>
              </a:spcAft>
              <a:buFont typeface="Arial" panose="020B0604020202020204" pitchFamily="34" charset="0"/>
              <a:buChar char="•"/>
              <a:defRPr/>
            </a:pPr>
            <a:r>
              <a:rPr lang="en-US" sz="1200" dirty="0">
                <a:solidFill>
                  <a:schemeClr val="bg1">
                    <a:lumMod val="50000"/>
                  </a:schemeClr>
                </a:solidFill>
                <a:latin typeface="Segoe UI" panose="020B0502040204020203" pitchFamily="34" charset="0"/>
                <a:ea typeface="Calibri" panose="020F0502020204030204" pitchFamily="34" charset="0"/>
                <a:cs typeface="Segoe UI" panose="020B0502040204020203" pitchFamily="34" charset="0"/>
              </a:rPr>
              <a:t>Easy </a:t>
            </a:r>
            <a:r>
              <a:rPr lang="en-US" sz="1200" dirty="0" err="1">
                <a:solidFill>
                  <a:schemeClr val="bg1">
                    <a:lumMod val="50000"/>
                  </a:schemeClr>
                </a:solidFill>
                <a:latin typeface="Segoe UI" panose="020B0502040204020203" pitchFamily="34" charset="0"/>
                <a:ea typeface="Calibri" panose="020F0502020204030204" pitchFamily="34" charset="0"/>
                <a:cs typeface="Segoe UI" panose="020B0502040204020203" pitchFamily="34" charset="0"/>
              </a:rPr>
              <a:t>Auth</a:t>
            </a:r>
            <a:endParaRPr lang="en-US" sz="1200" dirty="0">
              <a:solidFill>
                <a:schemeClr val="bg1">
                  <a:lumMod val="50000"/>
                </a:schemeClr>
              </a:solidFill>
              <a:latin typeface="Segoe UI" panose="020B0502040204020203" pitchFamily="34" charset="0"/>
              <a:ea typeface="Calibri" panose="020F0502020204030204" pitchFamily="34" charset="0"/>
              <a:cs typeface="Segoe UI" panose="020B0502040204020203" pitchFamily="34" charset="0"/>
            </a:endParaRPr>
          </a:p>
        </p:txBody>
      </p:sp>
      <p:sp>
        <p:nvSpPr>
          <p:cNvPr id="33" name="Rectangle 32"/>
          <p:cNvSpPr/>
          <p:nvPr/>
        </p:nvSpPr>
        <p:spPr>
          <a:xfrm>
            <a:off x="994706" y="2395992"/>
            <a:ext cx="67447" cy="407345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solidFill>
                <a:schemeClr val="bg1">
                  <a:lumMod val="50000"/>
                </a:schemeClr>
              </a:solidFill>
            </a:endParaRPr>
          </a:p>
        </p:txBody>
      </p:sp>
      <p:sp>
        <p:nvSpPr>
          <p:cNvPr id="34" name="Rectangle 33"/>
          <p:cNvSpPr/>
          <p:nvPr/>
        </p:nvSpPr>
        <p:spPr>
          <a:xfrm>
            <a:off x="4706094" y="2402958"/>
            <a:ext cx="67436" cy="4065724"/>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solidFill>
                <a:schemeClr val="bg1">
                  <a:lumMod val="50000"/>
                </a:schemeClr>
              </a:solidFill>
            </a:endParaRPr>
          </a:p>
        </p:txBody>
      </p:sp>
      <p:sp>
        <p:nvSpPr>
          <p:cNvPr id="35" name="Rectangle 34"/>
          <p:cNvSpPr/>
          <p:nvPr/>
        </p:nvSpPr>
        <p:spPr>
          <a:xfrm>
            <a:off x="8337171" y="2413191"/>
            <a:ext cx="45719" cy="4055491"/>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23" tIns="109698" rIns="137123" bIns="109698" numCol="1" spcCol="0" rtlCol="0" fromWordArt="0" anchor="ctr" anchorCtr="0" forceAA="0" compatLnSpc="1">
            <a:prstTxWarp prst="textNoShape">
              <a:avLst/>
            </a:prstTxWarp>
            <a:noAutofit/>
          </a:bodyPr>
          <a:lstStyle/>
          <a:p>
            <a:pPr defTabSz="699150">
              <a:lnSpc>
                <a:spcPct val="90000"/>
              </a:lnSpc>
            </a:pPr>
            <a:endParaRPr lang="en-US" sz="2400">
              <a:solidFill>
                <a:schemeClr val="bg1">
                  <a:lumMod val="50000"/>
                </a:schemeClr>
              </a:solidFill>
              <a:ea typeface="Segoe UI" pitchFamily="34" charset="0"/>
              <a:cs typeface="Segoe UI" pitchFamily="34" charset="0"/>
            </a:endParaRPr>
          </a:p>
        </p:txBody>
      </p:sp>
      <p:sp>
        <p:nvSpPr>
          <p:cNvPr id="3" name="TextBox 2"/>
          <p:cNvSpPr txBox="1"/>
          <p:nvPr/>
        </p:nvSpPr>
        <p:spPr>
          <a:xfrm>
            <a:off x="986742" y="6468683"/>
            <a:ext cx="3684770" cy="572391"/>
          </a:xfrm>
          <a:prstGeom prst="rect">
            <a:avLst/>
          </a:prstGeom>
          <a:noFill/>
        </p:spPr>
        <p:txBody>
          <a:bodyPr wrap="none" lIns="182857" tIns="146285" rIns="182857" bIns="146285" rtlCol="0">
            <a:spAutoFit/>
          </a:bodyPr>
          <a:lstStyle/>
          <a:p>
            <a:pPr>
              <a:lnSpc>
                <a:spcPct val="90000"/>
              </a:lnSpc>
              <a:spcAft>
                <a:spcPts val="600"/>
              </a:spcAft>
            </a:pPr>
            <a:r>
              <a:rPr lang="en-US" sz="2000" dirty="0">
                <a:solidFill>
                  <a:schemeClr val="bg1">
                    <a:lumMod val="50000"/>
                  </a:schemeClr>
                </a:solidFill>
              </a:rPr>
              <a:t>Released in the last 6 months</a:t>
            </a:r>
          </a:p>
        </p:txBody>
      </p:sp>
      <p:sp>
        <p:nvSpPr>
          <p:cNvPr id="15" name="Text Placeholder 2"/>
          <p:cNvSpPr txBox="1">
            <a:spLocks/>
          </p:cNvSpPr>
          <p:nvPr/>
        </p:nvSpPr>
        <p:spPr>
          <a:xfrm>
            <a:off x="366168" y="1212851"/>
            <a:ext cx="11702553" cy="999756"/>
          </a:xfrm>
          <a:prstGeom prst="rect">
            <a:avLst/>
          </a:prstGeom>
        </p:spPr>
        <p:txBody>
          <a:bodyPr/>
          <a:lstStyle>
            <a:lvl1pPr marL="342846" marR="0" indent="-342846" algn="l" defTabSz="932594" rtl="0" eaLnBrk="1" fontAlgn="auto" latinLnBrk="0" hangingPunct="1">
              <a:lnSpc>
                <a:spcPct val="90000"/>
              </a:lnSpc>
              <a:spcBef>
                <a:spcPct val="20000"/>
              </a:spcBef>
              <a:spcAft>
                <a:spcPts val="0"/>
              </a:spcAft>
              <a:buClrTx/>
              <a:buSzPct val="90000"/>
              <a:buFont typeface="Arial" pitchFamily="34" charset="0"/>
              <a:buChar char="•"/>
              <a:tabLst/>
              <a:defRPr sz="4800" kern="1200" spc="0" baseline="0">
                <a:gradFill>
                  <a:gsLst>
                    <a:gs pos="1250">
                      <a:schemeClr val="tx1"/>
                    </a:gs>
                    <a:gs pos="100000">
                      <a:schemeClr val="tx1"/>
                    </a:gs>
                  </a:gsLst>
                  <a:lin ang="5400000" scaled="0"/>
                </a:gradFill>
                <a:latin typeface="+mj-lt"/>
                <a:ea typeface="+mn-ea"/>
                <a:cs typeface="+mn-cs"/>
              </a:defRPr>
            </a:lvl1pPr>
            <a:lvl2pPr marL="615935" marR="0" indent="-273044" algn="l" defTabSz="932594" rtl="0" eaLnBrk="1" fontAlgn="auto" latinLnBrk="0" hangingPunct="1">
              <a:lnSpc>
                <a:spcPct val="90000"/>
              </a:lnSpc>
              <a:spcBef>
                <a:spcPct val="20000"/>
              </a:spcBef>
              <a:spcAft>
                <a:spcPts val="0"/>
              </a:spcAft>
              <a:buClrTx/>
              <a:buSzPct val="90000"/>
              <a:buFont typeface="Arial" pitchFamily="34" charset="0"/>
              <a:buChar char="•"/>
              <a:tabLst/>
              <a:defRPr sz="3200" kern="1200" spc="0" baseline="0">
                <a:gradFill>
                  <a:gsLst>
                    <a:gs pos="1250">
                      <a:schemeClr val="tx1"/>
                    </a:gs>
                    <a:gs pos="100000">
                      <a:schemeClr val="tx1"/>
                    </a:gs>
                  </a:gsLst>
                  <a:lin ang="5400000" scaled="0"/>
                </a:gradFill>
                <a:latin typeface="+mn-lt"/>
                <a:ea typeface="+mn-ea"/>
                <a:cs typeface="+mn-cs"/>
              </a:defRPr>
            </a:lvl2pPr>
            <a:lvl3pPr marL="840296" marR="0" indent="-226478" algn="l" defTabSz="932594" rtl="0" eaLnBrk="1" fontAlgn="auto" latinLnBrk="0" hangingPunct="1">
              <a:lnSpc>
                <a:spcPct val="90000"/>
              </a:lnSpc>
              <a:spcBef>
                <a:spcPct val="20000"/>
              </a:spcBef>
              <a:spcAft>
                <a:spcPts val="0"/>
              </a:spcAft>
              <a:buClrTx/>
              <a:buSzPct val="90000"/>
              <a:buFont typeface="Arial" pitchFamily="34" charset="0"/>
              <a:buChar char="•"/>
              <a:tabLst/>
              <a:defRPr sz="2667" kern="1200" spc="0" baseline="0">
                <a:gradFill>
                  <a:gsLst>
                    <a:gs pos="1250">
                      <a:schemeClr val="tx1"/>
                    </a:gs>
                    <a:gs pos="100000">
                      <a:schemeClr val="tx1"/>
                    </a:gs>
                  </a:gsLst>
                  <a:lin ang="5400000" scaled="0"/>
                </a:gradFill>
                <a:latin typeface="+mn-lt"/>
                <a:ea typeface="+mn-ea"/>
                <a:cs typeface="+mn-cs"/>
              </a:defRPr>
            </a:lvl3pPr>
            <a:lvl4pPr marL="1064657" marR="0" indent="-226478" algn="l" defTabSz="93259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4pPr>
            <a:lvl5pPr marL="1219170" marR="0" indent="-226478" algn="l" defTabSz="93259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5pPr>
            <a:lvl6pPr marL="2564633" indent="-233149" algn="l" defTabSz="93259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932" indent="-233149" algn="l" defTabSz="93259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229" indent="-233149" algn="l" defTabSz="93259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528" indent="-233149" algn="l" defTabSz="932594"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3200" dirty="0">
                <a:solidFill>
                  <a:schemeClr val="tx2"/>
                </a:solidFill>
              </a:rPr>
              <a:t>All features and capabilities are shared across all of App Service application (Web, Mobile, and API)</a:t>
            </a:r>
          </a:p>
        </p:txBody>
      </p:sp>
      <p:sp>
        <p:nvSpPr>
          <p:cNvPr id="16" name="Title 1"/>
          <p:cNvSpPr txBox="1">
            <a:spLocks/>
          </p:cNvSpPr>
          <p:nvPr/>
        </p:nvSpPr>
        <p:spPr>
          <a:xfrm>
            <a:off x="366169" y="295278"/>
            <a:ext cx="11702551" cy="917575"/>
          </a:xfrm>
          <a:prstGeom prst="rect">
            <a:avLst/>
          </a:prstGeom>
        </p:spPr>
        <p:txBody>
          <a:bodyPr vert="horz" wrap="square" lIns="146304" tIns="91440" rIns="146304" bIns="91440" rtlCol="0" anchor="t">
            <a:noAutofit/>
          </a:bodyPr>
          <a:lstStyle>
            <a:lvl1pPr algn="l" defTabSz="932594" rtl="0" eaLnBrk="1" latinLnBrk="0" hangingPunct="1">
              <a:lnSpc>
                <a:spcPct val="90000"/>
              </a:lnSpc>
              <a:spcBef>
                <a:spcPct val="0"/>
              </a:spcBef>
              <a:buNone/>
              <a:defRPr lang="en-US" sz="4800" b="0" kern="1200" cap="none" spc="-101" baseline="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dirty="0"/>
              <a:t>Solution Alignment Workshop</a:t>
            </a:r>
          </a:p>
        </p:txBody>
      </p:sp>
    </p:spTree>
    <p:extLst>
      <p:ext uri="{BB962C8B-B14F-4D97-AF65-F5344CB8AC3E}">
        <p14:creationId xmlns:p14="http://schemas.microsoft.com/office/powerpoint/2010/main" val="13796344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Segoe UI Light" panose="020B0502040204020203" pitchFamily="34" charset="0"/>
                <a:cs typeface="Segoe UI Light" panose="020B0502040204020203" pitchFamily="34" charset="0"/>
              </a:rPr>
              <a:t>Azure Batch decisions</a:t>
            </a:r>
            <a:endParaRPr lang="en-US" dirty="0"/>
          </a:p>
        </p:txBody>
      </p:sp>
      <p:graphicFrame>
        <p:nvGraphicFramePr>
          <p:cNvPr id="3" name="Diagram 2"/>
          <p:cNvGraphicFramePr/>
          <p:nvPr>
            <p:extLst/>
          </p:nvPr>
        </p:nvGraphicFramePr>
        <p:xfrm>
          <a:off x="1161825" y="1212853"/>
          <a:ext cx="7842325" cy="525621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 name="Octagon 3"/>
          <p:cNvSpPr/>
          <p:nvPr/>
        </p:nvSpPr>
        <p:spPr>
          <a:xfrm>
            <a:off x="1107200" y="2430463"/>
            <a:ext cx="443098" cy="439889"/>
          </a:xfrm>
          <a:prstGeom prst="octagon">
            <a:avLst/>
          </a:prstGeom>
          <a:solidFill>
            <a:srgbClr val="CC0000"/>
          </a:solidFill>
        </p:spPr>
        <p:style>
          <a:lnRef idx="1">
            <a:schemeClr val="accent2"/>
          </a:lnRef>
          <a:fillRef idx="3">
            <a:schemeClr val="accent2"/>
          </a:fillRef>
          <a:effectRef idx="2">
            <a:schemeClr val="accent2"/>
          </a:effectRef>
          <a:fontRef idx="minor">
            <a:schemeClr val="lt1"/>
          </a:fontRef>
        </p:style>
        <p:txBody>
          <a:bodyPr rot="0" spcFirstLastPara="0" vert="horz" wrap="square" lIns="68583" tIns="34291" rIns="68583" bIns="34291"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FFFFFF"/>
              </a:solidFill>
              <a:effectLst/>
              <a:uLnTx/>
              <a:uFillTx/>
              <a:latin typeface="Segoe UI"/>
              <a:ea typeface="+mn-ea"/>
              <a:cs typeface="+mn-cs"/>
            </a:endParaRPr>
          </a:p>
        </p:txBody>
      </p:sp>
      <p:sp>
        <p:nvSpPr>
          <p:cNvPr id="5" name="Isosceles Triangle 4"/>
          <p:cNvSpPr>
            <a:spLocks/>
          </p:cNvSpPr>
          <p:nvPr/>
        </p:nvSpPr>
        <p:spPr>
          <a:xfrm>
            <a:off x="1021842" y="4110985"/>
            <a:ext cx="579874" cy="457219"/>
          </a:xfrm>
          <a:prstGeom prst="triangle">
            <a:avLst/>
          </a:prstGeom>
          <a:solidFill>
            <a:srgbClr val="FFFF00"/>
          </a:solidFill>
        </p:spPr>
        <p:style>
          <a:lnRef idx="1">
            <a:schemeClr val="accent6"/>
          </a:lnRef>
          <a:fillRef idx="3">
            <a:schemeClr val="accent6"/>
          </a:fillRef>
          <a:effectRef idx="2">
            <a:schemeClr val="accent6"/>
          </a:effectRef>
          <a:fontRef idx="minor">
            <a:schemeClr val="lt1"/>
          </a:fontRef>
        </p:style>
        <p:txBody>
          <a:bodyPr rot="0" spcFirstLastPara="0" vert="horz" wrap="square" lIns="68583" tIns="34291" rIns="68583" bIns="34291"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FFFFFF"/>
              </a:solidFill>
              <a:effectLst/>
              <a:uLnTx/>
              <a:uFillTx/>
              <a:latin typeface="Segoe UI"/>
              <a:ea typeface="+mn-ea"/>
              <a:cs typeface="+mn-cs"/>
            </a:endParaRPr>
          </a:p>
        </p:txBody>
      </p:sp>
      <p:sp>
        <p:nvSpPr>
          <p:cNvPr id="6" name="Oval 5"/>
          <p:cNvSpPr>
            <a:spLocks/>
          </p:cNvSpPr>
          <p:nvPr/>
        </p:nvSpPr>
        <p:spPr>
          <a:xfrm>
            <a:off x="1021843" y="5993586"/>
            <a:ext cx="474539" cy="475477"/>
          </a:xfrm>
          <a:prstGeom prst="ellipse">
            <a:avLst/>
          </a:prstGeom>
          <a:solidFill>
            <a:srgbClr val="00B050"/>
          </a:solidFill>
        </p:spPr>
        <p:style>
          <a:lnRef idx="1">
            <a:schemeClr val="accent3"/>
          </a:lnRef>
          <a:fillRef idx="3">
            <a:schemeClr val="accent3"/>
          </a:fillRef>
          <a:effectRef idx="2">
            <a:schemeClr val="accent3"/>
          </a:effectRef>
          <a:fontRef idx="minor">
            <a:schemeClr val="lt1"/>
          </a:fontRef>
        </p:style>
        <p:txBody>
          <a:bodyPr rot="0" spcFirstLastPara="0" vert="horz" wrap="square" lIns="68583" tIns="34291" rIns="68583" bIns="34291"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1720604702"/>
      </p:ext>
    </p:extLst>
  </p:cSld>
  <p:clrMapOvr>
    <a:masterClrMapping/>
  </p:clrMapOvr>
  <p:transition>
    <p:fade/>
  </p:transition>
</p:sld>
</file>

<file path=ppt/slides/slide11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pp Services ExpressRoute configuration</a:t>
            </a:r>
          </a:p>
        </p:txBody>
      </p:sp>
      <p:sp>
        <p:nvSpPr>
          <p:cNvPr id="6" name="Text Placeholder 5"/>
          <p:cNvSpPr>
            <a:spLocks noGrp="1"/>
          </p:cNvSpPr>
          <p:nvPr>
            <p:ph type="body" sz="quarter" idx="10"/>
          </p:nvPr>
        </p:nvSpPr>
        <p:spPr>
          <a:xfrm>
            <a:off x="365597" y="1211287"/>
            <a:ext cx="5631166" cy="5786199"/>
          </a:xfrm>
        </p:spPr>
        <p:txBody>
          <a:bodyPr/>
          <a:lstStyle/>
          <a:p>
            <a:pPr>
              <a:buClr>
                <a:schemeClr val="tx1"/>
              </a:buClr>
            </a:pPr>
            <a:r>
              <a:rPr lang="en-US" sz="2400" dirty="0">
                <a:solidFill>
                  <a:schemeClr val="tx1"/>
                </a:solidFill>
              </a:rPr>
              <a:t>Outbound network connectivity to Azure Storage endpoints worldwide</a:t>
            </a:r>
          </a:p>
          <a:p>
            <a:pPr>
              <a:buClr>
                <a:schemeClr val="tx1"/>
              </a:buClr>
            </a:pPr>
            <a:r>
              <a:rPr lang="en-US" sz="2400" dirty="0">
                <a:solidFill>
                  <a:schemeClr val="tx1"/>
                </a:solidFill>
              </a:rPr>
              <a:t>Outbound network connectivity to SQL DB endpoints located in the same region as the App Service Environment</a:t>
            </a:r>
          </a:p>
          <a:p>
            <a:pPr>
              <a:buClr>
                <a:schemeClr val="tx1"/>
              </a:buClr>
            </a:pPr>
            <a:r>
              <a:rPr lang="en-US" sz="2400" dirty="0">
                <a:solidFill>
                  <a:schemeClr val="tx1"/>
                </a:solidFill>
              </a:rPr>
              <a:t>Outbound network connectivity to the Azure management plane endpoints (both ASM and ARM endpoints)</a:t>
            </a:r>
          </a:p>
          <a:p>
            <a:pPr>
              <a:buClr>
                <a:schemeClr val="tx1"/>
              </a:buClr>
            </a:pPr>
            <a:r>
              <a:rPr lang="en-US" sz="2400" dirty="0">
                <a:solidFill>
                  <a:schemeClr val="tx1"/>
                </a:solidFill>
              </a:rPr>
              <a:t>Outbound network connectivity to ocsp.msocsp.com, mscrl.microsoft.com and crl.microsoft.com</a:t>
            </a:r>
          </a:p>
          <a:p>
            <a:pPr>
              <a:buClr>
                <a:schemeClr val="tx1"/>
              </a:buClr>
            </a:pPr>
            <a:r>
              <a:rPr lang="en-US" sz="2400" dirty="0">
                <a:solidFill>
                  <a:schemeClr val="tx1"/>
                </a:solidFill>
              </a:rPr>
              <a:t>The DNS configuration for the Virtual Network must be capable of resolving all of the endpoints and domains mentioned in the earlier points</a:t>
            </a:r>
          </a:p>
        </p:txBody>
      </p:sp>
      <p:sp>
        <p:nvSpPr>
          <p:cNvPr id="7" name="Text Placeholder 5"/>
          <p:cNvSpPr>
            <a:spLocks noGrp="1"/>
          </p:cNvSpPr>
          <p:nvPr>
            <p:ph type="body" sz="quarter" idx="10"/>
          </p:nvPr>
        </p:nvSpPr>
        <p:spPr>
          <a:xfrm>
            <a:off x="6217158" y="1211287"/>
            <a:ext cx="5309095" cy="4481227"/>
          </a:xfrm>
        </p:spPr>
        <p:txBody>
          <a:bodyPr/>
          <a:lstStyle/>
          <a:p>
            <a:pPr>
              <a:buClr>
                <a:schemeClr val="tx1"/>
              </a:buClr>
            </a:pPr>
            <a:r>
              <a:rPr lang="en-US" sz="2400" dirty="0">
                <a:solidFill>
                  <a:schemeClr val="tx1"/>
                </a:solidFill>
              </a:rPr>
              <a:t>If a custom DNS server exists on the other end of a VPN gateway, the DNS server must be reachable from the subnet containing the App Service Environment</a:t>
            </a:r>
          </a:p>
          <a:p>
            <a:pPr>
              <a:buClr>
                <a:schemeClr val="tx1"/>
              </a:buClr>
            </a:pPr>
            <a:r>
              <a:rPr lang="en-US" sz="2400" dirty="0">
                <a:solidFill>
                  <a:schemeClr val="tx1"/>
                </a:solidFill>
              </a:rPr>
              <a:t>The outbound network path cannot travel through internal corporate proxies, nor can it be force tunneled to on-premises</a:t>
            </a:r>
          </a:p>
          <a:p>
            <a:pPr>
              <a:buClr>
                <a:schemeClr val="tx1"/>
              </a:buClr>
            </a:pPr>
            <a:r>
              <a:rPr lang="en-US" sz="2400" dirty="0">
                <a:solidFill>
                  <a:schemeClr val="tx1"/>
                </a:solidFill>
              </a:rPr>
              <a:t>Inbound network access to required ports for App Service Environments must be allowed</a:t>
            </a:r>
          </a:p>
        </p:txBody>
      </p:sp>
    </p:spTree>
    <p:extLst>
      <p:ext uri="{BB962C8B-B14F-4D97-AF65-F5344CB8AC3E}">
        <p14:creationId xmlns:p14="http://schemas.microsoft.com/office/powerpoint/2010/main" val="246623688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1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366169" y="1212851"/>
            <a:ext cx="6751324" cy="1902059"/>
          </a:xfrm>
        </p:spPr>
        <p:txBody>
          <a:bodyPr/>
          <a:lstStyle/>
          <a:p>
            <a:r>
              <a:rPr lang="en-US" dirty="0"/>
              <a:t>Nodes stitched together</a:t>
            </a:r>
          </a:p>
          <a:p>
            <a:r>
              <a:rPr lang="en-US" dirty="0"/>
              <a:t>Scales to 1,000s of machines</a:t>
            </a:r>
          </a:p>
          <a:p>
            <a:r>
              <a:rPr lang="en-US" dirty="0"/>
              <a:t>Can span Azure Regions</a:t>
            </a:r>
          </a:p>
        </p:txBody>
      </p:sp>
      <p:sp>
        <p:nvSpPr>
          <p:cNvPr id="3" name="Title 2"/>
          <p:cNvSpPr>
            <a:spLocks noGrp="1"/>
          </p:cNvSpPr>
          <p:nvPr>
            <p:ph type="title"/>
          </p:nvPr>
        </p:nvSpPr>
        <p:spPr/>
        <p:txBody>
          <a:bodyPr/>
          <a:lstStyle/>
          <a:p>
            <a:r>
              <a:rPr lang="en-US" dirty="0"/>
              <a:t>Service Fabric cluster</a:t>
            </a:r>
          </a:p>
        </p:txBody>
      </p:sp>
      <p:grpSp>
        <p:nvGrpSpPr>
          <p:cNvPr id="1112" name="Group 1111"/>
          <p:cNvGrpSpPr/>
          <p:nvPr/>
        </p:nvGrpSpPr>
        <p:grpSpPr>
          <a:xfrm>
            <a:off x="6217444" y="1333766"/>
            <a:ext cx="5022602" cy="5167633"/>
            <a:chOff x="3567753" y="-39210"/>
            <a:chExt cx="8612373" cy="7620001"/>
          </a:xfrm>
        </p:grpSpPr>
        <p:grpSp>
          <p:nvGrpSpPr>
            <p:cNvPr id="1113" name="Group 1112"/>
            <p:cNvGrpSpPr/>
            <p:nvPr/>
          </p:nvGrpSpPr>
          <p:grpSpPr>
            <a:xfrm>
              <a:off x="4008437" y="-39210"/>
              <a:ext cx="8171689" cy="7620001"/>
              <a:chOff x="3877883" y="203692"/>
              <a:chExt cx="8171689" cy="7620001"/>
            </a:xfrm>
          </p:grpSpPr>
          <p:grpSp>
            <p:nvGrpSpPr>
              <p:cNvPr id="1117" name="Group 1116"/>
              <p:cNvGrpSpPr/>
              <p:nvPr/>
            </p:nvGrpSpPr>
            <p:grpSpPr>
              <a:xfrm>
                <a:off x="3877883" y="203692"/>
                <a:ext cx="8171689" cy="7620001"/>
                <a:chOff x="2880909" y="-554108"/>
                <a:chExt cx="9539338" cy="8775770"/>
              </a:xfrm>
            </p:grpSpPr>
            <p:grpSp>
              <p:nvGrpSpPr>
                <p:cNvPr id="1130" name="Group 1129"/>
                <p:cNvGrpSpPr/>
                <p:nvPr/>
              </p:nvGrpSpPr>
              <p:grpSpPr>
                <a:xfrm>
                  <a:off x="2880909" y="1058863"/>
                  <a:ext cx="9539338" cy="5549828"/>
                  <a:chOff x="2880909" y="1058863"/>
                  <a:chExt cx="9539338" cy="5549828"/>
                </a:xfrm>
              </p:grpSpPr>
              <p:sp>
                <p:nvSpPr>
                  <p:cNvPr id="1133" name="Oval 1132"/>
                  <p:cNvSpPr/>
                  <p:nvPr/>
                </p:nvSpPr>
                <p:spPr bwMode="auto">
                  <a:xfrm>
                    <a:off x="3756544" y="1477963"/>
                    <a:ext cx="7162800" cy="4800599"/>
                  </a:xfrm>
                  <a:prstGeom prst="ellipse">
                    <a:avLst/>
                  </a:prstGeom>
                  <a:noFill/>
                  <a:ln w="38100" cap="flat" cmpd="sng" algn="ctr">
                    <a:solidFill>
                      <a:srgbClr val="00BCF2"/>
                    </a:solidFill>
                    <a:prstDash val="solid"/>
                    <a:headEnd type="none" w="med" len="med"/>
                    <a:tailEnd type="none" w="med" len="med"/>
                  </a:ln>
                  <a:effectLst/>
                </p:spPr>
                <p:txBody>
                  <a:bodyPr rot="0" spcFirstLastPara="0" vert="horz" wrap="square" lIns="182857" tIns="146285" rIns="182857" bIns="146285"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dk1"/>
                        </a:solidFill>
                        <a:latin typeface="+mn-lt"/>
                        <a:ea typeface="+mn-ea"/>
                        <a:cs typeface="+mn-cs"/>
                      </a:defRPr>
                    </a:lvl1pPr>
                    <a:lvl2pPr marL="466371" algn="l" defTabSz="932742" rtl="0" eaLnBrk="1" latinLnBrk="0" hangingPunct="1">
                      <a:defRPr sz="1800" kern="1200">
                        <a:solidFill>
                          <a:schemeClr val="dk1"/>
                        </a:solidFill>
                        <a:latin typeface="+mn-lt"/>
                        <a:ea typeface="+mn-ea"/>
                        <a:cs typeface="+mn-cs"/>
                      </a:defRPr>
                    </a:lvl2pPr>
                    <a:lvl3pPr marL="932742" algn="l" defTabSz="932742" rtl="0" eaLnBrk="1" latinLnBrk="0" hangingPunct="1">
                      <a:defRPr sz="1800" kern="1200">
                        <a:solidFill>
                          <a:schemeClr val="dk1"/>
                        </a:solidFill>
                        <a:latin typeface="+mn-lt"/>
                        <a:ea typeface="+mn-ea"/>
                        <a:cs typeface="+mn-cs"/>
                      </a:defRPr>
                    </a:lvl3pPr>
                    <a:lvl4pPr marL="1399113" algn="l" defTabSz="932742" rtl="0" eaLnBrk="1" latinLnBrk="0" hangingPunct="1">
                      <a:defRPr sz="1800" kern="1200">
                        <a:solidFill>
                          <a:schemeClr val="dk1"/>
                        </a:solidFill>
                        <a:latin typeface="+mn-lt"/>
                        <a:ea typeface="+mn-ea"/>
                        <a:cs typeface="+mn-cs"/>
                      </a:defRPr>
                    </a:lvl4pPr>
                    <a:lvl5pPr marL="1865484" algn="l" defTabSz="932742" rtl="0" eaLnBrk="1" latinLnBrk="0" hangingPunct="1">
                      <a:defRPr sz="1800" kern="1200">
                        <a:solidFill>
                          <a:schemeClr val="dk1"/>
                        </a:solidFill>
                        <a:latin typeface="+mn-lt"/>
                        <a:ea typeface="+mn-ea"/>
                        <a:cs typeface="+mn-cs"/>
                      </a:defRPr>
                    </a:lvl5pPr>
                    <a:lvl6pPr marL="2331856" algn="l" defTabSz="932742" rtl="0" eaLnBrk="1" latinLnBrk="0" hangingPunct="1">
                      <a:defRPr sz="1800" kern="1200">
                        <a:solidFill>
                          <a:schemeClr val="dk1"/>
                        </a:solidFill>
                        <a:latin typeface="+mn-lt"/>
                        <a:ea typeface="+mn-ea"/>
                        <a:cs typeface="+mn-cs"/>
                      </a:defRPr>
                    </a:lvl6pPr>
                    <a:lvl7pPr marL="2798226" algn="l" defTabSz="932742" rtl="0" eaLnBrk="1" latinLnBrk="0" hangingPunct="1">
                      <a:defRPr sz="1800" kern="1200">
                        <a:solidFill>
                          <a:schemeClr val="dk1"/>
                        </a:solidFill>
                        <a:latin typeface="+mn-lt"/>
                        <a:ea typeface="+mn-ea"/>
                        <a:cs typeface="+mn-cs"/>
                      </a:defRPr>
                    </a:lvl7pPr>
                    <a:lvl8pPr marL="3264597" algn="l" defTabSz="932742" rtl="0" eaLnBrk="1" latinLnBrk="0" hangingPunct="1">
                      <a:defRPr sz="1800" kern="1200">
                        <a:solidFill>
                          <a:schemeClr val="dk1"/>
                        </a:solidFill>
                        <a:latin typeface="+mn-lt"/>
                        <a:ea typeface="+mn-ea"/>
                        <a:cs typeface="+mn-cs"/>
                      </a:defRPr>
                    </a:lvl8pPr>
                    <a:lvl9pPr marL="3730969" algn="l" defTabSz="932742" rtl="0" eaLnBrk="1" latinLnBrk="0" hangingPunct="1">
                      <a:defRPr sz="1800" kern="1200">
                        <a:solidFill>
                          <a:schemeClr val="dk1"/>
                        </a:solidFill>
                        <a:latin typeface="+mn-lt"/>
                        <a:ea typeface="+mn-ea"/>
                        <a:cs typeface="+mn-cs"/>
                      </a:defRPr>
                    </a:lvl9pPr>
                  </a:lstStyle>
                  <a:p>
                    <a:pPr algn="ctr" defTabSz="932379" fontAlgn="base">
                      <a:lnSpc>
                        <a:spcPct val="90000"/>
                      </a:lnSpc>
                      <a:spcBef>
                        <a:spcPct val="0"/>
                      </a:spcBef>
                      <a:spcAft>
                        <a:spcPct val="0"/>
                      </a:spcAft>
                      <a:defRPr/>
                    </a:pPr>
                    <a:endParaRPr lang="en-US" sz="120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1134" name="Picture 1133"/>
                  <p:cNvPicPr>
                    <a:picLocks noChangeAspect="1"/>
                  </p:cNvPicPr>
                  <p:nvPr/>
                </p:nvPicPr>
                <p:blipFill>
                  <a:blip r:embed="rId3" cstate="screen">
                    <a:duotone>
                      <a:srgbClr val="00BCF2">
                        <a:shade val="45000"/>
                        <a:satMod val="135000"/>
                      </a:srgbClr>
                      <a:prstClr val="white"/>
                    </a:duotone>
                    <a:extLst>
                      <a:ext uri="{28A0092B-C50C-407E-A947-70E740481C1C}">
                        <a14:useLocalDpi xmlns:a14="http://schemas.microsoft.com/office/drawing/2010/main"/>
                      </a:ext>
                    </a:extLst>
                  </a:blip>
                  <a:stretch>
                    <a:fillRect/>
                  </a:stretch>
                </p:blipFill>
                <p:spPr>
                  <a:xfrm>
                    <a:off x="2880909" y="1058863"/>
                    <a:ext cx="3326213" cy="3505200"/>
                  </a:xfrm>
                  <a:prstGeom prst="rect">
                    <a:avLst/>
                  </a:prstGeom>
                </p:spPr>
              </p:pic>
              <p:pic>
                <p:nvPicPr>
                  <p:cNvPr id="1135" name="Picture 1134"/>
                  <p:cNvPicPr>
                    <a:picLocks noChangeAspect="1"/>
                  </p:cNvPicPr>
                  <p:nvPr/>
                </p:nvPicPr>
                <p:blipFill>
                  <a:blip r:embed="rId3" cstate="screen">
                    <a:duotone>
                      <a:srgbClr val="00BCF2">
                        <a:shade val="45000"/>
                        <a:satMod val="135000"/>
                      </a:srgbClr>
                      <a:prstClr val="white"/>
                    </a:duotone>
                    <a:extLst>
                      <a:ext uri="{28A0092B-C50C-407E-A947-70E740481C1C}">
                        <a14:useLocalDpi xmlns:a14="http://schemas.microsoft.com/office/drawing/2010/main"/>
                      </a:ext>
                    </a:extLst>
                  </a:blip>
                  <a:stretch>
                    <a:fillRect/>
                  </a:stretch>
                </p:blipFill>
                <p:spPr>
                  <a:xfrm>
                    <a:off x="2921242" y="3027159"/>
                    <a:ext cx="3326213" cy="3505200"/>
                  </a:xfrm>
                  <a:prstGeom prst="rect">
                    <a:avLst/>
                  </a:prstGeom>
                </p:spPr>
              </p:pic>
              <p:pic>
                <p:nvPicPr>
                  <p:cNvPr id="1136" name="Picture 1135"/>
                  <p:cNvPicPr>
                    <a:picLocks noChangeAspect="1"/>
                  </p:cNvPicPr>
                  <p:nvPr/>
                </p:nvPicPr>
                <p:blipFill>
                  <a:blip r:embed="rId3" cstate="screen">
                    <a:duotone>
                      <a:srgbClr val="00BCF2">
                        <a:shade val="45000"/>
                        <a:satMod val="135000"/>
                      </a:srgbClr>
                      <a:prstClr val="white"/>
                    </a:duotone>
                    <a:extLst>
                      <a:ext uri="{28A0092B-C50C-407E-A947-70E740481C1C}">
                        <a14:useLocalDpi xmlns:a14="http://schemas.microsoft.com/office/drawing/2010/main"/>
                      </a:ext>
                    </a:extLst>
                  </a:blip>
                  <a:stretch>
                    <a:fillRect/>
                  </a:stretch>
                </p:blipFill>
                <p:spPr>
                  <a:xfrm>
                    <a:off x="8964012" y="1058863"/>
                    <a:ext cx="3326213" cy="3505200"/>
                  </a:xfrm>
                  <a:prstGeom prst="rect">
                    <a:avLst/>
                  </a:prstGeom>
                </p:spPr>
              </p:pic>
              <p:pic>
                <p:nvPicPr>
                  <p:cNvPr id="1137" name="Picture 1136"/>
                  <p:cNvPicPr>
                    <a:picLocks noChangeAspect="1"/>
                  </p:cNvPicPr>
                  <p:nvPr/>
                </p:nvPicPr>
                <p:blipFill>
                  <a:blip r:embed="rId3" cstate="screen">
                    <a:duotone>
                      <a:srgbClr val="00BCF2">
                        <a:shade val="45000"/>
                        <a:satMod val="135000"/>
                      </a:srgbClr>
                      <a:prstClr val="white"/>
                    </a:duotone>
                    <a:extLst>
                      <a:ext uri="{28A0092B-C50C-407E-A947-70E740481C1C}">
                        <a14:useLocalDpi xmlns:a14="http://schemas.microsoft.com/office/drawing/2010/main"/>
                      </a:ext>
                    </a:extLst>
                  </a:blip>
                  <a:stretch>
                    <a:fillRect/>
                  </a:stretch>
                </p:blipFill>
                <p:spPr>
                  <a:xfrm>
                    <a:off x="9094035" y="3103491"/>
                    <a:ext cx="3326212" cy="3505200"/>
                  </a:xfrm>
                  <a:prstGeom prst="rect">
                    <a:avLst/>
                  </a:prstGeom>
                </p:spPr>
              </p:pic>
            </p:grpSp>
            <p:pic>
              <p:nvPicPr>
                <p:cNvPr id="1131" name="Picture 1130"/>
                <p:cNvPicPr>
                  <a:picLocks noChangeAspect="1"/>
                </p:cNvPicPr>
                <p:nvPr/>
              </p:nvPicPr>
              <p:blipFill>
                <a:blip r:embed="rId3" cstate="screen">
                  <a:duotone>
                    <a:srgbClr val="00BCF2">
                      <a:shade val="45000"/>
                      <a:satMod val="135000"/>
                    </a:srgbClr>
                    <a:prstClr val="white"/>
                  </a:duotone>
                  <a:extLst>
                    <a:ext uri="{28A0092B-C50C-407E-A947-70E740481C1C}">
                      <a14:useLocalDpi xmlns:a14="http://schemas.microsoft.com/office/drawing/2010/main"/>
                    </a:ext>
                  </a:extLst>
                </a:blip>
                <a:stretch>
                  <a:fillRect/>
                </a:stretch>
              </p:blipFill>
              <p:spPr>
                <a:xfrm>
                  <a:off x="5866534" y="-554108"/>
                  <a:ext cx="3326213" cy="3505200"/>
                </a:xfrm>
                <a:prstGeom prst="rect">
                  <a:avLst/>
                </a:prstGeom>
              </p:spPr>
            </p:pic>
            <p:pic>
              <p:nvPicPr>
                <p:cNvPr id="1132" name="Picture 1131"/>
                <p:cNvPicPr>
                  <a:picLocks noChangeAspect="1"/>
                </p:cNvPicPr>
                <p:nvPr/>
              </p:nvPicPr>
              <p:blipFill>
                <a:blip r:embed="rId3" cstate="screen">
                  <a:duotone>
                    <a:srgbClr val="00BCF2">
                      <a:shade val="45000"/>
                      <a:satMod val="135000"/>
                    </a:srgbClr>
                    <a:prstClr val="white"/>
                  </a:duotone>
                  <a:extLst>
                    <a:ext uri="{28A0092B-C50C-407E-A947-70E740481C1C}">
                      <a14:useLocalDpi xmlns:a14="http://schemas.microsoft.com/office/drawing/2010/main"/>
                    </a:ext>
                  </a:extLst>
                </a:blip>
                <a:stretch>
                  <a:fillRect/>
                </a:stretch>
              </p:blipFill>
              <p:spPr>
                <a:xfrm>
                  <a:off x="5851501" y="4716462"/>
                  <a:ext cx="3326213" cy="3505200"/>
                </a:xfrm>
                <a:prstGeom prst="rect">
                  <a:avLst/>
                </a:prstGeom>
              </p:spPr>
            </p:pic>
          </p:grpSp>
          <p:sp>
            <p:nvSpPr>
              <p:cNvPr id="1118" name="Oval 1117"/>
              <p:cNvSpPr/>
              <p:nvPr/>
            </p:nvSpPr>
            <p:spPr>
              <a:xfrm>
                <a:off x="7412958" y="6019341"/>
                <a:ext cx="863522" cy="532910"/>
              </a:xfrm>
              <a:prstGeom prst="ellipse">
                <a:avLst/>
              </a:prstGeom>
              <a:solidFill>
                <a:srgbClr val="00BCF2"/>
              </a:solidFill>
              <a:ln w="10795" cap="flat" cmpd="sng" algn="ctr">
                <a:solidFill>
                  <a:srgbClr val="0070C0"/>
                </a:solidFill>
                <a:prstDash val="solid"/>
              </a:ln>
              <a:effectLst/>
            </p:spPr>
            <p:txBody>
              <a:bodyPr rtlCol="0" anchor="ct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649">
                  <a:defRPr/>
                </a:pPr>
                <a:r>
                  <a:rPr lang="en-US" sz="900" dirty="0">
                    <a:solidFill>
                      <a:srgbClr val="FFFFFF"/>
                    </a:solidFill>
                    <a:latin typeface="Segoe UI"/>
                  </a:rPr>
                  <a:t>Node</a:t>
                </a:r>
              </a:p>
            </p:txBody>
          </p:sp>
          <p:sp>
            <p:nvSpPr>
              <p:cNvPr id="1119" name="Oval 1118"/>
              <p:cNvSpPr/>
              <p:nvPr/>
            </p:nvSpPr>
            <p:spPr>
              <a:xfrm>
                <a:off x="10024059" y="4664770"/>
                <a:ext cx="863522" cy="532910"/>
              </a:xfrm>
              <a:prstGeom prst="ellipse">
                <a:avLst/>
              </a:prstGeom>
              <a:solidFill>
                <a:srgbClr val="00BCF2"/>
              </a:solidFill>
              <a:ln w="10795" cap="flat" cmpd="sng" algn="ctr">
                <a:solidFill>
                  <a:srgbClr val="0070C0"/>
                </a:solidFill>
                <a:prstDash val="solid"/>
              </a:ln>
              <a:effectLst/>
            </p:spPr>
            <p:txBody>
              <a:bodyPr rtlCol="0" anchor="ct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649">
                  <a:defRPr/>
                </a:pPr>
                <a:r>
                  <a:rPr lang="en-US" sz="900" dirty="0">
                    <a:solidFill>
                      <a:srgbClr val="FFFFFF"/>
                    </a:solidFill>
                    <a:latin typeface="Segoe UI"/>
                  </a:rPr>
                  <a:t>Node</a:t>
                </a:r>
              </a:p>
            </p:txBody>
          </p:sp>
          <p:sp>
            <p:nvSpPr>
              <p:cNvPr id="1120" name="Oval 1119"/>
              <p:cNvSpPr/>
              <p:nvPr/>
            </p:nvSpPr>
            <p:spPr>
              <a:xfrm>
                <a:off x="9889919" y="2863645"/>
                <a:ext cx="863522" cy="532910"/>
              </a:xfrm>
              <a:prstGeom prst="ellipse">
                <a:avLst/>
              </a:prstGeom>
              <a:solidFill>
                <a:srgbClr val="00BCF2"/>
              </a:solidFill>
              <a:ln w="10795" cap="flat" cmpd="sng" algn="ctr">
                <a:solidFill>
                  <a:srgbClr val="0070C0"/>
                </a:solidFill>
                <a:prstDash val="solid"/>
              </a:ln>
              <a:effectLst/>
            </p:spPr>
            <p:txBody>
              <a:bodyPr rtlCol="0" anchor="ct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649">
                  <a:defRPr/>
                </a:pPr>
                <a:r>
                  <a:rPr lang="en-US" sz="900" dirty="0">
                    <a:solidFill>
                      <a:srgbClr val="FFFFFF"/>
                    </a:solidFill>
                    <a:latin typeface="Segoe UI"/>
                  </a:rPr>
                  <a:t>Node</a:t>
                </a:r>
              </a:p>
            </p:txBody>
          </p:sp>
          <p:sp>
            <p:nvSpPr>
              <p:cNvPr id="1121" name="Oval 1120"/>
              <p:cNvSpPr/>
              <p:nvPr/>
            </p:nvSpPr>
            <p:spPr>
              <a:xfrm>
                <a:off x="4618622" y="2803015"/>
                <a:ext cx="863522" cy="532910"/>
              </a:xfrm>
              <a:prstGeom prst="ellipse">
                <a:avLst/>
              </a:prstGeom>
              <a:solidFill>
                <a:srgbClr val="00BCF2"/>
              </a:solidFill>
              <a:ln w="10795" cap="flat" cmpd="sng" algn="ctr">
                <a:solidFill>
                  <a:srgbClr val="0070C0"/>
                </a:solidFill>
                <a:prstDash val="solid"/>
              </a:ln>
              <a:effectLst/>
            </p:spPr>
            <p:txBody>
              <a:bodyPr rtlCol="0" anchor="ct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649">
                  <a:defRPr/>
                </a:pPr>
                <a:r>
                  <a:rPr lang="en-US" sz="900" dirty="0">
                    <a:solidFill>
                      <a:srgbClr val="FFFFFF"/>
                    </a:solidFill>
                    <a:latin typeface="Segoe UI"/>
                  </a:rPr>
                  <a:t>Node</a:t>
                </a:r>
              </a:p>
            </p:txBody>
          </p:sp>
          <p:sp>
            <p:nvSpPr>
              <p:cNvPr id="1122" name="Oval 1121"/>
              <p:cNvSpPr/>
              <p:nvPr/>
            </p:nvSpPr>
            <p:spPr>
              <a:xfrm>
                <a:off x="4445582" y="4479883"/>
                <a:ext cx="863522" cy="532910"/>
              </a:xfrm>
              <a:prstGeom prst="ellipse">
                <a:avLst/>
              </a:prstGeom>
              <a:solidFill>
                <a:srgbClr val="00BCF2"/>
              </a:solidFill>
              <a:ln w="10795" cap="flat" cmpd="sng" algn="ctr">
                <a:solidFill>
                  <a:srgbClr val="0070C0"/>
                </a:solidFill>
                <a:prstDash val="solid"/>
              </a:ln>
              <a:effectLst/>
            </p:spPr>
            <p:txBody>
              <a:bodyPr rtlCol="0" anchor="ct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649">
                  <a:defRPr/>
                </a:pPr>
                <a:r>
                  <a:rPr lang="en-US" sz="900" dirty="0">
                    <a:solidFill>
                      <a:srgbClr val="FFFFFF"/>
                    </a:solidFill>
                    <a:latin typeface="Segoe UI"/>
                  </a:rPr>
                  <a:t>Node</a:t>
                </a:r>
              </a:p>
            </p:txBody>
          </p:sp>
          <p:sp>
            <p:nvSpPr>
              <p:cNvPr id="1123" name="Oval 1122"/>
              <p:cNvSpPr/>
              <p:nvPr/>
            </p:nvSpPr>
            <p:spPr>
              <a:xfrm>
                <a:off x="7338888" y="1572798"/>
                <a:ext cx="863522" cy="532910"/>
              </a:xfrm>
              <a:prstGeom prst="ellipse">
                <a:avLst/>
              </a:prstGeom>
              <a:solidFill>
                <a:srgbClr val="00BCF2"/>
              </a:solidFill>
              <a:ln w="10795" cap="flat" cmpd="sng" algn="ctr">
                <a:solidFill>
                  <a:srgbClr val="0070C0"/>
                </a:solidFill>
                <a:prstDash val="solid"/>
              </a:ln>
              <a:effectLst/>
            </p:spPr>
            <p:txBody>
              <a:bodyPr rtlCol="0" anchor="ct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649">
                  <a:defRPr/>
                </a:pPr>
                <a:r>
                  <a:rPr lang="en-US" sz="900" dirty="0">
                    <a:solidFill>
                      <a:srgbClr val="FFFFFF"/>
                    </a:solidFill>
                    <a:latin typeface="Segoe UI"/>
                  </a:rPr>
                  <a:t>Node</a:t>
                </a:r>
              </a:p>
            </p:txBody>
          </p:sp>
          <p:sp>
            <p:nvSpPr>
              <p:cNvPr id="1124" name="TextBox 64"/>
              <p:cNvSpPr txBox="1"/>
              <p:nvPr/>
            </p:nvSpPr>
            <p:spPr>
              <a:xfrm>
                <a:off x="5403633" y="2583654"/>
                <a:ext cx="1237143" cy="507693"/>
              </a:xfrm>
              <a:prstGeom prst="rect">
                <a:avLst/>
              </a:prstGeom>
              <a:noFill/>
            </p:spPr>
            <p:txBody>
              <a:bodyPr wrap="none" lIns="182857" tIns="146285" rIns="182857" bIns="146285"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649">
                  <a:lnSpc>
                    <a:spcPct val="90000"/>
                  </a:lnSpc>
                  <a:spcAft>
                    <a:spcPts val="600"/>
                  </a:spcAft>
                  <a:defRPr/>
                </a:pPr>
                <a:r>
                  <a:rPr lang="en-US" sz="1050" dirty="0">
                    <a:gradFill>
                      <a:gsLst>
                        <a:gs pos="2917">
                          <a:srgbClr val="FFFFFF"/>
                        </a:gs>
                        <a:gs pos="30000">
                          <a:srgbClr val="FFFFFF"/>
                        </a:gs>
                      </a:gsLst>
                      <a:lin ang="5400000" scaled="0"/>
                    </a:gradFill>
                    <a:latin typeface="Segoe UI"/>
                  </a:rPr>
                  <a:t>FD0/UD0</a:t>
                </a:r>
              </a:p>
            </p:txBody>
          </p:sp>
          <p:sp>
            <p:nvSpPr>
              <p:cNvPr id="1125" name="TextBox 65"/>
              <p:cNvSpPr txBox="1"/>
              <p:nvPr/>
            </p:nvSpPr>
            <p:spPr>
              <a:xfrm>
                <a:off x="5512073" y="4246360"/>
                <a:ext cx="1237143" cy="507693"/>
              </a:xfrm>
              <a:prstGeom prst="rect">
                <a:avLst/>
              </a:prstGeom>
              <a:noFill/>
            </p:spPr>
            <p:txBody>
              <a:bodyPr wrap="none" lIns="182857" tIns="146285" rIns="182857" bIns="146285"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649">
                  <a:lnSpc>
                    <a:spcPct val="90000"/>
                  </a:lnSpc>
                  <a:spcAft>
                    <a:spcPts val="600"/>
                  </a:spcAft>
                  <a:defRPr/>
                </a:pPr>
                <a:r>
                  <a:rPr lang="en-US" sz="1050" dirty="0">
                    <a:gradFill>
                      <a:gsLst>
                        <a:gs pos="2917">
                          <a:srgbClr val="FFFFFF"/>
                        </a:gs>
                        <a:gs pos="30000">
                          <a:srgbClr val="FFFFFF"/>
                        </a:gs>
                      </a:gsLst>
                      <a:lin ang="5400000" scaled="0"/>
                    </a:gradFill>
                    <a:latin typeface="Segoe UI"/>
                  </a:rPr>
                  <a:t>FD0/UD1</a:t>
                </a:r>
              </a:p>
            </p:txBody>
          </p:sp>
          <p:sp>
            <p:nvSpPr>
              <p:cNvPr id="1126" name="TextBox 66"/>
              <p:cNvSpPr txBox="1"/>
              <p:nvPr/>
            </p:nvSpPr>
            <p:spPr>
              <a:xfrm>
                <a:off x="8114753" y="5783262"/>
                <a:ext cx="1237143" cy="507693"/>
              </a:xfrm>
              <a:prstGeom prst="rect">
                <a:avLst/>
              </a:prstGeom>
              <a:noFill/>
            </p:spPr>
            <p:txBody>
              <a:bodyPr wrap="none" lIns="182857" tIns="146285" rIns="182857" bIns="146285"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649">
                  <a:lnSpc>
                    <a:spcPct val="90000"/>
                  </a:lnSpc>
                  <a:spcAft>
                    <a:spcPts val="600"/>
                  </a:spcAft>
                  <a:defRPr/>
                </a:pPr>
                <a:r>
                  <a:rPr lang="en-US" sz="1050" dirty="0">
                    <a:gradFill>
                      <a:gsLst>
                        <a:gs pos="2917">
                          <a:srgbClr val="FFFFFF"/>
                        </a:gs>
                        <a:gs pos="30000">
                          <a:srgbClr val="FFFFFF"/>
                        </a:gs>
                      </a:gsLst>
                      <a:lin ang="5400000" scaled="0"/>
                    </a:gradFill>
                    <a:latin typeface="Segoe UI"/>
                  </a:rPr>
                  <a:t>FD2/UD3</a:t>
                </a:r>
              </a:p>
            </p:txBody>
          </p:sp>
          <p:sp>
            <p:nvSpPr>
              <p:cNvPr id="1127" name="TextBox 67"/>
              <p:cNvSpPr txBox="1"/>
              <p:nvPr/>
            </p:nvSpPr>
            <p:spPr>
              <a:xfrm>
                <a:off x="8003622" y="1136723"/>
                <a:ext cx="1237143" cy="507693"/>
              </a:xfrm>
              <a:prstGeom prst="rect">
                <a:avLst/>
              </a:prstGeom>
              <a:noFill/>
            </p:spPr>
            <p:txBody>
              <a:bodyPr wrap="none" lIns="182857" tIns="146285" rIns="182857" bIns="146285"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649">
                  <a:lnSpc>
                    <a:spcPct val="90000"/>
                  </a:lnSpc>
                  <a:spcAft>
                    <a:spcPts val="600"/>
                  </a:spcAft>
                  <a:defRPr/>
                </a:pPr>
                <a:r>
                  <a:rPr lang="en-US" sz="1050" dirty="0">
                    <a:gradFill>
                      <a:gsLst>
                        <a:gs pos="2917">
                          <a:srgbClr val="FFFFFF"/>
                        </a:gs>
                        <a:gs pos="30000">
                          <a:srgbClr val="FFFFFF"/>
                        </a:gs>
                      </a:gsLst>
                      <a:lin ang="5400000" scaled="0"/>
                    </a:gradFill>
                    <a:latin typeface="Segoe UI"/>
                  </a:rPr>
                  <a:t>FD1/UD6</a:t>
                </a:r>
              </a:p>
            </p:txBody>
          </p:sp>
          <p:sp>
            <p:nvSpPr>
              <p:cNvPr id="1128" name="TextBox 68"/>
              <p:cNvSpPr txBox="1"/>
              <p:nvPr/>
            </p:nvSpPr>
            <p:spPr>
              <a:xfrm>
                <a:off x="10634307" y="2596924"/>
                <a:ext cx="1237143" cy="507693"/>
              </a:xfrm>
              <a:prstGeom prst="rect">
                <a:avLst/>
              </a:prstGeom>
              <a:noFill/>
            </p:spPr>
            <p:txBody>
              <a:bodyPr wrap="none" lIns="182857" tIns="146285" rIns="182857" bIns="146285"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649">
                  <a:lnSpc>
                    <a:spcPct val="90000"/>
                  </a:lnSpc>
                  <a:spcAft>
                    <a:spcPts val="600"/>
                  </a:spcAft>
                  <a:defRPr/>
                </a:pPr>
                <a:r>
                  <a:rPr lang="en-US" sz="1050" dirty="0">
                    <a:gradFill>
                      <a:gsLst>
                        <a:gs pos="2917">
                          <a:srgbClr val="FFFFFF"/>
                        </a:gs>
                        <a:gs pos="30000">
                          <a:srgbClr val="FFFFFF"/>
                        </a:gs>
                      </a:gsLst>
                      <a:lin ang="5400000" scaled="0"/>
                    </a:gradFill>
                    <a:latin typeface="Segoe UI"/>
                  </a:rPr>
                  <a:t>FD1/UD5</a:t>
                </a:r>
              </a:p>
            </p:txBody>
          </p:sp>
          <p:sp>
            <p:nvSpPr>
              <p:cNvPr id="1129" name="TextBox 69"/>
              <p:cNvSpPr txBox="1"/>
              <p:nvPr/>
            </p:nvSpPr>
            <p:spPr>
              <a:xfrm>
                <a:off x="10714037" y="4335462"/>
                <a:ext cx="1237143" cy="507693"/>
              </a:xfrm>
              <a:prstGeom prst="rect">
                <a:avLst/>
              </a:prstGeom>
              <a:noFill/>
            </p:spPr>
            <p:txBody>
              <a:bodyPr wrap="none" lIns="182857" tIns="146285" rIns="182857" bIns="146285"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649">
                  <a:lnSpc>
                    <a:spcPct val="90000"/>
                  </a:lnSpc>
                  <a:spcAft>
                    <a:spcPts val="600"/>
                  </a:spcAft>
                  <a:defRPr/>
                </a:pPr>
                <a:r>
                  <a:rPr lang="en-US" sz="1050" dirty="0">
                    <a:gradFill>
                      <a:gsLst>
                        <a:gs pos="2917">
                          <a:srgbClr val="FFFFFF"/>
                        </a:gs>
                        <a:gs pos="30000">
                          <a:srgbClr val="FFFFFF"/>
                        </a:gs>
                      </a:gsLst>
                      <a:lin ang="5400000" scaled="0"/>
                    </a:gradFill>
                    <a:latin typeface="Segoe UI"/>
                  </a:rPr>
                  <a:t>FD2/UD4</a:t>
                </a:r>
              </a:p>
            </p:txBody>
          </p:sp>
        </p:grpSp>
        <p:sp>
          <p:nvSpPr>
            <p:cNvPr id="1114" name="Arc 1113"/>
            <p:cNvSpPr/>
            <p:nvPr/>
          </p:nvSpPr>
          <p:spPr>
            <a:xfrm rot="6714129">
              <a:off x="7904271" y="-1044346"/>
              <a:ext cx="2046251" cy="6476287"/>
            </a:xfrm>
            <a:prstGeom prst="arc">
              <a:avLst>
                <a:gd name="adj1" fmla="val 16630267"/>
                <a:gd name="adj2" fmla="val 5066703"/>
              </a:avLst>
            </a:prstGeom>
            <a:noFill/>
            <a:ln w="15875" cap="flat" cmpd="sng" algn="ctr">
              <a:solidFill>
                <a:schemeClr val="accent1">
                  <a:lumMod val="50000"/>
                </a:schemeClr>
              </a:solidFill>
              <a:prstDash val="dash"/>
              <a:headEnd type="none"/>
              <a:tailEnd type="none"/>
            </a:ln>
            <a:effectLst/>
          </p:spPr>
          <p:txBody>
            <a:bodyPr rtlCol="0" anchor="ct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32649">
                <a:defRPr/>
              </a:pPr>
              <a:endParaRPr lang="en-US" sz="1050">
                <a:solidFill>
                  <a:srgbClr val="FFFFFF"/>
                </a:solidFill>
                <a:latin typeface="Segoe UI"/>
              </a:endParaRPr>
            </a:p>
          </p:txBody>
        </p:sp>
        <p:sp>
          <p:nvSpPr>
            <p:cNvPr id="1115" name="Arc 1114"/>
            <p:cNvSpPr/>
            <p:nvPr/>
          </p:nvSpPr>
          <p:spPr>
            <a:xfrm rot="14597496">
              <a:off x="7494774" y="2360794"/>
              <a:ext cx="2272326" cy="6476287"/>
            </a:xfrm>
            <a:prstGeom prst="arc">
              <a:avLst>
                <a:gd name="adj1" fmla="val 16630267"/>
                <a:gd name="adj2" fmla="val 5066703"/>
              </a:avLst>
            </a:prstGeom>
            <a:noFill/>
            <a:ln w="15875" cap="flat" cmpd="sng" algn="ctr">
              <a:solidFill>
                <a:schemeClr val="accent1">
                  <a:lumMod val="50000"/>
                </a:schemeClr>
              </a:solidFill>
              <a:prstDash val="dash"/>
              <a:headEnd type="none"/>
              <a:tailEnd type="none"/>
            </a:ln>
            <a:effectLst/>
          </p:spPr>
          <p:txBody>
            <a:bodyPr rtlCol="0" anchor="ct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32649"/>
              <a:endParaRPr lang="en-US" sz="1050">
                <a:solidFill>
                  <a:srgbClr val="FFFFFF"/>
                </a:solidFill>
                <a:latin typeface="Segoe UI"/>
              </a:endParaRPr>
            </a:p>
          </p:txBody>
        </p:sp>
        <p:sp>
          <p:nvSpPr>
            <p:cNvPr id="1116" name="Arc 1115"/>
            <p:cNvSpPr/>
            <p:nvPr/>
          </p:nvSpPr>
          <p:spPr>
            <a:xfrm rot="2128995">
              <a:off x="3567753" y="2017122"/>
              <a:ext cx="3847871" cy="3931729"/>
            </a:xfrm>
            <a:prstGeom prst="arc">
              <a:avLst>
                <a:gd name="adj1" fmla="val 13615535"/>
                <a:gd name="adj2" fmla="val 3790941"/>
              </a:avLst>
            </a:prstGeom>
            <a:noFill/>
            <a:ln w="22225" cap="flat" cmpd="sng" algn="ctr">
              <a:solidFill>
                <a:srgbClr val="B4A0FF"/>
              </a:solidFill>
              <a:prstDash val="sysDash"/>
            </a:ln>
            <a:effectLst/>
          </p:spPr>
          <p:txBody>
            <a:bodyPr rtlCol="0" anchor="ct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32649">
                <a:defRPr/>
              </a:pPr>
              <a:endParaRPr lang="en-US" sz="1050">
                <a:solidFill>
                  <a:srgbClr val="FFFFFF"/>
                </a:solidFill>
                <a:latin typeface="Segoe UI"/>
              </a:endParaRPr>
            </a:p>
          </p:txBody>
        </p:sp>
      </p:grpSp>
    </p:spTree>
    <p:extLst>
      <p:ext uri="{BB962C8B-B14F-4D97-AF65-F5344CB8AC3E}">
        <p14:creationId xmlns:p14="http://schemas.microsoft.com/office/powerpoint/2010/main" val="401754061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1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366168" y="2989432"/>
            <a:ext cx="7583733" cy="2012859"/>
          </a:xfrm>
        </p:spPr>
        <p:txBody>
          <a:bodyPr/>
          <a:lstStyle/>
          <a:p>
            <a:r>
              <a:rPr lang="en-US" dirty="0"/>
              <a:t>Building Service Fabric applications</a:t>
            </a:r>
          </a:p>
        </p:txBody>
      </p:sp>
    </p:spTree>
    <p:extLst>
      <p:ext uri="{BB962C8B-B14F-4D97-AF65-F5344CB8AC3E}">
        <p14:creationId xmlns:p14="http://schemas.microsoft.com/office/powerpoint/2010/main" val="43191449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1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Title 4"/>
          <p:cNvSpPr>
            <a:spLocks noGrp="1"/>
          </p:cNvSpPr>
          <p:nvPr>
            <p:ph type="title"/>
          </p:nvPr>
        </p:nvSpPr>
        <p:spPr>
          <a:xfrm>
            <a:off x="366169" y="295278"/>
            <a:ext cx="11702551" cy="917575"/>
          </a:xfrm>
        </p:spPr>
        <p:txBody>
          <a:bodyPr/>
          <a:lstStyle/>
          <a:p>
            <a:r>
              <a:rPr lang="en-US" dirty="0"/>
              <a:t>Azure Developer Platform</a:t>
            </a:r>
          </a:p>
        </p:txBody>
      </p:sp>
      <p:grpSp>
        <p:nvGrpSpPr>
          <p:cNvPr id="3" name="Group 2"/>
          <p:cNvGrpSpPr/>
          <p:nvPr/>
        </p:nvGrpSpPr>
        <p:grpSpPr>
          <a:xfrm>
            <a:off x="2206616" y="1718485"/>
            <a:ext cx="7729345" cy="1343270"/>
            <a:chOff x="2348683" y="2272272"/>
            <a:chExt cx="7748693" cy="1258082"/>
          </a:xfrm>
          <a:solidFill>
            <a:srgbClr val="0078D7"/>
          </a:solidFill>
        </p:grpSpPr>
        <p:sp>
          <p:nvSpPr>
            <p:cNvPr id="4" name="Rectangle 3"/>
            <p:cNvSpPr/>
            <p:nvPr/>
          </p:nvSpPr>
          <p:spPr bwMode="auto">
            <a:xfrm>
              <a:off x="2348683" y="2272272"/>
              <a:ext cx="7748693" cy="1181882"/>
            </a:xfrm>
            <a:prstGeom prst="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24" rIns="0" bIns="46624" numCol="1" rtlCol="0" anchor="t" anchorCtr="0" compatLnSpc="1">
              <a:prstTxWarp prst="textNoShape">
                <a:avLst/>
              </a:prstTxWarp>
            </a:bodyPr>
            <a:lstStyle/>
            <a:p>
              <a:pPr defTabSz="932200" fontAlgn="base">
                <a:spcBef>
                  <a:spcPct val="0"/>
                </a:spcBef>
                <a:spcAft>
                  <a:spcPct val="0"/>
                </a:spcAft>
                <a:defRPr/>
              </a:pPr>
              <a:r>
                <a:rPr lang="en-US" sz="2000" b="1" dirty="0">
                  <a:gradFill>
                    <a:gsLst>
                      <a:gs pos="5417">
                        <a:srgbClr val="FFB900"/>
                      </a:gs>
                      <a:gs pos="100000">
                        <a:srgbClr val="FFB900"/>
                      </a:gs>
                    </a:gsLst>
                    <a:lin ang="5400000" scaled="0"/>
                  </a:gradFill>
                  <a:latin typeface="Segoe UI"/>
                </a:rPr>
                <a:t> </a:t>
              </a:r>
              <a:r>
                <a:rPr lang="en-US" sz="1399" b="1" dirty="0">
                  <a:solidFill>
                    <a:srgbClr val="FFFFFF"/>
                  </a:solidFill>
                  <a:latin typeface="Segoe UI"/>
                </a:rPr>
                <a:t>Azure Platform Services</a:t>
              </a:r>
              <a:endParaRPr lang="en-US" sz="2000" b="1" dirty="0">
                <a:solidFill>
                  <a:srgbClr val="FFFFFF"/>
                </a:solidFill>
                <a:latin typeface="Segoe UI"/>
              </a:endParaRPr>
            </a:p>
          </p:txBody>
        </p:sp>
        <p:sp>
          <p:nvSpPr>
            <p:cNvPr id="6" name="Isosceles Triangle 5"/>
            <p:cNvSpPr/>
            <p:nvPr/>
          </p:nvSpPr>
          <p:spPr bwMode="auto">
            <a:xfrm rot="10800000">
              <a:off x="2398275" y="3365100"/>
              <a:ext cx="187287" cy="165253"/>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1" tIns="146264" rIns="182831" bIns="146264" numCol="1" spcCol="0" rtlCol="0" fromWordArt="0" anchor="t" anchorCtr="0" forceAA="0" compatLnSpc="1">
              <a:prstTxWarp prst="textNoShape">
                <a:avLst/>
              </a:prstTxWarp>
              <a:noAutofit/>
            </a:bodyPr>
            <a:lstStyle/>
            <a:p>
              <a:pPr defTabSz="932200" fontAlgn="base">
                <a:lnSpc>
                  <a:spcPct val="90000"/>
                </a:lnSpc>
                <a:spcBef>
                  <a:spcPct val="0"/>
                </a:spcBef>
                <a:spcAft>
                  <a:spcPct val="0"/>
                </a:spcAft>
                <a:defRPr/>
              </a:pPr>
              <a:endParaRPr lang="en-US" sz="240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 name="Isosceles Triangle 6"/>
            <p:cNvSpPr/>
            <p:nvPr/>
          </p:nvSpPr>
          <p:spPr bwMode="auto">
            <a:xfrm rot="10800000">
              <a:off x="2931682" y="3365100"/>
              <a:ext cx="187287" cy="165253"/>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1" tIns="146264" rIns="182831" bIns="146264" numCol="1" spcCol="0" rtlCol="0" fromWordArt="0" anchor="t" anchorCtr="0" forceAA="0" compatLnSpc="1">
              <a:prstTxWarp prst="textNoShape">
                <a:avLst/>
              </a:prstTxWarp>
              <a:noAutofit/>
            </a:bodyPr>
            <a:lstStyle/>
            <a:p>
              <a:pPr defTabSz="932200" fontAlgn="base">
                <a:lnSpc>
                  <a:spcPct val="90000"/>
                </a:lnSpc>
                <a:spcBef>
                  <a:spcPct val="0"/>
                </a:spcBef>
                <a:spcAft>
                  <a:spcPct val="0"/>
                </a:spcAft>
                <a:defRPr/>
              </a:pPr>
              <a:endParaRPr lang="en-US" sz="240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 name="Isosceles Triangle 7"/>
            <p:cNvSpPr/>
            <p:nvPr/>
          </p:nvSpPr>
          <p:spPr bwMode="auto">
            <a:xfrm rot="10800000">
              <a:off x="3465089" y="3365100"/>
              <a:ext cx="187287" cy="165253"/>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1" tIns="146264" rIns="182831" bIns="146264" numCol="1" spcCol="0" rtlCol="0" fromWordArt="0" anchor="t" anchorCtr="0" forceAA="0" compatLnSpc="1">
              <a:prstTxWarp prst="textNoShape">
                <a:avLst/>
              </a:prstTxWarp>
              <a:noAutofit/>
            </a:bodyPr>
            <a:lstStyle/>
            <a:p>
              <a:pPr defTabSz="932200" fontAlgn="base">
                <a:lnSpc>
                  <a:spcPct val="90000"/>
                </a:lnSpc>
                <a:spcBef>
                  <a:spcPct val="0"/>
                </a:spcBef>
                <a:spcAft>
                  <a:spcPct val="0"/>
                </a:spcAft>
                <a:defRPr/>
              </a:pPr>
              <a:endParaRPr lang="en-US" sz="240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 name="Isosceles Triangle 8"/>
            <p:cNvSpPr/>
            <p:nvPr/>
          </p:nvSpPr>
          <p:spPr bwMode="auto">
            <a:xfrm rot="10800000">
              <a:off x="3998496" y="3365100"/>
              <a:ext cx="187287" cy="165253"/>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1" tIns="146264" rIns="182831" bIns="146264" numCol="1" spcCol="0" rtlCol="0" fromWordArt="0" anchor="t" anchorCtr="0" forceAA="0" compatLnSpc="1">
              <a:prstTxWarp prst="textNoShape">
                <a:avLst/>
              </a:prstTxWarp>
              <a:noAutofit/>
            </a:bodyPr>
            <a:lstStyle/>
            <a:p>
              <a:pPr defTabSz="932200" fontAlgn="base">
                <a:lnSpc>
                  <a:spcPct val="90000"/>
                </a:lnSpc>
                <a:spcBef>
                  <a:spcPct val="0"/>
                </a:spcBef>
                <a:spcAft>
                  <a:spcPct val="0"/>
                </a:spcAft>
                <a:defRPr/>
              </a:pPr>
              <a:endParaRPr lang="en-US" sz="240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 name="Isosceles Triangle 9"/>
            <p:cNvSpPr/>
            <p:nvPr/>
          </p:nvSpPr>
          <p:spPr bwMode="auto">
            <a:xfrm rot="10800000">
              <a:off x="4531903" y="3365100"/>
              <a:ext cx="187287" cy="165253"/>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1" tIns="146264" rIns="182831" bIns="146264" numCol="1" spcCol="0" rtlCol="0" fromWordArt="0" anchor="t" anchorCtr="0" forceAA="0" compatLnSpc="1">
              <a:prstTxWarp prst="textNoShape">
                <a:avLst/>
              </a:prstTxWarp>
              <a:noAutofit/>
            </a:bodyPr>
            <a:lstStyle/>
            <a:p>
              <a:pPr defTabSz="932200" fontAlgn="base">
                <a:lnSpc>
                  <a:spcPct val="90000"/>
                </a:lnSpc>
                <a:spcBef>
                  <a:spcPct val="0"/>
                </a:spcBef>
                <a:spcAft>
                  <a:spcPct val="0"/>
                </a:spcAft>
                <a:defRPr/>
              </a:pPr>
              <a:endParaRPr lang="en-US" sz="240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 name="Isosceles Triangle 10"/>
            <p:cNvSpPr/>
            <p:nvPr/>
          </p:nvSpPr>
          <p:spPr bwMode="auto">
            <a:xfrm rot="10800000">
              <a:off x="5065310" y="3365101"/>
              <a:ext cx="187287" cy="165253"/>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1" tIns="146264" rIns="182831" bIns="146264" numCol="1" spcCol="0" rtlCol="0" fromWordArt="0" anchor="t" anchorCtr="0" forceAA="0" compatLnSpc="1">
              <a:prstTxWarp prst="textNoShape">
                <a:avLst/>
              </a:prstTxWarp>
              <a:noAutofit/>
            </a:bodyPr>
            <a:lstStyle/>
            <a:p>
              <a:pPr defTabSz="932200" fontAlgn="base">
                <a:lnSpc>
                  <a:spcPct val="90000"/>
                </a:lnSpc>
                <a:spcBef>
                  <a:spcPct val="0"/>
                </a:spcBef>
                <a:spcAft>
                  <a:spcPct val="0"/>
                </a:spcAft>
                <a:defRPr/>
              </a:pPr>
              <a:endParaRPr lang="en-US" sz="240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 name="Isosceles Triangle 11"/>
            <p:cNvSpPr/>
            <p:nvPr/>
          </p:nvSpPr>
          <p:spPr bwMode="auto">
            <a:xfrm rot="10800000">
              <a:off x="5598717" y="3365101"/>
              <a:ext cx="187287" cy="165253"/>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1" tIns="146264" rIns="182831" bIns="146264" numCol="1" spcCol="0" rtlCol="0" fromWordArt="0" anchor="t" anchorCtr="0" forceAA="0" compatLnSpc="1">
              <a:prstTxWarp prst="textNoShape">
                <a:avLst/>
              </a:prstTxWarp>
              <a:noAutofit/>
            </a:bodyPr>
            <a:lstStyle/>
            <a:p>
              <a:pPr defTabSz="932200" fontAlgn="base">
                <a:lnSpc>
                  <a:spcPct val="90000"/>
                </a:lnSpc>
                <a:spcBef>
                  <a:spcPct val="0"/>
                </a:spcBef>
                <a:spcAft>
                  <a:spcPct val="0"/>
                </a:spcAft>
                <a:defRPr/>
              </a:pPr>
              <a:endParaRPr lang="en-US" sz="240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3" name="Isosceles Triangle 12"/>
            <p:cNvSpPr/>
            <p:nvPr/>
          </p:nvSpPr>
          <p:spPr bwMode="auto">
            <a:xfrm rot="10800000">
              <a:off x="6132124" y="3365101"/>
              <a:ext cx="187287" cy="165253"/>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1" tIns="146264" rIns="182831" bIns="146264" numCol="1" spcCol="0" rtlCol="0" fromWordArt="0" anchor="t" anchorCtr="0" forceAA="0" compatLnSpc="1">
              <a:prstTxWarp prst="textNoShape">
                <a:avLst/>
              </a:prstTxWarp>
              <a:noAutofit/>
            </a:bodyPr>
            <a:lstStyle/>
            <a:p>
              <a:pPr defTabSz="932200" fontAlgn="base">
                <a:lnSpc>
                  <a:spcPct val="90000"/>
                </a:lnSpc>
                <a:spcBef>
                  <a:spcPct val="0"/>
                </a:spcBef>
                <a:spcAft>
                  <a:spcPct val="0"/>
                </a:spcAft>
                <a:defRPr/>
              </a:pPr>
              <a:endParaRPr lang="en-US" sz="240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4" name="Isosceles Triangle 13"/>
            <p:cNvSpPr/>
            <p:nvPr/>
          </p:nvSpPr>
          <p:spPr bwMode="auto">
            <a:xfrm rot="10800000">
              <a:off x="6665531" y="3365100"/>
              <a:ext cx="187287" cy="165253"/>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1" tIns="146264" rIns="182831" bIns="146264" numCol="1" spcCol="0" rtlCol="0" fromWordArt="0" anchor="t" anchorCtr="0" forceAA="0" compatLnSpc="1">
              <a:prstTxWarp prst="textNoShape">
                <a:avLst/>
              </a:prstTxWarp>
              <a:noAutofit/>
            </a:bodyPr>
            <a:lstStyle/>
            <a:p>
              <a:pPr defTabSz="932200" fontAlgn="base">
                <a:lnSpc>
                  <a:spcPct val="90000"/>
                </a:lnSpc>
                <a:spcBef>
                  <a:spcPct val="0"/>
                </a:spcBef>
                <a:spcAft>
                  <a:spcPct val="0"/>
                </a:spcAft>
                <a:defRPr/>
              </a:pPr>
              <a:endParaRPr lang="en-US" sz="240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5" name="Isosceles Triangle 14"/>
            <p:cNvSpPr/>
            <p:nvPr/>
          </p:nvSpPr>
          <p:spPr bwMode="auto">
            <a:xfrm rot="10800000">
              <a:off x="7198938" y="3365100"/>
              <a:ext cx="187287" cy="165253"/>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1" tIns="146264" rIns="182831" bIns="146264" numCol="1" spcCol="0" rtlCol="0" fromWordArt="0" anchor="t" anchorCtr="0" forceAA="0" compatLnSpc="1">
              <a:prstTxWarp prst="textNoShape">
                <a:avLst/>
              </a:prstTxWarp>
              <a:noAutofit/>
            </a:bodyPr>
            <a:lstStyle/>
            <a:p>
              <a:pPr defTabSz="932200" fontAlgn="base">
                <a:lnSpc>
                  <a:spcPct val="90000"/>
                </a:lnSpc>
                <a:spcBef>
                  <a:spcPct val="0"/>
                </a:spcBef>
                <a:spcAft>
                  <a:spcPct val="0"/>
                </a:spcAft>
                <a:defRPr/>
              </a:pPr>
              <a:endParaRPr lang="en-US" sz="240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6" name="Isosceles Triangle 15"/>
            <p:cNvSpPr/>
            <p:nvPr/>
          </p:nvSpPr>
          <p:spPr bwMode="auto">
            <a:xfrm rot="10800000">
              <a:off x="7732345" y="3365100"/>
              <a:ext cx="187287" cy="165253"/>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1" tIns="146264" rIns="182831" bIns="146264" numCol="1" spcCol="0" rtlCol="0" fromWordArt="0" anchor="t" anchorCtr="0" forceAA="0" compatLnSpc="1">
              <a:prstTxWarp prst="textNoShape">
                <a:avLst/>
              </a:prstTxWarp>
              <a:noAutofit/>
            </a:bodyPr>
            <a:lstStyle/>
            <a:p>
              <a:pPr defTabSz="932200" fontAlgn="base">
                <a:lnSpc>
                  <a:spcPct val="90000"/>
                </a:lnSpc>
                <a:spcBef>
                  <a:spcPct val="0"/>
                </a:spcBef>
                <a:spcAft>
                  <a:spcPct val="0"/>
                </a:spcAft>
                <a:defRPr/>
              </a:pPr>
              <a:endParaRPr lang="en-US" sz="240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7" name="Isosceles Triangle 16"/>
            <p:cNvSpPr/>
            <p:nvPr/>
          </p:nvSpPr>
          <p:spPr bwMode="auto">
            <a:xfrm rot="10800000">
              <a:off x="8265752" y="3365100"/>
              <a:ext cx="187287" cy="165253"/>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1" tIns="146264" rIns="182831" bIns="146264" numCol="1" spcCol="0" rtlCol="0" fromWordArt="0" anchor="t" anchorCtr="0" forceAA="0" compatLnSpc="1">
              <a:prstTxWarp prst="textNoShape">
                <a:avLst/>
              </a:prstTxWarp>
              <a:noAutofit/>
            </a:bodyPr>
            <a:lstStyle/>
            <a:p>
              <a:pPr defTabSz="932200" fontAlgn="base">
                <a:lnSpc>
                  <a:spcPct val="90000"/>
                </a:lnSpc>
                <a:spcBef>
                  <a:spcPct val="0"/>
                </a:spcBef>
                <a:spcAft>
                  <a:spcPct val="0"/>
                </a:spcAft>
                <a:defRPr/>
              </a:pPr>
              <a:endParaRPr lang="en-US" sz="240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8" name="Isosceles Triangle 17"/>
            <p:cNvSpPr/>
            <p:nvPr/>
          </p:nvSpPr>
          <p:spPr bwMode="auto">
            <a:xfrm rot="10800000">
              <a:off x="8799159" y="3365100"/>
              <a:ext cx="187287" cy="165253"/>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1" tIns="146264" rIns="182831" bIns="146264" numCol="1" spcCol="0" rtlCol="0" fromWordArt="0" anchor="t" anchorCtr="0" forceAA="0" compatLnSpc="1">
              <a:prstTxWarp prst="textNoShape">
                <a:avLst/>
              </a:prstTxWarp>
              <a:noAutofit/>
            </a:bodyPr>
            <a:lstStyle/>
            <a:p>
              <a:pPr defTabSz="932200" fontAlgn="base">
                <a:lnSpc>
                  <a:spcPct val="90000"/>
                </a:lnSpc>
                <a:spcBef>
                  <a:spcPct val="0"/>
                </a:spcBef>
                <a:spcAft>
                  <a:spcPct val="0"/>
                </a:spcAft>
                <a:defRPr/>
              </a:pPr>
              <a:endParaRPr lang="en-US" sz="240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9" name="Isosceles Triangle 18"/>
            <p:cNvSpPr/>
            <p:nvPr/>
          </p:nvSpPr>
          <p:spPr bwMode="auto">
            <a:xfrm rot="10800000">
              <a:off x="9332566" y="3365100"/>
              <a:ext cx="187287" cy="165253"/>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1" tIns="146264" rIns="182831" bIns="146264" numCol="1" spcCol="0" rtlCol="0" fromWordArt="0" anchor="t" anchorCtr="0" forceAA="0" compatLnSpc="1">
              <a:prstTxWarp prst="textNoShape">
                <a:avLst/>
              </a:prstTxWarp>
              <a:noAutofit/>
            </a:bodyPr>
            <a:lstStyle/>
            <a:p>
              <a:pPr defTabSz="932200" fontAlgn="base">
                <a:lnSpc>
                  <a:spcPct val="90000"/>
                </a:lnSpc>
                <a:spcBef>
                  <a:spcPct val="0"/>
                </a:spcBef>
                <a:spcAft>
                  <a:spcPct val="0"/>
                </a:spcAft>
                <a:defRPr/>
              </a:pPr>
              <a:endParaRPr lang="en-US" sz="240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0" name="Isosceles Triangle 19"/>
            <p:cNvSpPr/>
            <p:nvPr/>
          </p:nvSpPr>
          <p:spPr bwMode="auto">
            <a:xfrm rot="10800000">
              <a:off x="9865978" y="3365100"/>
              <a:ext cx="187287" cy="165253"/>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1" tIns="146264" rIns="182831" bIns="146264" numCol="1" spcCol="0" rtlCol="0" fromWordArt="0" anchor="t" anchorCtr="0" forceAA="0" compatLnSpc="1">
              <a:prstTxWarp prst="textNoShape">
                <a:avLst/>
              </a:prstTxWarp>
              <a:noAutofit/>
            </a:bodyPr>
            <a:lstStyle/>
            <a:p>
              <a:pPr defTabSz="932200" fontAlgn="base">
                <a:lnSpc>
                  <a:spcPct val="90000"/>
                </a:lnSpc>
                <a:spcBef>
                  <a:spcPct val="0"/>
                </a:spcBef>
                <a:spcAft>
                  <a:spcPct val="0"/>
                </a:spcAft>
                <a:defRPr/>
              </a:pPr>
              <a:endParaRPr lang="en-US" sz="240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sp>
        <p:nvSpPr>
          <p:cNvPr id="21" name="Rectangle 20"/>
          <p:cNvSpPr/>
          <p:nvPr/>
        </p:nvSpPr>
        <p:spPr bwMode="auto">
          <a:xfrm>
            <a:off x="2206619" y="5357463"/>
            <a:ext cx="7737372" cy="387048"/>
          </a:xfrm>
          <a:prstGeom prst="rect">
            <a:avLst/>
          </a:prstGeom>
          <a:solidFill>
            <a:srgbClr val="005695"/>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24" rIns="0" bIns="46624" numCol="1" rtlCol="0" anchor="ctr" anchorCtr="0" compatLnSpc="1">
            <a:prstTxWarp prst="textNoShape">
              <a:avLst/>
            </a:prstTxWarp>
          </a:bodyPr>
          <a:lstStyle/>
          <a:p>
            <a:pPr algn="ctr" defTabSz="932200" fontAlgn="base">
              <a:spcBef>
                <a:spcPct val="0"/>
              </a:spcBef>
              <a:spcAft>
                <a:spcPct val="0"/>
              </a:spcAft>
              <a:defRPr/>
            </a:pPr>
            <a:r>
              <a:rPr lang="en-US" sz="2000" dirty="0">
                <a:solidFill>
                  <a:srgbClr val="FFFFFF"/>
                </a:solidFill>
                <a:latin typeface="Segoe UI"/>
              </a:rPr>
              <a:t> </a:t>
            </a:r>
          </a:p>
        </p:txBody>
      </p:sp>
      <p:sp>
        <p:nvSpPr>
          <p:cNvPr id="22" name="Rectangle 21"/>
          <p:cNvSpPr/>
          <p:nvPr/>
        </p:nvSpPr>
        <p:spPr bwMode="auto">
          <a:xfrm>
            <a:off x="2206617" y="4888790"/>
            <a:ext cx="4993911" cy="398335"/>
          </a:xfrm>
          <a:prstGeom prst="rect">
            <a:avLst/>
          </a:prstGeom>
          <a:solidFill>
            <a:srgbClr val="005695"/>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24" rIns="0" bIns="46624" numCol="1" rtlCol="0" anchor="b" anchorCtr="0" compatLnSpc="1">
            <a:prstTxWarp prst="textNoShape">
              <a:avLst/>
            </a:prstTxWarp>
          </a:bodyPr>
          <a:lstStyle/>
          <a:p>
            <a:pPr algn="ctr" defTabSz="932200" fontAlgn="base">
              <a:spcBef>
                <a:spcPct val="0"/>
              </a:spcBef>
              <a:spcAft>
                <a:spcPct val="0"/>
              </a:spcAft>
              <a:defRPr/>
            </a:pPr>
            <a:r>
              <a:rPr lang="en-US" sz="2000" dirty="0">
                <a:solidFill>
                  <a:srgbClr val="FFFFFF"/>
                </a:solidFill>
                <a:latin typeface="Segoe UI"/>
              </a:rPr>
              <a:t> </a:t>
            </a:r>
          </a:p>
        </p:txBody>
      </p:sp>
      <p:sp>
        <p:nvSpPr>
          <p:cNvPr id="23" name="Rectangle 22"/>
          <p:cNvSpPr/>
          <p:nvPr/>
        </p:nvSpPr>
        <p:spPr bwMode="auto">
          <a:xfrm>
            <a:off x="2206616" y="4421782"/>
            <a:ext cx="2621797" cy="363296"/>
          </a:xfrm>
          <a:prstGeom prst="rect">
            <a:avLst/>
          </a:prstGeom>
          <a:solidFill>
            <a:srgbClr val="005695"/>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24" rIns="0" bIns="46624" numCol="1" rtlCol="0" anchor="ctr" anchorCtr="0" compatLnSpc="1">
            <a:prstTxWarp prst="textNoShape">
              <a:avLst/>
            </a:prstTxWarp>
          </a:bodyPr>
          <a:lstStyle/>
          <a:p>
            <a:pPr algn="ctr" defTabSz="932200" fontAlgn="base">
              <a:spcBef>
                <a:spcPct val="0"/>
              </a:spcBef>
              <a:spcAft>
                <a:spcPct val="0"/>
              </a:spcAft>
              <a:defRPr/>
            </a:pPr>
            <a:endParaRPr lang="en-US" sz="2000" dirty="0">
              <a:solidFill>
                <a:srgbClr val="FFFFFF"/>
              </a:solidFill>
              <a:latin typeface="Segoe UI"/>
            </a:endParaRPr>
          </a:p>
        </p:txBody>
      </p:sp>
      <p:pic>
        <p:nvPicPr>
          <p:cNvPr id="24" name="Picture 23"/>
          <p:cNvPicPr>
            <a:picLocks noChangeAspect="1"/>
          </p:cNvPicPr>
          <p:nvPr/>
        </p:nvPicPr>
        <p:blipFill rotWithShape="1">
          <a:blip r:embed="rId3" cstate="screen">
            <a:lum bright="70000" contrast="-70000"/>
            <a:extLst>
              <a:ext uri="{28A0092B-C50C-407E-A947-70E740481C1C}">
                <a14:useLocalDpi xmlns:a14="http://schemas.microsoft.com/office/drawing/2010/main"/>
              </a:ext>
            </a:extLst>
          </a:blip>
          <a:srcRect b="33593"/>
          <a:stretch/>
        </p:blipFill>
        <p:spPr>
          <a:xfrm>
            <a:off x="9478466" y="5768030"/>
            <a:ext cx="470801" cy="368541"/>
          </a:xfrm>
          <a:prstGeom prst="rect">
            <a:avLst/>
          </a:prstGeom>
        </p:spPr>
      </p:pic>
      <p:pic>
        <p:nvPicPr>
          <p:cNvPr id="25" name="Picture 24"/>
          <p:cNvPicPr>
            <a:picLocks noChangeAspect="1"/>
          </p:cNvPicPr>
          <p:nvPr/>
        </p:nvPicPr>
        <p:blipFill rotWithShape="1">
          <a:blip r:embed="rId3" cstate="screen">
            <a:lum bright="70000" contrast="-70000"/>
            <a:extLst>
              <a:ext uri="{28A0092B-C50C-407E-A947-70E740481C1C}">
                <a14:useLocalDpi xmlns:a14="http://schemas.microsoft.com/office/drawing/2010/main"/>
              </a:ext>
            </a:extLst>
          </a:blip>
          <a:srcRect b="33593"/>
          <a:stretch/>
        </p:blipFill>
        <p:spPr>
          <a:xfrm>
            <a:off x="8993235" y="5768030"/>
            <a:ext cx="470801" cy="368541"/>
          </a:xfrm>
          <a:prstGeom prst="rect">
            <a:avLst/>
          </a:prstGeom>
        </p:spPr>
      </p:pic>
      <p:pic>
        <p:nvPicPr>
          <p:cNvPr id="26" name="Picture 25"/>
          <p:cNvPicPr>
            <a:picLocks noChangeAspect="1"/>
          </p:cNvPicPr>
          <p:nvPr/>
        </p:nvPicPr>
        <p:blipFill rotWithShape="1">
          <a:blip r:embed="rId3" cstate="screen">
            <a:lum bright="70000" contrast="-70000"/>
            <a:extLst>
              <a:ext uri="{28A0092B-C50C-407E-A947-70E740481C1C}">
                <a14:useLocalDpi xmlns:a14="http://schemas.microsoft.com/office/drawing/2010/main"/>
              </a:ext>
            </a:extLst>
          </a:blip>
          <a:srcRect b="33593"/>
          <a:stretch/>
        </p:blipFill>
        <p:spPr>
          <a:xfrm>
            <a:off x="8508004" y="5768030"/>
            <a:ext cx="470801" cy="368541"/>
          </a:xfrm>
          <a:prstGeom prst="rect">
            <a:avLst/>
          </a:prstGeom>
        </p:spPr>
      </p:pic>
      <p:pic>
        <p:nvPicPr>
          <p:cNvPr id="27" name="Picture 26"/>
          <p:cNvPicPr>
            <a:picLocks noChangeAspect="1"/>
          </p:cNvPicPr>
          <p:nvPr/>
        </p:nvPicPr>
        <p:blipFill rotWithShape="1">
          <a:blip r:embed="rId3" cstate="screen">
            <a:lum bright="70000" contrast="-70000"/>
            <a:extLst>
              <a:ext uri="{28A0092B-C50C-407E-A947-70E740481C1C}">
                <a14:useLocalDpi xmlns:a14="http://schemas.microsoft.com/office/drawing/2010/main"/>
              </a:ext>
            </a:extLst>
          </a:blip>
          <a:srcRect b="33593"/>
          <a:stretch/>
        </p:blipFill>
        <p:spPr>
          <a:xfrm>
            <a:off x="8022774" y="5768030"/>
            <a:ext cx="470801" cy="368541"/>
          </a:xfrm>
          <a:prstGeom prst="rect">
            <a:avLst/>
          </a:prstGeom>
        </p:spPr>
      </p:pic>
      <p:pic>
        <p:nvPicPr>
          <p:cNvPr id="28" name="Picture 27"/>
          <p:cNvPicPr>
            <a:picLocks noChangeAspect="1"/>
          </p:cNvPicPr>
          <p:nvPr/>
        </p:nvPicPr>
        <p:blipFill rotWithShape="1">
          <a:blip r:embed="rId3" cstate="screen">
            <a:lum bright="70000" contrast="-70000"/>
            <a:extLst>
              <a:ext uri="{28A0092B-C50C-407E-A947-70E740481C1C}">
                <a14:useLocalDpi xmlns:a14="http://schemas.microsoft.com/office/drawing/2010/main"/>
              </a:ext>
            </a:extLst>
          </a:blip>
          <a:srcRect b="33593"/>
          <a:stretch/>
        </p:blipFill>
        <p:spPr>
          <a:xfrm>
            <a:off x="7537544" y="5768030"/>
            <a:ext cx="470801" cy="368541"/>
          </a:xfrm>
          <a:prstGeom prst="rect">
            <a:avLst/>
          </a:prstGeom>
        </p:spPr>
      </p:pic>
      <p:pic>
        <p:nvPicPr>
          <p:cNvPr id="29" name="Picture 28"/>
          <p:cNvPicPr>
            <a:picLocks noChangeAspect="1"/>
          </p:cNvPicPr>
          <p:nvPr/>
        </p:nvPicPr>
        <p:blipFill rotWithShape="1">
          <a:blip r:embed="rId3" cstate="screen">
            <a:lum bright="70000" contrast="-70000"/>
            <a:extLst>
              <a:ext uri="{28A0092B-C50C-407E-A947-70E740481C1C}">
                <a14:useLocalDpi xmlns:a14="http://schemas.microsoft.com/office/drawing/2010/main"/>
              </a:ext>
            </a:extLst>
          </a:blip>
          <a:srcRect b="33593"/>
          <a:stretch/>
        </p:blipFill>
        <p:spPr>
          <a:xfrm>
            <a:off x="7052314" y="5768030"/>
            <a:ext cx="470801" cy="368541"/>
          </a:xfrm>
          <a:prstGeom prst="rect">
            <a:avLst/>
          </a:prstGeom>
        </p:spPr>
      </p:pic>
      <p:pic>
        <p:nvPicPr>
          <p:cNvPr id="30" name="Picture 29"/>
          <p:cNvPicPr>
            <a:picLocks noChangeAspect="1"/>
          </p:cNvPicPr>
          <p:nvPr/>
        </p:nvPicPr>
        <p:blipFill rotWithShape="1">
          <a:blip r:embed="rId3" cstate="screen">
            <a:lum bright="70000" contrast="-70000"/>
            <a:extLst>
              <a:ext uri="{28A0092B-C50C-407E-A947-70E740481C1C}">
                <a14:useLocalDpi xmlns:a14="http://schemas.microsoft.com/office/drawing/2010/main"/>
              </a:ext>
            </a:extLst>
          </a:blip>
          <a:srcRect b="33593"/>
          <a:stretch/>
        </p:blipFill>
        <p:spPr>
          <a:xfrm>
            <a:off x="6567084" y="5768030"/>
            <a:ext cx="470801" cy="368541"/>
          </a:xfrm>
          <a:prstGeom prst="rect">
            <a:avLst/>
          </a:prstGeom>
        </p:spPr>
      </p:pic>
      <p:pic>
        <p:nvPicPr>
          <p:cNvPr id="31" name="Picture 30"/>
          <p:cNvPicPr>
            <a:picLocks noChangeAspect="1"/>
          </p:cNvPicPr>
          <p:nvPr/>
        </p:nvPicPr>
        <p:blipFill rotWithShape="1">
          <a:blip r:embed="rId3" cstate="screen">
            <a:lum bright="70000" contrast="-70000"/>
            <a:extLst>
              <a:ext uri="{28A0092B-C50C-407E-A947-70E740481C1C}">
                <a14:useLocalDpi xmlns:a14="http://schemas.microsoft.com/office/drawing/2010/main"/>
              </a:ext>
            </a:extLst>
          </a:blip>
          <a:srcRect b="33593"/>
          <a:stretch/>
        </p:blipFill>
        <p:spPr>
          <a:xfrm>
            <a:off x="6081854" y="5768030"/>
            <a:ext cx="470801" cy="368541"/>
          </a:xfrm>
          <a:prstGeom prst="rect">
            <a:avLst/>
          </a:prstGeom>
        </p:spPr>
      </p:pic>
      <p:pic>
        <p:nvPicPr>
          <p:cNvPr id="32" name="Picture 31"/>
          <p:cNvPicPr>
            <a:picLocks noChangeAspect="1"/>
          </p:cNvPicPr>
          <p:nvPr/>
        </p:nvPicPr>
        <p:blipFill rotWithShape="1">
          <a:blip r:embed="rId3" cstate="screen">
            <a:lum bright="70000" contrast="-70000"/>
            <a:extLst>
              <a:ext uri="{28A0092B-C50C-407E-A947-70E740481C1C}">
                <a14:useLocalDpi xmlns:a14="http://schemas.microsoft.com/office/drawing/2010/main"/>
              </a:ext>
            </a:extLst>
          </a:blip>
          <a:srcRect b="33593"/>
          <a:stretch/>
        </p:blipFill>
        <p:spPr>
          <a:xfrm>
            <a:off x="5596623" y="5768030"/>
            <a:ext cx="470801" cy="368541"/>
          </a:xfrm>
          <a:prstGeom prst="rect">
            <a:avLst/>
          </a:prstGeom>
        </p:spPr>
      </p:pic>
      <p:pic>
        <p:nvPicPr>
          <p:cNvPr id="33" name="Picture 32"/>
          <p:cNvPicPr>
            <a:picLocks noChangeAspect="1"/>
          </p:cNvPicPr>
          <p:nvPr/>
        </p:nvPicPr>
        <p:blipFill rotWithShape="1">
          <a:blip r:embed="rId3" cstate="screen">
            <a:lum bright="70000" contrast="-70000"/>
            <a:extLst>
              <a:ext uri="{28A0092B-C50C-407E-A947-70E740481C1C}">
                <a14:useLocalDpi xmlns:a14="http://schemas.microsoft.com/office/drawing/2010/main"/>
              </a:ext>
            </a:extLst>
          </a:blip>
          <a:srcRect b="33593"/>
          <a:stretch/>
        </p:blipFill>
        <p:spPr>
          <a:xfrm>
            <a:off x="5111393" y="5768030"/>
            <a:ext cx="470801" cy="368541"/>
          </a:xfrm>
          <a:prstGeom prst="rect">
            <a:avLst/>
          </a:prstGeom>
        </p:spPr>
      </p:pic>
      <p:pic>
        <p:nvPicPr>
          <p:cNvPr id="34" name="Picture 33"/>
          <p:cNvPicPr>
            <a:picLocks noChangeAspect="1"/>
          </p:cNvPicPr>
          <p:nvPr/>
        </p:nvPicPr>
        <p:blipFill rotWithShape="1">
          <a:blip r:embed="rId3" cstate="screen">
            <a:lum bright="70000" contrast="-70000"/>
            <a:extLst>
              <a:ext uri="{28A0092B-C50C-407E-A947-70E740481C1C}">
                <a14:useLocalDpi xmlns:a14="http://schemas.microsoft.com/office/drawing/2010/main"/>
              </a:ext>
            </a:extLst>
          </a:blip>
          <a:srcRect b="33593"/>
          <a:stretch/>
        </p:blipFill>
        <p:spPr>
          <a:xfrm>
            <a:off x="4626164" y="5768030"/>
            <a:ext cx="470801" cy="368541"/>
          </a:xfrm>
          <a:prstGeom prst="rect">
            <a:avLst/>
          </a:prstGeom>
        </p:spPr>
      </p:pic>
      <p:pic>
        <p:nvPicPr>
          <p:cNvPr id="35" name="Picture 34"/>
          <p:cNvPicPr>
            <a:picLocks noChangeAspect="1"/>
          </p:cNvPicPr>
          <p:nvPr/>
        </p:nvPicPr>
        <p:blipFill rotWithShape="1">
          <a:blip r:embed="rId3" cstate="screen">
            <a:lum bright="70000" contrast="-70000"/>
            <a:extLst>
              <a:ext uri="{28A0092B-C50C-407E-A947-70E740481C1C}">
                <a14:useLocalDpi xmlns:a14="http://schemas.microsoft.com/office/drawing/2010/main"/>
              </a:ext>
            </a:extLst>
          </a:blip>
          <a:srcRect b="33593"/>
          <a:stretch/>
        </p:blipFill>
        <p:spPr>
          <a:xfrm>
            <a:off x="4140933" y="5768030"/>
            <a:ext cx="470801" cy="368541"/>
          </a:xfrm>
          <a:prstGeom prst="rect">
            <a:avLst/>
          </a:prstGeom>
        </p:spPr>
      </p:pic>
      <p:pic>
        <p:nvPicPr>
          <p:cNvPr id="36" name="Picture 35"/>
          <p:cNvPicPr>
            <a:picLocks noChangeAspect="1"/>
          </p:cNvPicPr>
          <p:nvPr/>
        </p:nvPicPr>
        <p:blipFill rotWithShape="1">
          <a:blip r:embed="rId3" cstate="screen">
            <a:lum bright="70000" contrast="-70000"/>
            <a:extLst>
              <a:ext uri="{28A0092B-C50C-407E-A947-70E740481C1C}">
                <a14:useLocalDpi xmlns:a14="http://schemas.microsoft.com/office/drawing/2010/main"/>
              </a:ext>
            </a:extLst>
          </a:blip>
          <a:srcRect b="33593"/>
          <a:stretch/>
        </p:blipFill>
        <p:spPr>
          <a:xfrm>
            <a:off x="3655702" y="5768030"/>
            <a:ext cx="470801" cy="368541"/>
          </a:xfrm>
          <a:prstGeom prst="rect">
            <a:avLst/>
          </a:prstGeom>
        </p:spPr>
      </p:pic>
      <p:pic>
        <p:nvPicPr>
          <p:cNvPr id="37" name="Picture 36"/>
          <p:cNvPicPr>
            <a:picLocks noChangeAspect="1"/>
          </p:cNvPicPr>
          <p:nvPr/>
        </p:nvPicPr>
        <p:blipFill rotWithShape="1">
          <a:blip r:embed="rId3" cstate="screen">
            <a:lum bright="70000" contrast="-70000"/>
            <a:extLst>
              <a:ext uri="{28A0092B-C50C-407E-A947-70E740481C1C}">
                <a14:useLocalDpi xmlns:a14="http://schemas.microsoft.com/office/drawing/2010/main"/>
              </a:ext>
            </a:extLst>
          </a:blip>
          <a:srcRect b="33593"/>
          <a:stretch/>
        </p:blipFill>
        <p:spPr>
          <a:xfrm>
            <a:off x="3170472" y="5768030"/>
            <a:ext cx="470801" cy="368541"/>
          </a:xfrm>
          <a:prstGeom prst="rect">
            <a:avLst/>
          </a:prstGeom>
        </p:spPr>
      </p:pic>
      <p:pic>
        <p:nvPicPr>
          <p:cNvPr id="38" name="Picture 37"/>
          <p:cNvPicPr>
            <a:picLocks noChangeAspect="1"/>
          </p:cNvPicPr>
          <p:nvPr/>
        </p:nvPicPr>
        <p:blipFill rotWithShape="1">
          <a:blip r:embed="rId3" cstate="screen">
            <a:lum bright="70000" contrast="-70000"/>
            <a:extLst>
              <a:ext uri="{28A0092B-C50C-407E-A947-70E740481C1C}">
                <a14:useLocalDpi xmlns:a14="http://schemas.microsoft.com/office/drawing/2010/main"/>
              </a:ext>
            </a:extLst>
          </a:blip>
          <a:srcRect b="33593"/>
          <a:stretch/>
        </p:blipFill>
        <p:spPr>
          <a:xfrm>
            <a:off x="2685241" y="5768030"/>
            <a:ext cx="470801" cy="368541"/>
          </a:xfrm>
          <a:prstGeom prst="rect">
            <a:avLst/>
          </a:prstGeom>
        </p:spPr>
      </p:pic>
      <p:pic>
        <p:nvPicPr>
          <p:cNvPr id="39" name="Picture 38"/>
          <p:cNvPicPr>
            <a:picLocks noChangeAspect="1"/>
          </p:cNvPicPr>
          <p:nvPr/>
        </p:nvPicPr>
        <p:blipFill rotWithShape="1">
          <a:blip r:embed="rId3" cstate="screen">
            <a:lum bright="70000" contrast="-70000"/>
            <a:extLst>
              <a:ext uri="{28A0092B-C50C-407E-A947-70E740481C1C}">
                <a14:useLocalDpi xmlns:a14="http://schemas.microsoft.com/office/drawing/2010/main"/>
              </a:ext>
            </a:extLst>
          </a:blip>
          <a:srcRect b="33593"/>
          <a:stretch/>
        </p:blipFill>
        <p:spPr>
          <a:xfrm>
            <a:off x="2200011" y="5768030"/>
            <a:ext cx="470801" cy="368541"/>
          </a:xfrm>
          <a:prstGeom prst="rect">
            <a:avLst/>
          </a:prstGeom>
        </p:spPr>
      </p:pic>
      <p:sp>
        <p:nvSpPr>
          <p:cNvPr id="40" name="Rectangle 39"/>
          <p:cNvSpPr/>
          <p:nvPr/>
        </p:nvSpPr>
        <p:spPr bwMode="auto">
          <a:xfrm>
            <a:off x="2206616" y="3077199"/>
            <a:ext cx="7737374" cy="1265630"/>
          </a:xfrm>
          <a:prstGeom prst="rect">
            <a:avLst/>
          </a:prstGeom>
          <a:solidFill>
            <a:srgbClr val="5C2D91">
              <a:alpha val="87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24" rIns="0" bIns="46624" numCol="1" rtlCol="0" anchor="ctr" anchorCtr="0" compatLnSpc="1">
            <a:prstTxWarp prst="textNoShape">
              <a:avLst/>
            </a:prstTxWarp>
          </a:bodyPr>
          <a:lstStyle/>
          <a:p>
            <a:pPr algn="ctr" defTabSz="932200" fontAlgn="base">
              <a:spcBef>
                <a:spcPct val="0"/>
              </a:spcBef>
              <a:spcAft>
                <a:spcPct val="0"/>
              </a:spcAft>
              <a:defRPr/>
            </a:pPr>
            <a:r>
              <a:rPr lang="en-US" sz="2000" dirty="0">
                <a:solidFill>
                  <a:srgbClr val="FFFFFF"/>
                </a:solidFill>
                <a:latin typeface="Segoe UI"/>
              </a:rPr>
              <a:t>    Application Code</a:t>
            </a:r>
          </a:p>
        </p:txBody>
      </p:sp>
      <p:sp>
        <p:nvSpPr>
          <p:cNvPr id="41" name="Rectangle 40"/>
          <p:cNvSpPr/>
          <p:nvPr/>
        </p:nvSpPr>
        <p:spPr bwMode="auto">
          <a:xfrm>
            <a:off x="4921360" y="4340861"/>
            <a:ext cx="5022630" cy="466846"/>
          </a:xfrm>
          <a:prstGeom prst="rect">
            <a:avLst/>
          </a:prstGeom>
          <a:solidFill>
            <a:srgbClr val="5C2D91">
              <a:alpha val="87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24" rIns="0" bIns="46624" numCol="1" rtlCol="0" anchor="ctr" anchorCtr="0" compatLnSpc="1">
            <a:prstTxWarp prst="textNoShape">
              <a:avLst/>
            </a:prstTxWarp>
          </a:bodyPr>
          <a:lstStyle/>
          <a:p>
            <a:pPr algn="ctr" defTabSz="932200" fontAlgn="base">
              <a:spcBef>
                <a:spcPct val="0"/>
              </a:spcBef>
              <a:spcAft>
                <a:spcPct val="0"/>
              </a:spcAft>
              <a:defRPr/>
            </a:pPr>
            <a:endParaRPr lang="en-US" sz="2000" dirty="0">
              <a:solidFill>
                <a:srgbClr val="FFFFFF"/>
              </a:solidFill>
              <a:latin typeface="Segoe UI"/>
            </a:endParaRPr>
          </a:p>
        </p:txBody>
      </p:sp>
      <p:sp>
        <p:nvSpPr>
          <p:cNvPr id="42" name="Rectangle 41"/>
          <p:cNvSpPr/>
          <p:nvPr/>
        </p:nvSpPr>
        <p:spPr bwMode="auto">
          <a:xfrm>
            <a:off x="7289340" y="4807707"/>
            <a:ext cx="2654650" cy="481132"/>
          </a:xfrm>
          <a:prstGeom prst="rect">
            <a:avLst/>
          </a:prstGeom>
          <a:solidFill>
            <a:srgbClr val="5C2D91">
              <a:alpha val="87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24" rIns="0" bIns="46624" numCol="1" rtlCol="0" anchor="ctr" anchorCtr="0" compatLnSpc="1">
            <a:prstTxWarp prst="textNoShape">
              <a:avLst/>
            </a:prstTxWarp>
          </a:bodyPr>
          <a:lstStyle/>
          <a:p>
            <a:pPr algn="ctr" defTabSz="932200" fontAlgn="base">
              <a:spcBef>
                <a:spcPct val="0"/>
              </a:spcBef>
              <a:spcAft>
                <a:spcPct val="0"/>
              </a:spcAft>
              <a:defRPr/>
            </a:pPr>
            <a:endParaRPr lang="en-US" sz="2000" dirty="0">
              <a:solidFill>
                <a:srgbClr val="FFFFFF"/>
              </a:solidFill>
              <a:latin typeface="Segoe UI"/>
            </a:endParaRPr>
          </a:p>
        </p:txBody>
      </p:sp>
      <p:grpSp>
        <p:nvGrpSpPr>
          <p:cNvPr id="43" name="Group 42"/>
          <p:cNvGrpSpPr/>
          <p:nvPr/>
        </p:nvGrpSpPr>
        <p:grpSpPr>
          <a:xfrm>
            <a:off x="4974044" y="4395420"/>
            <a:ext cx="4103923" cy="977448"/>
            <a:chOff x="5134152" y="5170255"/>
            <a:chExt cx="4105029" cy="977712"/>
          </a:xfrm>
        </p:grpSpPr>
        <p:sp>
          <p:nvSpPr>
            <p:cNvPr id="44" name="Bent-Up Arrow 211"/>
            <p:cNvSpPr/>
            <p:nvPr/>
          </p:nvSpPr>
          <p:spPr bwMode="auto">
            <a:xfrm rot="10800000" flipH="1">
              <a:off x="5134152" y="5302167"/>
              <a:ext cx="370462" cy="250389"/>
            </a:xfrm>
            <a:prstGeom prst="bentUpArrow">
              <a:avLst/>
            </a:prstGeom>
            <a:solidFill>
              <a:srgbClr val="D83B0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24" rIns="0" bIns="46624" numCol="1" rtlCol="0" anchor="ctr" anchorCtr="0" compatLnSpc="1">
              <a:prstTxWarp prst="textNoShape">
                <a:avLst/>
              </a:prstTxWarp>
            </a:bodyPr>
            <a:lstStyle/>
            <a:p>
              <a:pPr algn="ctr" defTabSz="932200" fontAlgn="base">
                <a:spcBef>
                  <a:spcPct val="0"/>
                </a:spcBef>
                <a:spcAft>
                  <a:spcPct val="0"/>
                </a:spcAft>
                <a:defRPr/>
              </a:pPr>
              <a:endParaRPr lang="en-US" sz="2000" dirty="0">
                <a:gradFill>
                  <a:gsLst>
                    <a:gs pos="0">
                      <a:srgbClr val="FFFFFF"/>
                    </a:gs>
                    <a:gs pos="100000">
                      <a:srgbClr val="FFFFFF"/>
                    </a:gs>
                  </a:gsLst>
                  <a:lin ang="5400000" scaled="0"/>
                </a:gradFill>
                <a:latin typeface="Segoe UI"/>
              </a:endParaRPr>
            </a:p>
          </p:txBody>
        </p:sp>
        <p:sp>
          <p:nvSpPr>
            <p:cNvPr id="45" name="Bent-Up Arrow 212"/>
            <p:cNvSpPr/>
            <p:nvPr/>
          </p:nvSpPr>
          <p:spPr bwMode="auto">
            <a:xfrm rot="10800000" flipH="1">
              <a:off x="7498678" y="5783262"/>
              <a:ext cx="370462" cy="250389"/>
            </a:xfrm>
            <a:prstGeom prst="bentUpArrow">
              <a:avLst/>
            </a:prstGeom>
            <a:solidFill>
              <a:srgbClr val="D83B0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24" rIns="0" bIns="46624" numCol="1" rtlCol="0" anchor="ctr" anchorCtr="0" compatLnSpc="1">
              <a:prstTxWarp prst="textNoShape">
                <a:avLst/>
              </a:prstTxWarp>
            </a:bodyPr>
            <a:lstStyle/>
            <a:p>
              <a:pPr algn="ctr" defTabSz="932200" fontAlgn="base">
                <a:spcBef>
                  <a:spcPct val="0"/>
                </a:spcBef>
                <a:spcAft>
                  <a:spcPct val="0"/>
                </a:spcAft>
                <a:defRPr/>
              </a:pPr>
              <a:endParaRPr lang="en-US" sz="2000" dirty="0">
                <a:gradFill>
                  <a:gsLst>
                    <a:gs pos="0">
                      <a:srgbClr val="FFFFFF"/>
                    </a:gs>
                    <a:gs pos="100000">
                      <a:srgbClr val="FFFFFF"/>
                    </a:gs>
                  </a:gsLst>
                  <a:lin ang="5400000" scaled="0"/>
                </a:gradFill>
                <a:latin typeface="Segoe UI"/>
              </a:endParaRPr>
            </a:p>
          </p:txBody>
        </p:sp>
        <p:sp>
          <p:nvSpPr>
            <p:cNvPr id="46" name="TextBox 45"/>
            <p:cNvSpPr txBox="1"/>
            <p:nvPr/>
          </p:nvSpPr>
          <p:spPr>
            <a:xfrm>
              <a:off x="5370275" y="5170255"/>
              <a:ext cx="1495608" cy="489365"/>
            </a:xfrm>
            <a:prstGeom prst="rect">
              <a:avLst/>
            </a:prstGeom>
            <a:noFill/>
          </p:spPr>
          <p:txBody>
            <a:bodyPr wrap="square" lIns="182831" tIns="146264" rIns="182831" bIns="146264" rtlCol="0">
              <a:spAutoFit/>
            </a:bodyPr>
            <a:lstStyle/>
            <a:p>
              <a:pPr defTabSz="932470">
                <a:lnSpc>
                  <a:spcPct val="90000"/>
                </a:lnSpc>
                <a:spcAft>
                  <a:spcPts val="600"/>
                </a:spcAft>
                <a:defRPr/>
              </a:pPr>
              <a:r>
                <a:rPr lang="en-US" sz="1399" dirty="0">
                  <a:solidFill>
                    <a:srgbClr val="FFFFFF"/>
                  </a:solidFill>
                  <a:latin typeface="Segoe UI"/>
                  <a:ea typeface="MS PGothic" panose="020B0600070205080204" pitchFamily="34" charset="-128"/>
                </a:rPr>
                <a:t>More control</a:t>
              </a:r>
            </a:p>
          </p:txBody>
        </p:sp>
        <p:sp>
          <p:nvSpPr>
            <p:cNvPr id="47" name="TextBox 46"/>
            <p:cNvSpPr txBox="1"/>
            <p:nvPr/>
          </p:nvSpPr>
          <p:spPr>
            <a:xfrm>
              <a:off x="7743573" y="5658602"/>
              <a:ext cx="1495608" cy="489365"/>
            </a:xfrm>
            <a:prstGeom prst="rect">
              <a:avLst/>
            </a:prstGeom>
            <a:noFill/>
          </p:spPr>
          <p:txBody>
            <a:bodyPr wrap="square" lIns="182831" tIns="146264" rIns="182831" bIns="146264" rtlCol="0">
              <a:spAutoFit/>
            </a:bodyPr>
            <a:lstStyle/>
            <a:p>
              <a:pPr defTabSz="932470">
                <a:lnSpc>
                  <a:spcPct val="90000"/>
                </a:lnSpc>
                <a:spcAft>
                  <a:spcPts val="600"/>
                </a:spcAft>
                <a:defRPr/>
              </a:pPr>
              <a:r>
                <a:rPr lang="en-US" sz="1399" dirty="0">
                  <a:solidFill>
                    <a:srgbClr val="FFFFFF"/>
                  </a:solidFill>
                  <a:latin typeface="Segoe UI"/>
                  <a:ea typeface="MS PGothic" panose="020B0600070205080204" pitchFamily="34" charset="-128"/>
                </a:rPr>
                <a:t>Max control</a:t>
              </a:r>
            </a:p>
          </p:txBody>
        </p:sp>
      </p:grpSp>
      <p:grpSp>
        <p:nvGrpSpPr>
          <p:cNvPr id="51" name="Group 50"/>
          <p:cNvGrpSpPr/>
          <p:nvPr/>
        </p:nvGrpSpPr>
        <p:grpSpPr>
          <a:xfrm>
            <a:off x="7483050" y="5363302"/>
            <a:ext cx="844458" cy="348921"/>
            <a:chOff x="1815887" y="5237334"/>
            <a:chExt cx="861746" cy="356066"/>
          </a:xfrm>
        </p:grpSpPr>
        <p:sp>
          <p:nvSpPr>
            <p:cNvPr id="52" name="Rectangle 51"/>
            <p:cNvSpPr/>
            <p:nvPr/>
          </p:nvSpPr>
          <p:spPr bwMode="auto">
            <a:xfrm>
              <a:off x="1815887" y="5237334"/>
              <a:ext cx="861746" cy="356066"/>
            </a:xfrm>
            <a:prstGeom prst="rect">
              <a:avLst/>
            </a:prstGeom>
            <a:solidFill>
              <a:srgbClr val="005695"/>
            </a:solidFill>
            <a:ln w="6350" cap="flat" cmpd="sng" algn="ctr">
              <a:noFill/>
              <a:prstDash val="solid"/>
              <a:miter lim="800000"/>
              <a:headEnd type="none" w="med" len="med"/>
              <a:tailEnd type="none" w="med" len="med"/>
            </a:ln>
            <a:effectLst/>
          </p:spPr>
          <p:txBody>
            <a:bodyPr rot="0" spcFirstLastPara="0" vertOverflow="overflow" horzOverflow="overflow" vert="horz" wrap="square" lIns="304657" tIns="44802" rIns="0" bIns="140551" numCol="1" spcCol="0" rtlCol="0" fromWordArt="0" anchor="t" anchorCtr="0" forceAA="0" compatLnSpc="1">
              <a:prstTxWarp prst="textNoShape">
                <a:avLst/>
              </a:prstTxWarp>
              <a:noAutofit/>
            </a:bodyPr>
            <a:lstStyle/>
            <a:p>
              <a:pPr defTabSz="895489" fontAlgn="base">
                <a:lnSpc>
                  <a:spcPct val="90000"/>
                </a:lnSpc>
                <a:defRPr/>
              </a:pPr>
              <a:r>
                <a:rPr lang="en-US" sz="900" kern="0" dirty="0">
                  <a:gradFill>
                    <a:gsLst>
                      <a:gs pos="0">
                        <a:srgbClr val="FFFFFF"/>
                      </a:gs>
                      <a:gs pos="100000">
                        <a:srgbClr val="FFFFFF"/>
                      </a:gs>
                    </a:gsLst>
                    <a:lin ang="5400000" scaled="0"/>
                  </a:gradFill>
                  <a:latin typeface="Segoe UI"/>
                  <a:ea typeface="Segoe UI" pitchFamily="34" charset="0"/>
                  <a:cs typeface="Segoe UI" pitchFamily="34" charset="0"/>
                </a:rPr>
                <a:t>Container Service</a:t>
              </a:r>
            </a:p>
          </p:txBody>
        </p:sp>
        <p:grpSp>
          <p:nvGrpSpPr>
            <p:cNvPr id="53" name="Group 52"/>
            <p:cNvGrpSpPr/>
            <p:nvPr/>
          </p:nvGrpSpPr>
          <p:grpSpPr>
            <a:xfrm>
              <a:off x="1854319" y="5310201"/>
              <a:ext cx="221053" cy="170255"/>
              <a:chOff x="1410342" y="5288934"/>
              <a:chExt cx="294653" cy="226942"/>
            </a:xfrm>
          </p:grpSpPr>
          <p:grpSp>
            <p:nvGrpSpPr>
              <p:cNvPr id="54" name="Group 53"/>
              <p:cNvGrpSpPr/>
              <p:nvPr/>
            </p:nvGrpSpPr>
            <p:grpSpPr>
              <a:xfrm>
                <a:off x="1428991" y="5308456"/>
                <a:ext cx="97032" cy="104039"/>
                <a:chOff x="1286878" y="3925073"/>
                <a:chExt cx="291844" cy="312918"/>
              </a:xfrm>
              <a:solidFill>
                <a:schemeClr val="bg1"/>
              </a:solidFill>
            </p:grpSpPr>
            <p:sp>
              <p:nvSpPr>
                <p:cNvPr id="64" name="Diamond 63"/>
                <p:cNvSpPr/>
                <p:nvPr/>
              </p:nvSpPr>
              <p:spPr bwMode="auto">
                <a:xfrm rot="19690132">
                  <a:off x="1286878" y="3991205"/>
                  <a:ext cx="148048" cy="245585"/>
                </a:xfrm>
                <a:prstGeom prst="diamond">
                  <a:avLst/>
                </a:prstGeom>
                <a:solidFill>
                  <a:schemeClr val="tx1"/>
                </a:solidFill>
                <a:ln>
                  <a:noFill/>
                  <a:headEnd type="none" w="med" len="med"/>
                  <a:tailEnd type="none" w="med" len="med"/>
                </a:ln>
                <a:effectLst/>
                <a:scene3d>
                  <a:camera prst="orthographicFront">
                    <a:rot lat="899860" lon="21583921" rev="21540000"/>
                  </a:camera>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0" tIns="143369" rIns="179210" bIns="143369" numCol="1" spcCol="0" rtlCol="0" fromWordArt="0" anchor="t" anchorCtr="0" forceAA="0" compatLnSpc="1">
                  <a:prstTxWarp prst="textNoShape">
                    <a:avLst/>
                  </a:prstTxWarp>
                  <a:noAutofit/>
                </a:bodyPr>
                <a:lstStyle/>
                <a:p>
                  <a:pPr algn="ctr" defTabSz="913661" fontAlgn="base">
                    <a:lnSpc>
                      <a:spcPct val="90000"/>
                    </a:lnSpc>
                    <a:spcBef>
                      <a:spcPct val="0"/>
                    </a:spcBef>
                    <a:spcAft>
                      <a:spcPct val="0"/>
                    </a:spcAft>
                    <a:defRPr/>
                  </a:pPr>
                  <a:endParaRPr lang="en-US" sz="1960" b="1" dirty="0">
                    <a:solidFill>
                      <a:srgbClr val="FFFFFF"/>
                    </a:solidFill>
                    <a:latin typeface="Segoe UI Light"/>
                    <a:ea typeface="Segoe UI" pitchFamily="34" charset="0"/>
                    <a:cs typeface="Segoe UI" pitchFamily="34" charset="0"/>
                  </a:endParaRPr>
                </a:p>
              </p:txBody>
            </p:sp>
            <p:sp>
              <p:nvSpPr>
                <p:cNvPr id="65" name="Diamond 64"/>
                <p:cNvSpPr/>
                <p:nvPr/>
              </p:nvSpPr>
              <p:spPr bwMode="auto">
                <a:xfrm rot="1935408">
                  <a:off x="1424781" y="3991343"/>
                  <a:ext cx="153941" cy="246648"/>
                </a:xfrm>
                <a:prstGeom prst="diamond">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0" tIns="143369" rIns="179210" bIns="143369" numCol="1" spcCol="0" rtlCol="0" fromWordArt="0" anchor="t" anchorCtr="0" forceAA="0" compatLnSpc="1">
                  <a:prstTxWarp prst="textNoShape">
                    <a:avLst/>
                  </a:prstTxWarp>
                  <a:noAutofit/>
                </a:bodyPr>
                <a:lstStyle/>
                <a:p>
                  <a:pPr algn="ctr" defTabSz="913661" fontAlgn="base">
                    <a:lnSpc>
                      <a:spcPct val="90000"/>
                    </a:lnSpc>
                    <a:spcBef>
                      <a:spcPct val="0"/>
                    </a:spcBef>
                    <a:spcAft>
                      <a:spcPct val="0"/>
                    </a:spcAft>
                    <a:defRPr/>
                  </a:pPr>
                  <a:endParaRPr lang="en-US" sz="1960" b="1" dirty="0">
                    <a:solidFill>
                      <a:srgbClr val="FFFFFF"/>
                    </a:solidFill>
                    <a:latin typeface="Segoe UI Light"/>
                    <a:ea typeface="Segoe UI" pitchFamily="34" charset="0"/>
                    <a:cs typeface="Segoe UI" pitchFamily="34" charset="0"/>
                  </a:endParaRPr>
                </a:p>
              </p:txBody>
            </p:sp>
            <p:sp>
              <p:nvSpPr>
                <p:cNvPr id="66" name="Diamond 65"/>
                <p:cNvSpPr/>
                <p:nvPr/>
              </p:nvSpPr>
              <p:spPr bwMode="auto">
                <a:xfrm rot="5400000">
                  <a:off x="1355358" y="3879251"/>
                  <a:ext cx="153941" cy="245585"/>
                </a:xfrm>
                <a:prstGeom prst="diamond">
                  <a:avLst/>
                </a:prstGeom>
                <a:solidFill>
                  <a:schemeClr val="tx1"/>
                </a:solidFill>
                <a:ln>
                  <a:noFill/>
                  <a:headEnd type="none" w="med" len="med"/>
                  <a:tailEnd type="none" w="med" len="med"/>
                </a:ln>
                <a:effectLst/>
                <a:scene3d>
                  <a:camera prst="orthographicFront">
                    <a:rot lat="21599979" lon="2400000" rev="0"/>
                  </a:camera>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0" tIns="143369" rIns="179210" bIns="143369" numCol="1" spcCol="0" rtlCol="0" fromWordArt="0" anchor="t" anchorCtr="0" forceAA="0" compatLnSpc="1">
                  <a:prstTxWarp prst="textNoShape">
                    <a:avLst/>
                  </a:prstTxWarp>
                  <a:noAutofit/>
                </a:bodyPr>
                <a:lstStyle/>
                <a:p>
                  <a:pPr algn="ctr" defTabSz="913661" fontAlgn="base">
                    <a:lnSpc>
                      <a:spcPct val="90000"/>
                    </a:lnSpc>
                    <a:spcBef>
                      <a:spcPct val="0"/>
                    </a:spcBef>
                    <a:spcAft>
                      <a:spcPct val="0"/>
                    </a:spcAft>
                    <a:defRPr/>
                  </a:pPr>
                  <a:endParaRPr lang="en-US" sz="1960" b="1" dirty="0">
                    <a:solidFill>
                      <a:srgbClr val="FFFFFF"/>
                    </a:solidFill>
                    <a:latin typeface="Segoe UI Light"/>
                    <a:ea typeface="Segoe UI" pitchFamily="34" charset="0"/>
                    <a:cs typeface="Segoe UI" pitchFamily="34" charset="0"/>
                  </a:endParaRPr>
                </a:p>
              </p:txBody>
            </p:sp>
          </p:grpSp>
          <p:sp>
            <p:nvSpPr>
              <p:cNvPr id="55" name="Rounded Rectangle 222"/>
              <p:cNvSpPr/>
              <p:nvPr/>
            </p:nvSpPr>
            <p:spPr bwMode="auto">
              <a:xfrm>
                <a:off x="1410342" y="5288934"/>
                <a:ext cx="294653" cy="226942"/>
              </a:xfrm>
              <a:prstGeom prst="roundRect">
                <a:avLst>
                  <a:gd name="adj" fmla="val 9184"/>
                </a:avLst>
              </a:pr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0" tIns="143369" rIns="179210" bIns="143369" numCol="1" spcCol="0" rtlCol="0" fromWordArt="0" anchor="t" anchorCtr="0" forceAA="0" compatLnSpc="1">
                <a:prstTxWarp prst="textNoShape">
                  <a:avLst/>
                </a:prstTxWarp>
                <a:noAutofit/>
              </a:bodyPr>
              <a:lstStyle/>
              <a:p>
                <a:pPr algn="ctr" defTabSz="913661" fontAlgn="base">
                  <a:lnSpc>
                    <a:spcPct val="90000"/>
                  </a:lnSpc>
                  <a:spcBef>
                    <a:spcPct val="0"/>
                  </a:spcBef>
                  <a:spcAft>
                    <a:spcPct val="0"/>
                  </a:spcAft>
                  <a:defRPr/>
                </a:pPr>
                <a:endParaRPr lang="en-US" sz="1960" b="1" dirty="0">
                  <a:solidFill>
                    <a:srgbClr val="FFFFFF"/>
                  </a:solidFill>
                  <a:latin typeface="Segoe UI Light"/>
                  <a:ea typeface="Segoe UI" pitchFamily="34" charset="0"/>
                  <a:cs typeface="Segoe UI" pitchFamily="34" charset="0"/>
                </a:endParaRPr>
              </a:p>
            </p:txBody>
          </p:sp>
          <p:grpSp>
            <p:nvGrpSpPr>
              <p:cNvPr id="56" name="Group 55"/>
              <p:cNvGrpSpPr/>
              <p:nvPr/>
            </p:nvGrpSpPr>
            <p:grpSpPr>
              <a:xfrm>
                <a:off x="1573839" y="5308987"/>
                <a:ext cx="97032" cy="104039"/>
                <a:chOff x="1286878" y="3925073"/>
                <a:chExt cx="291844" cy="312918"/>
              </a:xfrm>
              <a:solidFill>
                <a:schemeClr val="bg1"/>
              </a:solidFill>
            </p:grpSpPr>
            <p:sp>
              <p:nvSpPr>
                <p:cNvPr id="61" name="Diamond 60"/>
                <p:cNvSpPr/>
                <p:nvPr/>
              </p:nvSpPr>
              <p:spPr bwMode="auto">
                <a:xfrm rot="19690132">
                  <a:off x="1286878" y="3991205"/>
                  <a:ext cx="148048" cy="245585"/>
                </a:xfrm>
                <a:prstGeom prst="diamond">
                  <a:avLst/>
                </a:prstGeom>
                <a:solidFill>
                  <a:schemeClr val="tx1"/>
                </a:solidFill>
                <a:ln>
                  <a:noFill/>
                  <a:headEnd type="none" w="med" len="med"/>
                  <a:tailEnd type="none" w="med" len="med"/>
                </a:ln>
                <a:effectLst/>
                <a:scene3d>
                  <a:camera prst="orthographicFront">
                    <a:rot lat="899860" lon="21583921" rev="21540000"/>
                  </a:camera>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0" tIns="143369" rIns="179210" bIns="143369" numCol="1" spcCol="0" rtlCol="0" fromWordArt="0" anchor="t" anchorCtr="0" forceAA="0" compatLnSpc="1">
                  <a:prstTxWarp prst="textNoShape">
                    <a:avLst/>
                  </a:prstTxWarp>
                  <a:noAutofit/>
                </a:bodyPr>
                <a:lstStyle/>
                <a:p>
                  <a:pPr algn="ctr" defTabSz="913661" fontAlgn="base">
                    <a:lnSpc>
                      <a:spcPct val="90000"/>
                    </a:lnSpc>
                    <a:spcBef>
                      <a:spcPct val="0"/>
                    </a:spcBef>
                    <a:spcAft>
                      <a:spcPct val="0"/>
                    </a:spcAft>
                    <a:defRPr/>
                  </a:pPr>
                  <a:endParaRPr lang="en-US" sz="1960" b="1" dirty="0">
                    <a:solidFill>
                      <a:srgbClr val="FFFFFF"/>
                    </a:solidFill>
                    <a:latin typeface="Segoe UI Light"/>
                    <a:ea typeface="Segoe UI" pitchFamily="34" charset="0"/>
                    <a:cs typeface="Segoe UI" pitchFamily="34" charset="0"/>
                  </a:endParaRPr>
                </a:p>
              </p:txBody>
            </p:sp>
            <p:sp>
              <p:nvSpPr>
                <p:cNvPr id="62" name="Diamond 61"/>
                <p:cNvSpPr/>
                <p:nvPr/>
              </p:nvSpPr>
              <p:spPr bwMode="auto">
                <a:xfrm rot="1935408">
                  <a:off x="1424781" y="3991343"/>
                  <a:ext cx="153941" cy="246648"/>
                </a:xfrm>
                <a:prstGeom prst="diamond">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0" tIns="143369" rIns="179210" bIns="143369" numCol="1" spcCol="0" rtlCol="0" fromWordArt="0" anchor="t" anchorCtr="0" forceAA="0" compatLnSpc="1">
                  <a:prstTxWarp prst="textNoShape">
                    <a:avLst/>
                  </a:prstTxWarp>
                  <a:noAutofit/>
                </a:bodyPr>
                <a:lstStyle/>
                <a:p>
                  <a:pPr algn="ctr" defTabSz="913661" fontAlgn="base">
                    <a:lnSpc>
                      <a:spcPct val="90000"/>
                    </a:lnSpc>
                    <a:spcBef>
                      <a:spcPct val="0"/>
                    </a:spcBef>
                    <a:spcAft>
                      <a:spcPct val="0"/>
                    </a:spcAft>
                    <a:defRPr/>
                  </a:pPr>
                  <a:endParaRPr lang="en-US" sz="1960" b="1" dirty="0">
                    <a:solidFill>
                      <a:srgbClr val="FFFFFF"/>
                    </a:solidFill>
                    <a:latin typeface="Segoe UI Light"/>
                    <a:ea typeface="Segoe UI" pitchFamily="34" charset="0"/>
                    <a:cs typeface="Segoe UI" pitchFamily="34" charset="0"/>
                  </a:endParaRPr>
                </a:p>
              </p:txBody>
            </p:sp>
            <p:sp>
              <p:nvSpPr>
                <p:cNvPr id="63" name="Diamond 62"/>
                <p:cNvSpPr/>
                <p:nvPr/>
              </p:nvSpPr>
              <p:spPr bwMode="auto">
                <a:xfrm rot="5400000">
                  <a:off x="1355358" y="3879251"/>
                  <a:ext cx="153941" cy="245585"/>
                </a:xfrm>
                <a:prstGeom prst="diamond">
                  <a:avLst/>
                </a:prstGeom>
                <a:solidFill>
                  <a:schemeClr val="tx1"/>
                </a:solidFill>
                <a:ln>
                  <a:noFill/>
                  <a:headEnd type="none" w="med" len="med"/>
                  <a:tailEnd type="none" w="med" len="med"/>
                </a:ln>
                <a:effectLst/>
                <a:scene3d>
                  <a:camera prst="orthographicFront">
                    <a:rot lat="21599979" lon="2400000" rev="0"/>
                  </a:camera>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0" tIns="143369" rIns="179210" bIns="143369" numCol="1" spcCol="0" rtlCol="0" fromWordArt="0" anchor="t" anchorCtr="0" forceAA="0" compatLnSpc="1">
                  <a:prstTxWarp prst="textNoShape">
                    <a:avLst/>
                  </a:prstTxWarp>
                  <a:noAutofit/>
                </a:bodyPr>
                <a:lstStyle/>
                <a:p>
                  <a:pPr algn="ctr" defTabSz="913661" fontAlgn="base">
                    <a:lnSpc>
                      <a:spcPct val="90000"/>
                    </a:lnSpc>
                    <a:spcBef>
                      <a:spcPct val="0"/>
                    </a:spcBef>
                    <a:spcAft>
                      <a:spcPct val="0"/>
                    </a:spcAft>
                    <a:defRPr/>
                  </a:pPr>
                  <a:endParaRPr lang="en-US" sz="1960" b="1" dirty="0">
                    <a:solidFill>
                      <a:srgbClr val="FFFFFF"/>
                    </a:solidFill>
                    <a:latin typeface="Segoe UI Light"/>
                    <a:ea typeface="Segoe UI" pitchFamily="34" charset="0"/>
                    <a:cs typeface="Segoe UI" pitchFamily="34" charset="0"/>
                  </a:endParaRPr>
                </a:p>
              </p:txBody>
            </p:sp>
          </p:grpSp>
          <p:grpSp>
            <p:nvGrpSpPr>
              <p:cNvPr id="57" name="Group 56"/>
              <p:cNvGrpSpPr/>
              <p:nvPr/>
            </p:nvGrpSpPr>
            <p:grpSpPr>
              <a:xfrm>
                <a:off x="1505369" y="5390438"/>
                <a:ext cx="97032" cy="104039"/>
                <a:chOff x="1286878" y="3925073"/>
                <a:chExt cx="291844" cy="312918"/>
              </a:xfrm>
              <a:solidFill>
                <a:schemeClr val="bg1"/>
              </a:solidFill>
            </p:grpSpPr>
            <p:sp>
              <p:nvSpPr>
                <p:cNvPr id="58" name="Diamond 57"/>
                <p:cNvSpPr/>
                <p:nvPr/>
              </p:nvSpPr>
              <p:spPr bwMode="auto">
                <a:xfrm rot="19690132">
                  <a:off x="1286878" y="3991205"/>
                  <a:ext cx="148048" cy="245585"/>
                </a:xfrm>
                <a:prstGeom prst="diamond">
                  <a:avLst/>
                </a:prstGeom>
                <a:solidFill>
                  <a:schemeClr val="tx1"/>
                </a:solidFill>
                <a:ln>
                  <a:noFill/>
                  <a:headEnd type="none" w="med" len="med"/>
                  <a:tailEnd type="none" w="med" len="med"/>
                </a:ln>
                <a:effectLst/>
                <a:scene3d>
                  <a:camera prst="orthographicFront">
                    <a:rot lat="899860" lon="21583921" rev="21540000"/>
                  </a:camera>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0" tIns="143369" rIns="179210" bIns="143369" numCol="1" spcCol="0" rtlCol="0" fromWordArt="0" anchor="t" anchorCtr="0" forceAA="0" compatLnSpc="1">
                  <a:prstTxWarp prst="textNoShape">
                    <a:avLst/>
                  </a:prstTxWarp>
                  <a:noAutofit/>
                </a:bodyPr>
                <a:lstStyle/>
                <a:p>
                  <a:pPr algn="ctr" defTabSz="913661" fontAlgn="base">
                    <a:lnSpc>
                      <a:spcPct val="90000"/>
                    </a:lnSpc>
                    <a:spcBef>
                      <a:spcPct val="0"/>
                    </a:spcBef>
                    <a:spcAft>
                      <a:spcPct val="0"/>
                    </a:spcAft>
                    <a:defRPr/>
                  </a:pPr>
                  <a:endParaRPr lang="en-US" sz="1960" b="1" dirty="0">
                    <a:solidFill>
                      <a:srgbClr val="FFFFFF"/>
                    </a:solidFill>
                    <a:latin typeface="Segoe UI Light"/>
                    <a:ea typeface="Segoe UI" pitchFamily="34" charset="0"/>
                    <a:cs typeface="Segoe UI" pitchFamily="34" charset="0"/>
                  </a:endParaRPr>
                </a:p>
              </p:txBody>
            </p:sp>
            <p:sp>
              <p:nvSpPr>
                <p:cNvPr id="59" name="Diamond 58"/>
                <p:cNvSpPr/>
                <p:nvPr/>
              </p:nvSpPr>
              <p:spPr bwMode="auto">
                <a:xfrm rot="1935408">
                  <a:off x="1424781" y="3991343"/>
                  <a:ext cx="153941" cy="246648"/>
                </a:xfrm>
                <a:prstGeom prst="diamond">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0" tIns="143369" rIns="179210" bIns="143369" numCol="1" spcCol="0" rtlCol="0" fromWordArt="0" anchor="t" anchorCtr="0" forceAA="0" compatLnSpc="1">
                  <a:prstTxWarp prst="textNoShape">
                    <a:avLst/>
                  </a:prstTxWarp>
                  <a:noAutofit/>
                </a:bodyPr>
                <a:lstStyle/>
                <a:p>
                  <a:pPr algn="ctr" defTabSz="913661" fontAlgn="base">
                    <a:lnSpc>
                      <a:spcPct val="90000"/>
                    </a:lnSpc>
                    <a:spcBef>
                      <a:spcPct val="0"/>
                    </a:spcBef>
                    <a:spcAft>
                      <a:spcPct val="0"/>
                    </a:spcAft>
                    <a:defRPr/>
                  </a:pPr>
                  <a:endParaRPr lang="en-US" sz="1960" b="1" dirty="0">
                    <a:solidFill>
                      <a:srgbClr val="FFFFFF"/>
                    </a:solidFill>
                    <a:latin typeface="Segoe UI Light"/>
                    <a:ea typeface="Segoe UI" pitchFamily="34" charset="0"/>
                    <a:cs typeface="Segoe UI" pitchFamily="34" charset="0"/>
                  </a:endParaRPr>
                </a:p>
              </p:txBody>
            </p:sp>
            <p:sp>
              <p:nvSpPr>
                <p:cNvPr id="60" name="Diamond 59"/>
                <p:cNvSpPr/>
                <p:nvPr/>
              </p:nvSpPr>
              <p:spPr bwMode="auto">
                <a:xfrm rot="5400000">
                  <a:off x="1355358" y="3879251"/>
                  <a:ext cx="153941" cy="245585"/>
                </a:xfrm>
                <a:prstGeom prst="diamond">
                  <a:avLst/>
                </a:prstGeom>
                <a:solidFill>
                  <a:schemeClr val="tx1"/>
                </a:solidFill>
                <a:ln>
                  <a:noFill/>
                  <a:headEnd type="none" w="med" len="med"/>
                  <a:tailEnd type="none" w="med" len="med"/>
                </a:ln>
                <a:effectLst/>
                <a:scene3d>
                  <a:camera prst="orthographicFront">
                    <a:rot lat="21599979" lon="2400000" rev="0"/>
                  </a:camera>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0" tIns="143369" rIns="179210" bIns="143369" numCol="1" spcCol="0" rtlCol="0" fromWordArt="0" anchor="t" anchorCtr="0" forceAA="0" compatLnSpc="1">
                  <a:prstTxWarp prst="textNoShape">
                    <a:avLst/>
                  </a:prstTxWarp>
                  <a:noAutofit/>
                </a:bodyPr>
                <a:lstStyle/>
                <a:p>
                  <a:pPr algn="ctr" defTabSz="913661" fontAlgn="base">
                    <a:lnSpc>
                      <a:spcPct val="90000"/>
                    </a:lnSpc>
                    <a:spcBef>
                      <a:spcPct val="0"/>
                    </a:spcBef>
                    <a:spcAft>
                      <a:spcPct val="0"/>
                    </a:spcAft>
                    <a:defRPr/>
                  </a:pPr>
                  <a:endParaRPr lang="en-US" sz="1960" b="1" dirty="0">
                    <a:solidFill>
                      <a:srgbClr val="FFFFFF"/>
                    </a:solidFill>
                    <a:latin typeface="Segoe UI Light"/>
                    <a:ea typeface="Segoe UI" pitchFamily="34" charset="0"/>
                    <a:cs typeface="Segoe UI" pitchFamily="34" charset="0"/>
                  </a:endParaRPr>
                </a:p>
              </p:txBody>
            </p:sp>
          </p:grpSp>
        </p:grpSp>
      </p:grpSp>
      <p:grpSp>
        <p:nvGrpSpPr>
          <p:cNvPr id="67" name="Group 66"/>
          <p:cNvGrpSpPr/>
          <p:nvPr/>
        </p:nvGrpSpPr>
        <p:grpSpPr>
          <a:xfrm>
            <a:off x="2348546" y="2138338"/>
            <a:ext cx="897066" cy="345742"/>
            <a:chOff x="3003353" y="5231315"/>
            <a:chExt cx="915430" cy="363427"/>
          </a:xfrm>
          <a:solidFill>
            <a:srgbClr val="0078D7"/>
          </a:solidFill>
        </p:grpSpPr>
        <p:sp>
          <p:nvSpPr>
            <p:cNvPr id="68" name="Rectangle 67"/>
            <p:cNvSpPr/>
            <p:nvPr/>
          </p:nvSpPr>
          <p:spPr bwMode="auto">
            <a:xfrm>
              <a:off x="3003353" y="5231315"/>
              <a:ext cx="915430" cy="363427"/>
            </a:xfrm>
            <a:prstGeom prst="rect">
              <a:avLst/>
            </a:prstGeom>
            <a:grpFill/>
            <a:ln w="6350" cap="flat" cmpd="sng" algn="ctr">
              <a:noFill/>
              <a:prstDash val="solid"/>
              <a:miter lim="800000"/>
              <a:headEnd type="none" w="med" len="med"/>
              <a:tailEnd type="none" w="med" len="med"/>
            </a:ln>
            <a:effectLst/>
          </p:spPr>
          <p:txBody>
            <a:bodyPr rot="0" spcFirstLastPara="0" vertOverflow="overflow" horzOverflow="overflow" vert="horz" wrap="square" lIns="304657" tIns="44802" rIns="0" bIns="140551" numCol="1" spcCol="0" rtlCol="0" fromWordArt="0" anchor="t" anchorCtr="0" forceAA="0" compatLnSpc="1">
              <a:prstTxWarp prst="textNoShape">
                <a:avLst/>
              </a:prstTxWarp>
              <a:noAutofit/>
            </a:bodyPr>
            <a:lstStyle/>
            <a:p>
              <a:pPr defTabSz="895489" fontAlgn="base">
                <a:lnSpc>
                  <a:spcPct val="90000"/>
                </a:lnSpc>
                <a:defRPr/>
              </a:pPr>
              <a:r>
                <a:rPr lang="en-US" sz="800" kern="0" dirty="0">
                  <a:gradFill>
                    <a:gsLst>
                      <a:gs pos="0">
                        <a:srgbClr val="FFFFFF"/>
                      </a:gs>
                      <a:gs pos="100000">
                        <a:srgbClr val="FFFFFF"/>
                      </a:gs>
                    </a:gsLst>
                    <a:lin ang="5400000" scaled="0"/>
                  </a:gradFill>
                  <a:latin typeface="Segoe UI"/>
                  <a:ea typeface="Segoe UI" pitchFamily="34" charset="0"/>
                  <a:cs typeface="Segoe UI" pitchFamily="34" charset="0"/>
                </a:rPr>
                <a:t>BLOB Storage</a:t>
              </a:r>
            </a:p>
          </p:txBody>
        </p:sp>
        <p:pic>
          <p:nvPicPr>
            <p:cNvPr id="69" name="Picture 68" descr="Storage blob.png"/>
            <p:cNvPicPr>
              <a:picLocks noChangeAspect="1"/>
            </p:cNvPicPr>
            <p:nvPr/>
          </p:nvPicPr>
          <p:blipFill>
            <a:blip r:embed="rId4" cstate="screen">
              <a:biLevel thresh="25000"/>
              <a:extLst>
                <a:ext uri="{28A0092B-C50C-407E-A947-70E740481C1C}">
                  <a14:useLocalDpi xmlns:a14="http://schemas.microsoft.com/office/drawing/2010/main"/>
                </a:ext>
              </a:extLst>
            </a:blip>
            <a:stretch>
              <a:fillRect/>
            </a:stretch>
          </p:blipFill>
          <p:spPr>
            <a:xfrm>
              <a:off x="3032767" y="5271308"/>
              <a:ext cx="247169" cy="247170"/>
            </a:xfrm>
            <a:prstGeom prst="rect">
              <a:avLst/>
            </a:prstGeom>
            <a:grpFill/>
          </p:spPr>
        </p:pic>
      </p:grpSp>
      <p:grpSp>
        <p:nvGrpSpPr>
          <p:cNvPr id="70" name="Group 69"/>
          <p:cNvGrpSpPr/>
          <p:nvPr/>
        </p:nvGrpSpPr>
        <p:grpSpPr>
          <a:xfrm>
            <a:off x="2378884" y="2512533"/>
            <a:ext cx="818468" cy="345742"/>
            <a:chOff x="3995042" y="5231314"/>
            <a:chExt cx="835223" cy="363427"/>
          </a:xfrm>
          <a:solidFill>
            <a:srgbClr val="0078D7"/>
          </a:solidFill>
        </p:grpSpPr>
        <p:sp>
          <p:nvSpPr>
            <p:cNvPr id="71" name="Rectangle 70"/>
            <p:cNvSpPr/>
            <p:nvPr/>
          </p:nvSpPr>
          <p:spPr bwMode="auto">
            <a:xfrm>
              <a:off x="3995042" y="5231314"/>
              <a:ext cx="835223" cy="363427"/>
            </a:xfrm>
            <a:prstGeom prst="rect">
              <a:avLst/>
            </a:prstGeom>
            <a:grpFill/>
            <a:ln w="6350" cap="flat" cmpd="sng" algn="ctr">
              <a:noFill/>
              <a:prstDash val="solid"/>
              <a:miter lim="800000"/>
              <a:headEnd type="none" w="med" len="med"/>
              <a:tailEnd type="none" w="med" len="med"/>
            </a:ln>
            <a:effectLst/>
          </p:spPr>
          <p:txBody>
            <a:bodyPr rot="0" spcFirstLastPara="0" vertOverflow="overflow" horzOverflow="overflow" vert="horz" wrap="square" lIns="304657" tIns="44802" rIns="0" bIns="140551" numCol="1" spcCol="0" rtlCol="0" fromWordArt="0" anchor="t" anchorCtr="0" forceAA="0" compatLnSpc="1">
              <a:prstTxWarp prst="textNoShape">
                <a:avLst/>
              </a:prstTxWarp>
              <a:noAutofit/>
            </a:bodyPr>
            <a:lstStyle/>
            <a:p>
              <a:pPr defTabSz="895489" fontAlgn="base">
                <a:lnSpc>
                  <a:spcPct val="90000"/>
                </a:lnSpc>
                <a:defRPr/>
              </a:pPr>
              <a:r>
                <a:rPr lang="en-US" sz="784" kern="0" dirty="0">
                  <a:gradFill>
                    <a:gsLst>
                      <a:gs pos="0">
                        <a:srgbClr val="FFFFFF"/>
                      </a:gs>
                      <a:gs pos="100000">
                        <a:srgbClr val="FFFFFF"/>
                      </a:gs>
                    </a:gsLst>
                    <a:lin ang="5400000" scaled="0"/>
                  </a:gradFill>
                  <a:latin typeface="Segoe UI"/>
                  <a:ea typeface="Segoe UI" pitchFamily="34" charset="0"/>
                  <a:cs typeface="Segoe UI" pitchFamily="34" charset="0"/>
                </a:rPr>
                <a:t>Azure Files</a:t>
              </a:r>
            </a:p>
          </p:txBody>
        </p:sp>
        <p:pic>
          <p:nvPicPr>
            <p:cNvPr id="72" name="Picture 71" descr="Storage blob.png"/>
            <p:cNvPicPr>
              <a:picLocks noChangeAspect="1"/>
            </p:cNvPicPr>
            <p:nvPr/>
          </p:nvPicPr>
          <p:blipFill>
            <a:blip r:embed="rId4" cstate="screen">
              <a:biLevel thresh="25000"/>
              <a:extLst>
                <a:ext uri="{28A0092B-C50C-407E-A947-70E740481C1C}">
                  <a14:useLocalDpi xmlns:a14="http://schemas.microsoft.com/office/drawing/2010/main"/>
                </a:ext>
              </a:extLst>
            </a:blip>
            <a:stretch>
              <a:fillRect/>
            </a:stretch>
          </p:blipFill>
          <p:spPr>
            <a:xfrm>
              <a:off x="4024079" y="5271308"/>
              <a:ext cx="247169" cy="247170"/>
            </a:xfrm>
            <a:prstGeom prst="rect">
              <a:avLst/>
            </a:prstGeom>
            <a:grpFill/>
          </p:spPr>
        </p:pic>
      </p:grpSp>
      <p:grpSp>
        <p:nvGrpSpPr>
          <p:cNvPr id="73" name="Group 72"/>
          <p:cNvGrpSpPr/>
          <p:nvPr/>
        </p:nvGrpSpPr>
        <p:grpSpPr>
          <a:xfrm>
            <a:off x="3551959" y="2464917"/>
            <a:ext cx="819449" cy="345742"/>
            <a:chOff x="4925592" y="5231313"/>
            <a:chExt cx="836224" cy="363427"/>
          </a:xfrm>
          <a:solidFill>
            <a:srgbClr val="0078D7"/>
          </a:solidFill>
        </p:grpSpPr>
        <p:sp>
          <p:nvSpPr>
            <p:cNvPr id="74" name="Rectangle 73"/>
            <p:cNvSpPr/>
            <p:nvPr/>
          </p:nvSpPr>
          <p:spPr bwMode="auto">
            <a:xfrm>
              <a:off x="4925592" y="5231313"/>
              <a:ext cx="836224" cy="363427"/>
            </a:xfrm>
            <a:prstGeom prst="rect">
              <a:avLst/>
            </a:prstGeom>
            <a:grpFill/>
            <a:ln w="6350" cap="flat" cmpd="sng" algn="ctr">
              <a:noFill/>
              <a:prstDash val="solid"/>
              <a:miter lim="800000"/>
              <a:headEnd type="none" w="med" len="med"/>
              <a:tailEnd type="none" w="med" len="med"/>
            </a:ln>
            <a:effectLst/>
          </p:spPr>
          <p:txBody>
            <a:bodyPr rot="0" spcFirstLastPara="0" vertOverflow="overflow" horzOverflow="overflow" vert="horz" wrap="square" lIns="304657" tIns="44802" rIns="0" bIns="140551" numCol="1" spcCol="0" rtlCol="0" fromWordArt="0" anchor="t" anchorCtr="0" forceAA="0" compatLnSpc="1">
              <a:prstTxWarp prst="textNoShape">
                <a:avLst/>
              </a:prstTxWarp>
              <a:noAutofit/>
            </a:bodyPr>
            <a:lstStyle/>
            <a:p>
              <a:pPr defTabSz="895489" fontAlgn="base">
                <a:lnSpc>
                  <a:spcPct val="90000"/>
                </a:lnSpc>
                <a:defRPr/>
              </a:pPr>
              <a:r>
                <a:rPr lang="en-US" sz="784" kern="0" dirty="0">
                  <a:gradFill>
                    <a:gsLst>
                      <a:gs pos="0">
                        <a:srgbClr val="FFFFFF"/>
                      </a:gs>
                      <a:gs pos="100000">
                        <a:srgbClr val="FFFFFF"/>
                      </a:gs>
                    </a:gsLst>
                    <a:lin ang="5400000" scaled="0"/>
                  </a:gradFill>
                  <a:latin typeface="Segoe UI"/>
                  <a:ea typeface="Segoe UI" pitchFamily="34" charset="0"/>
                  <a:cs typeface="Segoe UI" pitchFamily="34" charset="0"/>
                </a:rPr>
                <a:t>Premium Storage</a:t>
              </a:r>
            </a:p>
          </p:txBody>
        </p:sp>
        <p:pic>
          <p:nvPicPr>
            <p:cNvPr id="75" name="Picture 74" descr="Storage blob.png"/>
            <p:cNvPicPr>
              <a:picLocks noChangeAspect="1"/>
            </p:cNvPicPr>
            <p:nvPr/>
          </p:nvPicPr>
          <p:blipFill>
            <a:blip r:embed="rId4" cstate="screen">
              <a:biLevel thresh="25000"/>
              <a:extLst>
                <a:ext uri="{28A0092B-C50C-407E-A947-70E740481C1C}">
                  <a14:useLocalDpi xmlns:a14="http://schemas.microsoft.com/office/drawing/2010/main"/>
                </a:ext>
              </a:extLst>
            </a:blip>
            <a:stretch>
              <a:fillRect/>
            </a:stretch>
          </p:blipFill>
          <p:spPr>
            <a:xfrm>
              <a:off x="4947024" y="5271308"/>
              <a:ext cx="247169" cy="247170"/>
            </a:xfrm>
            <a:prstGeom prst="rect">
              <a:avLst/>
            </a:prstGeom>
            <a:grpFill/>
          </p:spPr>
        </p:pic>
      </p:grpSp>
      <p:grpSp>
        <p:nvGrpSpPr>
          <p:cNvPr id="76" name="Group 75"/>
          <p:cNvGrpSpPr/>
          <p:nvPr/>
        </p:nvGrpSpPr>
        <p:grpSpPr>
          <a:xfrm>
            <a:off x="3357193" y="4923118"/>
            <a:ext cx="981276" cy="331233"/>
            <a:chOff x="2427400" y="5697787"/>
            <a:chExt cx="981540" cy="331322"/>
          </a:xfrm>
        </p:grpSpPr>
        <p:sp>
          <p:nvSpPr>
            <p:cNvPr id="77" name="TextBox 76"/>
            <p:cNvSpPr txBox="1"/>
            <p:nvPr/>
          </p:nvSpPr>
          <p:spPr>
            <a:xfrm>
              <a:off x="2762833" y="5733964"/>
              <a:ext cx="646107" cy="295145"/>
            </a:xfrm>
            <a:prstGeom prst="rect">
              <a:avLst/>
            </a:prstGeom>
            <a:noFill/>
            <a:ln>
              <a:noFill/>
            </a:ln>
          </p:spPr>
          <p:txBody>
            <a:bodyPr wrap="none" lIns="0" tIns="27410" rIns="0" bIns="0" rtlCol="0" anchor="t">
              <a:noAutofit/>
            </a:bodyPr>
            <a:lstStyle/>
            <a:p>
              <a:pPr defTabSz="913509" eaLnBrk="0" fontAlgn="base" hangingPunct="0">
                <a:lnSpc>
                  <a:spcPts val="800"/>
                </a:lnSpc>
                <a:spcBef>
                  <a:spcPct val="0"/>
                </a:spcBef>
                <a:spcAft>
                  <a:spcPct val="0"/>
                </a:spcAft>
                <a:defRPr/>
              </a:pPr>
              <a:r>
                <a:rPr lang="en-US" sz="100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Cloud</a:t>
              </a:r>
            </a:p>
            <a:p>
              <a:pPr defTabSz="913509" eaLnBrk="0" fontAlgn="base" hangingPunct="0">
                <a:lnSpc>
                  <a:spcPts val="800"/>
                </a:lnSpc>
                <a:spcBef>
                  <a:spcPct val="0"/>
                </a:spcBef>
                <a:spcAft>
                  <a:spcPct val="0"/>
                </a:spcAft>
                <a:defRPr/>
              </a:pPr>
              <a:r>
                <a:rPr lang="en-US" sz="100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Services</a:t>
              </a:r>
            </a:p>
          </p:txBody>
        </p:sp>
        <p:pic>
          <p:nvPicPr>
            <p:cNvPr id="78" name="Picture 77"/>
            <p:cNvPicPr>
              <a:picLocks noChangeAspect="1"/>
            </p:cNvPicPr>
            <p:nvPr/>
          </p:nvPicPr>
          <p:blipFill>
            <a:blip r:embed="rId5" cstate="screen">
              <a:biLevel thresh="25000"/>
              <a:extLst>
                <a:ext uri="{28A0092B-C50C-407E-A947-70E740481C1C}">
                  <a14:useLocalDpi xmlns:a14="http://schemas.microsoft.com/office/drawing/2010/main"/>
                </a:ext>
              </a:extLst>
            </a:blip>
            <a:stretch>
              <a:fillRect/>
            </a:stretch>
          </p:blipFill>
          <p:spPr>
            <a:xfrm>
              <a:off x="2427400" y="5697787"/>
              <a:ext cx="284065" cy="284065"/>
            </a:xfrm>
            <a:prstGeom prst="rect">
              <a:avLst/>
            </a:prstGeom>
          </p:spPr>
        </p:pic>
      </p:grpSp>
      <p:sp>
        <p:nvSpPr>
          <p:cNvPr id="79" name="TextBox 78"/>
          <p:cNvSpPr txBox="1"/>
          <p:nvPr/>
        </p:nvSpPr>
        <p:spPr>
          <a:xfrm>
            <a:off x="5932668" y="4965188"/>
            <a:ext cx="645934" cy="295065"/>
          </a:xfrm>
          <a:prstGeom prst="rect">
            <a:avLst/>
          </a:prstGeom>
          <a:noFill/>
          <a:ln>
            <a:noFill/>
          </a:ln>
        </p:spPr>
        <p:txBody>
          <a:bodyPr wrap="none" lIns="0" tIns="27410" rIns="0" bIns="0" rtlCol="0" anchor="t">
            <a:noAutofit/>
          </a:bodyPr>
          <a:lstStyle/>
          <a:p>
            <a:pPr defTabSz="913509" eaLnBrk="0" fontAlgn="base" hangingPunct="0">
              <a:lnSpc>
                <a:spcPts val="800"/>
              </a:lnSpc>
              <a:spcBef>
                <a:spcPct val="0"/>
              </a:spcBef>
              <a:spcAft>
                <a:spcPct val="0"/>
              </a:spcAft>
              <a:defRPr/>
            </a:pPr>
            <a:r>
              <a:rPr lang="en-US" sz="10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Service</a:t>
            </a:r>
          </a:p>
          <a:p>
            <a:pPr defTabSz="913509" eaLnBrk="0" fontAlgn="base" hangingPunct="0">
              <a:lnSpc>
                <a:spcPts val="800"/>
              </a:lnSpc>
              <a:spcBef>
                <a:spcPct val="0"/>
              </a:spcBef>
              <a:spcAft>
                <a:spcPct val="0"/>
              </a:spcAft>
              <a:defRPr/>
            </a:pPr>
            <a:r>
              <a:rPr lang="en-US" sz="1050" dirty="0" err="1">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Fabic</a:t>
            </a:r>
            <a:endParaRPr lang="en-US" sz="10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endParaRPr>
          </a:p>
        </p:txBody>
      </p:sp>
      <p:sp>
        <p:nvSpPr>
          <p:cNvPr id="80" name="TextBox 79"/>
          <p:cNvSpPr txBox="1"/>
          <p:nvPr/>
        </p:nvSpPr>
        <p:spPr>
          <a:xfrm>
            <a:off x="3395759" y="4536693"/>
            <a:ext cx="645933" cy="295065"/>
          </a:xfrm>
          <a:prstGeom prst="rect">
            <a:avLst/>
          </a:prstGeom>
          <a:noFill/>
          <a:ln>
            <a:noFill/>
          </a:ln>
        </p:spPr>
        <p:txBody>
          <a:bodyPr wrap="none" lIns="0" tIns="27410" rIns="0" bIns="0" rtlCol="0" anchor="t">
            <a:noAutofit/>
          </a:bodyPr>
          <a:lstStyle/>
          <a:p>
            <a:pPr defTabSz="913509" eaLnBrk="0" fontAlgn="base" hangingPunct="0">
              <a:lnSpc>
                <a:spcPts val="800"/>
              </a:lnSpc>
              <a:spcBef>
                <a:spcPct val="0"/>
              </a:spcBef>
              <a:spcAft>
                <a:spcPct val="0"/>
              </a:spcAft>
              <a:defRPr/>
            </a:pPr>
            <a:r>
              <a:rPr lang="en-US" sz="10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Web Apps</a:t>
            </a:r>
          </a:p>
        </p:txBody>
      </p:sp>
      <p:pic>
        <p:nvPicPr>
          <p:cNvPr id="81" name="Picture 80"/>
          <p:cNvPicPr>
            <a:picLocks noChangeAspect="1"/>
          </p:cNvPicPr>
          <p:nvPr/>
        </p:nvPicPr>
        <p:blipFill>
          <a:blip r:embed="rId6" cstate="screen">
            <a:biLevel thresh="25000"/>
            <a:extLst>
              <a:ext uri="{28A0092B-C50C-407E-A947-70E740481C1C}">
                <a14:useLocalDpi xmlns:a14="http://schemas.microsoft.com/office/drawing/2010/main"/>
              </a:ext>
            </a:extLst>
          </a:blip>
          <a:stretch>
            <a:fillRect/>
          </a:stretch>
        </p:blipFill>
        <p:spPr>
          <a:xfrm>
            <a:off x="3062044" y="4466149"/>
            <a:ext cx="281031" cy="250595"/>
          </a:xfrm>
          <a:prstGeom prst="rect">
            <a:avLst/>
          </a:prstGeom>
        </p:spPr>
      </p:pic>
      <p:sp>
        <p:nvSpPr>
          <p:cNvPr id="82" name="TextBox 81"/>
          <p:cNvSpPr txBox="1"/>
          <p:nvPr/>
        </p:nvSpPr>
        <p:spPr>
          <a:xfrm>
            <a:off x="5421491" y="1883327"/>
            <a:ext cx="645933" cy="295064"/>
          </a:xfrm>
          <a:prstGeom prst="rect">
            <a:avLst/>
          </a:prstGeom>
          <a:noFill/>
          <a:ln>
            <a:noFill/>
          </a:ln>
        </p:spPr>
        <p:txBody>
          <a:bodyPr wrap="none" lIns="0" tIns="27410" rIns="0" bIns="0" rtlCol="0">
            <a:noAutofit/>
          </a:bodyPr>
          <a:lstStyle/>
          <a:p>
            <a:pPr defTabSz="913509" eaLnBrk="0" fontAlgn="base" hangingPunct="0">
              <a:lnSpc>
                <a:spcPts val="800"/>
              </a:lnSpc>
              <a:spcBef>
                <a:spcPct val="0"/>
              </a:spcBef>
              <a:spcAft>
                <a:spcPct val="0"/>
              </a:spcAft>
              <a:defRPr/>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SQL</a:t>
            </a:r>
          </a:p>
          <a:p>
            <a:pPr defTabSz="913509" eaLnBrk="0" fontAlgn="base" hangingPunct="0">
              <a:lnSpc>
                <a:spcPts val="800"/>
              </a:lnSpc>
              <a:spcBef>
                <a:spcPct val="0"/>
              </a:spcBef>
              <a:spcAft>
                <a:spcPct val="0"/>
              </a:spcAft>
              <a:defRPr/>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Database</a:t>
            </a:r>
          </a:p>
        </p:txBody>
      </p:sp>
      <p:pic>
        <p:nvPicPr>
          <p:cNvPr id="83" name="Picture 82"/>
          <p:cNvPicPr>
            <a:picLocks noChangeAspect="1"/>
          </p:cNvPicPr>
          <p:nvPr/>
        </p:nvPicPr>
        <p:blipFill>
          <a:blip r:embed="rId7" cstate="screen">
            <a:biLevel thresh="25000"/>
            <a:extLst>
              <a:ext uri="{28A0092B-C50C-407E-A947-70E740481C1C}">
                <a14:useLocalDpi xmlns:a14="http://schemas.microsoft.com/office/drawing/2010/main"/>
              </a:ext>
            </a:extLst>
          </a:blip>
          <a:stretch>
            <a:fillRect/>
          </a:stretch>
        </p:blipFill>
        <p:spPr>
          <a:xfrm>
            <a:off x="5078882" y="1860708"/>
            <a:ext cx="290855" cy="290855"/>
          </a:xfrm>
          <a:prstGeom prst="rect">
            <a:avLst/>
          </a:prstGeom>
        </p:spPr>
      </p:pic>
      <p:sp>
        <p:nvSpPr>
          <p:cNvPr id="84" name="TextBox 83"/>
          <p:cNvSpPr txBox="1"/>
          <p:nvPr/>
        </p:nvSpPr>
        <p:spPr>
          <a:xfrm>
            <a:off x="5407351" y="2256648"/>
            <a:ext cx="645933" cy="295064"/>
          </a:xfrm>
          <a:prstGeom prst="rect">
            <a:avLst/>
          </a:prstGeom>
          <a:noFill/>
          <a:ln>
            <a:noFill/>
          </a:ln>
        </p:spPr>
        <p:txBody>
          <a:bodyPr wrap="none" lIns="0" tIns="27410" rIns="0" bIns="0" rtlCol="0">
            <a:noAutofit/>
          </a:bodyPr>
          <a:lstStyle/>
          <a:p>
            <a:pPr defTabSz="913509" eaLnBrk="0" fontAlgn="base" hangingPunct="0">
              <a:lnSpc>
                <a:spcPts val="800"/>
              </a:lnSpc>
              <a:spcBef>
                <a:spcPct val="0"/>
              </a:spcBef>
              <a:spcAft>
                <a:spcPct val="0"/>
              </a:spcAft>
              <a:defRPr/>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Redis</a:t>
            </a:r>
          </a:p>
          <a:p>
            <a:pPr defTabSz="913509" eaLnBrk="0" fontAlgn="base" hangingPunct="0">
              <a:lnSpc>
                <a:spcPts val="800"/>
              </a:lnSpc>
              <a:spcBef>
                <a:spcPct val="0"/>
              </a:spcBef>
              <a:spcAft>
                <a:spcPct val="0"/>
              </a:spcAft>
              <a:defRPr/>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Cache</a:t>
            </a:r>
          </a:p>
        </p:txBody>
      </p:sp>
      <p:pic>
        <p:nvPicPr>
          <p:cNvPr id="85" name="Picture 84"/>
          <p:cNvPicPr>
            <a:picLocks noChangeAspect="1"/>
          </p:cNvPicPr>
          <p:nvPr/>
        </p:nvPicPr>
        <p:blipFill>
          <a:blip r:embed="rId8" cstate="screen">
            <a:biLevel thresh="25000"/>
            <a:extLst>
              <a:ext uri="{28A0092B-C50C-407E-A947-70E740481C1C}">
                <a14:useLocalDpi xmlns:a14="http://schemas.microsoft.com/office/drawing/2010/main"/>
              </a:ext>
            </a:extLst>
          </a:blip>
          <a:stretch>
            <a:fillRect/>
          </a:stretch>
        </p:blipFill>
        <p:spPr>
          <a:xfrm>
            <a:off x="5061818" y="2239270"/>
            <a:ext cx="283479" cy="283479"/>
          </a:xfrm>
          <a:prstGeom prst="rect">
            <a:avLst/>
          </a:prstGeom>
        </p:spPr>
      </p:pic>
      <p:sp>
        <p:nvSpPr>
          <p:cNvPr id="86" name="TextBox 85"/>
          <p:cNvSpPr txBox="1"/>
          <p:nvPr/>
        </p:nvSpPr>
        <p:spPr>
          <a:xfrm>
            <a:off x="5402107" y="2654064"/>
            <a:ext cx="645933" cy="295064"/>
          </a:xfrm>
          <a:prstGeom prst="rect">
            <a:avLst/>
          </a:prstGeom>
          <a:noFill/>
          <a:ln>
            <a:noFill/>
          </a:ln>
        </p:spPr>
        <p:txBody>
          <a:bodyPr wrap="none" lIns="0" tIns="27410" rIns="0" bIns="0" rtlCol="0">
            <a:noAutofit/>
          </a:bodyPr>
          <a:lstStyle/>
          <a:p>
            <a:pPr defTabSz="913509" eaLnBrk="0" fontAlgn="base" hangingPunct="0">
              <a:lnSpc>
                <a:spcPts val="800"/>
              </a:lnSpc>
              <a:spcBef>
                <a:spcPct val="0"/>
              </a:spcBef>
              <a:spcAft>
                <a:spcPct val="0"/>
              </a:spcAft>
              <a:defRPr/>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DocumentDB</a:t>
            </a:r>
          </a:p>
        </p:txBody>
      </p:sp>
      <p:pic>
        <p:nvPicPr>
          <p:cNvPr id="87" name="Picture 86"/>
          <p:cNvPicPr>
            <a:picLocks noChangeAspect="1"/>
          </p:cNvPicPr>
          <p:nvPr/>
        </p:nvPicPr>
        <p:blipFill>
          <a:blip r:embed="rId9" cstate="screen">
            <a:biLevel thresh="25000"/>
            <a:extLst>
              <a:ext uri="{28A0092B-C50C-407E-A947-70E740481C1C}">
                <a14:useLocalDpi xmlns:a14="http://schemas.microsoft.com/office/drawing/2010/main"/>
              </a:ext>
            </a:extLst>
          </a:blip>
          <a:stretch>
            <a:fillRect/>
          </a:stretch>
        </p:blipFill>
        <p:spPr>
          <a:xfrm>
            <a:off x="5038988" y="2637358"/>
            <a:ext cx="284790" cy="284788"/>
          </a:xfrm>
          <a:prstGeom prst="rect">
            <a:avLst/>
          </a:prstGeom>
        </p:spPr>
      </p:pic>
      <p:pic>
        <p:nvPicPr>
          <p:cNvPr id="88" name="Picture 87"/>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6087815" y="1837740"/>
            <a:ext cx="314184" cy="284729"/>
          </a:xfrm>
          <a:prstGeom prst="rect">
            <a:avLst/>
          </a:prstGeom>
        </p:spPr>
      </p:pic>
      <p:sp>
        <p:nvSpPr>
          <p:cNvPr id="89" name="TextBox 88"/>
          <p:cNvSpPr txBox="1"/>
          <p:nvPr/>
        </p:nvSpPr>
        <p:spPr>
          <a:xfrm>
            <a:off x="6434741" y="1858857"/>
            <a:ext cx="389833" cy="319535"/>
          </a:xfrm>
          <a:prstGeom prst="rect">
            <a:avLst/>
          </a:prstGeom>
          <a:noFill/>
          <a:ln>
            <a:noFill/>
          </a:ln>
        </p:spPr>
        <p:txBody>
          <a:bodyPr wrap="none" lIns="0" tIns="27410" rIns="0" bIns="0" rtlCol="0">
            <a:noAutofit/>
          </a:bodyPr>
          <a:lstStyle/>
          <a:p>
            <a:pPr defTabSz="913509" eaLnBrk="0" fontAlgn="base" hangingPunct="0">
              <a:lnSpc>
                <a:spcPts val="800"/>
              </a:lnSpc>
              <a:spcBef>
                <a:spcPct val="0"/>
              </a:spcBef>
              <a:spcAft>
                <a:spcPct val="0"/>
              </a:spcAft>
              <a:defRPr/>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SQL Data</a:t>
            </a:r>
          </a:p>
          <a:p>
            <a:pPr defTabSz="913509" eaLnBrk="0" fontAlgn="base" hangingPunct="0">
              <a:lnSpc>
                <a:spcPts val="800"/>
              </a:lnSpc>
              <a:spcBef>
                <a:spcPct val="0"/>
              </a:spcBef>
              <a:spcAft>
                <a:spcPct val="0"/>
              </a:spcAft>
              <a:defRPr/>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Warehouse</a:t>
            </a:r>
          </a:p>
        </p:txBody>
      </p:sp>
      <p:sp>
        <p:nvSpPr>
          <p:cNvPr id="90" name="TextBox 89"/>
          <p:cNvSpPr txBox="1"/>
          <p:nvPr/>
        </p:nvSpPr>
        <p:spPr>
          <a:xfrm>
            <a:off x="6389511" y="2299799"/>
            <a:ext cx="645933" cy="295064"/>
          </a:xfrm>
          <a:prstGeom prst="rect">
            <a:avLst/>
          </a:prstGeom>
          <a:noFill/>
          <a:ln>
            <a:noFill/>
          </a:ln>
        </p:spPr>
        <p:txBody>
          <a:bodyPr wrap="none" lIns="0" tIns="27410" rIns="0" bIns="0" rtlCol="0">
            <a:noAutofit/>
          </a:bodyPr>
          <a:lstStyle/>
          <a:p>
            <a:pPr defTabSz="913509" eaLnBrk="0" fontAlgn="base" hangingPunct="0">
              <a:lnSpc>
                <a:spcPts val="800"/>
              </a:lnSpc>
              <a:spcBef>
                <a:spcPct val="0"/>
              </a:spcBef>
              <a:spcAft>
                <a:spcPct val="0"/>
              </a:spcAft>
              <a:defRPr/>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Search</a:t>
            </a:r>
          </a:p>
          <a:p>
            <a:pPr defTabSz="913509" eaLnBrk="0" fontAlgn="base" hangingPunct="0">
              <a:lnSpc>
                <a:spcPts val="800"/>
              </a:lnSpc>
              <a:spcBef>
                <a:spcPct val="0"/>
              </a:spcBef>
              <a:spcAft>
                <a:spcPct val="0"/>
              </a:spcAft>
              <a:defRPr/>
            </a:pPr>
            <a:endPar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endParaRPr>
          </a:p>
        </p:txBody>
      </p:sp>
      <p:pic>
        <p:nvPicPr>
          <p:cNvPr id="91" name="Picture 90"/>
          <p:cNvPicPr>
            <a:picLocks noChangeAspect="1"/>
          </p:cNvPicPr>
          <p:nvPr/>
        </p:nvPicPr>
        <p:blipFill>
          <a:blip r:embed="rId11" cstate="screen">
            <a:biLevel thresh="25000"/>
            <a:extLst>
              <a:ext uri="{28A0092B-C50C-407E-A947-70E740481C1C}">
                <a14:useLocalDpi xmlns:a14="http://schemas.microsoft.com/office/drawing/2010/main"/>
              </a:ext>
            </a:extLst>
          </a:blip>
          <a:stretch>
            <a:fillRect/>
          </a:stretch>
        </p:blipFill>
        <p:spPr>
          <a:xfrm>
            <a:off x="6044176" y="2239353"/>
            <a:ext cx="288095" cy="288095"/>
          </a:xfrm>
          <a:prstGeom prst="rect">
            <a:avLst/>
          </a:prstGeom>
        </p:spPr>
      </p:pic>
      <p:sp>
        <p:nvSpPr>
          <p:cNvPr id="92" name="TextBox 91"/>
          <p:cNvSpPr txBox="1"/>
          <p:nvPr/>
        </p:nvSpPr>
        <p:spPr>
          <a:xfrm>
            <a:off x="6419141" y="2669472"/>
            <a:ext cx="645933" cy="295064"/>
          </a:xfrm>
          <a:prstGeom prst="rect">
            <a:avLst/>
          </a:prstGeom>
          <a:noFill/>
          <a:ln>
            <a:noFill/>
          </a:ln>
        </p:spPr>
        <p:txBody>
          <a:bodyPr wrap="none" lIns="0" tIns="27410" rIns="0" bIns="0" rtlCol="0">
            <a:noAutofit/>
          </a:bodyPr>
          <a:lstStyle/>
          <a:p>
            <a:pPr defTabSz="913509" eaLnBrk="0" fontAlgn="base" hangingPunct="0">
              <a:lnSpc>
                <a:spcPts val="800"/>
              </a:lnSpc>
              <a:spcBef>
                <a:spcPct val="0"/>
              </a:spcBef>
              <a:spcAft>
                <a:spcPct val="0"/>
              </a:spcAft>
              <a:defRPr/>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Tables</a:t>
            </a:r>
          </a:p>
        </p:txBody>
      </p:sp>
      <p:pic>
        <p:nvPicPr>
          <p:cNvPr id="93" name="Picture 92" descr="Storage table.png"/>
          <p:cNvPicPr>
            <a:picLocks noChangeAspect="1"/>
          </p:cNvPicPr>
          <p:nvPr/>
        </p:nvPicPr>
        <p:blipFill>
          <a:blip r:embed="rId12" cstate="screen">
            <a:biLevel thresh="25000"/>
            <a:extLst>
              <a:ext uri="{28A0092B-C50C-407E-A947-70E740481C1C}">
                <a14:useLocalDpi xmlns:a14="http://schemas.microsoft.com/office/drawing/2010/main"/>
              </a:ext>
            </a:extLst>
          </a:blip>
          <a:stretch>
            <a:fillRect/>
          </a:stretch>
        </p:blipFill>
        <p:spPr>
          <a:xfrm>
            <a:off x="6070657" y="2642376"/>
            <a:ext cx="282772" cy="282772"/>
          </a:xfrm>
          <a:prstGeom prst="rect">
            <a:avLst/>
          </a:prstGeom>
        </p:spPr>
      </p:pic>
      <p:sp>
        <p:nvSpPr>
          <p:cNvPr id="94" name="TextBox 93"/>
          <p:cNvSpPr txBox="1"/>
          <p:nvPr/>
        </p:nvSpPr>
        <p:spPr>
          <a:xfrm>
            <a:off x="7370077" y="1883327"/>
            <a:ext cx="645933" cy="295064"/>
          </a:xfrm>
          <a:prstGeom prst="rect">
            <a:avLst/>
          </a:prstGeom>
          <a:noFill/>
          <a:ln>
            <a:noFill/>
          </a:ln>
        </p:spPr>
        <p:txBody>
          <a:bodyPr wrap="none" lIns="0" tIns="27410" rIns="0" bIns="0" rtlCol="0">
            <a:noAutofit/>
          </a:bodyPr>
          <a:lstStyle/>
          <a:p>
            <a:pPr defTabSz="913509" eaLnBrk="0" fontAlgn="base" hangingPunct="0">
              <a:lnSpc>
                <a:spcPts val="800"/>
              </a:lnSpc>
              <a:spcBef>
                <a:spcPct val="0"/>
              </a:spcBef>
              <a:spcAft>
                <a:spcPct val="0"/>
              </a:spcAft>
              <a:defRPr/>
            </a:pPr>
            <a:r>
              <a:rPr lang="en-US" sz="750" dirty="0" err="1">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HDInsight</a:t>
            </a:r>
            <a:endPar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endParaRPr>
          </a:p>
        </p:txBody>
      </p:sp>
      <p:pic>
        <p:nvPicPr>
          <p:cNvPr id="95" name="Picture 94"/>
          <p:cNvPicPr>
            <a:picLocks noChangeAspect="1"/>
          </p:cNvPicPr>
          <p:nvPr/>
        </p:nvPicPr>
        <p:blipFill>
          <a:blip r:embed="rId13" cstate="screen">
            <a:biLevel thresh="25000"/>
            <a:extLst>
              <a:ext uri="{28A0092B-C50C-407E-A947-70E740481C1C}">
                <a14:useLocalDpi xmlns:a14="http://schemas.microsoft.com/office/drawing/2010/main"/>
              </a:ext>
            </a:extLst>
          </a:blip>
          <a:stretch>
            <a:fillRect/>
          </a:stretch>
        </p:blipFill>
        <p:spPr>
          <a:xfrm>
            <a:off x="7024623" y="1837999"/>
            <a:ext cx="290859" cy="290859"/>
          </a:xfrm>
          <a:prstGeom prst="rect">
            <a:avLst/>
          </a:prstGeom>
        </p:spPr>
      </p:pic>
      <p:sp>
        <p:nvSpPr>
          <p:cNvPr id="96" name="TextBox 95"/>
          <p:cNvSpPr txBox="1"/>
          <p:nvPr/>
        </p:nvSpPr>
        <p:spPr>
          <a:xfrm>
            <a:off x="7337932" y="2259347"/>
            <a:ext cx="645932" cy="295064"/>
          </a:xfrm>
          <a:prstGeom prst="rect">
            <a:avLst/>
          </a:prstGeom>
          <a:noFill/>
          <a:ln>
            <a:noFill/>
          </a:ln>
        </p:spPr>
        <p:txBody>
          <a:bodyPr wrap="none" lIns="0" tIns="27410" rIns="0" bIns="0" rtlCol="0">
            <a:noAutofit/>
          </a:bodyPr>
          <a:lstStyle/>
          <a:p>
            <a:pPr defTabSz="913509" eaLnBrk="0" fontAlgn="base" hangingPunct="0">
              <a:lnSpc>
                <a:spcPts val="800"/>
              </a:lnSpc>
              <a:spcBef>
                <a:spcPct val="0"/>
              </a:spcBef>
              <a:spcAft>
                <a:spcPct val="0"/>
              </a:spcAft>
              <a:defRPr/>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Data</a:t>
            </a:r>
          </a:p>
          <a:p>
            <a:pPr defTabSz="913509" eaLnBrk="0" fontAlgn="base" hangingPunct="0">
              <a:lnSpc>
                <a:spcPts val="800"/>
              </a:lnSpc>
              <a:spcBef>
                <a:spcPct val="0"/>
              </a:spcBef>
              <a:spcAft>
                <a:spcPct val="0"/>
              </a:spcAft>
              <a:defRPr/>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Factory</a:t>
            </a:r>
          </a:p>
        </p:txBody>
      </p:sp>
      <p:pic>
        <p:nvPicPr>
          <p:cNvPr id="97" name="Picture 96"/>
          <p:cNvPicPr>
            <a:picLocks noChangeAspect="1"/>
          </p:cNvPicPr>
          <p:nvPr/>
        </p:nvPicPr>
        <p:blipFill>
          <a:blip r:embed="rId14" cstate="screen">
            <a:biLevel thresh="25000"/>
            <a:extLst>
              <a:ext uri="{28A0092B-C50C-407E-A947-70E740481C1C}">
                <a14:useLocalDpi xmlns:a14="http://schemas.microsoft.com/office/drawing/2010/main"/>
              </a:ext>
            </a:extLst>
          </a:blip>
          <a:stretch>
            <a:fillRect/>
          </a:stretch>
        </p:blipFill>
        <p:spPr>
          <a:xfrm>
            <a:off x="7001020" y="2226552"/>
            <a:ext cx="296060" cy="296060"/>
          </a:xfrm>
          <a:prstGeom prst="rect">
            <a:avLst/>
          </a:prstGeom>
        </p:spPr>
      </p:pic>
      <p:sp>
        <p:nvSpPr>
          <p:cNvPr id="98" name="TextBox 97"/>
          <p:cNvSpPr txBox="1"/>
          <p:nvPr/>
        </p:nvSpPr>
        <p:spPr>
          <a:xfrm>
            <a:off x="7317911" y="2671828"/>
            <a:ext cx="645932" cy="295064"/>
          </a:xfrm>
          <a:prstGeom prst="rect">
            <a:avLst/>
          </a:prstGeom>
          <a:noFill/>
          <a:ln>
            <a:noFill/>
          </a:ln>
        </p:spPr>
        <p:txBody>
          <a:bodyPr wrap="none" lIns="0" tIns="27410" rIns="0" bIns="0" rtlCol="0">
            <a:noAutofit/>
          </a:bodyPr>
          <a:lstStyle/>
          <a:p>
            <a:pPr defTabSz="913509" eaLnBrk="0" fontAlgn="base" hangingPunct="0">
              <a:lnSpc>
                <a:spcPts val="800"/>
              </a:lnSpc>
              <a:spcBef>
                <a:spcPct val="0"/>
              </a:spcBef>
              <a:spcAft>
                <a:spcPct val="0"/>
              </a:spcAft>
              <a:defRPr/>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Stream</a:t>
            </a:r>
          </a:p>
          <a:p>
            <a:pPr defTabSz="913509" eaLnBrk="0" fontAlgn="base" hangingPunct="0">
              <a:lnSpc>
                <a:spcPts val="800"/>
              </a:lnSpc>
              <a:spcBef>
                <a:spcPct val="0"/>
              </a:spcBef>
              <a:spcAft>
                <a:spcPct val="0"/>
              </a:spcAft>
              <a:defRPr/>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nalytics</a:t>
            </a:r>
          </a:p>
        </p:txBody>
      </p:sp>
      <p:pic>
        <p:nvPicPr>
          <p:cNvPr id="99" name="Picture 98"/>
          <p:cNvPicPr>
            <a:picLocks noChangeAspect="1"/>
          </p:cNvPicPr>
          <p:nvPr/>
        </p:nvPicPr>
        <p:blipFill>
          <a:blip r:embed="rId15" cstate="screen">
            <a:biLevel thresh="25000"/>
            <a:extLst>
              <a:ext uri="{28A0092B-C50C-407E-A947-70E740481C1C}">
                <a14:useLocalDpi xmlns:a14="http://schemas.microsoft.com/office/drawing/2010/main"/>
              </a:ext>
            </a:extLst>
          </a:blip>
          <a:stretch>
            <a:fillRect/>
          </a:stretch>
        </p:blipFill>
        <p:spPr>
          <a:xfrm>
            <a:off x="6961656" y="2628363"/>
            <a:ext cx="304317" cy="304316"/>
          </a:xfrm>
          <a:prstGeom prst="rect">
            <a:avLst/>
          </a:prstGeom>
        </p:spPr>
      </p:pic>
      <p:sp>
        <p:nvSpPr>
          <p:cNvPr id="100" name="TextBox 99"/>
          <p:cNvSpPr txBox="1"/>
          <p:nvPr/>
        </p:nvSpPr>
        <p:spPr>
          <a:xfrm>
            <a:off x="8287968" y="1815105"/>
            <a:ext cx="645933" cy="295064"/>
          </a:xfrm>
          <a:prstGeom prst="rect">
            <a:avLst/>
          </a:prstGeom>
          <a:noFill/>
          <a:ln>
            <a:noFill/>
          </a:ln>
        </p:spPr>
        <p:txBody>
          <a:bodyPr wrap="none" lIns="0" tIns="27410" rIns="0" bIns="0" rtlCol="0">
            <a:noAutofit/>
          </a:bodyPr>
          <a:lstStyle/>
          <a:p>
            <a:pPr defTabSz="913509" eaLnBrk="0" fontAlgn="base" hangingPunct="0">
              <a:lnSpc>
                <a:spcPts val="800"/>
              </a:lnSpc>
              <a:spcBef>
                <a:spcPct val="0"/>
              </a:spcBef>
              <a:spcAft>
                <a:spcPct val="0"/>
              </a:spcAft>
              <a:defRPr/>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Machine</a:t>
            </a:r>
          </a:p>
          <a:p>
            <a:pPr defTabSz="913509" eaLnBrk="0" fontAlgn="base" hangingPunct="0">
              <a:lnSpc>
                <a:spcPts val="800"/>
              </a:lnSpc>
              <a:spcBef>
                <a:spcPct val="0"/>
              </a:spcBef>
              <a:spcAft>
                <a:spcPct val="0"/>
              </a:spcAft>
              <a:defRPr/>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Learning</a:t>
            </a:r>
          </a:p>
        </p:txBody>
      </p:sp>
      <p:pic>
        <p:nvPicPr>
          <p:cNvPr id="101" name="Picture 100"/>
          <p:cNvPicPr>
            <a:picLocks noChangeAspect="1"/>
          </p:cNvPicPr>
          <p:nvPr/>
        </p:nvPicPr>
        <p:blipFill>
          <a:blip r:embed="rId16" cstate="screen">
            <a:biLevel thresh="25000"/>
            <a:extLst>
              <a:ext uri="{28A0092B-C50C-407E-A947-70E740481C1C}">
                <a14:useLocalDpi xmlns:a14="http://schemas.microsoft.com/office/drawing/2010/main"/>
              </a:ext>
            </a:extLst>
          </a:blip>
          <a:stretch>
            <a:fillRect/>
          </a:stretch>
        </p:blipFill>
        <p:spPr>
          <a:xfrm>
            <a:off x="7942069" y="1797234"/>
            <a:ext cx="280021" cy="280021"/>
          </a:xfrm>
          <a:prstGeom prst="rect">
            <a:avLst/>
          </a:prstGeom>
        </p:spPr>
      </p:pic>
      <p:sp>
        <p:nvSpPr>
          <p:cNvPr id="102" name="TextBox 101"/>
          <p:cNvSpPr txBox="1"/>
          <p:nvPr/>
        </p:nvSpPr>
        <p:spPr>
          <a:xfrm>
            <a:off x="8281633" y="2239260"/>
            <a:ext cx="645933" cy="295064"/>
          </a:xfrm>
          <a:prstGeom prst="rect">
            <a:avLst/>
          </a:prstGeom>
          <a:noFill/>
          <a:ln>
            <a:noFill/>
          </a:ln>
        </p:spPr>
        <p:txBody>
          <a:bodyPr wrap="none" lIns="0" tIns="27410" rIns="0" bIns="0" rtlCol="0">
            <a:noAutofit/>
          </a:bodyPr>
          <a:lstStyle/>
          <a:p>
            <a:pPr defTabSz="913509" eaLnBrk="0" fontAlgn="base" hangingPunct="0">
              <a:lnSpc>
                <a:spcPts val="800"/>
              </a:lnSpc>
              <a:spcBef>
                <a:spcPct val="0"/>
              </a:spcBef>
              <a:spcAft>
                <a:spcPct val="0"/>
              </a:spcAft>
              <a:defRPr/>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Event</a:t>
            </a:r>
          </a:p>
          <a:p>
            <a:pPr defTabSz="913509" eaLnBrk="0" fontAlgn="base" hangingPunct="0">
              <a:lnSpc>
                <a:spcPts val="800"/>
              </a:lnSpc>
              <a:spcBef>
                <a:spcPct val="0"/>
              </a:spcBef>
              <a:spcAft>
                <a:spcPct val="0"/>
              </a:spcAft>
              <a:defRPr/>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Hubs</a:t>
            </a:r>
          </a:p>
        </p:txBody>
      </p:sp>
      <p:pic>
        <p:nvPicPr>
          <p:cNvPr id="103" name="Picture 102"/>
          <p:cNvPicPr>
            <a:picLocks noChangeAspect="1"/>
          </p:cNvPicPr>
          <p:nvPr/>
        </p:nvPicPr>
        <p:blipFill>
          <a:blip r:embed="rId17" cstate="screen">
            <a:biLevel thresh="25000"/>
            <a:extLst>
              <a:ext uri="{28A0092B-C50C-407E-A947-70E740481C1C}">
                <a14:useLocalDpi xmlns:a14="http://schemas.microsoft.com/office/drawing/2010/main"/>
              </a:ext>
            </a:extLst>
          </a:blip>
          <a:stretch>
            <a:fillRect/>
          </a:stretch>
        </p:blipFill>
        <p:spPr>
          <a:xfrm>
            <a:off x="7942070" y="2213222"/>
            <a:ext cx="290470" cy="290470"/>
          </a:xfrm>
          <a:prstGeom prst="rect">
            <a:avLst/>
          </a:prstGeom>
        </p:spPr>
      </p:pic>
      <p:sp>
        <p:nvSpPr>
          <p:cNvPr id="104" name="TextBox 103"/>
          <p:cNvSpPr txBox="1"/>
          <p:nvPr/>
        </p:nvSpPr>
        <p:spPr>
          <a:xfrm>
            <a:off x="8249645" y="2636012"/>
            <a:ext cx="645933" cy="253273"/>
          </a:xfrm>
          <a:prstGeom prst="rect">
            <a:avLst/>
          </a:prstGeom>
          <a:noFill/>
          <a:ln>
            <a:noFill/>
          </a:ln>
        </p:spPr>
        <p:txBody>
          <a:bodyPr wrap="none" lIns="0" tIns="27410" rIns="0" bIns="0" rtlCol="0">
            <a:noAutofit/>
          </a:bodyPr>
          <a:lstStyle/>
          <a:p>
            <a:pPr defTabSz="913509" eaLnBrk="0" fontAlgn="base" hangingPunct="0">
              <a:lnSpc>
                <a:spcPts val="800"/>
              </a:lnSpc>
              <a:spcBef>
                <a:spcPct val="0"/>
              </a:spcBef>
              <a:spcAft>
                <a:spcPct val="0"/>
              </a:spcAft>
              <a:defRPr/>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Mobile</a:t>
            </a:r>
          </a:p>
          <a:p>
            <a:pPr defTabSz="913509" eaLnBrk="0" fontAlgn="base" hangingPunct="0">
              <a:lnSpc>
                <a:spcPts val="800"/>
              </a:lnSpc>
              <a:spcBef>
                <a:spcPct val="0"/>
              </a:spcBef>
              <a:spcAft>
                <a:spcPct val="0"/>
              </a:spcAft>
              <a:defRPr/>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Engagement</a:t>
            </a:r>
          </a:p>
        </p:txBody>
      </p:sp>
      <p:pic>
        <p:nvPicPr>
          <p:cNvPr id="105" name="Picture 104"/>
          <p:cNvPicPr>
            <a:picLocks noChangeAspect="1"/>
          </p:cNvPicPr>
          <p:nvPr/>
        </p:nvPicPr>
        <p:blipFill>
          <a:blip r:embed="rId18" cstate="screen">
            <a:biLevel thresh="25000"/>
            <a:extLst>
              <a:ext uri="{28A0092B-C50C-407E-A947-70E740481C1C}">
                <a14:useLocalDpi xmlns:a14="http://schemas.microsoft.com/office/drawing/2010/main"/>
              </a:ext>
            </a:extLst>
          </a:blip>
          <a:stretch>
            <a:fillRect/>
          </a:stretch>
        </p:blipFill>
        <p:spPr>
          <a:xfrm>
            <a:off x="7926088" y="2620828"/>
            <a:ext cx="290705" cy="290705"/>
          </a:xfrm>
          <a:prstGeom prst="rect">
            <a:avLst/>
          </a:prstGeom>
        </p:spPr>
      </p:pic>
      <p:sp>
        <p:nvSpPr>
          <p:cNvPr id="106" name="TextBox 105"/>
          <p:cNvSpPr txBox="1"/>
          <p:nvPr/>
        </p:nvSpPr>
        <p:spPr>
          <a:xfrm>
            <a:off x="9253494" y="1842510"/>
            <a:ext cx="645933" cy="295065"/>
          </a:xfrm>
          <a:prstGeom prst="rect">
            <a:avLst/>
          </a:prstGeom>
          <a:noFill/>
          <a:ln>
            <a:noFill/>
          </a:ln>
        </p:spPr>
        <p:txBody>
          <a:bodyPr wrap="none" lIns="0" tIns="27410" rIns="0" bIns="0" rtlCol="0">
            <a:noAutofit/>
          </a:bodyPr>
          <a:lstStyle/>
          <a:p>
            <a:pPr defTabSz="913509" eaLnBrk="0" fontAlgn="base" hangingPunct="0">
              <a:lnSpc>
                <a:spcPts val="800"/>
              </a:lnSpc>
              <a:spcBef>
                <a:spcPct val="0"/>
              </a:spcBef>
              <a:spcAft>
                <a:spcPct val="0"/>
              </a:spcAft>
              <a:defRPr/>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Service</a:t>
            </a:r>
          </a:p>
          <a:p>
            <a:pPr defTabSz="913509" eaLnBrk="0" fontAlgn="base" hangingPunct="0">
              <a:lnSpc>
                <a:spcPts val="800"/>
              </a:lnSpc>
              <a:spcBef>
                <a:spcPct val="0"/>
              </a:spcBef>
              <a:spcAft>
                <a:spcPct val="0"/>
              </a:spcAft>
              <a:defRPr/>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Bus</a:t>
            </a:r>
          </a:p>
        </p:txBody>
      </p:sp>
      <p:pic>
        <p:nvPicPr>
          <p:cNvPr id="107" name="Picture 106" descr="Service Bus.png"/>
          <p:cNvPicPr>
            <a:picLocks noChangeAspect="1"/>
          </p:cNvPicPr>
          <p:nvPr/>
        </p:nvPicPr>
        <p:blipFill>
          <a:blip r:embed="rId19" cstate="screen">
            <a:biLevel thresh="25000"/>
            <a:extLst>
              <a:ext uri="{28A0092B-C50C-407E-A947-70E740481C1C}">
                <a14:useLocalDpi xmlns:a14="http://schemas.microsoft.com/office/drawing/2010/main"/>
              </a:ext>
            </a:extLst>
          </a:blip>
          <a:stretch>
            <a:fillRect/>
          </a:stretch>
        </p:blipFill>
        <p:spPr>
          <a:xfrm>
            <a:off x="8921029" y="1820304"/>
            <a:ext cx="286520" cy="286520"/>
          </a:xfrm>
          <a:prstGeom prst="rect">
            <a:avLst/>
          </a:prstGeom>
        </p:spPr>
      </p:pic>
      <p:sp>
        <p:nvSpPr>
          <p:cNvPr id="108" name="TextBox 107"/>
          <p:cNvSpPr txBox="1"/>
          <p:nvPr/>
        </p:nvSpPr>
        <p:spPr>
          <a:xfrm>
            <a:off x="9243284" y="2221593"/>
            <a:ext cx="645933" cy="295065"/>
          </a:xfrm>
          <a:prstGeom prst="rect">
            <a:avLst/>
          </a:prstGeom>
          <a:noFill/>
          <a:ln>
            <a:noFill/>
          </a:ln>
        </p:spPr>
        <p:txBody>
          <a:bodyPr wrap="none" lIns="0" tIns="27410" rIns="0" bIns="0" rtlCol="0">
            <a:noAutofit/>
          </a:bodyPr>
          <a:lstStyle/>
          <a:p>
            <a:pPr defTabSz="913509" eaLnBrk="0" fontAlgn="base" hangingPunct="0">
              <a:lnSpc>
                <a:spcPts val="800"/>
              </a:lnSpc>
              <a:spcBef>
                <a:spcPct val="0"/>
              </a:spcBef>
              <a:spcAft>
                <a:spcPct val="0"/>
              </a:spcAft>
              <a:defRPr/>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Storage</a:t>
            </a:r>
          </a:p>
          <a:p>
            <a:pPr defTabSz="913509" eaLnBrk="0" fontAlgn="base" hangingPunct="0">
              <a:lnSpc>
                <a:spcPts val="800"/>
              </a:lnSpc>
              <a:spcBef>
                <a:spcPct val="0"/>
              </a:spcBef>
              <a:spcAft>
                <a:spcPct val="0"/>
              </a:spcAft>
              <a:defRPr/>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Queues</a:t>
            </a:r>
          </a:p>
        </p:txBody>
      </p:sp>
      <p:pic>
        <p:nvPicPr>
          <p:cNvPr id="109" name="Picture 108" descr="Storage queue.png"/>
          <p:cNvPicPr>
            <a:picLocks noChangeAspect="1"/>
          </p:cNvPicPr>
          <p:nvPr/>
        </p:nvPicPr>
        <p:blipFill>
          <a:blip r:embed="rId20" cstate="screen">
            <a:biLevel thresh="25000"/>
            <a:extLst>
              <a:ext uri="{28A0092B-C50C-407E-A947-70E740481C1C}">
                <a14:useLocalDpi xmlns:a14="http://schemas.microsoft.com/office/drawing/2010/main"/>
              </a:ext>
            </a:extLst>
          </a:blip>
          <a:stretch>
            <a:fillRect/>
          </a:stretch>
        </p:blipFill>
        <p:spPr>
          <a:xfrm>
            <a:off x="8904630" y="2203544"/>
            <a:ext cx="286750" cy="286751"/>
          </a:xfrm>
          <a:prstGeom prst="rect">
            <a:avLst/>
          </a:prstGeom>
        </p:spPr>
      </p:pic>
      <p:sp>
        <p:nvSpPr>
          <p:cNvPr id="110" name="TextBox 109"/>
          <p:cNvSpPr txBox="1"/>
          <p:nvPr/>
        </p:nvSpPr>
        <p:spPr>
          <a:xfrm>
            <a:off x="9253494" y="2646818"/>
            <a:ext cx="645933" cy="295064"/>
          </a:xfrm>
          <a:prstGeom prst="rect">
            <a:avLst/>
          </a:prstGeom>
          <a:noFill/>
          <a:ln>
            <a:noFill/>
          </a:ln>
        </p:spPr>
        <p:txBody>
          <a:bodyPr wrap="none" lIns="0" tIns="27410" rIns="0" bIns="0" rtlCol="0">
            <a:noAutofit/>
          </a:bodyPr>
          <a:lstStyle/>
          <a:p>
            <a:pPr defTabSz="913509" eaLnBrk="0" fontAlgn="base" hangingPunct="0">
              <a:lnSpc>
                <a:spcPts val="800"/>
              </a:lnSpc>
              <a:spcBef>
                <a:spcPct val="0"/>
              </a:spcBef>
              <a:spcAft>
                <a:spcPct val="0"/>
              </a:spcAft>
              <a:defRPr/>
            </a:pPr>
            <a:r>
              <a:rPr lang="en-US" sz="750" dirty="0" err="1">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Biztalk</a:t>
            </a:r>
            <a:endPar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endParaRPr>
          </a:p>
          <a:p>
            <a:pPr defTabSz="913509" eaLnBrk="0" fontAlgn="base" hangingPunct="0">
              <a:lnSpc>
                <a:spcPts val="800"/>
              </a:lnSpc>
              <a:spcBef>
                <a:spcPct val="0"/>
              </a:spcBef>
              <a:spcAft>
                <a:spcPct val="0"/>
              </a:spcAft>
              <a:defRPr/>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Services</a:t>
            </a:r>
          </a:p>
        </p:txBody>
      </p:sp>
      <p:pic>
        <p:nvPicPr>
          <p:cNvPr id="111" name="Picture 110" descr="BizTalk Services.png"/>
          <p:cNvPicPr>
            <a:picLocks noChangeAspect="1"/>
          </p:cNvPicPr>
          <p:nvPr/>
        </p:nvPicPr>
        <p:blipFill>
          <a:blip r:embed="rId21" cstate="screen">
            <a:biLevel thresh="25000"/>
            <a:extLst>
              <a:ext uri="{28A0092B-C50C-407E-A947-70E740481C1C}">
                <a14:useLocalDpi xmlns:a14="http://schemas.microsoft.com/office/drawing/2010/main"/>
              </a:ext>
            </a:extLst>
          </a:blip>
          <a:stretch>
            <a:fillRect/>
          </a:stretch>
        </p:blipFill>
        <p:spPr>
          <a:xfrm>
            <a:off x="8914012" y="2627599"/>
            <a:ext cx="287921" cy="287921"/>
          </a:xfrm>
          <a:prstGeom prst="rect">
            <a:avLst/>
          </a:prstGeom>
        </p:spPr>
      </p:pic>
      <p:grpSp>
        <p:nvGrpSpPr>
          <p:cNvPr id="112" name="Group 111"/>
          <p:cNvGrpSpPr/>
          <p:nvPr/>
        </p:nvGrpSpPr>
        <p:grpSpPr>
          <a:xfrm>
            <a:off x="3574044" y="2122900"/>
            <a:ext cx="992272" cy="314981"/>
            <a:chOff x="6813227" y="457506"/>
            <a:chExt cx="1012585" cy="321430"/>
          </a:xfrm>
        </p:grpSpPr>
        <p:sp>
          <p:nvSpPr>
            <p:cNvPr id="113" name="TextBox 112"/>
            <p:cNvSpPr txBox="1"/>
            <p:nvPr/>
          </p:nvSpPr>
          <p:spPr>
            <a:xfrm>
              <a:off x="7166655" y="477831"/>
              <a:ext cx="659157" cy="301105"/>
            </a:xfrm>
            <a:prstGeom prst="rect">
              <a:avLst/>
            </a:prstGeom>
            <a:noFill/>
            <a:ln>
              <a:noFill/>
            </a:ln>
          </p:spPr>
          <p:txBody>
            <a:bodyPr wrap="none" lIns="0" tIns="27410" rIns="0" bIns="0" rtlCol="0">
              <a:noAutofit/>
            </a:bodyPr>
            <a:lstStyle/>
            <a:p>
              <a:pPr defTabSz="913509" eaLnBrk="0" fontAlgn="base" hangingPunct="0">
                <a:lnSpc>
                  <a:spcPts val="800"/>
                </a:lnSpc>
                <a:spcBef>
                  <a:spcPct val="0"/>
                </a:spcBef>
                <a:spcAft>
                  <a:spcPct val="0"/>
                </a:spcAft>
                <a:defRPr/>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ctive</a:t>
              </a:r>
            </a:p>
            <a:p>
              <a:pPr defTabSz="913509" eaLnBrk="0" fontAlgn="base" hangingPunct="0">
                <a:lnSpc>
                  <a:spcPts val="800"/>
                </a:lnSpc>
                <a:spcBef>
                  <a:spcPct val="0"/>
                </a:spcBef>
                <a:spcAft>
                  <a:spcPct val="0"/>
                </a:spcAft>
                <a:defRPr/>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Directory</a:t>
              </a:r>
            </a:p>
          </p:txBody>
        </p:sp>
        <p:pic>
          <p:nvPicPr>
            <p:cNvPr id="114" name="Picture 113" descr="Azure Active Directory.png"/>
            <p:cNvPicPr>
              <a:picLocks noChangeAspect="1"/>
            </p:cNvPicPr>
            <p:nvPr/>
          </p:nvPicPr>
          <p:blipFill>
            <a:blip r:embed="rId22" cstate="screen">
              <a:biLevel thresh="25000"/>
              <a:extLst>
                <a:ext uri="{28A0092B-C50C-407E-A947-70E740481C1C}">
                  <a14:useLocalDpi xmlns:a14="http://schemas.microsoft.com/office/drawing/2010/main"/>
                </a:ext>
              </a:extLst>
            </a:blip>
            <a:stretch>
              <a:fillRect/>
            </a:stretch>
          </p:blipFill>
          <p:spPr>
            <a:xfrm>
              <a:off x="6813227" y="457506"/>
              <a:ext cx="298103" cy="298102"/>
            </a:xfrm>
            <a:prstGeom prst="rect">
              <a:avLst/>
            </a:prstGeom>
          </p:spPr>
        </p:pic>
      </p:grpSp>
      <p:sp>
        <p:nvSpPr>
          <p:cNvPr id="115" name="Up Arrow 282"/>
          <p:cNvSpPr/>
          <p:nvPr/>
        </p:nvSpPr>
        <p:spPr bwMode="auto">
          <a:xfrm>
            <a:off x="1544908" y="4422349"/>
            <a:ext cx="594939" cy="1302702"/>
          </a:xfrm>
          <a:prstGeom prst="upArrow">
            <a:avLst/>
          </a:prstGeom>
          <a:solidFill>
            <a:srgbClr val="D83B0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vert270" wrap="square" lIns="0" tIns="46624" rIns="0" bIns="46624" numCol="1" rtlCol="0" anchor="ctr" anchorCtr="0" compatLnSpc="1">
            <a:prstTxWarp prst="textNoShape">
              <a:avLst/>
            </a:prstTxWarp>
          </a:bodyPr>
          <a:lstStyle/>
          <a:p>
            <a:pPr algn="ctr" defTabSz="932200" fontAlgn="base">
              <a:spcBef>
                <a:spcPct val="0"/>
              </a:spcBef>
              <a:spcAft>
                <a:spcPct val="0"/>
              </a:spcAft>
              <a:defRPr/>
            </a:pPr>
            <a:r>
              <a:rPr lang="en-US" sz="1199" dirty="0">
                <a:solidFill>
                  <a:srgbClr val="FFFFFF"/>
                </a:solidFill>
                <a:latin typeface="Segoe UI"/>
              </a:rPr>
              <a:t>Productivity</a:t>
            </a:r>
          </a:p>
        </p:txBody>
      </p:sp>
      <p:sp>
        <p:nvSpPr>
          <p:cNvPr id="116" name="Down Arrow 283"/>
          <p:cNvSpPr/>
          <p:nvPr/>
        </p:nvSpPr>
        <p:spPr bwMode="auto">
          <a:xfrm>
            <a:off x="9956200" y="4465175"/>
            <a:ext cx="607154" cy="1262123"/>
          </a:xfrm>
          <a:prstGeom prst="downArrow">
            <a:avLst/>
          </a:prstGeom>
          <a:solidFill>
            <a:srgbClr val="D83B0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vert270" wrap="square" lIns="0" tIns="46624" rIns="0" bIns="46624" numCol="1" rtlCol="0" anchor="ctr" anchorCtr="0" compatLnSpc="1">
            <a:prstTxWarp prst="textNoShape">
              <a:avLst/>
            </a:prstTxWarp>
          </a:bodyPr>
          <a:lstStyle/>
          <a:p>
            <a:pPr algn="ctr" defTabSz="932200" fontAlgn="base">
              <a:spcBef>
                <a:spcPct val="0"/>
              </a:spcBef>
              <a:spcAft>
                <a:spcPct val="0"/>
              </a:spcAft>
              <a:defRPr/>
            </a:pPr>
            <a:r>
              <a:rPr lang="en-US" sz="1199" dirty="0">
                <a:solidFill>
                  <a:srgbClr val="FFFFFF"/>
                </a:solidFill>
                <a:latin typeface="Segoe UI"/>
              </a:rPr>
              <a:t>Control</a:t>
            </a:r>
          </a:p>
        </p:txBody>
      </p:sp>
      <p:sp>
        <p:nvSpPr>
          <p:cNvPr id="117" name="Freeform 9"/>
          <p:cNvSpPr>
            <a:spLocks noChangeAspect="1" noEditPoints="1"/>
          </p:cNvSpPr>
          <p:nvPr/>
        </p:nvSpPr>
        <p:spPr bwMode="black">
          <a:xfrm>
            <a:off x="4868967" y="3577633"/>
            <a:ext cx="383559" cy="311001"/>
          </a:xfrm>
          <a:custGeom>
            <a:avLst/>
            <a:gdLst>
              <a:gd name="T0" fmla="*/ 600 w 1107"/>
              <a:gd name="T1" fmla="*/ 625 h 897"/>
              <a:gd name="T2" fmla="*/ 649 w 1107"/>
              <a:gd name="T3" fmla="*/ 567 h 897"/>
              <a:gd name="T4" fmla="*/ 727 w 1107"/>
              <a:gd name="T5" fmla="*/ 482 h 897"/>
              <a:gd name="T6" fmla="*/ 601 w 1107"/>
              <a:gd name="T7" fmla="*/ 434 h 897"/>
              <a:gd name="T8" fmla="*/ 628 w 1107"/>
              <a:gd name="T9" fmla="*/ 305 h 897"/>
              <a:gd name="T10" fmla="*/ 547 w 1107"/>
              <a:gd name="T11" fmla="*/ 240 h 897"/>
              <a:gd name="T12" fmla="*/ 427 w 1107"/>
              <a:gd name="T13" fmla="*/ 287 h 897"/>
              <a:gd name="T14" fmla="*/ 368 w 1107"/>
              <a:gd name="T15" fmla="*/ 170 h 897"/>
              <a:gd name="T16" fmla="*/ 285 w 1107"/>
              <a:gd name="T17" fmla="*/ 263 h 897"/>
              <a:gd name="T18" fmla="*/ 241 w 1107"/>
              <a:gd name="T19" fmla="*/ 313 h 897"/>
              <a:gd name="T20" fmla="*/ 139 w 1107"/>
              <a:gd name="T21" fmla="*/ 281 h 897"/>
              <a:gd name="T22" fmla="*/ 79 w 1107"/>
              <a:gd name="T23" fmla="*/ 355 h 897"/>
              <a:gd name="T24" fmla="*/ 132 w 1107"/>
              <a:gd name="T25" fmla="*/ 446 h 897"/>
              <a:gd name="T26" fmla="*/ 83 w 1107"/>
              <a:gd name="T27" fmla="*/ 505 h 897"/>
              <a:gd name="T28" fmla="*/ 5 w 1107"/>
              <a:gd name="T29" fmla="*/ 590 h 897"/>
              <a:gd name="T30" fmla="*/ 132 w 1107"/>
              <a:gd name="T31" fmla="*/ 638 h 897"/>
              <a:gd name="T32" fmla="*/ 145 w 1107"/>
              <a:gd name="T33" fmla="*/ 669 h 897"/>
              <a:gd name="T34" fmla="*/ 110 w 1107"/>
              <a:gd name="T35" fmla="*/ 793 h 897"/>
              <a:gd name="T36" fmla="*/ 230 w 1107"/>
              <a:gd name="T37" fmla="*/ 781 h 897"/>
              <a:gd name="T38" fmla="*/ 306 w 1107"/>
              <a:gd name="T39" fmla="*/ 785 h 897"/>
              <a:gd name="T40" fmla="*/ 346 w 1107"/>
              <a:gd name="T41" fmla="*/ 878 h 897"/>
              <a:gd name="T42" fmla="*/ 440 w 1107"/>
              <a:gd name="T43" fmla="*/ 872 h 897"/>
              <a:gd name="T44" fmla="*/ 466 w 1107"/>
              <a:gd name="T45" fmla="*/ 764 h 897"/>
              <a:gd name="T46" fmla="*/ 539 w 1107"/>
              <a:gd name="T47" fmla="*/ 755 h 897"/>
              <a:gd name="T48" fmla="*/ 659 w 1107"/>
              <a:gd name="T49" fmla="*/ 743 h 897"/>
              <a:gd name="T50" fmla="*/ 263 w 1107"/>
              <a:gd name="T51" fmla="*/ 452 h 897"/>
              <a:gd name="T52" fmla="*/ 281 w 1107"/>
              <a:gd name="T53" fmla="*/ 633 h 897"/>
              <a:gd name="T54" fmla="*/ 1002 w 1107"/>
              <a:gd name="T55" fmla="*/ 332 h 897"/>
              <a:gd name="T56" fmla="*/ 1043 w 1107"/>
              <a:gd name="T57" fmla="*/ 304 h 897"/>
              <a:gd name="T58" fmla="*/ 1107 w 1107"/>
              <a:gd name="T59" fmla="*/ 266 h 897"/>
              <a:gd name="T60" fmla="*/ 1037 w 1107"/>
              <a:gd name="T61" fmla="*/ 213 h 897"/>
              <a:gd name="T62" fmla="*/ 1077 w 1107"/>
              <a:gd name="T63" fmla="*/ 138 h 897"/>
              <a:gd name="T64" fmla="*/ 1038 w 1107"/>
              <a:gd name="T65" fmla="*/ 83 h 897"/>
              <a:gd name="T66" fmla="*/ 956 w 1107"/>
              <a:gd name="T67" fmla="*/ 91 h 897"/>
              <a:gd name="T68" fmla="*/ 940 w 1107"/>
              <a:gd name="T69" fmla="*/ 7 h 897"/>
              <a:gd name="T70" fmla="*/ 872 w 1107"/>
              <a:gd name="T71" fmla="*/ 50 h 897"/>
              <a:gd name="T72" fmla="*/ 836 w 1107"/>
              <a:gd name="T73" fmla="*/ 74 h 897"/>
              <a:gd name="T74" fmla="*/ 778 w 1107"/>
              <a:gd name="T75" fmla="*/ 35 h 897"/>
              <a:gd name="T76" fmla="*/ 728 w 1107"/>
              <a:gd name="T77" fmla="*/ 70 h 897"/>
              <a:gd name="T78" fmla="*/ 744 w 1107"/>
              <a:gd name="T79" fmla="*/ 136 h 897"/>
              <a:gd name="T80" fmla="*/ 703 w 1107"/>
              <a:gd name="T81" fmla="*/ 164 h 897"/>
              <a:gd name="T82" fmla="*/ 640 w 1107"/>
              <a:gd name="T83" fmla="*/ 203 h 897"/>
              <a:gd name="T84" fmla="*/ 710 w 1107"/>
              <a:gd name="T85" fmla="*/ 255 h 897"/>
              <a:gd name="T86" fmla="*/ 712 w 1107"/>
              <a:gd name="T87" fmla="*/ 277 h 897"/>
              <a:gd name="T88" fmla="*/ 668 w 1107"/>
              <a:gd name="T89" fmla="*/ 347 h 897"/>
              <a:gd name="T90" fmla="*/ 745 w 1107"/>
              <a:gd name="T91" fmla="*/ 361 h 897"/>
              <a:gd name="T92" fmla="*/ 791 w 1107"/>
              <a:gd name="T93" fmla="*/ 377 h 897"/>
              <a:gd name="T94" fmla="*/ 799 w 1107"/>
              <a:gd name="T95" fmla="*/ 443 h 897"/>
              <a:gd name="T96" fmla="*/ 859 w 1107"/>
              <a:gd name="T97" fmla="*/ 456 h 897"/>
              <a:gd name="T98" fmla="*/ 894 w 1107"/>
              <a:gd name="T99" fmla="*/ 393 h 897"/>
              <a:gd name="T100" fmla="*/ 941 w 1107"/>
              <a:gd name="T101" fmla="*/ 401 h 897"/>
              <a:gd name="T102" fmla="*/ 1018 w 1107"/>
              <a:gd name="T103" fmla="*/ 415 h 897"/>
              <a:gd name="T104" fmla="*/ 825 w 1107"/>
              <a:gd name="T105" fmla="*/ 164 h 897"/>
              <a:gd name="T106" fmla="*/ 803 w 1107"/>
              <a:gd name="T107" fmla="*/ 279 h 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107" h="897">
                <a:moveTo>
                  <a:pt x="654" y="716"/>
                </a:moveTo>
                <a:cubicBezTo>
                  <a:pt x="616" y="670"/>
                  <a:pt x="616" y="670"/>
                  <a:pt x="616" y="670"/>
                </a:cubicBezTo>
                <a:cubicBezTo>
                  <a:pt x="593" y="654"/>
                  <a:pt x="603" y="638"/>
                  <a:pt x="600" y="625"/>
                </a:cubicBezTo>
                <a:cubicBezTo>
                  <a:pt x="600" y="625"/>
                  <a:pt x="600" y="625"/>
                  <a:pt x="600" y="625"/>
                </a:cubicBezTo>
                <a:cubicBezTo>
                  <a:pt x="605" y="617"/>
                  <a:pt x="611" y="609"/>
                  <a:pt x="608" y="596"/>
                </a:cubicBezTo>
                <a:cubicBezTo>
                  <a:pt x="618" y="580"/>
                  <a:pt x="623" y="572"/>
                  <a:pt x="649" y="567"/>
                </a:cubicBezTo>
                <a:cubicBezTo>
                  <a:pt x="715" y="553"/>
                  <a:pt x="715" y="553"/>
                  <a:pt x="715" y="553"/>
                </a:cubicBezTo>
                <a:cubicBezTo>
                  <a:pt x="728" y="550"/>
                  <a:pt x="733" y="542"/>
                  <a:pt x="730" y="529"/>
                </a:cubicBezTo>
                <a:cubicBezTo>
                  <a:pt x="727" y="482"/>
                  <a:pt x="727" y="482"/>
                  <a:pt x="727" y="482"/>
                </a:cubicBezTo>
                <a:cubicBezTo>
                  <a:pt x="724" y="469"/>
                  <a:pt x="717" y="463"/>
                  <a:pt x="701" y="453"/>
                </a:cubicBezTo>
                <a:cubicBezTo>
                  <a:pt x="641" y="459"/>
                  <a:pt x="641" y="459"/>
                  <a:pt x="641" y="459"/>
                </a:cubicBezTo>
                <a:cubicBezTo>
                  <a:pt x="620" y="457"/>
                  <a:pt x="604" y="447"/>
                  <a:pt x="601" y="434"/>
                </a:cubicBezTo>
                <a:cubicBezTo>
                  <a:pt x="598" y="421"/>
                  <a:pt x="590" y="416"/>
                  <a:pt x="580" y="397"/>
                </a:cubicBezTo>
                <a:cubicBezTo>
                  <a:pt x="577" y="384"/>
                  <a:pt x="574" y="371"/>
                  <a:pt x="584" y="355"/>
                </a:cubicBezTo>
                <a:cubicBezTo>
                  <a:pt x="628" y="305"/>
                  <a:pt x="628" y="305"/>
                  <a:pt x="628" y="305"/>
                </a:cubicBezTo>
                <a:cubicBezTo>
                  <a:pt x="634" y="297"/>
                  <a:pt x="631" y="284"/>
                  <a:pt x="623" y="279"/>
                </a:cubicBezTo>
                <a:cubicBezTo>
                  <a:pt x="581" y="240"/>
                  <a:pt x="581" y="240"/>
                  <a:pt x="581" y="240"/>
                </a:cubicBezTo>
                <a:cubicBezTo>
                  <a:pt x="573" y="235"/>
                  <a:pt x="560" y="238"/>
                  <a:pt x="547" y="240"/>
                </a:cubicBezTo>
                <a:cubicBezTo>
                  <a:pt x="503" y="291"/>
                  <a:pt x="503" y="291"/>
                  <a:pt x="503" y="291"/>
                </a:cubicBezTo>
                <a:cubicBezTo>
                  <a:pt x="484" y="302"/>
                  <a:pt x="471" y="304"/>
                  <a:pt x="463" y="299"/>
                </a:cubicBezTo>
                <a:cubicBezTo>
                  <a:pt x="456" y="294"/>
                  <a:pt x="435" y="292"/>
                  <a:pt x="427" y="287"/>
                </a:cubicBezTo>
                <a:cubicBezTo>
                  <a:pt x="419" y="282"/>
                  <a:pt x="403" y="271"/>
                  <a:pt x="400" y="258"/>
                </a:cubicBezTo>
                <a:cubicBezTo>
                  <a:pt x="386" y="193"/>
                  <a:pt x="386" y="193"/>
                  <a:pt x="386" y="193"/>
                </a:cubicBezTo>
                <a:cubicBezTo>
                  <a:pt x="384" y="180"/>
                  <a:pt x="368" y="170"/>
                  <a:pt x="368" y="170"/>
                </a:cubicBezTo>
                <a:cubicBezTo>
                  <a:pt x="308" y="176"/>
                  <a:pt x="308" y="176"/>
                  <a:pt x="308" y="176"/>
                </a:cubicBezTo>
                <a:cubicBezTo>
                  <a:pt x="308" y="176"/>
                  <a:pt x="289" y="187"/>
                  <a:pt x="292" y="200"/>
                </a:cubicBezTo>
                <a:cubicBezTo>
                  <a:pt x="285" y="263"/>
                  <a:pt x="285" y="263"/>
                  <a:pt x="285" y="263"/>
                </a:cubicBezTo>
                <a:cubicBezTo>
                  <a:pt x="291" y="289"/>
                  <a:pt x="277" y="292"/>
                  <a:pt x="272" y="300"/>
                </a:cubicBezTo>
                <a:cubicBezTo>
                  <a:pt x="272" y="300"/>
                  <a:pt x="272" y="300"/>
                  <a:pt x="267" y="308"/>
                </a:cubicBezTo>
                <a:cubicBezTo>
                  <a:pt x="259" y="302"/>
                  <a:pt x="246" y="305"/>
                  <a:pt x="241" y="313"/>
                </a:cubicBezTo>
                <a:cubicBezTo>
                  <a:pt x="236" y="321"/>
                  <a:pt x="236" y="321"/>
                  <a:pt x="236" y="321"/>
                </a:cubicBezTo>
                <a:cubicBezTo>
                  <a:pt x="223" y="324"/>
                  <a:pt x="210" y="327"/>
                  <a:pt x="194" y="317"/>
                </a:cubicBezTo>
                <a:cubicBezTo>
                  <a:pt x="139" y="281"/>
                  <a:pt x="139" y="281"/>
                  <a:pt x="139" y="281"/>
                </a:cubicBezTo>
                <a:cubicBezTo>
                  <a:pt x="131" y="276"/>
                  <a:pt x="110" y="273"/>
                  <a:pt x="104" y="281"/>
                </a:cubicBezTo>
                <a:cubicBezTo>
                  <a:pt x="79" y="321"/>
                  <a:pt x="79" y="321"/>
                  <a:pt x="79" y="321"/>
                </a:cubicBezTo>
                <a:cubicBezTo>
                  <a:pt x="66" y="324"/>
                  <a:pt x="68" y="337"/>
                  <a:pt x="79" y="355"/>
                </a:cubicBezTo>
                <a:cubicBezTo>
                  <a:pt x="121" y="394"/>
                  <a:pt x="121" y="394"/>
                  <a:pt x="121" y="394"/>
                </a:cubicBezTo>
                <a:cubicBezTo>
                  <a:pt x="140" y="417"/>
                  <a:pt x="135" y="425"/>
                  <a:pt x="132" y="446"/>
                </a:cubicBezTo>
                <a:cubicBezTo>
                  <a:pt x="132" y="446"/>
                  <a:pt x="132" y="446"/>
                  <a:pt x="132" y="446"/>
                </a:cubicBezTo>
                <a:cubicBezTo>
                  <a:pt x="127" y="454"/>
                  <a:pt x="122" y="462"/>
                  <a:pt x="117" y="470"/>
                </a:cubicBezTo>
                <a:cubicBezTo>
                  <a:pt x="117" y="470"/>
                  <a:pt x="117" y="470"/>
                  <a:pt x="117" y="470"/>
                </a:cubicBezTo>
                <a:cubicBezTo>
                  <a:pt x="120" y="483"/>
                  <a:pt x="109" y="499"/>
                  <a:pt x="83" y="505"/>
                </a:cubicBezTo>
                <a:cubicBezTo>
                  <a:pt x="23" y="511"/>
                  <a:pt x="23" y="511"/>
                  <a:pt x="23" y="511"/>
                </a:cubicBezTo>
                <a:cubicBezTo>
                  <a:pt x="10" y="514"/>
                  <a:pt x="0" y="529"/>
                  <a:pt x="2" y="543"/>
                </a:cubicBezTo>
                <a:cubicBezTo>
                  <a:pt x="5" y="590"/>
                  <a:pt x="5" y="590"/>
                  <a:pt x="5" y="590"/>
                </a:cubicBezTo>
                <a:cubicBezTo>
                  <a:pt x="8" y="603"/>
                  <a:pt x="16" y="608"/>
                  <a:pt x="37" y="610"/>
                </a:cubicBezTo>
                <a:cubicBezTo>
                  <a:pt x="92" y="612"/>
                  <a:pt x="92" y="612"/>
                  <a:pt x="92" y="612"/>
                </a:cubicBezTo>
                <a:cubicBezTo>
                  <a:pt x="113" y="614"/>
                  <a:pt x="129" y="625"/>
                  <a:pt x="132" y="638"/>
                </a:cubicBezTo>
                <a:cubicBezTo>
                  <a:pt x="132" y="638"/>
                  <a:pt x="132" y="638"/>
                  <a:pt x="132" y="638"/>
                </a:cubicBezTo>
                <a:cubicBezTo>
                  <a:pt x="140" y="643"/>
                  <a:pt x="142" y="656"/>
                  <a:pt x="150" y="661"/>
                </a:cubicBezTo>
                <a:cubicBezTo>
                  <a:pt x="145" y="669"/>
                  <a:pt x="145" y="669"/>
                  <a:pt x="145" y="669"/>
                </a:cubicBezTo>
                <a:cubicBezTo>
                  <a:pt x="153" y="674"/>
                  <a:pt x="156" y="687"/>
                  <a:pt x="140" y="711"/>
                </a:cubicBezTo>
                <a:cubicBezTo>
                  <a:pt x="109" y="759"/>
                  <a:pt x="109" y="759"/>
                  <a:pt x="109" y="759"/>
                </a:cubicBezTo>
                <a:cubicBezTo>
                  <a:pt x="99" y="775"/>
                  <a:pt x="102" y="788"/>
                  <a:pt x="110" y="793"/>
                </a:cubicBezTo>
                <a:cubicBezTo>
                  <a:pt x="152" y="832"/>
                  <a:pt x="152" y="832"/>
                  <a:pt x="152" y="832"/>
                </a:cubicBezTo>
                <a:cubicBezTo>
                  <a:pt x="160" y="837"/>
                  <a:pt x="173" y="834"/>
                  <a:pt x="178" y="826"/>
                </a:cubicBezTo>
                <a:cubicBezTo>
                  <a:pt x="230" y="781"/>
                  <a:pt x="230" y="781"/>
                  <a:pt x="230" y="781"/>
                </a:cubicBezTo>
                <a:cubicBezTo>
                  <a:pt x="248" y="770"/>
                  <a:pt x="261" y="767"/>
                  <a:pt x="269" y="772"/>
                </a:cubicBezTo>
                <a:cubicBezTo>
                  <a:pt x="269" y="772"/>
                  <a:pt x="269" y="772"/>
                  <a:pt x="269" y="772"/>
                </a:cubicBezTo>
                <a:cubicBezTo>
                  <a:pt x="282" y="769"/>
                  <a:pt x="298" y="779"/>
                  <a:pt x="306" y="785"/>
                </a:cubicBezTo>
                <a:cubicBezTo>
                  <a:pt x="306" y="785"/>
                  <a:pt x="306" y="785"/>
                  <a:pt x="306" y="785"/>
                </a:cubicBezTo>
                <a:cubicBezTo>
                  <a:pt x="319" y="782"/>
                  <a:pt x="327" y="787"/>
                  <a:pt x="332" y="813"/>
                </a:cubicBezTo>
                <a:cubicBezTo>
                  <a:pt x="346" y="878"/>
                  <a:pt x="346" y="878"/>
                  <a:pt x="346" y="878"/>
                </a:cubicBezTo>
                <a:cubicBezTo>
                  <a:pt x="349" y="892"/>
                  <a:pt x="357" y="897"/>
                  <a:pt x="370" y="894"/>
                </a:cubicBezTo>
                <a:cubicBezTo>
                  <a:pt x="425" y="896"/>
                  <a:pt x="425" y="896"/>
                  <a:pt x="425" y="896"/>
                </a:cubicBezTo>
                <a:cubicBezTo>
                  <a:pt x="430" y="888"/>
                  <a:pt x="443" y="885"/>
                  <a:pt x="440" y="872"/>
                </a:cubicBezTo>
                <a:cubicBezTo>
                  <a:pt x="440" y="804"/>
                  <a:pt x="440" y="804"/>
                  <a:pt x="440" y="804"/>
                </a:cubicBezTo>
                <a:cubicBezTo>
                  <a:pt x="442" y="783"/>
                  <a:pt x="460" y="772"/>
                  <a:pt x="466" y="764"/>
                </a:cubicBezTo>
                <a:cubicBezTo>
                  <a:pt x="466" y="764"/>
                  <a:pt x="466" y="764"/>
                  <a:pt x="466" y="764"/>
                </a:cubicBezTo>
                <a:cubicBezTo>
                  <a:pt x="479" y="761"/>
                  <a:pt x="492" y="758"/>
                  <a:pt x="497" y="750"/>
                </a:cubicBezTo>
                <a:cubicBezTo>
                  <a:pt x="497" y="750"/>
                  <a:pt x="497" y="750"/>
                  <a:pt x="497" y="750"/>
                </a:cubicBezTo>
                <a:cubicBezTo>
                  <a:pt x="510" y="747"/>
                  <a:pt x="523" y="745"/>
                  <a:pt x="539" y="755"/>
                </a:cubicBezTo>
                <a:cubicBezTo>
                  <a:pt x="594" y="791"/>
                  <a:pt x="594" y="791"/>
                  <a:pt x="594" y="791"/>
                </a:cubicBezTo>
                <a:cubicBezTo>
                  <a:pt x="602" y="796"/>
                  <a:pt x="623" y="798"/>
                  <a:pt x="628" y="790"/>
                </a:cubicBezTo>
                <a:cubicBezTo>
                  <a:pt x="659" y="743"/>
                  <a:pt x="659" y="743"/>
                  <a:pt x="659" y="743"/>
                </a:cubicBezTo>
                <a:cubicBezTo>
                  <a:pt x="659" y="743"/>
                  <a:pt x="669" y="727"/>
                  <a:pt x="654" y="716"/>
                </a:cubicBezTo>
                <a:close/>
                <a:moveTo>
                  <a:pt x="281" y="633"/>
                </a:moveTo>
                <a:cubicBezTo>
                  <a:pt x="223" y="584"/>
                  <a:pt x="219" y="502"/>
                  <a:pt x="263" y="452"/>
                </a:cubicBezTo>
                <a:cubicBezTo>
                  <a:pt x="313" y="393"/>
                  <a:pt x="399" y="382"/>
                  <a:pt x="457" y="431"/>
                </a:cubicBezTo>
                <a:cubicBezTo>
                  <a:pt x="507" y="475"/>
                  <a:pt x="518" y="561"/>
                  <a:pt x="469" y="619"/>
                </a:cubicBezTo>
                <a:cubicBezTo>
                  <a:pt x="420" y="678"/>
                  <a:pt x="339" y="682"/>
                  <a:pt x="281" y="633"/>
                </a:cubicBezTo>
                <a:close/>
                <a:moveTo>
                  <a:pt x="1019" y="398"/>
                </a:moveTo>
                <a:cubicBezTo>
                  <a:pt x="1004" y="362"/>
                  <a:pt x="1004" y="362"/>
                  <a:pt x="1004" y="362"/>
                </a:cubicBezTo>
                <a:cubicBezTo>
                  <a:pt x="992" y="348"/>
                  <a:pt x="1002" y="340"/>
                  <a:pt x="1002" y="332"/>
                </a:cubicBezTo>
                <a:cubicBezTo>
                  <a:pt x="1002" y="332"/>
                  <a:pt x="1002" y="332"/>
                  <a:pt x="1002" y="332"/>
                </a:cubicBezTo>
                <a:cubicBezTo>
                  <a:pt x="1007" y="328"/>
                  <a:pt x="1011" y="324"/>
                  <a:pt x="1012" y="315"/>
                </a:cubicBezTo>
                <a:cubicBezTo>
                  <a:pt x="1021" y="307"/>
                  <a:pt x="1026" y="303"/>
                  <a:pt x="1043" y="304"/>
                </a:cubicBezTo>
                <a:cubicBezTo>
                  <a:pt x="1086" y="307"/>
                  <a:pt x="1086" y="307"/>
                  <a:pt x="1086" y="307"/>
                </a:cubicBezTo>
                <a:cubicBezTo>
                  <a:pt x="1095" y="308"/>
                  <a:pt x="1099" y="304"/>
                  <a:pt x="1100" y="295"/>
                </a:cubicBezTo>
                <a:cubicBezTo>
                  <a:pt x="1107" y="266"/>
                  <a:pt x="1107" y="266"/>
                  <a:pt x="1107" y="266"/>
                </a:cubicBezTo>
                <a:cubicBezTo>
                  <a:pt x="1107" y="257"/>
                  <a:pt x="1103" y="252"/>
                  <a:pt x="1095" y="243"/>
                </a:cubicBezTo>
                <a:cubicBezTo>
                  <a:pt x="1057" y="236"/>
                  <a:pt x="1057" y="236"/>
                  <a:pt x="1057" y="236"/>
                </a:cubicBezTo>
                <a:cubicBezTo>
                  <a:pt x="1044" y="231"/>
                  <a:pt x="1036" y="222"/>
                  <a:pt x="1037" y="213"/>
                </a:cubicBezTo>
                <a:cubicBezTo>
                  <a:pt x="1038" y="205"/>
                  <a:pt x="1034" y="200"/>
                  <a:pt x="1030" y="187"/>
                </a:cubicBezTo>
                <a:cubicBezTo>
                  <a:pt x="1031" y="178"/>
                  <a:pt x="1032" y="170"/>
                  <a:pt x="1041" y="162"/>
                </a:cubicBezTo>
                <a:cubicBezTo>
                  <a:pt x="1077" y="138"/>
                  <a:pt x="1077" y="138"/>
                  <a:pt x="1077" y="138"/>
                </a:cubicBezTo>
                <a:cubicBezTo>
                  <a:pt x="1082" y="134"/>
                  <a:pt x="1083" y="126"/>
                  <a:pt x="1079" y="121"/>
                </a:cubicBezTo>
                <a:cubicBezTo>
                  <a:pt x="1059" y="89"/>
                  <a:pt x="1059" y="89"/>
                  <a:pt x="1059" y="89"/>
                </a:cubicBezTo>
                <a:cubicBezTo>
                  <a:pt x="1055" y="85"/>
                  <a:pt x="1047" y="84"/>
                  <a:pt x="1038" y="83"/>
                </a:cubicBezTo>
                <a:cubicBezTo>
                  <a:pt x="1002" y="107"/>
                  <a:pt x="1002" y="107"/>
                  <a:pt x="1002" y="107"/>
                </a:cubicBezTo>
                <a:cubicBezTo>
                  <a:pt x="989" y="110"/>
                  <a:pt x="980" y="110"/>
                  <a:pt x="976" y="105"/>
                </a:cubicBezTo>
                <a:cubicBezTo>
                  <a:pt x="972" y="100"/>
                  <a:pt x="960" y="95"/>
                  <a:pt x="956" y="91"/>
                </a:cubicBezTo>
                <a:cubicBezTo>
                  <a:pt x="952" y="86"/>
                  <a:pt x="944" y="77"/>
                  <a:pt x="944" y="68"/>
                </a:cubicBezTo>
                <a:cubicBezTo>
                  <a:pt x="948" y="25"/>
                  <a:pt x="948" y="25"/>
                  <a:pt x="948" y="25"/>
                </a:cubicBezTo>
                <a:cubicBezTo>
                  <a:pt x="948" y="17"/>
                  <a:pt x="940" y="7"/>
                  <a:pt x="940" y="7"/>
                </a:cubicBezTo>
                <a:cubicBezTo>
                  <a:pt x="902" y="0"/>
                  <a:pt x="902" y="0"/>
                  <a:pt x="902" y="0"/>
                </a:cubicBezTo>
                <a:cubicBezTo>
                  <a:pt x="902" y="0"/>
                  <a:pt x="889" y="4"/>
                  <a:pt x="888" y="12"/>
                </a:cubicBezTo>
                <a:cubicBezTo>
                  <a:pt x="872" y="50"/>
                  <a:pt x="872" y="50"/>
                  <a:pt x="872" y="50"/>
                </a:cubicBezTo>
                <a:cubicBezTo>
                  <a:pt x="871" y="67"/>
                  <a:pt x="862" y="67"/>
                  <a:pt x="858" y="71"/>
                </a:cubicBezTo>
                <a:cubicBezTo>
                  <a:pt x="858" y="71"/>
                  <a:pt x="858" y="71"/>
                  <a:pt x="853" y="75"/>
                </a:cubicBezTo>
                <a:cubicBezTo>
                  <a:pt x="849" y="70"/>
                  <a:pt x="840" y="70"/>
                  <a:pt x="836" y="74"/>
                </a:cubicBezTo>
                <a:cubicBezTo>
                  <a:pt x="831" y="78"/>
                  <a:pt x="831" y="78"/>
                  <a:pt x="831" y="78"/>
                </a:cubicBezTo>
                <a:cubicBezTo>
                  <a:pt x="822" y="77"/>
                  <a:pt x="814" y="76"/>
                  <a:pt x="806" y="67"/>
                </a:cubicBezTo>
                <a:cubicBezTo>
                  <a:pt x="778" y="35"/>
                  <a:pt x="778" y="35"/>
                  <a:pt x="778" y="35"/>
                </a:cubicBezTo>
                <a:cubicBezTo>
                  <a:pt x="774" y="30"/>
                  <a:pt x="762" y="25"/>
                  <a:pt x="757" y="29"/>
                </a:cubicBezTo>
                <a:cubicBezTo>
                  <a:pt x="734" y="49"/>
                  <a:pt x="734" y="49"/>
                  <a:pt x="734" y="49"/>
                </a:cubicBezTo>
                <a:cubicBezTo>
                  <a:pt x="725" y="49"/>
                  <a:pt x="725" y="57"/>
                  <a:pt x="728" y="70"/>
                </a:cubicBezTo>
                <a:cubicBezTo>
                  <a:pt x="747" y="102"/>
                  <a:pt x="747" y="102"/>
                  <a:pt x="747" y="102"/>
                </a:cubicBezTo>
                <a:cubicBezTo>
                  <a:pt x="754" y="120"/>
                  <a:pt x="750" y="124"/>
                  <a:pt x="744" y="136"/>
                </a:cubicBezTo>
                <a:cubicBezTo>
                  <a:pt x="744" y="136"/>
                  <a:pt x="744" y="136"/>
                  <a:pt x="744" y="136"/>
                </a:cubicBezTo>
                <a:cubicBezTo>
                  <a:pt x="740" y="140"/>
                  <a:pt x="735" y="144"/>
                  <a:pt x="731" y="148"/>
                </a:cubicBezTo>
                <a:cubicBezTo>
                  <a:pt x="731" y="148"/>
                  <a:pt x="731" y="148"/>
                  <a:pt x="731" y="148"/>
                </a:cubicBezTo>
                <a:cubicBezTo>
                  <a:pt x="730" y="157"/>
                  <a:pt x="721" y="165"/>
                  <a:pt x="703" y="164"/>
                </a:cubicBezTo>
                <a:cubicBezTo>
                  <a:pt x="665" y="157"/>
                  <a:pt x="665" y="157"/>
                  <a:pt x="665" y="157"/>
                </a:cubicBezTo>
                <a:cubicBezTo>
                  <a:pt x="656" y="156"/>
                  <a:pt x="647" y="164"/>
                  <a:pt x="647" y="173"/>
                </a:cubicBezTo>
                <a:cubicBezTo>
                  <a:pt x="640" y="203"/>
                  <a:pt x="640" y="203"/>
                  <a:pt x="640" y="203"/>
                </a:cubicBezTo>
                <a:cubicBezTo>
                  <a:pt x="639" y="211"/>
                  <a:pt x="643" y="216"/>
                  <a:pt x="656" y="221"/>
                </a:cubicBezTo>
                <a:cubicBezTo>
                  <a:pt x="690" y="232"/>
                  <a:pt x="690" y="232"/>
                  <a:pt x="690" y="232"/>
                </a:cubicBezTo>
                <a:cubicBezTo>
                  <a:pt x="702" y="237"/>
                  <a:pt x="710" y="246"/>
                  <a:pt x="710" y="255"/>
                </a:cubicBezTo>
                <a:cubicBezTo>
                  <a:pt x="710" y="255"/>
                  <a:pt x="710" y="255"/>
                  <a:pt x="710" y="255"/>
                </a:cubicBezTo>
                <a:cubicBezTo>
                  <a:pt x="714" y="260"/>
                  <a:pt x="713" y="268"/>
                  <a:pt x="717" y="273"/>
                </a:cubicBezTo>
                <a:cubicBezTo>
                  <a:pt x="712" y="277"/>
                  <a:pt x="712" y="277"/>
                  <a:pt x="712" y="277"/>
                </a:cubicBezTo>
                <a:cubicBezTo>
                  <a:pt x="716" y="281"/>
                  <a:pt x="716" y="290"/>
                  <a:pt x="702" y="302"/>
                </a:cubicBezTo>
                <a:cubicBezTo>
                  <a:pt x="674" y="326"/>
                  <a:pt x="674" y="326"/>
                  <a:pt x="674" y="326"/>
                </a:cubicBezTo>
                <a:cubicBezTo>
                  <a:pt x="665" y="334"/>
                  <a:pt x="664" y="343"/>
                  <a:pt x="668" y="347"/>
                </a:cubicBezTo>
                <a:cubicBezTo>
                  <a:pt x="687" y="379"/>
                  <a:pt x="687" y="379"/>
                  <a:pt x="687" y="379"/>
                </a:cubicBezTo>
                <a:cubicBezTo>
                  <a:pt x="691" y="383"/>
                  <a:pt x="700" y="384"/>
                  <a:pt x="704" y="380"/>
                </a:cubicBezTo>
                <a:cubicBezTo>
                  <a:pt x="745" y="361"/>
                  <a:pt x="745" y="361"/>
                  <a:pt x="745" y="361"/>
                </a:cubicBezTo>
                <a:cubicBezTo>
                  <a:pt x="758" y="358"/>
                  <a:pt x="767" y="358"/>
                  <a:pt x="771" y="363"/>
                </a:cubicBezTo>
                <a:cubicBezTo>
                  <a:pt x="771" y="363"/>
                  <a:pt x="771" y="363"/>
                  <a:pt x="771" y="363"/>
                </a:cubicBezTo>
                <a:cubicBezTo>
                  <a:pt x="779" y="364"/>
                  <a:pt x="787" y="373"/>
                  <a:pt x="791" y="377"/>
                </a:cubicBezTo>
                <a:cubicBezTo>
                  <a:pt x="791" y="377"/>
                  <a:pt x="791" y="377"/>
                  <a:pt x="791" y="377"/>
                </a:cubicBezTo>
                <a:cubicBezTo>
                  <a:pt x="800" y="378"/>
                  <a:pt x="804" y="383"/>
                  <a:pt x="802" y="400"/>
                </a:cubicBezTo>
                <a:cubicBezTo>
                  <a:pt x="799" y="443"/>
                  <a:pt x="799" y="443"/>
                  <a:pt x="799" y="443"/>
                </a:cubicBezTo>
                <a:cubicBezTo>
                  <a:pt x="798" y="451"/>
                  <a:pt x="802" y="456"/>
                  <a:pt x="811" y="457"/>
                </a:cubicBezTo>
                <a:cubicBezTo>
                  <a:pt x="845" y="468"/>
                  <a:pt x="845" y="468"/>
                  <a:pt x="845" y="468"/>
                </a:cubicBezTo>
                <a:cubicBezTo>
                  <a:pt x="849" y="464"/>
                  <a:pt x="858" y="464"/>
                  <a:pt x="859" y="456"/>
                </a:cubicBezTo>
                <a:cubicBezTo>
                  <a:pt x="871" y="413"/>
                  <a:pt x="871" y="413"/>
                  <a:pt x="871" y="413"/>
                </a:cubicBezTo>
                <a:cubicBezTo>
                  <a:pt x="876" y="401"/>
                  <a:pt x="889" y="397"/>
                  <a:pt x="894" y="393"/>
                </a:cubicBezTo>
                <a:cubicBezTo>
                  <a:pt x="894" y="393"/>
                  <a:pt x="894" y="393"/>
                  <a:pt x="894" y="393"/>
                </a:cubicBezTo>
                <a:cubicBezTo>
                  <a:pt x="902" y="394"/>
                  <a:pt x="911" y="395"/>
                  <a:pt x="916" y="391"/>
                </a:cubicBezTo>
                <a:cubicBezTo>
                  <a:pt x="916" y="391"/>
                  <a:pt x="916" y="391"/>
                  <a:pt x="916" y="391"/>
                </a:cubicBezTo>
                <a:cubicBezTo>
                  <a:pt x="924" y="391"/>
                  <a:pt x="933" y="392"/>
                  <a:pt x="941" y="401"/>
                </a:cubicBezTo>
                <a:cubicBezTo>
                  <a:pt x="969" y="433"/>
                  <a:pt x="969" y="433"/>
                  <a:pt x="969" y="433"/>
                </a:cubicBezTo>
                <a:cubicBezTo>
                  <a:pt x="973" y="438"/>
                  <a:pt x="985" y="443"/>
                  <a:pt x="990" y="439"/>
                </a:cubicBezTo>
                <a:cubicBezTo>
                  <a:pt x="1018" y="415"/>
                  <a:pt x="1018" y="415"/>
                  <a:pt x="1018" y="415"/>
                </a:cubicBezTo>
                <a:cubicBezTo>
                  <a:pt x="1018" y="415"/>
                  <a:pt x="1027" y="407"/>
                  <a:pt x="1019" y="398"/>
                </a:cubicBezTo>
                <a:close/>
                <a:moveTo>
                  <a:pt x="803" y="279"/>
                </a:moveTo>
                <a:cubicBezTo>
                  <a:pt x="776" y="238"/>
                  <a:pt x="788" y="187"/>
                  <a:pt x="825" y="164"/>
                </a:cubicBezTo>
                <a:cubicBezTo>
                  <a:pt x="866" y="136"/>
                  <a:pt x="921" y="144"/>
                  <a:pt x="948" y="185"/>
                </a:cubicBezTo>
                <a:cubicBezTo>
                  <a:pt x="972" y="221"/>
                  <a:pt x="963" y="277"/>
                  <a:pt x="922" y="304"/>
                </a:cubicBezTo>
                <a:cubicBezTo>
                  <a:pt x="881" y="332"/>
                  <a:pt x="830" y="320"/>
                  <a:pt x="803" y="279"/>
                </a:cubicBezTo>
                <a:close/>
              </a:path>
            </a:pathLst>
          </a:custGeom>
          <a:solidFill>
            <a:srgbClr val="FFFFFF"/>
          </a:solidFill>
          <a:ln>
            <a:noFill/>
          </a:ln>
        </p:spPr>
        <p:txBody>
          <a:bodyPr vert="horz" wrap="square" lIns="91415" tIns="45707" rIns="91415" bIns="45707" numCol="1" anchor="t" anchorCtr="0" compatLnSpc="1">
            <a:prstTxWarp prst="textNoShape">
              <a:avLst/>
            </a:prstTxWarp>
          </a:bodyPr>
          <a:lstStyle/>
          <a:p>
            <a:pPr defTabSz="932649">
              <a:defRPr/>
            </a:pPr>
            <a:endParaRPr lang="en-US" kern="0" dirty="0">
              <a:solidFill>
                <a:srgbClr val="FFFFFF"/>
              </a:solidFill>
              <a:latin typeface="Segoe UI"/>
              <a:ea typeface="MS PGothic" panose="020B0600070205080204" pitchFamily="34" charset="-128"/>
            </a:endParaRPr>
          </a:p>
        </p:txBody>
      </p:sp>
      <p:grpSp>
        <p:nvGrpSpPr>
          <p:cNvPr id="118" name="Group 117"/>
          <p:cNvGrpSpPr/>
          <p:nvPr/>
        </p:nvGrpSpPr>
        <p:grpSpPr>
          <a:xfrm>
            <a:off x="2206616" y="222309"/>
            <a:ext cx="15181765" cy="2757621"/>
            <a:chOff x="-5709003" y="3365100"/>
            <a:chExt cx="15228856" cy="2582738"/>
          </a:xfrm>
          <a:solidFill>
            <a:srgbClr val="0078D7"/>
          </a:solidFill>
        </p:grpSpPr>
        <p:sp>
          <p:nvSpPr>
            <p:cNvPr id="119" name="Rectangle 118"/>
            <p:cNvSpPr/>
            <p:nvPr/>
          </p:nvSpPr>
          <p:spPr bwMode="auto">
            <a:xfrm>
              <a:off x="-5709003" y="4765956"/>
              <a:ext cx="7763878" cy="1181882"/>
            </a:xfrm>
            <a:prstGeom prst="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24" rIns="0" bIns="46624" numCol="1" rtlCol="0" anchor="ctr" anchorCtr="0" compatLnSpc="1">
              <a:prstTxWarp prst="textNoShape">
                <a:avLst/>
              </a:prstTxWarp>
            </a:bodyPr>
            <a:lstStyle/>
            <a:p>
              <a:pPr algn="ctr" defTabSz="932200" fontAlgn="base">
                <a:spcBef>
                  <a:spcPct val="0"/>
                </a:spcBef>
                <a:spcAft>
                  <a:spcPct val="0"/>
                </a:spcAft>
                <a:defRPr/>
              </a:pPr>
              <a:r>
                <a:rPr lang="en-US" sz="2000" dirty="0">
                  <a:gradFill>
                    <a:gsLst>
                      <a:gs pos="5417">
                        <a:srgbClr val="FFB900"/>
                      </a:gs>
                      <a:gs pos="100000">
                        <a:srgbClr val="FFB900"/>
                      </a:gs>
                    </a:gsLst>
                    <a:lin ang="5400000" scaled="0"/>
                  </a:gradFill>
                  <a:latin typeface="Segoe UI"/>
                </a:rPr>
                <a:t> </a:t>
              </a:r>
              <a:r>
                <a:rPr lang="en-US" sz="2000" dirty="0">
                  <a:solidFill>
                    <a:srgbClr val="FFFFFF"/>
                  </a:solidFill>
                  <a:latin typeface="Segoe UI"/>
                </a:rPr>
                <a:t>Platform Services</a:t>
              </a:r>
            </a:p>
          </p:txBody>
        </p:sp>
        <p:sp>
          <p:nvSpPr>
            <p:cNvPr id="120" name="Isosceles Triangle 119"/>
            <p:cNvSpPr/>
            <p:nvPr/>
          </p:nvSpPr>
          <p:spPr bwMode="auto">
            <a:xfrm rot="10800000">
              <a:off x="9332566" y="3365100"/>
              <a:ext cx="187287" cy="165253"/>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1" tIns="146264" rIns="182831" bIns="146264" numCol="1" spcCol="0" rtlCol="0" fromWordArt="0" anchor="t" anchorCtr="0" forceAA="0" compatLnSpc="1">
              <a:prstTxWarp prst="textNoShape">
                <a:avLst/>
              </a:prstTxWarp>
              <a:noAutofit/>
            </a:bodyPr>
            <a:lstStyle/>
            <a:p>
              <a:pPr defTabSz="932200" fontAlgn="base">
                <a:lnSpc>
                  <a:spcPct val="90000"/>
                </a:lnSpc>
                <a:spcBef>
                  <a:spcPct val="0"/>
                </a:spcBef>
                <a:spcAft>
                  <a:spcPct val="0"/>
                </a:spcAft>
                <a:defRPr/>
              </a:pPr>
              <a:endParaRPr lang="en-US" sz="240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sp>
        <p:nvSpPr>
          <p:cNvPr id="121" name="Rectangle 120"/>
          <p:cNvSpPr/>
          <p:nvPr/>
        </p:nvSpPr>
        <p:spPr bwMode="auto">
          <a:xfrm>
            <a:off x="2206619" y="4421782"/>
            <a:ext cx="2618270" cy="363296"/>
          </a:xfrm>
          <a:prstGeom prst="rect">
            <a:avLst/>
          </a:prstGeom>
          <a:solidFill>
            <a:srgbClr val="00569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algn="ctr" defTabSz="932379" eaLnBrk="0" fontAlgn="base" hangingPunct="0">
              <a:lnSpc>
                <a:spcPct val="90000"/>
              </a:lnSpc>
              <a:spcBef>
                <a:spcPct val="0"/>
              </a:spcBef>
              <a:spcAft>
                <a:spcPct val="0"/>
              </a:spcAft>
              <a:defRPr/>
            </a:pPr>
            <a:endParaRPr lang="en-US" sz="240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122" name="Picture 121"/>
          <p:cNvPicPr>
            <a:picLocks noChangeAspect="1"/>
          </p:cNvPicPr>
          <p:nvPr/>
        </p:nvPicPr>
        <p:blipFill>
          <a:blip r:embed="rId6" cstate="screen">
            <a:biLevel thresh="25000"/>
            <a:extLst>
              <a:ext uri="{28A0092B-C50C-407E-A947-70E740481C1C}">
                <a14:useLocalDpi xmlns:a14="http://schemas.microsoft.com/office/drawing/2010/main"/>
              </a:ext>
            </a:extLst>
          </a:blip>
          <a:stretch>
            <a:fillRect/>
          </a:stretch>
        </p:blipFill>
        <p:spPr>
          <a:xfrm>
            <a:off x="2267723" y="4478132"/>
            <a:ext cx="281031" cy="250595"/>
          </a:xfrm>
          <a:prstGeom prst="rect">
            <a:avLst/>
          </a:prstGeom>
        </p:spPr>
      </p:pic>
      <p:pic>
        <p:nvPicPr>
          <p:cNvPr id="123" name="Picture 122"/>
          <p:cNvPicPr>
            <a:picLocks noChangeAspect="1"/>
          </p:cNvPicPr>
          <p:nvPr/>
        </p:nvPicPr>
        <p:blipFill>
          <a:blip r:embed="rId23" cstate="screen">
            <a:biLevel thresh="25000"/>
            <a:extLst>
              <a:ext uri="{28A0092B-C50C-407E-A947-70E740481C1C}">
                <a14:useLocalDpi xmlns:a14="http://schemas.microsoft.com/office/drawing/2010/main"/>
              </a:ext>
            </a:extLst>
          </a:blip>
          <a:stretch>
            <a:fillRect/>
          </a:stretch>
        </p:blipFill>
        <p:spPr>
          <a:xfrm>
            <a:off x="2660943" y="4455727"/>
            <a:ext cx="285252" cy="285254"/>
          </a:xfrm>
          <a:prstGeom prst="rect">
            <a:avLst/>
          </a:prstGeom>
        </p:spPr>
      </p:pic>
      <p:pic>
        <p:nvPicPr>
          <p:cNvPr id="124" name="Picture 123"/>
          <p:cNvPicPr>
            <a:picLocks noChangeAspect="1"/>
          </p:cNvPicPr>
          <p:nvPr/>
        </p:nvPicPr>
        <p:blipFill>
          <a:blip r:embed="rId24" cstate="screen">
            <a:biLevel thresh="25000"/>
            <a:extLst>
              <a:ext uri="{28A0092B-C50C-407E-A947-70E740481C1C}">
                <a14:useLocalDpi xmlns:a14="http://schemas.microsoft.com/office/drawing/2010/main"/>
              </a:ext>
            </a:extLst>
          </a:blip>
          <a:stretch>
            <a:fillRect/>
          </a:stretch>
        </p:blipFill>
        <p:spPr>
          <a:xfrm>
            <a:off x="4094377" y="4438422"/>
            <a:ext cx="286556" cy="286556"/>
          </a:xfrm>
          <a:prstGeom prst="rect">
            <a:avLst/>
          </a:prstGeom>
        </p:spPr>
      </p:pic>
      <p:pic>
        <p:nvPicPr>
          <p:cNvPr id="125" name="Picture 124"/>
          <p:cNvPicPr>
            <a:picLocks noChangeAspect="1"/>
          </p:cNvPicPr>
          <p:nvPr/>
        </p:nvPicPr>
        <p:blipFill>
          <a:blip r:embed="rId25" cstate="screen">
            <a:biLevel thresh="25000"/>
            <a:extLst>
              <a:ext uri="{28A0092B-C50C-407E-A947-70E740481C1C}">
                <a14:useLocalDpi xmlns:a14="http://schemas.microsoft.com/office/drawing/2010/main"/>
              </a:ext>
            </a:extLst>
          </a:blip>
          <a:stretch>
            <a:fillRect/>
          </a:stretch>
        </p:blipFill>
        <p:spPr>
          <a:xfrm>
            <a:off x="4463735" y="4447000"/>
            <a:ext cx="288890" cy="288891"/>
          </a:xfrm>
          <a:prstGeom prst="rect">
            <a:avLst/>
          </a:prstGeom>
        </p:spPr>
      </p:pic>
      <p:sp>
        <p:nvSpPr>
          <p:cNvPr id="126" name="TextBox 125"/>
          <p:cNvSpPr txBox="1"/>
          <p:nvPr/>
        </p:nvSpPr>
        <p:spPr>
          <a:xfrm>
            <a:off x="2967133" y="4369866"/>
            <a:ext cx="1275322" cy="447758"/>
          </a:xfrm>
          <a:prstGeom prst="rect">
            <a:avLst/>
          </a:prstGeom>
          <a:noFill/>
        </p:spPr>
        <p:txBody>
          <a:bodyPr wrap="square" lIns="182857" tIns="146285" rIns="182857" bIns="146285" rtlCol="0">
            <a:spAutoFit/>
          </a:bodyPr>
          <a:lstStyle/>
          <a:p>
            <a:pPr defTabSz="931770" eaLnBrk="0" fontAlgn="base" hangingPunct="0">
              <a:lnSpc>
                <a:spcPct val="90000"/>
              </a:lnSpc>
              <a:spcBef>
                <a:spcPct val="0"/>
              </a:spcBef>
              <a:spcAft>
                <a:spcPts val="600"/>
              </a:spcAft>
              <a:defRPr/>
            </a:pPr>
            <a:r>
              <a:rPr lang="en-US" sz="1100" dirty="0">
                <a:gradFill>
                  <a:gsLst>
                    <a:gs pos="2917">
                      <a:srgbClr val="FFFFFF"/>
                    </a:gs>
                    <a:gs pos="30000">
                      <a:srgbClr val="FFFFFF"/>
                    </a:gs>
                  </a:gsLst>
                  <a:lin ang="5400000" scaled="0"/>
                </a:gradFill>
                <a:latin typeface="Segoe UI" panose="020B0502040204020203" pitchFamily="34" charset="0"/>
                <a:ea typeface="MS PGothic" panose="020B0600070205080204" pitchFamily="34" charset="-128"/>
              </a:rPr>
              <a:t>App Service</a:t>
            </a:r>
          </a:p>
        </p:txBody>
      </p:sp>
      <p:grpSp>
        <p:nvGrpSpPr>
          <p:cNvPr id="127" name="Group 126"/>
          <p:cNvGrpSpPr/>
          <p:nvPr/>
        </p:nvGrpSpPr>
        <p:grpSpPr>
          <a:xfrm>
            <a:off x="5439234" y="4907892"/>
            <a:ext cx="392788" cy="369400"/>
            <a:chOff x="513213" y="1516062"/>
            <a:chExt cx="4163327" cy="4158599"/>
          </a:xfrm>
          <a:solidFill>
            <a:srgbClr val="FFA800"/>
          </a:solidFill>
        </p:grpSpPr>
        <p:sp>
          <p:nvSpPr>
            <p:cNvPr id="128" name="Oval 127"/>
            <p:cNvSpPr/>
            <p:nvPr/>
          </p:nvSpPr>
          <p:spPr bwMode="auto">
            <a:xfrm>
              <a:off x="1943819" y="1516062"/>
              <a:ext cx="1294216" cy="1332901"/>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algn="ctr" defTabSz="932379"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29" name="Oval 128"/>
            <p:cNvSpPr/>
            <p:nvPr/>
          </p:nvSpPr>
          <p:spPr bwMode="auto">
            <a:xfrm>
              <a:off x="3382324" y="2583244"/>
              <a:ext cx="1294216" cy="1332901"/>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algn="ctr" defTabSz="932379"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30" name="Oval 129"/>
            <p:cNvSpPr/>
            <p:nvPr/>
          </p:nvSpPr>
          <p:spPr bwMode="auto">
            <a:xfrm>
              <a:off x="2823741" y="4341760"/>
              <a:ext cx="1294216" cy="1332901"/>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algn="ctr" defTabSz="932379"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31" name="Oval 130"/>
            <p:cNvSpPr/>
            <p:nvPr/>
          </p:nvSpPr>
          <p:spPr bwMode="auto">
            <a:xfrm>
              <a:off x="1076574" y="4340020"/>
              <a:ext cx="1294216" cy="1332901"/>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algn="ctr" defTabSz="932379"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32" name="Oval 131"/>
            <p:cNvSpPr/>
            <p:nvPr/>
          </p:nvSpPr>
          <p:spPr bwMode="auto">
            <a:xfrm>
              <a:off x="513213" y="2605980"/>
              <a:ext cx="1294216" cy="1332901"/>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algn="ctr" defTabSz="932379"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33" name="Rectangle 132"/>
            <p:cNvSpPr/>
            <p:nvPr/>
          </p:nvSpPr>
          <p:spPr bwMode="auto">
            <a:xfrm rot="6441055">
              <a:off x="3148580" y="3866168"/>
              <a:ext cx="1295400" cy="394435"/>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algn="ctr" defTabSz="932379"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34" name="Rectangle 133"/>
            <p:cNvSpPr/>
            <p:nvPr/>
          </p:nvSpPr>
          <p:spPr bwMode="auto">
            <a:xfrm rot="8563381">
              <a:off x="1215635" y="2519037"/>
              <a:ext cx="1295400" cy="394435"/>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algn="ctr" defTabSz="932379"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35" name="Rectangle 134"/>
            <p:cNvSpPr/>
            <p:nvPr/>
          </p:nvSpPr>
          <p:spPr bwMode="auto">
            <a:xfrm rot="4358614">
              <a:off x="746155" y="3910234"/>
              <a:ext cx="1295400" cy="394435"/>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algn="ctr" defTabSz="932379"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36" name="Rectangle 135"/>
            <p:cNvSpPr/>
            <p:nvPr/>
          </p:nvSpPr>
          <p:spPr bwMode="auto">
            <a:xfrm>
              <a:off x="1870237" y="4862094"/>
              <a:ext cx="1295400" cy="394435"/>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algn="ctr" defTabSz="932379"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37" name="Rectangle 136"/>
            <p:cNvSpPr/>
            <p:nvPr/>
          </p:nvSpPr>
          <p:spPr bwMode="auto">
            <a:xfrm rot="13043729" flipH="1">
              <a:off x="2710216" y="2544992"/>
              <a:ext cx="1295400" cy="394435"/>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algn="ctr" defTabSz="932379"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138" name="Group 137"/>
          <p:cNvGrpSpPr/>
          <p:nvPr/>
        </p:nvGrpSpPr>
        <p:grpSpPr>
          <a:xfrm>
            <a:off x="2206617" y="4145172"/>
            <a:ext cx="7737374" cy="1564733"/>
            <a:chOff x="2352152" y="5115680"/>
            <a:chExt cx="7758563" cy="1386475"/>
          </a:xfrm>
        </p:grpSpPr>
        <p:sp>
          <p:nvSpPr>
            <p:cNvPr id="141" name="Rectangle 140"/>
            <p:cNvSpPr/>
            <p:nvPr/>
          </p:nvSpPr>
          <p:spPr bwMode="auto">
            <a:xfrm>
              <a:off x="2352152" y="5209675"/>
              <a:ext cx="7758563" cy="1292480"/>
            </a:xfrm>
            <a:prstGeom prst="rect">
              <a:avLst/>
            </a:prstGeom>
            <a:solidFill>
              <a:srgbClr val="00206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24" rIns="0" bIns="46624" numCol="1" rtlCol="0" anchor="ctr" anchorCtr="0" compatLnSpc="1">
              <a:prstTxWarp prst="textNoShape">
                <a:avLst/>
              </a:prstTxWarp>
            </a:bodyPr>
            <a:lstStyle/>
            <a:p>
              <a:pPr algn="ctr" defTabSz="932200" fontAlgn="base">
                <a:spcBef>
                  <a:spcPct val="0"/>
                </a:spcBef>
                <a:spcAft>
                  <a:spcPct val="0"/>
                </a:spcAft>
                <a:defRPr/>
              </a:pPr>
              <a:r>
                <a:rPr lang="en-US" sz="2000" dirty="0">
                  <a:solidFill>
                    <a:srgbClr val="FFFFFF"/>
                  </a:solidFill>
                  <a:latin typeface="Segoe UI"/>
                </a:rPr>
                <a:t>Application Platform</a:t>
              </a:r>
            </a:p>
          </p:txBody>
        </p:sp>
        <p:sp>
          <p:nvSpPr>
            <p:cNvPr id="140" name="Rectangle 139"/>
            <p:cNvSpPr/>
            <p:nvPr/>
          </p:nvSpPr>
          <p:spPr bwMode="auto">
            <a:xfrm>
              <a:off x="2352152" y="5115680"/>
              <a:ext cx="7758563" cy="90550"/>
            </a:xfrm>
            <a:prstGeom prst="rect">
              <a:avLst/>
            </a:prstGeom>
            <a:solidFill>
              <a:srgbClr val="002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24" rIns="0" bIns="46624" numCol="1" spcCol="0" rtlCol="0" fromWordArt="0" anchor="ctr" anchorCtr="0" forceAA="0" compatLnSpc="1">
              <a:prstTxWarp prst="textNoShape">
                <a:avLst/>
              </a:prstTxWarp>
              <a:noAutofit/>
            </a:bodyPr>
            <a:lstStyle/>
            <a:p>
              <a:pPr algn="ctr" defTabSz="932200" fontAlgn="base">
                <a:spcBef>
                  <a:spcPct val="0"/>
                </a:spcBef>
                <a:spcAft>
                  <a:spcPct val="0"/>
                </a:spcAft>
                <a:defRPr/>
              </a:pPr>
              <a:endParaRPr lang="en-US" sz="2000" dirty="0">
                <a:gradFill>
                  <a:gsLst>
                    <a:gs pos="0">
                      <a:srgbClr val="FFFFFF"/>
                    </a:gs>
                    <a:gs pos="100000">
                      <a:srgbClr val="FFFFFF"/>
                    </a:gs>
                  </a:gsLst>
                  <a:lin ang="5400000" scaled="0"/>
                </a:gradFill>
                <a:latin typeface="Segoe UI"/>
              </a:endParaRPr>
            </a:p>
          </p:txBody>
        </p:sp>
      </p:grpSp>
    </p:spTree>
    <p:extLst>
      <p:ext uri="{BB962C8B-B14F-4D97-AF65-F5344CB8AC3E}">
        <p14:creationId xmlns:p14="http://schemas.microsoft.com/office/powerpoint/2010/main" val="375753770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xit" presetSubtype="1" fill="hold" nodeType="clickEffect">
                                  <p:stCondLst>
                                    <p:cond delay="0"/>
                                  </p:stCondLst>
                                  <p:childTnLst>
                                    <p:animEffect transition="out" filter="wipe(up)">
                                      <p:cBhvr>
                                        <p:cTn id="6" dur="500"/>
                                        <p:tgtEl>
                                          <p:spTgt spid="138"/>
                                        </p:tgtEl>
                                      </p:cBhvr>
                                    </p:animEffect>
                                    <p:set>
                                      <p:cBhvr>
                                        <p:cTn id="7" dur="1" fill="hold">
                                          <p:stCondLst>
                                            <p:cond delay="499"/>
                                          </p:stCondLst>
                                        </p:cTn>
                                        <p:tgtEl>
                                          <p:spTgt spid="138"/>
                                        </p:tgtEl>
                                        <p:attrNameLst>
                                          <p:attrName>style.visibility</p:attrName>
                                        </p:attrNameLst>
                                      </p:cBhvr>
                                      <p:to>
                                        <p:strVal val="hidden"/>
                                      </p:to>
                                    </p:set>
                                  </p:childTnLst>
                                </p:cTn>
                              </p:par>
                            </p:childTnLst>
                          </p:cTn>
                        </p:par>
                      </p:childTnLst>
                    </p:cTn>
                  </p:par>
                  <p:par>
                    <p:cTn id="8" fill="hold">
                      <p:stCondLst>
                        <p:cond delay="indefinite"/>
                      </p:stCondLst>
                      <p:childTnLst>
                        <p:par>
                          <p:cTn id="9" fill="hold">
                            <p:stCondLst>
                              <p:cond delay="0"/>
                            </p:stCondLst>
                            <p:childTnLst>
                              <p:par>
                                <p:cTn id="10" presetID="22" presetClass="entr" presetSubtype="4" fill="hold" grpId="0" nodeType="clickEffect">
                                  <p:stCondLst>
                                    <p:cond delay="0"/>
                                  </p:stCondLst>
                                  <p:childTnLst>
                                    <p:set>
                                      <p:cBhvr>
                                        <p:cTn id="11" dur="1" fill="hold">
                                          <p:stCondLst>
                                            <p:cond delay="0"/>
                                          </p:stCondLst>
                                        </p:cTn>
                                        <p:tgtEl>
                                          <p:spTgt spid="115"/>
                                        </p:tgtEl>
                                        <p:attrNameLst>
                                          <p:attrName>style.visibility</p:attrName>
                                        </p:attrNameLst>
                                      </p:cBhvr>
                                      <p:to>
                                        <p:strVal val="visible"/>
                                      </p:to>
                                    </p:set>
                                    <p:animEffect transition="in" filter="wipe(down)">
                                      <p:cBhvr>
                                        <p:cTn id="12" dur="500"/>
                                        <p:tgtEl>
                                          <p:spTgt spid="115"/>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1" fill="hold" grpId="0" nodeType="clickEffect">
                                  <p:stCondLst>
                                    <p:cond delay="0"/>
                                  </p:stCondLst>
                                  <p:childTnLst>
                                    <p:set>
                                      <p:cBhvr>
                                        <p:cTn id="16" dur="1" fill="hold">
                                          <p:stCondLst>
                                            <p:cond delay="0"/>
                                          </p:stCondLst>
                                        </p:cTn>
                                        <p:tgtEl>
                                          <p:spTgt spid="116"/>
                                        </p:tgtEl>
                                        <p:attrNameLst>
                                          <p:attrName>style.visibility</p:attrName>
                                        </p:attrNameLst>
                                      </p:cBhvr>
                                      <p:to>
                                        <p:strVal val="visible"/>
                                      </p:to>
                                    </p:set>
                                    <p:animEffect transition="in" filter="wipe(up)">
                                      <p:cBhvr>
                                        <p:cTn id="17" dur="500"/>
                                        <p:tgtEl>
                                          <p:spTgt spid="116"/>
                                        </p:tgtEl>
                                      </p:cBhvr>
                                    </p:animEffect>
                                  </p:childTnLst>
                                </p:cTn>
                              </p:par>
                              <p:par>
                                <p:cTn id="18" presetID="22" presetClass="entr" presetSubtype="1" fill="hold" nodeType="withEffect">
                                  <p:stCondLst>
                                    <p:cond delay="0"/>
                                  </p:stCondLst>
                                  <p:childTnLst>
                                    <p:set>
                                      <p:cBhvr>
                                        <p:cTn id="19" dur="1" fill="hold">
                                          <p:stCondLst>
                                            <p:cond delay="0"/>
                                          </p:stCondLst>
                                        </p:cTn>
                                        <p:tgtEl>
                                          <p:spTgt spid="43"/>
                                        </p:tgtEl>
                                        <p:attrNameLst>
                                          <p:attrName>style.visibility</p:attrName>
                                        </p:attrNameLst>
                                      </p:cBhvr>
                                      <p:to>
                                        <p:strVal val="visible"/>
                                      </p:to>
                                    </p:set>
                                    <p:animEffect transition="in" filter="wipe(up)">
                                      <p:cBhvr>
                                        <p:cTn id="20" dur="500"/>
                                        <p:tgtEl>
                                          <p:spTgt spid="43"/>
                                        </p:tgtEl>
                                      </p:cBhvr>
                                    </p:animEffect>
                                  </p:childTnLst>
                                </p:cTn>
                              </p:par>
                            </p:childTnLst>
                          </p:cTn>
                        </p:par>
                      </p:childTnLst>
                    </p:cTn>
                  </p:par>
                  <p:par>
                    <p:cTn id="21" fill="hold">
                      <p:stCondLst>
                        <p:cond delay="indefinite"/>
                      </p:stCondLst>
                      <p:childTnLst>
                        <p:par>
                          <p:cTn id="22" fill="hold">
                            <p:stCondLst>
                              <p:cond delay="0"/>
                            </p:stCondLst>
                            <p:childTnLst>
                              <p:par>
                                <p:cTn id="23" presetID="22" presetClass="exit" presetSubtype="1" fill="hold" nodeType="clickEffect">
                                  <p:stCondLst>
                                    <p:cond delay="0"/>
                                  </p:stCondLst>
                                  <p:childTnLst>
                                    <p:animEffect transition="out" filter="wipe(up)">
                                      <p:cBhvr>
                                        <p:cTn id="24" dur="500"/>
                                        <p:tgtEl>
                                          <p:spTgt spid="118"/>
                                        </p:tgtEl>
                                      </p:cBhvr>
                                    </p:animEffect>
                                    <p:set>
                                      <p:cBhvr>
                                        <p:cTn id="25" dur="1" fill="hold">
                                          <p:stCondLst>
                                            <p:cond delay="499"/>
                                          </p:stCondLst>
                                        </p:cTn>
                                        <p:tgtEl>
                                          <p:spTgt spid="118"/>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5" grpId="0" animBg="1"/>
      <p:bldP spid="116" grpId="0" animBg="1"/>
    </p:bldLst>
  </p:timing>
</p:sld>
</file>

<file path=ppt/slides/slide11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Title 4"/>
          <p:cNvSpPr>
            <a:spLocks noGrp="1"/>
          </p:cNvSpPr>
          <p:nvPr>
            <p:ph type="title"/>
          </p:nvPr>
        </p:nvSpPr>
        <p:spPr>
          <a:xfrm>
            <a:off x="366169" y="295278"/>
            <a:ext cx="11702551" cy="917575"/>
          </a:xfrm>
        </p:spPr>
        <p:txBody>
          <a:bodyPr/>
          <a:lstStyle/>
          <a:p>
            <a:r>
              <a:rPr lang="en-US" dirty="0"/>
              <a:t>Traditional service pattern</a:t>
            </a:r>
          </a:p>
        </p:txBody>
      </p:sp>
      <p:sp>
        <p:nvSpPr>
          <p:cNvPr id="3" name="Rectangle 2"/>
          <p:cNvSpPr/>
          <p:nvPr/>
        </p:nvSpPr>
        <p:spPr bwMode="auto">
          <a:xfrm>
            <a:off x="5257800" y="5577723"/>
            <a:ext cx="6203776" cy="87599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30" tIns="34966" rIns="34966" bIns="69930" numCol="1" spcCol="0" rtlCol="0" fromWordArt="0" anchor="ctr" anchorCtr="0" forceAA="0" compatLnSpc="1">
            <a:prstTxWarp prst="textNoShape">
              <a:avLst/>
            </a:prstTxWarp>
            <a:noAutofit/>
          </a:bodyPr>
          <a:lstStyle/>
          <a:p>
            <a:pPr defTabSz="699054" fontAlgn="base">
              <a:spcBef>
                <a:spcPct val="0"/>
              </a:spcBef>
              <a:spcAft>
                <a:spcPct val="0"/>
              </a:spcAft>
            </a:pPr>
            <a:r>
              <a:rPr lang="en-US" sz="1377" spc="-38" dirty="0">
                <a:solidFill>
                  <a:schemeClr val="tx1"/>
                </a:solidFill>
                <a:ea typeface="Segoe UI" pitchFamily="34" charset="0"/>
                <a:cs typeface="Segoe UI" pitchFamily="34" charset="0"/>
              </a:rPr>
              <a:t>Queues                                                	   Storage</a:t>
            </a:r>
          </a:p>
        </p:txBody>
      </p:sp>
      <p:pic>
        <p:nvPicPr>
          <p:cNvPr id="4" name="Picture 3"/>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6375452" y="5632123"/>
            <a:ext cx="780190" cy="780190"/>
          </a:xfrm>
          <a:prstGeom prst="rect">
            <a:avLst/>
          </a:prstGeom>
        </p:spPr>
      </p:pic>
      <p:pic>
        <p:nvPicPr>
          <p:cNvPr id="6" name="Picture 5"/>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8198391" y="780470"/>
            <a:ext cx="840578" cy="840578"/>
          </a:xfrm>
          <a:prstGeom prst="rect">
            <a:avLst/>
          </a:prstGeom>
        </p:spPr>
      </p:pic>
      <p:grpSp>
        <p:nvGrpSpPr>
          <p:cNvPr id="7" name="Group 6"/>
          <p:cNvGrpSpPr/>
          <p:nvPr/>
        </p:nvGrpSpPr>
        <p:grpSpPr>
          <a:xfrm>
            <a:off x="5607922" y="1940228"/>
            <a:ext cx="5853654" cy="875996"/>
            <a:chOff x="3246437" y="2183594"/>
            <a:chExt cx="5854401" cy="876108"/>
          </a:xfrm>
        </p:grpSpPr>
        <p:sp>
          <p:nvSpPr>
            <p:cNvPr id="8" name="Rectangle 7"/>
            <p:cNvSpPr/>
            <p:nvPr/>
          </p:nvSpPr>
          <p:spPr bwMode="auto">
            <a:xfrm>
              <a:off x="3246437" y="2183594"/>
              <a:ext cx="5854401" cy="876108"/>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30" tIns="34966" rIns="34966" bIns="69930" numCol="1" spcCol="0" rtlCol="0" fromWordArt="0" anchor="ctr" anchorCtr="0" forceAA="0" compatLnSpc="1">
              <a:prstTxWarp prst="textNoShape">
                <a:avLst/>
              </a:prstTxWarp>
              <a:noAutofit/>
            </a:bodyPr>
            <a:lstStyle/>
            <a:p>
              <a:pPr defTabSz="699054" fontAlgn="base">
                <a:spcBef>
                  <a:spcPct val="0"/>
                </a:spcBef>
                <a:spcAft>
                  <a:spcPct val="0"/>
                </a:spcAft>
              </a:pPr>
              <a:r>
                <a:rPr lang="en-US" sz="1377" spc="-38" dirty="0">
                  <a:solidFill>
                    <a:schemeClr val="tx1"/>
                  </a:solidFill>
                  <a:ea typeface="Segoe UI" pitchFamily="34" charset="0"/>
                  <a:cs typeface="Segoe UI" pitchFamily="34" charset="0"/>
                </a:rPr>
                <a:t>Front-end</a:t>
              </a:r>
            </a:p>
            <a:p>
              <a:pPr defTabSz="699054" fontAlgn="base">
                <a:spcBef>
                  <a:spcPct val="0"/>
                </a:spcBef>
                <a:spcAft>
                  <a:spcPct val="0"/>
                </a:spcAft>
              </a:pPr>
              <a:r>
                <a:rPr lang="en-US" sz="1377" spc="-38" dirty="0">
                  <a:solidFill>
                    <a:schemeClr val="tx1"/>
                  </a:solidFill>
                  <a:ea typeface="Segoe UI" pitchFamily="34" charset="0"/>
                  <a:cs typeface="Segoe UI" pitchFamily="34" charset="0"/>
                </a:rPr>
                <a:t>(stateless</a:t>
              </a:r>
            </a:p>
            <a:p>
              <a:pPr defTabSz="699054" fontAlgn="base">
                <a:spcBef>
                  <a:spcPct val="0"/>
                </a:spcBef>
                <a:spcAft>
                  <a:spcPct val="0"/>
                </a:spcAft>
              </a:pPr>
              <a:r>
                <a:rPr lang="en-US" sz="1377" spc="-38" dirty="0">
                  <a:solidFill>
                    <a:schemeClr val="tx1"/>
                  </a:solidFill>
                  <a:ea typeface="Segoe UI" pitchFamily="34" charset="0"/>
                  <a:cs typeface="Segoe UI" pitchFamily="34" charset="0"/>
                </a:rPr>
                <a:t>web)</a:t>
              </a:r>
            </a:p>
          </p:txBody>
        </p:sp>
        <p:pic>
          <p:nvPicPr>
            <p:cNvPr id="9" name="Picture 8"/>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4473381" y="2221625"/>
              <a:ext cx="780290" cy="780290"/>
            </a:xfrm>
            <a:prstGeom prst="rect">
              <a:avLst/>
            </a:prstGeom>
          </p:spPr>
        </p:pic>
        <p:pic>
          <p:nvPicPr>
            <p:cNvPr id="10" name="Picture 9"/>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5785584" y="2221625"/>
              <a:ext cx="780290" cy="780290"/>
            </a:xfrm>
            <a:prstGeom prst="rect">
              <a:avLst/>
            </a:prstGeom>
          </p:spPr>
        </p:pic>
        <p:pic>
          <p:nvPicPr>
            <p:cNvPr id="11" name="Picture 10"/>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7190547" y="2221625"/>
              <a:ext cx="780290" cy="780290"/>
            </a:xfrm>
            <a:prstGeom prst="rect">
              <a:avLst/>
            </a:prstGeom>
          </p:spPr>
        </p:pic>
      </p:grpSp>
      <p:cxnSp>
        <p:nvCxnSpPr>
          <p:cNvPr id="12" name="Straight Arrow Connector 11"/>
          <p:cNvCxnSpPr>
            <a:endCxn id="9" idx="0"/>
          </p:cNvCxnSpPr>
          <p:nvPr/>
        </p:nvCxnSpPr>
        <p:spPr>
          <a:xfrm flipH="1">
            <a:off x="7224805" y="1656150"/>
            <a:ext cx="1226787" cy="322104"/>
          </a:xfrm>
          <a:prstGeom prst="straightConnector1">
            <a:avLst/>
          </a:prstGeom>
          <a:ln w="50800">
            <a:solidFill>
              <a:srgbClr val="00B0F0"/>
            </a:solidFill>
            <a:tailEnd type="triangle"/>
          </a:ln>
        </p:spPr>
        <p:style>
          <a:lnRef idx="1">
            <a:schemeClr val="accent1"/>
          </a:lnRef>
          <a:fillRef idx="0">
            <a:schemeClr val="accent1"/>
          </a:fillRef>
          <a:effectRef idx="0">
            <a:schemeClr val="accent1"/>
          </a:effectRef>
          <a:fontRef idx="minor">
            <a:schemeClr val="tx1"/>
          </a:fontRef>
        </p:style>
      </p:cxnSp>
      <p:pic>
        <p:nvPicPr>
          <p:cNvPr id="13" name="Picture 12"/>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7401315" y="5653706"/>
            <a:ext cx="780190" cy="780190"/>
          </a:xfrm>
          <a:prstGeom prst="rect">
            <a:avLst/>
          </a:prstGeom>
        </p:spPr>
      </p:pic>
      <p:grpSp>
        <p:nvGrpSpPr>
          <p:cNvPr id="14" name="Group 13"/>
          <p:cNvGrpSpPr/>
          <p:nvPr/>
        </p:nvGrpSpPr>
        <p:grpSpPr>
          <a:xfrm>
            <a:off x="5607922" y="3626079"/>
            <a:ext cx="5853654" cy="875996"/>
            <a:chOff x="3246437" y="3869660"/>
            <a:chExt cx="5854401" cy="876108"/>
          </a:xfrm>
        </p:grpSpPr>
        <p:sp>
          <p:nvSpPr>
            <p:cNvPr id="15" name="Rectangle 14"/>
            <p:cNvSpPr/>
            <p:nvPr/>
          </p:nvSpPr>
          <p:spPr bwMode="auto">
            <a:xfrm>
              <a:off x="3246437" y="3869660"/>
              <a:ext cx="5854401" cy="876108"/>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30" tIns="34966" rIns="34966" bIns="69930" numCol="1" spcCol="0" rtlCol="0" fromWordArt="0" anchor="ctr" anchorCtr="0" forceAA="0" compatLnSpc="1">
              <a:prstTxWarp prst="textNoShape">
                <a:avLst/>
              </a:prstTxWarp>
              <a:noAutofit/>
            </a:bodyPr>
            <a:lstStyle/>
            <a:p>
              <a:pPr defTabSz="699054" fontAlgn="base">
                <a:spcBef>
                  <a:spcPct val="0"/>
                </a:spcBef>
                <a:spcAft>
                  <a:spcPct val="0"/>
                </a:spcAft>
              </a:pPr>
              <a:r>
                <a:rPr lang="en-US" sz="1377" spc="-38" dirty="0">
                  <a:solidFill>
                    <a:schemeClr val="tx1"/>
                  </a:solidFill>
                  <a:ea typeface="Segoe UI" pitchFamily="34" charset="0"/>
                  <a:cs typeface="Segoe UI" pitchFamily="34" charset="0"/>
                </a:rPr>
                <a:t>Stateless</a:t>
              </a:r>
            </a:p>
            <a:p>
              <a:pPr defTabSz="699054" fontAlgn="base">
                <a:spcBef>
                  <a:spcPct val="0"/>
                </a:spcBef>
                <a:spcAft>
                  <a:spcPct val="0"/>
                </a:spcAft>
              </a:pPr>
              <a:r>
                <a:rPr lang="en-US" sz="1377" spc="-38" dirty="0">
                  <a:solidFill>
                    <a:schemeClr val="tx1"/>
                  </a:solidFill>
                  <a:ea typeface="Segoe UI" pitchFamily="34" charset="0"/>
                  <a:cs typeface="Segoe UI" pitchFamily="34" charset="0"/>
                </a:rPr>
                <a:t>middle-tier</a:t>
              </a:r>
            </a:p>
            <a:p>
              <a:pPr defTabSz="699054" fontAlgn="base">
                <a:spcBef>
                  <a:spcPct val="0"/>
                </a:spcBef>
                <a:spcAft>
                  <a:spcPct val="0"/>
                </a:spcAft>
              </a:pPr>
              <a:r>
                <a:rPr lang="en-US" sz="1377" spc="-38" dirty="0">
                  <a:solidFill>
                    <a:schemeClr val="tx1"/>
                  </a:solidFill>
                  <a:ea typeface="Segoe UI" pitchFamily="34" charset="0"/>
                  <a:cs typeface="Segoe UI" pitchFamily="34" charset="0"/>
                </a:rPr>
                <a:t>compute</a:t>
              </a:r>
            </a:p>
          </p:txBody>
        </p:sp>
        <p:pic>
          <p:nvPicPr>
            <p:cNvPr id="16" name="Picture 15"/>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4440268" y="3917569"/>
              <a:ext cx="780290" cy="780290"/>
            </a:xfrm>
            <a:prstGeom prst="rect">
              <a:avLst/>
            </a:prstGeom>
          </p:spPr>
        </p:pic>
        <p:pic>
          <p:nvPicPr>
            <p:cNvPr id="17" name="Picture 16"/>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5783492" y="3917569"/>
              <a:ext cx="780290" cy="780290"/>
            </a:xfrm>
            <a:prstGeom prst="rect">
              <a:avLst/>
            </a:prstGeom>
          </p:spPr>
        </p:pic>
        <p:pic>
          <p:nvPicPr>
            <p:cNvPr id="18" name="Picture 17"/>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7190547" y="3917569"/>
              <a:ext cx="780290" cy="780290"/>
            </a:xfrm>
            <a:prstGeom prst="rect">
              <a:avLst/>
            </a:prstGeom>
          </p:spPr>
        </p:pic>
      </p:grpSp>
      <p:cxnSp>
        <p:nvCxnSpPr>
          <p:cNvPr id="19" name="Straight Arrow Connector 18"/>
          <p:cNvCxnSpPr>
            <a:endCxn id="11" idx="0"/>
          </p:cNvCxnSpPr>
          <p:nvPr/>
        </p:nvCxnSpPr>
        <p:spPr>
          <a:xfrm>
            <a:off x="8841687" y="1656150"/>
            <a:ext cx="1099937" cy="322104"/>
          </a:xfrm>
          <a:prstGeom prst="straightConnector1">
            <a:avLst/>
          </a:prstGeom>
          <a:ln w="50800">
            <a:solidFill>
              <a:srgbClr val="00B0F0"/>
            </a:solidFill>
            <a:tailEnd type="triangle"/>
          </a:ln>
        </p:spPr>
        <p:style>
          <a:lnRef idx="1">
            <a:schemeClr val="accent1"/>
          </a:lnRef>
          <a:fillRef idx="0">
            <a:schemeClr val="accent1"/>
          </a:fillRef>
          <a:effectRef idx="0">
            <a:schemeClr val="accent1"/>
          </a:effectRef>
          <a:fontRef idx="minor">
            <a:schemeClr val="tx1"/>
          </a:fontRef>
        </p:style>
      </p:cxnSp>
      <p:cxnSp>
        <p:nvCxnSpPr>
          <p:cNvPr id="20" name="Straight Arrow Connector 19"/>
          <p:cNvCxnSpPr/>
          <p:nvPr/>
        </p:nvCxnSpPr>
        <p:spPr>
          <a:xfrm>
            <a:off x="8577870" y="1672298"/>
            <a:ext cx="5312" cy="350049"/>
          </a:xfrm>
          <a:prstGeom prst="straightConnector1">
            <a:avLst/>
          </a:prstGeom>
          <a:ln w="50800">
            <a:solidFill>
              <a:srgbClr val="00B0F0"/>
            </a:solidFill>
            <a:tailEnd type="triangle"/>
          </a:ln>
        </p:spPr>
        <p:style>
          <a:lnRef idx="1">
            <a:schemeClr val="accent1"/>
          </a:lnRef>
          <a:fillRef idx="0">
            <a:schemeClr val="accent1"/>
          </a:fillRef>
          <a:effectRef idx="0">
            <a:schemeClr val="accent1"/>
          </a:effectRef>
          <a:fontRef idx="minor">
            <a:schemeClr val="tx1"/>
          </a:fontRef>
        </p:style>
      </p:cxnSp>
      <p:grpSp>
        <p:nvGrpSpPr>
          <p:cNvPr id="21" name="Group 20"/>
          <p:cNvGrpSpPr/>
          <p:nvPr/>
        </p:nvGrpSpPr>
        <p:grpSpPr>
          <a:xfrm>
            <a:off x="7207917" y="2720397"/>
            <a:ext cx="2742850" cy="991354"/>
            <a:chOff x="4846637" y="2963862"/>
            <a:chExt cx="2743200" cy="991481"/>
          </a:xfrm>
        </p:grpSpPr>
        <p:cxnSp>
          <p:nvCxnSpPr>
            <p:cNvPr id="22" name="Straight Arrow Connector 21"/>
            <p:cNvCxnSpPr/>
            <p:nvPr/>
          </p:nvCxnSpPr>
          <p:spPr>
            <a:xfrm>
              <a:off x="6173637" y="2963862"/>
              <a:ext cx="0" cy="991481"/>
            </a:xfrm>
            <a:prstGeom prst="straightConnector1">
              <a:avLst/>
            </a:prstGeom>
            <a:ln w="50800">
              <a:solidFill>
                <a:srgbClr val="00B0F0"/>
              </a:solidFill>
              <a:tailEnd type="triangle"/>
            </a:ln>
          </p:spPr>
          <p:style>
            <a:lnRef idx="1">
              <a:schemeClr val="accent1"/>
            </a:lnRef>
            <a:fillRef idx="0">
              <a:schemeClr val="accent1"/>
            </a:fillRef>
            <a:effectRef idx="0">
              <a:schemeClr val="accent1"/>
            </a:effectRef>
            <a:fontRef idx="minor">
              <a:schemeClr val="tx1"/>
            </a:fontRef>
          </p:style>
        </p:cxnSp>
        <p:cxnSp>
          <p:nvCxnSpPr>
            <p:cNvPr id="23" name="Straight Arrow Connector 22"/>
            <p:cNvCxnSpPr/>
            <p:nvPr/>
          </p:nvCxnSpPr>
          <p:spPr>
            <a:xfrm>
              <a:off x="4846637" y="2963862"/>
              <a:ext cx="0" cy="991481"/>
            </a:xfrm>
            <a:prstGeom prst="straightConnector1">
              <a:avLst/>
            </a:prstGeom>
            <a:ln w="50800">
              <a:solidFill>
                <a:srgbClr val="00B0F0"/>
              </a:solidFill>
              <a:tailEnd type="triangle"/>
            </a:ln>
          </p:spPr>
          <p:style>
            <a:lnRef idx="1">
              <a:schemeClr val="accent1"/>
            </a:lnRef>
            <a:fillRef idx="0">
              <a:schemeClr val="accent1"/>
            </a:fillRef>
            <a:effectRef idx="0">
              <a:schemeClr val="accent1"/>
            </a:effectRef>
            <a:fontRef idx="minor">
              <a:schemeClr val="tx1"/>
            </a:fontRef>
          </p:style>
        </p:cxnSp>
        <p:cxnSp>
          <p:nvCxnSpPr>
            <p:cNvPr id="24" name="Straight Arrow Connector 23"/>
            <p:cNvCxnSpPr/>
            <p:nvPr/>
          </p:nvCxnSpPr>
          <p:spPr>
            <a:xfrm>
              <a:off x="7589837" y="2963862"/>
              <a:ext cx="0" cy="991481"/>
            </a:xfrm>
            <a:prstGeom prst="straightConnector1">
              <a:avLst/>
            </a:prstGeom>
            <a:ln w="50800">
              <a:solidFill>
                <a:srgbClr val="00B0F0"/>
              </a:solidFill>
              <a:tailEnd type="triangle"/>
            </a:ln>
          </p:spPr>
          <p:style>
            <a:lnRef idx="1">
              <a:schemeClr val="accent1"/>
            </a:lnRef>
            <a:fillRef idx="0">
              <a:schemeClr val="accent1"/>
            </a:fillRef>
            <a:effectRef idx="0">
              <a:schemeClr val="accent1"/>
            </a:effectRef>
            <a:fontRef idx="minor">
              <a:schemeClr val="tx1"/>
            </a:fontRef>
          </p:style>
        </p:cxnSp>
      </p:grpSp>
      <p:cxnSp>
        <p:nvCxnSpPr>
          <p:cNvPr id="25" name="Curved Connector 52"/>
          <p:cNvCxnSpPr/>
          <p:nvPr/>
        </p:nvCxnSpPr>
        <p:spPr>
          <a:xfrm rot="16200000" flipH="1">
            <a:off x="6932084" y="4849065"/>
            <a:ext cx="1199534" cy="409748"/>
          </a:xfrm>
          <a:prstGeom prst="curvedConnector3">
            <a:avLst>
              <a:gd name="adj1" fmla="val 50000"/>
            </a:avLst>
          </a:prstGeom>
          <a:ln w="50800">
            <a:solidFill>
              <a:srgbClr val="00B0F0"/>
            </a:solidFill>
            <a:headEnd type="none"/>
            <a:tailEnd type="triangle"/>
          </a:ln>
        </p:spPr>
        <p:style>
          <a:lnRef idx="2">
            <a:schemeClr val="accent6"/>
          </a:lnRef>
          <a:fillRef idx="0">
            <a:schemeClr val="accent6"/>
          </a:fillRef>
          <a:effectRef idx="1">
            <a:schemeClr val="accent6"/>
          </a:effectRef>
          <a:fontRef idx="minor">
            <a:schemeClr val="tx1"/>
          </a:fontRef>
        </p:style>
      </p:cxnSp>
      <p:cxnSp>
        <p:nvCxnSpPr>
          <p:cNvPr id="26" name="Curved Connector 53"/>
          <p:cNvCxnSpPr/>
          <p:nvPr/>
        </p:nvCxnSpPr>
        <p:spPr>
          <a:xfrm rot="5400000" flipH="1" flipV="1">
            <a:off x="7223063" y="4758391"/>
            <a:ext cx="1589629" cy="201000"/>
          </a:xfrm>
          <a:prstGeom prst="curvedConnector2">
            <a:avLst/>
          </a:prstGeom>
          <a:ln w="50800">
            <a:solidFill>
              <a:srgbClr val="00B0F0"/>
            </a:solidFill>
            <a:headEnd type="none"/>
            <a:tailEnd type="triangle"/>
          </a:ln>
        </p:spPr>
        <p:style>
          <a:lnRef idx="2">
            <a:schemeClr val="accent6"/>
          </a:lnRef>
          <a:fillRef idx="0">
            <a:schemeClr val="accent6"/>
          </a:fillRef>
          <a:effectRef idx="1">
            <a:schemeClr val="accent6"/>
          </a:effectRef>
          <a:fontRef idx="minor">
            <a:schemeClr val="tx1"/>
          </a:fontRef>
        </p:style>
      </p:cxnSp>
      <p:cxnSp>
        <p:nvCxnSpPr>
          <p:cNvPr id="27" name="Curved Connector 54"/>
          <p:cNvCxnSpPr>
            <a:stCxn id="9" idx="1"/>
            <a:endCxn id="4" idx="1"/>
          </p:cNvCxnSpPr>
          <p:nvPr/>
        </p:nvCxnSpPr>
        <p:spPr>
          <a:xfrm rot="10800000" flipV="1">
            <a:off x="6375452" y="2368348"/>
            <a:ext cx="459257" cy="3653869"/>
          </a:xfrm>
          <a:prstGeom prst="curvedConnector3">
            <a:avLst>
              <a:gd name="adj1" fmla="val 292393"/>
            </a:avLst>
          </a:prstGeom>
          <a:ln w="50800">
            <a:solidFill>
              <a:srgbClr val="00B0F0"/>
            </a:solidFill>
            <a:headEnd type="none"/>
            <a:tailEnd type="triangle"/>
          </a:ln>
        </p:spPr>
        <p:style>
          <a:lnRef idx="1">
            <a:schemeClr val="accent6"/>
          </a:lnRef>
          <a:fillRef idx="0">
            <a:schemeClr val="accent6"/>
          </a:fillRef>
          <a:effectRef idx="0">
            <a:schemeClr val="accent6"/>
          </a:effectRef>
          <a:fontRef idx="minor">
            <a:schemeClr val="tx1"/>
          </a:fontRef>
        </p:style>
      </p:cxnSp>
      <p:cxnSp>
        <p:nvCxnSpPr>
          <p:cNvPr id="28" name="Curved Connector 55"/>
          <p:cNvCxnSpPr>
            <a:stCxn id="4" idx="0"/>
          </p:cNvCxnSpPr>
          <p:nvPr/>
        </p:nvCxnSpPr>
        <p:spPr>
          <a:xfrm rot="5400000" flipH="1" flipV="1">
            <a:off x="6316695" y="4862675"/>
            <a:ext cx="1218300" cy="320596"/>
          </a:xfrm>
          <a:prstGeom prst="curvedConnector3">
            <a:avLst>
              <a:gd name="adj1" fmla="val 49999"/>
            </a:avLst>
          </a:prstGeom>
          <a:ln w="50800">
            <a:solidFill>
              <a:srgbClr val="00B0F0"/>
            </a:solidFill>
            <a:headEnd type="none"/>
            <a:tailEnd type="triangle"/>
          </a:ln>
        </p:spPr>
        <p:style>
          <a:lnRef idx="1">
            <a:schemeClr val="accent6"/>
          </a:lnRef>
          <a:fillRef idx="0">
            <a:schemeClr val="accent6"/>
          </a:fillRef>
          <a:effectRef idx="0">
            <a:schemeClr val="accent6"/>
          </a:effectRef>
          <a:fontRef idx="minor">
            <a:schemeClr val="tx1"/>
          </a:fontRef>
        </p:style>
      </p:cxnSp>
      <p:pic>
        <p:nvPicPr>
          <p:cNvPr id="29" name="Picture 28"/>
          <p:cNvPicPr>
            <a:picLocks noChangeAspect="1"/>
          </p:cNvPicPr>
          <p:nvPr/>
        </p:nvPicPr>
        <p:blipFill>
          <a:blip r:embed="rId7" cstate="screen">
            <a:duotone>
              <a:schemeClr val="accent2">
                <a:shade val="45000"/>
                <a:satMod val="135000"/>
              </a:schemeClr>
              <a:prstClr val="white"/>
            </a:duotone>
            <a:extLst>
              <a:ext uri="{28A0092B-C50C-407E-A947-70E740481C1C}">
                <a14:useLocalDpi xmlns:a14="http://schemas.microsoft.com/office/drawing/2010/main"/>
              </a:ext>
            </a:extLst>
          </a:blip>
          <a:stretch>
            <a:fillRect/>
          </a:stretch>
        </p:blipFill>
        <p:spPr>
          <a:xfrm>
            <a:off x="8865816" y="5653706"/>
            <a:ext cx="780190" cy="780190"/>
          </a:xfrm>
          <a:prstGeom prst="rect">
            <a:avLst/>
          </a:prstGeom>
        </p:spPr>
      </p:pic>
      <p:pic>
        <p:nvPicPr>
          <p:cNvPr id="30" name="Picture 29"/>
          <p:cNvPicPr>
            <a:picLocks noChangeAspect="1"/>
          </p:cNvPicPr>
          <p:nvPr/>
        </p:nvPicPr>
        <p:blipFill>
          <a:blip r:embed="rId7" cstate="screen">
            <a:duotone>
              <a:schemeClr val="accent2">
                <a:shade val="45000"/>
                <a:satMod val="135000"/>
              </a:schemeClr>
              <a:prstClr val="white"/>
            </a:duotone>
            <a:extLst>
              <a:ext uri="{28A0092B-C50C-407E-A947-70E740481C1C}">
                <a14:useLocalDpi xmlns:a14="http://schemas.microsoft.com/office/drawing/2010/main"/>
              </a:ext>
            </a:extLst>
          </a:blip>
          <a:stretch>
            <a:fillRect/>
          </a:stretch>
        </p:blipFill>
        <p:spPr>
          <a:xfrm>
            <a:off x="9789243" y="5653706"/>
            <a:ext cx="780190" cy="780190"/>
          </a:xfrm>
          <a:prstGeom prst="rect">
            <a:avLst/>
          </a:prstGeom>
        </p:spPr>
      </p:pic>
      <p:pic>
        <p:nvPicPr>
          <p:cNvPr id="31" name="Picture 30"/>
          <p:cNvPicPr>
            <a:picLocks noChangeAspect="1"/>
          </p:cNvPicPr>
          <p:nvPr/>
        </p:nvPicPr>
        <p:blipFill>
          <a:blip r:embed="rId7" cstate="screen">
            <a:duotone>
              <a:schemeClr val="accent2">
                <a:shade val="45000"/>
                <a:satMod val="135000"/>
              </a:schemeClr>
              <a:prstClr val="white"/>
            </a:duotone>
            <a:extLst>
              <a:ext uri="{28A0092B-C50C-407E-A947-70E740481C1C}">
                <a14:useLocalDpi xmlns:a14="http://schemas.microsoft.com/office/drawing/2010/main"/>
              </a:ext>
            </a:extLst>
          </a:blip>
          <a:stretch>
            <a:fillRect/>
          </a:stretch>
        </p:blipFill>
        <p:spPr>
          <a:xfrm>
            <a:off x="10673858" y="5647145"/>
            <a:ext cx="780190" cy="780190"/>
          </a:xfrm>
          <a:prstGeom prst="rect">
            <a:avLst/>
          </a:prstGeom>
        </p:spPr>
      </p:pic>
      <p:cxnSp>
        <p:nvCxnSpPr>
          <p:cNvPr id="32" name="Straight Arrow Connector 31"/>
          <p:cNvCxnSpPr/>
          <p:nvPr/>
        </p:nvCxnSpPr>
        <p:spPr>
          <a:xfrm>
            <a:off x="7581791" y="4363214"/>
            <a:ext cx="1457178" cy="1290492"/>
          </a:xfrm>
          <a:prstGeom prst="straightConnector1">
            <a:avLst/>
          </a:prstGeom>
          <a:ln w="50800">
            <a:solidFill>
              <a:srgbClr val="00B0F0"/>
            </a:solidFill>
            <a:tailEnd type="triangle"/>
          </a:ln>
        </p:spPr>
        <p:style>
          <a:lnRef idx="1">
            <a:schemeClr val="accent1"/>
          </a:lnRef>
          <a:fillRef idx="0">
            <a:schemeClr val="accent1"/>
          </a:fillRef>
          <a:effectRef idx="0">
            <a:schemeClr val="accent1"/>
          </a:effectRef>
          <a:fontRef idx="minor">
            <a:schemeClr val="tx1"/>
          </a:fontRef>
        </p:style>
      </p:cxnSp>
      <p:cxnSp>
        <p:nvCxnSpPr>
          <p:cNvPr id="33" name="Straight Arrow Connector 32"/>
          <p:cNvCxnSpPr/>
          <p:nvPr/>
        </p:nvCxnSpPr>
        <p:spPr>
          <a:xfrm>
            <a:off x="8626373" y="4417989"/>
            <a:ext cx="1357116" cy="1229156"/>
          </a:xfrm>
          <a:prstGeom prst="straightConnector1">
            <a:avLst/>
          </a:prstGeom>
          <a:ln w="50800">
            <a:solidFill>
              <a:srgbClr val="00B0F0"/>
            </a:solidFill>
            <a:tailEnd type="triangle"/>
          </a:ln>
        </p:spPr>
        <p:style>
          <a:lnRef idx="1">
            <a:schemeClr val="accent1"/>
          </a:lnRef>
          <a:fillRef idx="0">
            <a:schemeClr val="accent1"/>
          </a:fillRef>
          <a:effectRef idx="0">
            <a:schemeClr val="accent1"/>
          </a:effectRef>
          <a:fontRef idx="minor">
            <a:schemeClr val="tx1"/>
          </a:fontRef>
        </p:style>
      </p:cxnSp>
      <p:grpSp>
        <p:nvGrpSpPr>
          <p:cNvPr id="34" name="Group 33"/>
          <p:cNvGrpSpPr/>
          <p:nvPr/>
        </p:nvGrpSpPr>
        <p:grpSpPr>
          <a:xfrm>
            <a:off x="10560290" y="4601901"/>
            <a:ext cx="1447615" cy="875996"/>
            <a:chOff x="8439044" y="4841586"/>
            <a:chExt cx="1447800" cy="876108"/>
          </a:xfrm>
        </p:grpSpPr>
        <p:sp>
          <p:nvSpPr>
            <p:cNvPr id="35" name="Rectangle 34"/>
            <p:cNvSpPr/>
            <p:nvPr/>
          </p:nvSpPr>
          <p:spPr bwMode="auto">
            <a:xfrm>
              <a:off x="8439044" y="4841586"/>
              <a:ext cx="1447800" cy="876108"/>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30" tIns="34966" rIns="34966" bIns="69930" numCol="1" spcCol="0" rtlCol="0" fromWordArt="0" anchor="ctr" anchorCtr="0" forceAA="0" compatLnSpc="1">
              <a:prstTxWarp prst="textNoShape">
                <a:avLst/>
              </a:prstTxWarp>
              <a:noAutofit/>
            </a:bodyPr>
            <a:lstStyle/>
            <a:p>
              <a:pPr defTabSz="699054" fontAlgn="base">
                <a:spcBef>
                  <a:spcPct val="0"/>
                </a:spcBef>
                <a:spcAft>
                  <a:spcPct val="0"/>
                </a:spcAft>
              </a:pPr>
              <a:r>
                <a:rPr lang="en-US" sz="1377" spc="-38" dirty="0">
                  <a:solidFill>
                    <a:schemeClr val="tx1"/>
                  </a:solidFill>
                  <a:ea typeface="Segoe UI" pitchFamily="34" charset="0"/>
                  <a:cs typeface="Segoe UI" pitchFamily="34" charset="0"/>
                </a:rPr>
                <a:t>Cache</a:t>
              </a:r>
            </a:p>
          </p:txBody>
        </p:sp>
        <p:pic>
          <p:nvPicPr>
            <p:cNvPr id="36" name="Picture 35"/>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9030353" y="4889495"/>
              <a:ext cx="780290" cy="780290"/>
            </a:xfrm>
            <a:prstGeom prst="rect">
              <a:avLst/>
            </a:prstGeom>
          </p:spPr>
        </p:pic>
      </p:grpSp>
      <p:sp>
        <p:nvSpPr>
          <p:cNvPr id="37" name="Content Placeholder 6"/>
          <p:cNvSpPr txBox="1">
            <a:spLocks/>
          </p:cNvSpPr>
          <p:nvPr/>
        </p:nvSpPr>
        <p:spPr>
          <a:xfrm>
            <a:off x="553269" y="1629222"/>
            <a:ext cx="4998624" cy="4991842"/>
          </a:xfrm>
          <a:prstGeom prst="rect">
            <a:avLst/>
          </a:prstGeom>
        </p:spPr>
        <p:txBody>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2900" lvl="1" indent="-342900" defTabSz="932594"/>
            <a:r>
              <a:rPr lang="en-US" dirty="0"/>
              <a:t>Scale – Partition storage</a:t>
            </a:r>
          </a:p>
          <a:p>
            <a:pPr marL="342900" lvl="1" indent="-342900" defTabSz="932594"/>
            <a:endParaRPr lang="en-US" dirty="0"/>
          </a:p>
          <a:p>
            <a:pPr marL="342900" lvl="1" indent="-342900" defTabSz="932594"/>
            <a:r>
              <a:rPr lang="en-US" dirty="0"/>
              <a:t>Reliability – Use queues</a:t>
            </a:r>
          </a:p>
          <a:p>
            <a:pPr marL="342900" lvl="1" indent="-342900" defTabSz="932594"/>
            <a:endParaRPr lang="en-US" dirty="0"/>
          </a:p>
          <a:p>
            <a:pPr marL="342900" lvl="1" indent="-342900" defTabSz="932594"/>
            <a:r>
              <a:rPr lang="en-US" dirty="0"/>
              <a:t>Latency – Use caches</a:t>
            </a:r>
          </a:p>
          <a:p>
            <a:pPr marL="342900" lvl="1" indent="-342900" defTabSz="932594"/>
            <a:endParaRPr lang="en-US" dirty="0"/>
          </a:p>
          <a:p>
            <a:pPr marL="342900" lvl="1" indent="-342900" defTabSz="932594"/>
            <a:r>
              <a:rPr lang="en-US" dirty="0"/>
              <a:t>State consistency – Manage tx</a:t>
            </a:r>
          </a:p>
          <a:p>
            <a:endParaRPr lang="en-US" sz="2400" dirty="0">
              <a:solidFill>
                <a:schemeClr val="tx1"/>
              </a:solidFill>
              <a:latin typeface="Segoe UI"/>
            </a:endParaRPr>
          </a:p>
        </p:txBody>
      </p:sp>
      <p:cxnSp>
        <p:nvCxnSpPr>
          <p:cNvPr id="38" name="Straight Arrow Connector 37"/>
          <p:cNvCxnSpPr/>
          <p:nvPr/>
        </p:nvCxnSpPr>
        <p:spPr>
          <a:xfrm>
            <a:off x="9722801" y="4413822"/>
            <a:ext cx="1282911" cy="1206938"/>
          </a:xfrm>
          <a:prstGeom prst="straightConnector1">
            <a:avLst/>
          </a:prstGeom>
          <a:ln w="50800">
            <a:solidFill>
              <a:srgbClr val="00B0F0"/>
            </a:solidFill>
            <a:tailEnd type="triangle"/>
          </a:ln>
        </p:spPr>
        <p:style>
          <a:lnRef idx="1">
            <a:schemeClr val="accent1"/>
          </a:lnRef>
          <a:fillRef idx="0">
            <a:schemeClr val="accent1"/>
          </a:fillRef>
          <a:effectRef idx="0">
            <a:schemeClr val="accent1"/>
          </a:effectRef>
          <a:fontRef idx="minor">
            <a:schemeClr val="tx1"/>
          </a:fontRef>
        </p:style>
      </p:cxnSp>
      <p:sp>
        <p:nvSpPr>
          <p:cNvPr id="39" name="TextBox 38"/>
          <p:cNvSpPr txBox="1"/>
          <p:nvPr/>
        </p:nvSpPr>
        <p:spPr>
          <a:xfrm>
            <a:off x="8164682" y="1509662"/>
            <a:ext cx="874287" cy="253329"/>
          </a:xfrm>
          <a:prstGeom prst="rect">
            <a:avLst/>
          </a:prstGeom>
          <a:noFill/>
          <a:ln>
            <a:noFill/>
          </a:ln>
        </p:spPr>
        <p:txBody>
          <a:bodyPr wrap="none" lIns="0" tIns="27428" rIns="0" bIns="0" rtlCol="0">
            <a:noAutofit/>
          </a:bodyPr>
          <a:lstStyle/>
          <a:p>
            <a:pPr algn="ctr">
              <a:lnSpc>
                <a:spcPts val="800"/>
              </a:lnSpc>
            </a:pPr>
            <a:r>
              <a:rPr lang="en-US" sz="1000" dirty="0">
                <a:ea typeface="Arial Unicode MS" panose="020B0604020202020204" pitchFamily="34" charset="-128"/>
                <a:cs typeface="Segoe UI" panose="020B0502040204020203" pitchFamily="34" charset="0"/>
              </a:rPr>
              <a:t>Load Balancer</a:t>
            </a:r>
          </a:p>
        </p:txBody>
      </p:sp>
      <p:sp>
        <p:nvSpPr>
          <p:cNvPr id="40" name="Rectangle 39"/>
          <p:cNvSpPr/>
          <p:nvPr/>
        </p:nvSpPr>
        <p:spPr>
          <a:xfrm>
            <a:off x="857218" y="5303236"/>
            <a:ext cx="4855141" cy="1077080"/>
          </a:xfrm>
          <a:prstGeom prst="rect">
            <a:avLst/>
          </a:prstGeom>
        </p:spPr>
        <p:txBody>
          <a:bodyPr wrap="square">
            <a:spAutoFit/>
          </a:bodyPr>
          <a:lstStyle/>
          <a:p>
            <a:r>
              <a:rPr lang="en-US" sz="3200" dirty="0">
                <a:solidFill>
                  <a:schemeClr val="tx2"/>
                </a:solidFill>
                <a:latin typeface="+mj-lt"/>
              </a:rPr>
              <a:t>Many moving parts managed differently</a:t>
            </a:r>
          </a:p>
        </p:txBody>
      </p:sp>
    </p:spTree>
    <p:extLst>
      <p:ext uri="{BB962C8B-B14F-4D97-AF65-F5344CB8AC3E}">
        <p14:creationId xmlns:p14="http://schemas.microsoft.com/office/powerpoint/2010/main" val="396292866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1"/>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4"/>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37">
                                            <p:txEl>
                                              <p:pRg st="0" end="0"/>
                                            </p:txEl>
                                          </p:spTgt>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3"/>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32"/>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33"/>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38"/>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29"/>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30"/>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31"/>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37">
                                            <p:txEl>
                                              <p:pRg st="2" end="2"/>
                                            </p:txEl>
                                          </p:spTgt>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27"/>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28"/>
                                        </p:tgtEl>
                                        <p:attrNameLst>
                                          <p:attrName>style.visibility</p:attrName>
                                        </p:attrNameLst>
                                      </p:cBhvr>
                                      <p:to>
                                        <p:strVal val="visible"/>
                                      </p:to>
                                    </p:set>
                                  </p:childTnLst>
                                </p:cTn>
                              </p:par>
                              <p:par>
                                <p:cTn id="35" presetID="1" presetClass="entr" presetSubtype="0" fill="hold" nodeType="withEffect">
                                  <p:stCondLst>
                                    <p:cond delay="0"/>
                                  </p:stCondLst>
                                  <p:childTnLst>
                                    <p:set>
                                      <p:cBhvr>
                                        <p:cTn id="36" dur="1" fill="hold">
                                          <p:stCondLst>
                                            <p:cond delay="0"/>
                                          </p:stCondLst>
                                        </p:cTn>
                                        <p:tgtEl>
                                          <p:spTgt spid="4"/>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nodeType="clickEffect">
                                  <p:stCondLst>
                                    <p:cond delay="0"/>
                                  </p:stCondLst>
                                  <p:childTnLst>
                                    <p:set>
                                      <p:cBhvr>
                                        <p:cTn id="42" dur="1" fill="hold">
                                          <p:stCondLst>
                                            <p:cond delay="0"/>
                                          </p:stCondLst>
                                        </p:cTn>
                                        <p:tgtEl>
                                          <p:spTgt spid="25"/>
                                        </p:tgtEl>
                                        <p:attrNameLst>
                                          <p:attrName>style.visibility</p:attrName>
                                        </p:attrNameLst>
                                      </p:cBhvr>
                                      <p:to>
                                        <p:strVal val="visible"/>
                                      </p:to>
                                    </p:set>
                                  </p:childTnLst>
                                </p:cTn>
                              </p:par>
                              <p:par>
                                <p:cTn id="43" presetID="1" presetClass="entr" presetSubtype="0" fill="hold" nodeType="withEffect">
                                  <p:stCondLst>
                                    <p:cond delay="0"/>
                                  </p:stCondLst>
                                  <p:childTnLst>
                                    <p:set>
                                      <p:cBhvr>
                                        <p:cTn id="44" dur="1" fill="hold">
                                          <p:stCondLst>
                                            <p:cond delay="0"/>
                                          </p:stCondLst>
                                        </p:cTn>
                                        <p:tgtEl>
                                          <p:spTgt spid="13"/>
                                        </p:tgtEl>
                                        <p:attrNameLst>
                                          <p:attrName>style.visibility</p:attrName>
                                        </p:attrNameLst>
                                      </p:cBhvr>
                                      <p:to>
                                        <p:strVal val="visible"/>
                                      </p:to>
                                    </p:set>
                                  </p:childTnLst>
                                </p:cTn>
                              </p:par>
                              <p:par>
                                <p:cTn id="45" presetID="1" presetClass="entr" presetSubtype="0" fill="hold" nodeType="withEffect">
                                  <p:stCondLst>
                                    <p:cond delay="0"/>
                                  </p:stCondLst>
                                  <p:childTnLst>
                                    <p:set>
                                      <p:cBhvr>
                                        <p:cTn id="46" dur="1" fill="hold">
                                          <p:stCondLst>
                                            <p:cond delay="0"/>
                                          </p:stCondLst>
                                        </p:cTn>
                                        <p:tgtEl>
                                          <p:spTgt spid="26"/>
                                        </p:tgtEl>
                                        <p:attrNameLst>
                                          <p:attrName>style.visibility</p:attrName>
                                        </p:attrNameLst>
                                      </p:cBhvr>
                                      <p:to>
                                        <p:strVal val="visible"/>
                                      </p:to>
                                    </p:set>
                                  </p:childTnLst>
                                </p:cTn>
                              </p:par>
                            </p:childTnLst>
                          </p:cTn>
                        </p:par>
                      </p:childTnLst>
                    </p:cTn>
                  </p:par>
                  <p:par>
                    <p:cTn id="47" fill="hold">
                      <p:stCondLst>
                        <p:cond delay="indefinite"/>
                      </p:stCondLst>
                      <p:childTnLst>
                        <p:par>
                          <p:cTn id="48" fill="hold">
                            <p:stCondLst>
                              <p:cond delay="0"/>
                            </p:stCondLst>
                            <p:childTnLst>
                              <p:par>
                                <p:cTn id="49" presetID="1" presetClass="entr" presetSubtype="0" fill="hold" nodeType="clickEffect">
                                  <p:stCondLst>
                                    <p:cond delay="0"/>
                                  </p:stCondLst>
                                  <p:childTnLst>
                                    <p:set>
                                      <p:cBhvr>
                                        <p:cTn id="50" dur="1" fill="hold">
                                          <p:stCondLst>
                                            <p:cond delay="0"/>
                                          </p:stCondLst>
                                        </p:cTn>
                                        <p:tgtEl>
                                          <p:spTgt spid="37">
                                            <p:txEl>
                                              <p:pRg st="4" end="4"/>
                                            </p:txEl>
                                          </p:spTgt>
                                        </p:tgtEl>
                                        <p:attrNameLst>
                                          <p:attrName>style.visibility</p:attrName>
                                        </p:attrNameLst>
                                      </p:cBhvr>
                                      <p:to>
                                        <p:strVal val="visible"/>
                                      </p:to>
                                    </p:set>
                                  </p:childTnLst>
                                </p:cTn>
                              </p:par>
                              <p:par>
                                <p:cTn id="51" presetID="1" presetClass="entr" presetSubtype="0" fill="hold" nodeType="withEffect">
                                  <p:stCondLst>
                                    <p:cond delay="0"/>
                                  </p:stCondLst>
                                  <p:childTnLst>
                                    <p:set>
                                      <p:cBhvr>
                                        <p:cTn id="52" dur="1" fill="hold">
                                          <p:stCondLst>
                                            <p:cond delay="0"/>
                                          </p:stCondLst>
                                        </p:cTn>
                                        <p:tgtEl>
                                          <p:spTgt spid="34"/>
                                        </p:tgtEl>
                                        <p:attrNameLst>
                                          <p:attrName>style.visibility</p:attrName>
                                        </p:attrNameLst>
                                      </p:cBhvr>
                                      <p:to>
                                        <p:strVal val="visible"/>
                                      </p:to>
                                    </p:set>
                                  </p:childTnLst>
                                </p:cTn>
                              </p:par>
                            </p:childTnLst>
                          </p:cTn>
                        </p:par>
                      </p:childTnLst>
                    </p:cTn>
                  </p:par>
                  <p:par>
                    <p:cTn id="53" fill="hold">
                      <p:stCondLst>
                        <p:cond delay="indefinite"/>
                      </p:stCondLst>
                      <p:childTnLst>
                        <p:par>
                          <p:cTn id="54" fill="hold">
                            <p:stCondLst>
                              <p:cond delay="0"/>
                            </p:stCondLst>
                            <p:childTnLst>
                              <p:par>
                                <p:cTn id="55" presetID="1" presetClass="entr" presetSubtype="0" fill="hold" nodeType="clickEffect">
                                  <p:stCondLst>
                                    <p:cond delay="0"/>
                                  </p:stCondLst>
                                  <p:childTnLst>
                                    <p:set>
                                      <p:cBhvr>
                                        <p:cTn id="56" dur="1" fill="hold">
                                          <p:stCondLst>
                                            <p:cond delay="0"/>
                                          </p:stCondLst>
                                        </p:cTn>
                                        <p:tgtEl>
                                          <p:spTgt spid="37">
                                            <p:txEl>
                                              <p:pRg st="6" end="6"/>
                                            </p:txEl>
                                          </p:spTgt>
                                        </p:tgtEl>
                                        <p:attrNameLst>
                                          <p:attrName>style.visibility</p:attrName>
                                        </p:attrNameLst>
                                      </p:cBhvr>
                                      <p:to>
                                        <p:strVal val="visible"/>
                                      </p:to>
                                    </p:set>
                                  </p:childTnLst>
                                </p:cTn>
                              </p:par>
                            </p:childTnLst>
                          </p:cTn>
                        </p:par>
                      </p:childTnLst>
                    </p:cTn>
                  </p:par>
                  <p:par>
                    <p:cTn id="57" fill="hold">
                      <p:stCondLst>
                        <p:cond delay="indefinite"/>
                      </p:stCondLst>
                      <p:childTnLst>
                        <p:par>
                          <p:cTn id="58" fill="hold">
                            <p:stCondLst>
                              <p:cond delay="0"/>
                            </p:stCondLst>
                            <p:childTnLst>
                              <p:par>
                                <p:cTn id="59" presetID="1" presetClass="entr" presetSubtype="0" fill="hold" grpId="0" nodeType="clickEffect">
                                  <p:stCondLst>
                                    <p:cond delay="0"/>
                                  </p:stCondLst>
                                  <p:childTnLst>
                                    <p:set>
                                      <p:cBhvr>
                                        <p:cTn id="60" dur="1" fill="hold">
                                          <p:stCondLst>
                                            <p:cond delay="0"/>
                                          </p:stCondLst>
                                        </p:cTn>
                                        <p:tgtEl>
                                          <p:spTgt spid="4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40"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366168" y="1212851"/>
            <a:ext cx="11702553" cy="4364272"/>
          </a:xfrm>
        </p:spPr>
        <p:txBody>
          <a:bodyPr/>
          <a:lstStyle/>
          <a:p>
            <a:pPr marL="0" indent="0">
              <a:buNone/>
            </a:pPr>
            <a:r>
              <a:rPr lang="en-US" dirty="0"/>
              <a:t>Familiar and fast</a:t>
            </a:r>
            <a:endParaRPr lang="en-US" sz="1050" dirty="0">
              <a:solidFill>
                <a:schemeClr val="tx1"/>
              </a:solidFill>
            </a:endParaRPr>
          </a:p>
          <a:p>
            <a:pPr marL="342900" lvl="1" indent="-342900"/>
            <a:r>
              <a:rPr lang="en-US" dirty="0"/>
              <a:t>Leverage existing skills in languages, frameworks, etc.</a:t>
            </a:r>
          </a:p>
          <a:p>
            <a:pPr marL="342900" lvl="1" indent="-342900"/>
            <a:r>
              <a:rPr lang="en-US" dirty="0"/>
              <a:t>Easily add versioning, SSO, monitoring, etc.</a:t>
            </a:r>
          </a:p>
          <a:p>
            <a:pPr marL="342900" lvl="1" indent="-342900"/>
            <a:r>
              <a:rPr lang="en-US" dirty="0"/>
              <a:t>Gallery contains common building blocks/templates</a:t>
            </a:r>
          </a:p>
          <a:p>
            <a:pPr marL="0" indent="0">
              <a:buNone/>
            </a:pPr>
            <a:r>
              <a:rPr lang="en-US" dirty="0"/>
              <a:t>Enterprise grade</a:t>
            </a:r>
            <a:endParaRPr lang="en-US" sz="1050" dirty="0">
              <a:solidFill>
                <a:schemeClr val="tx1"/>
              </a:solidFill>
            </a:endParaRPr>
          </a:p>
          <a:p>
            <a:pPr marL="342900" lvl="1" indent="-342900"/>
            <a:r>
              <a:rPr lang="en-US" dirty="0"/>
              <a:t>Securely connect to on-premises resources with AD integration</a:t>
            </a:r>
          </a:p>
          <a:p>
            <a:pPr marL="342900" lvl="1" indent="-342900"/>
            <a:r>
              <a:rPr lang="en-US" dirty="0"/>
              <a:t>Compliance – ISO, SOC2, PCI</a:t>
            </a:r>
          </a:p>
          <a:p>
            <a:pPr marL="342900" lvl="1" indent="-342900"/>
            <a:r>
              <a:rPr lang="en-US" dirty="0"/>
              <a:t>Enterprise-level SLAs</a:t>
            </a:r>
          </a:p>
          <a:p>
            <a:pPr marL="0" indent="0">
              <a:buNone/>
            </a:pPr>
            <a:r>
              <a:rPr lang="en-US" dirty="0"/>
              <a:t>Global scale</a:t>
            </a:r>
          </a:p>
          <a:p>
            <a:pPr marL="342900" lvl="1" indent="-342900"/>
            <a:r>
              <a:rPr lang="en-US" dirty="0"/>
              <a:t>Auto scaling within and across different geographical regions</a:t>
            </a:r>
          </a:p>
        </p:txBody>
      </p:sp>
      <p:sp>
        <p:nvSpPr>
          <p:cNvPr id="2" name="Title 1"/>
          <p:cNvSpPr>
            <a:spLocks noGrp="1"/>
          </p:cNvSpPr>
          <p:nvPr>
            <p:ph type="title"/>
          </p:nvPr>
        </p:nvSpPr>
        <p:spPr/>
        <p:txBody>
          <a:bodyPr/>
          <a:lstStyle/>
          <a:p>
            <a:r>
              <a:rPr lang="en-US" dirty="0"/>
              <a:t>Overview</a:t>
            </a:r>
          </a:p>
        </p:txBody>
      </p:sp>
    </p:spTree>
    <p:extLst>
      <p:ext uri="{BB962C8B-B14F-4D97-AF65-F5344CB8AC3E}">
        <p14:creationId xmlns:p14="http://schemas.microsoft.com/office/powerpoint/2010/main" val="151067668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2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Title 4"/>
          <p:cNvSpPr>
            <a:spLocks noGrp="1"/>
          </p:cNvSpPr>
          <p:nvPr>
            <p:ph type="title"/>
          </p:nvPr>
        </p:nvSpPr>
        <p:spPr>
          <a:xfrm>
            <a:off x="366169" y="295278"/>
            <a:ext cx="11702551" cy="917575"/>
          </a:xfrm>
        </p:spPr>
        <p:txBody>
          <a:bodyPr/>
          <a:lstStyle/>
          <a:p>
            <a:r>
              <a:rPr lang="en-US" dirty="0"/>
              <a:t>An alternative approach – </a:t>
            </a:r>
            <a:r>
              <a:rPr lang="en-US" dirty="0" err="1"/>
              <a:t>Stateful</a:t>
            </a:r>
            <a:r>
              <a:rPr lang="en-US" dirty="0"/>
              <a:t> services</a:t>
            </a:r>
          </a:p>
        </p:txBody>
      </p:sp>
      <p:sp>
        <p:nvSpPr>
          <p:cNvPr id="3" name="Rectangle 2"/>
          <p:cNvSpPr/>
          <p:nvPr/>
        </p:nvSpPr>
        <p:spPr bwMode="auto">
          <a:xfrm>
            <a:off x="6005583" y="3887877"/>
            <a:ext cx="5853654" cy="101293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30" tIns="34966" rIns="34966" bIns="69930" numCol="1" spcCol="0" rtlCol="0" fromWordArt="0" anchor="ctr" anchorCtr="0" forceAA="0" compatLnSpc="1">
            <a:prstTxWarp prst="textNoShape">
              <a:avLst/>
            </a:prstTxWarp>
            <a:noAutofit/>
          </a:bodyPr>
          <a:lstStyle/>
          <a:p>
            <a:pPr defTabSz="699054" fontAlgn="base">
              <a:spcBef>
                <a:spcPct val="0"/>
              </a:spcBef>
              <a:spcAft>
                <a:spcPct val="0"/>
              </a:spcAft>
            </a:pPr>
            <a:r>
              <a:rPr lang="en-US" sz="1377" spc="-38" dirty="0">
                <a:solidFill>
                  <a:schemeClr val="tx1"/>
                </a:solidFill>
                <a:ea typeface="Segoe UI" pitchFamily="34" charset="0"/>
                <a:cs typeface="Segoe UI" pitchFamily="34" charset="0"/>
              </a:rPr>
              <a:t>Stateful</a:t>
            </a:r>
          </a:p>
          <a:p>
            <a:pPr defTabSz="699054" fontAlgn="base">
              <a:spcBef>
                <a:spcPct val="0"/>
              </a:spcBef>
              <a:spcAft>
                <a:spcPct val="0"/>
              </a:spcAft>
            </a:pPr>
            <a:r>
              <a:rPr lang="en-US" sz="1377" spc="-38" dirty="0">
                <a:solidFill>
                  <a:schemeClr val="tx1"/>
                </a:solidFill>
                <a:ea typeface="Segoe UI" pitchFamily="34" charset="0"/>
                <a:cs typeface="Segoe UI" pitchFamily="34" charset="0"/>
              </a:rPr>
              <a:t>middle-tier</a:t>
            </a:r>
          </a:p>
          <a:p>
            <a:pPr defTabSz="699054" fontAlgn="base">
              <a:spcBef>
                <a:spcPct val="0"/>
              </a:spcBef>
              <a:spcAft>
                <a:spcPct val="0"/>
              </a:spcAft>
            </a:pPr>
            <a:r>
              <a:rPr lang="en-US" sz="1377" spc="-38" dirty="0">
                <a:solidFill>
                  <a:schemeClr val="tx1"/>
                </a:solidFill>
                <a:ea typeface="Segoe UI" pitchFamily="34" charset="0"/>
                <a:cs typeface="Segoe UI" pitchFamily="34" charset="0"/>
              </a:rPr>
              <a:t>compute</a:t>
            </a:r>
          </a:p>
        </p:txBody>
      </p:sp>
      <p:pic>
        <p:nvPicPr>
          <p:cNvPr id="4" name="Picture 3"/>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8596053" y="1042269"/>
            <a:ext cx="840578" cy="840578"/>
          </a:xfrm>
          <a:prstGeom prst="rect">
            <a:avLst/>
          </a:prstGeom>
        </p:spPr>
      </p:pic>
      <p:grpSp>
        <p:nvGrpSpPr>
          <p:cNvPr id="6" name="Group 5"/>
          <p:cNvGrpSpPr/>
          <p:nvPr/>
        </p:nvGrpSpPr>
        <p:grpSpPr>
          <a:xfrm>
            <a:off x="6005583" y="2202027"/>
            <a:ext cx="5853654" cy="875996"/>
            <a:chOff x="3246437" y="2183594"/>
            <a:chExt cx="5854401" cy="876108"/>
          </a:xfrm>
        </p:grpSpPr>
        <p:sp>
          <p:nvSpPr>
            <p:cNvPr id="7" name="Rectangle 6"/>
            <p:cNvSpPr/>
            <p:nvPr/>
          </p:nvSpPr>
          <p:spPr bwMode="auto">
            <a:xfrm>
              <a:off x="3246437" y="2183594"/>
              <a:ext cx="5854401" cy="876108"/>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30" tIns="34966" rIns="34966" bIns="69930" numCol="1" spcCol="0" rtlCol="0" fromWordArt="0" anchor="ctr" anchorCtr="0" forceAA="0" compatLnSpc="1">
              <a:prstTxWarp prst="textNoShape">
                <a:avLst/>
              </a:prstTxWarp>
              <a:noAutofit/>
            </a:bodyPr>
            <a:lstStyle/>
            <a:p>
              <a:pPr defTabSz="699054" fontAlgn="base">
                <a:spcBef>
                  <a:spcPct val="0"/>
                </a:spcBef>
                <a:spcAft>
                  <a:spcPct val="0"/>
                </a:spcAft>
              </a:pPr>
              <a:r>
                <a:rPr lang="en-US" sz="1377" spc="-38" dirty="0">
                  <a:solidFill>
                    <a:schemeClr val="tx1"/>
                  </a:solidFill>
                  <a:ea typeface="Segoe UI" pitchFamily="34" charset="0"/>
                  <a:cs typeface="Segoe UI" pitchFamily="34" charset="0"/>
                </a:rPr>
                <a:t>Front-end</a:t>
              </a:r>
            </a:p>
            <a:p>
              <a:pPr defTabSz="699054" fontAlgn="base">
                <a:spcBef>
                  <a:spcPct val="0"/>
                </a:spcBef>
                <a:spcAft>
                  <a:spcPct val="0"/>
                </a:spcAft>
              </a:pPr>
              <a:r>
                <a:rPr lang="en-US" sz="1377" spc="-38" dirty="0">
                  <a:solidFill>
                    <a:schemeClr val="tx1"/>
                  </a:solidFill>
                  <a:ea typeface="Segoe UI" pitchFamily="34" charset="0"/>
                  <a:cs typeface="Segoe UI" pitchFamily="34" charset="0"/>
                </a:rPr>
                <a:t>(stateless</a:t>
              </a:r>
            </a:p>
            <a:p>
              <a:pPr defTabSz="699054" fontAlgn="base">
                <a:spcBef>
                  <a:spcPct val="0"/>
                </a:spcBef>
                <a:spcAft>
                  <a:spcPct val="0"/>
                </a:spcAft>
              </a:pPr>
              <a:r>
                <a:rPr lang="en-US" sz="1377" spc="-38" dirty="0">
                  <a:solidFill>
                    <a:schemeClr val="tx1"/>
                  </a:solidFill>
                  <a:ea typeface="Segoe UI" pitchFamily="34" charset="0"/>
                  <a:cs typeface="Segoe UI" pitchFamily="34" charset="0"/>
                </a:rPr>
                <a:t>web)</a:t>
              </a:r>
            </a:p>
          </p:txBody>
        </p:sp>
        <p:pic>
          <p:nvPicPr>
            <p:cNvPr id="8" name="Picture 7"/>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4473381" y="2221625"/>
              <a:ext cx="780290" cy="780290"/>
            </a:xfrm>
            <a:prstGeom prst="rect">
              <a:avLst/>
            </a:prstGeom>
          </p:spPr>
        </p:pic>
        <p:pic>
          <p:nvPicPr>
            <p:cNvPr id="9" name="Picture 8"/>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5785584" y="2221625"/>
              <a:ext cx="780290" cy="780290"/>
            </a:xfrm>
            <a:prstGeom prst="rect">
              <a:avLst/>
            </a:prstGeom>
          </p:spPr>
        </p:pic>
        <p:pic>
          <p:nvPicPr>
            <p:cNvPr id="10" name="Picture 9"/>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7190547" y="2221625"/>
              <a:ext cx="780290" cy="780290"/>
            </a:xfrm>
            <a:prstGeom prst="rect">
              <a:avLst/>
            </a:prstGeom>
          </p:spPr>
        </p:pic>
      </p:grpSp>
      <p:cxnSp>
        <p:nvCxnSpPr>
          <p:cNvPr id="11" name="Straight Arrow Connector 10"/>
          <p:cNvCxnSpPr>
            <a:endCxn id="8" idx="0"/>
          </p:cNvCxnSpPr>
          <p:nvPr/>
        </p:nvCxnSpPr>
        <p:spPr>
          <a:xfrm flipH="1">
            <a:off x="7622466" y="1917950"/>
            <a:ext cx="1226787" cy="322104"/>
          </a:xfrm>
          <a:prstGeom prst="straightConnector1">
            <a:avLst/>
          </a:prstGeom>
          <a:ln w="50800">
            <a:solidFill>
              <a:srgbClr val="00B0F0"/>
            </a:solidFill>
            <a:tailEnd type="triangle"/>
          </a:ln>
        </p:spPr>
        <p:style>
          <a:lnRef idx="1">
            <a:schemeClr val="accent1"/>
          </a:lnRef>
          <a:fillRef idx="0">
            <a:schemeClr val="accent1"/>
          </a:fillRef>
          <a:effectRef idx="0">
            <a:schemeClr val="accent1"/>
          </a:effectRef>
          <a:fontRef idx="minor">
            <a:schemeClr val="tx1"/>
          </a:fontRef>
        </p:style>
      </p:cxnSp>
      <p:cxnSp>
        <p:nvCxnSpPr>
          <p:cNvPr id="12" name="Straight Arrow Connector 11"/>
          <p:cNvCxnSpPr>
            <a:endCxn id="10" idx="0"/>
          </p:cNvCxnSpPr>
          <p:nvPr/>
        </p:nvCxnSpPr>
        <p:spPr>
          <a:xfrm>
            <a:off x="9239348" y="1917950"/>
            <a:ext cx="1099937" cy="322104"/>
          </a:xfrm>
          <a:prstGeom prst="straightConnector1">
            <a:avLst/>
          </a:prstGeom>
          <a:ln w="50800">
            <a:solidFill>
              <a:srgbClr val="00B0F0"/>
            </a:solidFill>
            <a:tailEnd type="triangle"/>
          </a:ln>
        </p:spPr>
        <p:style>
          <a:lnRef idx="1">
            <a:schemeClr val="accent1"/>
          </a:lnRef>
          <a:fillRef idx="0">
            <a:schemeClr val="accent1"/>
          </a:fillRef>
          <a:effectRef idx="0">
            <a:schemeClr val="accent1"/>
          </a:effectRef>
          <a:fontRef idx="minor">
            <a:schemeClr val="tx1"/>
          </a:fontRef>
        </p:style>
      </p:cxnSp>
      <p:cxnSp>
        <p:nvCxnSpPr>
          <p:cNvPr id="13" name="Straight Arrow Connector 12"/>
          <p:cNvCxnSpPr/>
          <p:nvPr/>
        </p:nvCxnSpPr>
        <p:spPr>
          <a:xfrm>
            <a:off x="8975532" y="1934098"/>
            <a:ext cx="5312" cy="350049"/>
          </a:xfrm>
          <a:prstGeom prst="straightConnector1">
            <a:avLst/>
          </a:prstGeom>
          <a:ln w="50800">
            <a:solidFill>
              <a:srgbClr val="00B0F0"/>
            </a:solidFill>
            <a:tailEnd type="triangle"/>
          </a:ln>
        </p:spPr>
        <p:style>
          <a:lnRef idx="1">
            <a:schemeClr val="accent1"/>
          </a:lnRef>
          <a:fillRef idx="0">
            <a:schemeClr val="accent1"/>
          </a:fillRef>
          <a:effectRef idx="0">
            <a:schemeClr val="accent1"/>
          </a:effectRef>
          <a:fontRef idx="minor">
            <a:schemeClr val="tx1"/>
          </a:fontRef>
        </p:style>
      </p:cxnSp>
      <p:cxnSp>
        <p:nvCxnSpPr>
          <p:cNvPr id="14" name="Straight Arrow Connector 13"/>
          <p:cNvCxnSpPr/>
          <p:nvPr/>
        </p:nvCxnSpPr>
        <p:spPr>
          <a:xfrm>
            <a:off x="8932409" y="2982196"/>
            <a:ext cx="0" cy="991354"/>
          </a:xfrm>
          <a:prstGeom prst="straightConnector1">
            <a:avLst/>
          </a:prstGeom>
          <a:ln w="50800">
            <a:solidFill>
              <a:srgbClr val="00B0F0"/>
            </a:solidFill>
            <a:tailEnd type="triangle"/>
          </a:ln>
        </p:spPr>
        <p:style>
          <a:lnRef idx="1">
            <a:schemeClr val="accent1"/>
          </a:lnRef>
          <a:fillRef idx="0">
            <a:schemeClr val="accent1"/>
          </a:fillRef>
          <a:effectRef idx="0">
            <a:schemeClr val="accent1"/>
          </a:effectRef>
          <a:fontRef idx="minor">
            <a:schemeClr val="tx1"/>
          </a:fontRef>
        </p:style>
      </p:cxnSp>
      <p:cxnSp>
        <p:nvCxnSpPr>
          <p:cNvPr id="15" name="Straight Arrow Connector 14"/>
          <p:cNvCxnSpPr/>
          <p:nvPr/>
        </p:nvCxnSpPr>
        <p:spPr>
          <a:xfrm>
            <a:off x="7605579" y="2982196"/>
            <a:ext cx="0" cy="991354"/>
          </a:xfrm>
          <a:prstGeom prst="straightConnector1">
            <a:avLst/>
          </a:prstGeom>
          <a:ln w="50800">
            <a:solidFill>
              <a:srgbClr val="00B0F0"/>
            </a:solidFill>
            <a:tailEnd type="triangle"/>
          </a:ln>
        </p:spPr>
        <p:style>
          <a:lnRef idx="1">
            <a:schemeClr val="accent1"/>
          </a:lnRef>
          <a:fillRef idx="0">
            <a:schemeClr val="accent1"/>
          </a:fillRef>
          <a:effectRef idx="0">
            <a:schemeClr val="accent1"/>
          </a:effectRef>
          <a:fontRef idx="minor">
            <a:schemeClr val="tx1"/>
          </a:fontRef>
        </p:style>
      </p:cxnSp>
      <p:cxnSp>
        <p:nvCxnSpPr>
          <p:cNvPr id="16" name="Straight Arrow Connector 15"/>
          <p:cNvCxnSpPr/>
          <p:nvPr/>
        </p:nvCxnSpPr>
        <p:spPr>
          <a:xfrm>
            <a:off x="10348429" y="2982196"/>
            <a:ext cx="0" cy="991354"/>
          </a:xfrm>
          <a:prstGeom prst="straightConnector1">
            <a:avLst/>
          </a:prstGeom>
          <a:ln w="50800">
            <a:solidFill>
              <a:srgbClr val="00B0F0"/>
            </a:solidFill>
            <a:tailEnd type="triangle"/>
          </a:ln>
        </p:spPr>
        <p:style>
          <a:lnRef idx="1">
            <a:schemeClr val="accent1"/>
          </a:lnRef>
          <a:fillRef idx="0">
            <a:schemeClr val="accent1"/>
          </a:fillRef>
          <a:effectRef idx="0">
            <a:schemeClr val="accent1"/>
          </a:effectRef>
          <a:fontRef idx="minor">
            <a:schemeClr val="tx1"/>
          </a:fontRef>
        </p:style>
      </p:cxnSp>
      <p:pic>
        <p:nvPicPr>
          <p:cNvPr id="17" name="Picture 16"/>
          <p:cNvPicPr>
            <a:picLocks noChangeAspect="1"/>
          </p:cNvPicPr>
          <p:nvPr/>
        </p:nvPicPr>
        <p:blipFill>
          <a:blip r:embed="rId5" cstate="screen">
            <a:duotone>
              <a:schemeClr val="accent2">
                <a:shade val="45000"/>
                <a:satMod val="135000"/>
              </a:schemeClr>
              <a:prstClr val="white"/>
            </a:duotone>
            <a:extLst>
              <a:ext uri="{28A0092B-C50C-407E-A947-70E740481C1C}">
                <a14:useLocalDpi xmlns:a14="http://schemas.microsoft.com/office/drawing/2010/main"/>
              </a:ext>
            </a:extLst>
          </a:blip>
          <a:stretch>
            <a:fillRect/>
          </a:stretch>
        </p:blipFill>
        <p:spPr>
          <a:xfrm>
            <a:off x="8179375" y="6087710"/>
            <a:ext cx="654117" cy="654117"/>
          </a:xfrm>
          <a:prstGeom prst="rect">
            <a:avLst/>
          </a:prstGeom>
        </p:spPr>
      </p:pic>
      <p:pic>
        <p:nvPicPr>
          <p:cNvPr id="18" name="Picture 17"/>
          <p:cNvPicPr>
            <a:picLocks noChangeAspect="1"/>
          </p:cNvPicPr>
          <p:nvPr/>
        </p:nvPicPr>
        <p:blipFill>
          <a:blip r:embed="rId5" cstate="screen">
            <a:duotone>
              <a:schemeClr val="accent2">
                <a:shade val="45000"/>
                <a:satMod val="135000"/>
              </a:schemeClr>
              <a:prstClr val="white"/>
            </a:duotone>
            <a:extLst>
              <a:ext uri="{28A0092B-C50C-407E-A947-70E740481C1C}">
                <a14:useLocalDpi xmlns:a14="http://schemas.microsoft.com/office/drawing/2010/main"/>
              </a:ext>
            </a:extLst>
          </a:blip>
          <a:stretch>
            <a:fillRect/>
          </a:stretch>
        </p:blipFill>
        <p:spPr>
          <a:xfrm>
            <a:off x="9042721" y="6087710"/>
            <a:ext cx="654117" cy="654117"/>
          </a:xfrm>
          <a:prstGeom prst="rect">
            <a:avLst/>
          </a:prstGeom>
        </p:spPr>
      </p:pic>
      <p:sp>
        <p:nvSpPr>
          <p:cNvPr id="19" name="Right Arrow 40"/>
          <p:cNvSpPr/>
          <p:nvPr/>
        </p:nvSpPr>
        <p:spPr>
          <a:xfrm rot="5400000">
            <a:off x="8664904" y="4997545"/>
            <a:ext cx="535011" cy="540705"/>
          </a:xfrm>
          <a:prstGeom prst="rightArrow">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99446"/>
            <a:endParaRPr lang="en-US" sz="1377">
              <a:solidFill>
                <a:schemeClr val="tx1"/>
              </a:solidFill>
            </a:endParaRPr>
          </a:p>
        </p:txBody>
      </p:sp>
      <p:sp>
        <p:nvSpPr>
          <p:cNvPr id="20" name="TextBox 19"/>
          <p:cNvSpPr txBox="1"/>
          <p:nvPr/>
        </p:nvSpPr>
        <p:spPr>
          <a:xfrm>
            <a:off x="5870609" y="5515318"/>
            <a:ext cx="6291463" cy="572391"/>
          </a:xfrm>
          <a:prstGeom prst="rect">
            <a:avLst/>
          </a:prstGeom>
          <a:noFill/>
        </p:spPr>
        <p:txBody>
          <a:bodyPr wrap="square" lIns="182857" tIns="146285" rIns="182857" bIns="146285" rtlCol="0">
            <a:spAutoFit/>
          </a:bodyPr>
          <a:lstStyle/>
          <a:p>
            <a:pPr>
              <a:lnSpc>
                <a:spcPct val="90000"/>
              </a:lnSpc>
              <a:spcAft>
                <a:spcPts val="600"/>
              </a:spcAft>
            </a:pPr>
            <a:r>
              <a:rPr lang="en-US" sz="2000" dirty="0"/>
              <a:t>Data stores used for analytics and disaster recovery</a:t>
            </a:r>
          </a:p>
        </p:txBody>
      </p:sp>
      <p:sp>
        <p:nvSpPr>
          <p:cNvPr id="21" name="Content Placeholder 6"/>
          <p:cNvSpPr txBox="1">
            <a:spLocks/>
          </p:cNvSpPr>
          <p:nvPr/>
        </p:nvSpPr>
        <p:spPr>
          <a:xfrm>
            <a:off x="429361" y="1794001"/>
            <a:ext cx="5627156" cy="5180938"/>
          </a:xfrm>
          <a:prstGeom prst="rect">
            <a:avLst/>
          </a:prstGeom>
        </p:spPr>
        <p:txBody>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400" dirty="0">
                <a:solidFill>
                  <a:schemeClr val="tx1"/>
                </a:solidFill>
                <a:latin typeface="Segoe UI"/>
              </a:rPr>
              <a:t>Latency – App state </a:t>
            </a:r>
            <a:br>
              <a:rPr lang="en-US" sz="2400" dirty="0">
                <a:solidFill>
                  <a:schemeClr val="tx1"/>
                </a:solidFill>
                <a:latin typeface="Segoe UI"/>
              </a:rPr>
            </a:br>
            <a:r>
              <a:rPr lang="en-US" sz="2400" dirty="0">
                <a:solidFill>
                  <a:schemeClr val="tx2"/>
                </a:solidFill>
                <a:latin typeface="Segoe UI Semibold" panose="020B0702040204020203" pitchFamily="34" charset="0"/>
                <a:cs typeface="Segoe UI Semibold" panose="020B0702040204020203" pitchFamily="34" charset="0"/>
              </a:rPr>
              <a:t>is in the compute tier</a:t>
            </a:r>
          </a:p>
          <a:p>
            <a:endParaRPr lang="en-US" sz="2400" dirty="0">
              <a:solidFill>
                <a:schemeClr val="tx1"/>
              </a:solidFill>
              <a:latin typeface="Segoe UI"/>
            </a:endParaRPr>
          </a:p>
          <a:p>
            <a:r>
              <a:rPr lang="en-US" sz="2400" dirty="0">
                <a:solidFill>
                  <a:schemeClr val="tx1"/>
                </a:solidFill>
                <a:latin typeface="Segoe UI"/>
              </a:rPr>
              <a:t>Scale – First class partition support</a:t>
            </a:r>
          </a:p>
          <a:p>
            <a:endParaRPr lang="en-US" sz="2400" dirty="0">
              <a:solidFill>
                <a:schemeClr val="tx1"/>
              </a:solidFill>
              <a:latin typeface="Segoe UI"/>
            </a:endParaRPr>
          </a:p>
          <a:p>
            <a:r>
              <a:rPr lang="en-US" sz="2400" dirty="0">
                <a:solidFill>
                  <a:schemeClr val="tx1"/>
                </a:solidFill>
                <a:latin typeface="Segoe UI"/>
              </a:rPr>
              <a:t>Reliability – Inbuilt in platform</a:t>
            </a:r>
          </a:p>
          <a:p>
            <a:endParaRPr lang="en-US" sz="2400" dirty="0">
              <a:solidFill>
                <a:schemeClr val="tx1"/>
              </a:solidFill>
              <a:latin typeface="Segoe UI"/>
            </a:endParaRPr>
          </a:p>
          <a:p>
            <a:r>
              <a:rPr lang="en-US" sz="2400" dirty="0">
                <a:solidFill>
                  <a:schemeClr val="tx1"/>
                </a:solidFill>
                <a:latin typeface="Segoe UI"/>
              </a:rPr>
              <a:t>State consistency – Built-in transactions</a:t>
            </a:r>
          </a:p>
          <a:p>
            <a:endParaRPr lang="en-US" sz="2400" dirty="0">
              <a:solidFill>
                <a:schemeClr val="tx1"/>
              </a:solidFill>
              <a:latin typeface="Segoe UI"/>
            </a:endParaRPr>
          </a:p>
          <a:p>
            <a:pPr marL="0" indent="0">
              <a:buNone/>
            </a:pPr>
            <a:endParaRPr lang="en-US" sz="2400" dirty="0">
              <a:solidFill>
                <a:schemeClr val="tx1"/>
              </a:solidFill>
              <a:latin typeface="Segoe UI"/>
            </a:endParaRPr>
          </a:p>
        </p:txBody>
      </p:sp>
      <p:sp>
        <p:nvSpPr>
          <p:cNvPr id="22" name="TextBox 21"/>
          <p:cNvSpPr txBox="1"/>
          <p:nvPr/>
        </p:nvSpPr>
        <p:spPr>
          <a:xfrm>
            <a:off x="8562343" y="1771462"/>
            <a:ext cx="874287" cy="253329"/>
          </a:xfrm>
          <a:prstGeom prst="rect">
            <a:avLst/>
          </a:prstGeom>
          <a:noFill/>
          <a:ln>
            <a:noFill/>
          </a:ln>
        </p:spPr>
        <p:txBody>
          <a:bodyPr wrap="none" lIns="0" tIns="27428" rIns="0" bIns="0" rtlCol="0">
            <a:noAutofit/>
          </a:bodyPr>
          <a:lstStyle/>
          <a:p>
            <a:pPr algn="ctr">
              <a:lnSpc>
                <a:spcPts val="800"/>
              </a:lnSpc>
            </a:pPr>
            <a:r>
              <a:rPr lang="en-US" sz="1000" dirty="0">
                <a:ea typeface="Arial Unicode MS" panose="020B0604020202020204" pitchFamily="34" charset="-128"/>
                <a:cs typeface="Segoe UI" panose="020B0502040204020203" pitchFamily="34" charset="0"/>
              </a:rPr>
              <a:t>Load Balancer</a:t>
            </a:r>
          </a:p>
        </p:txBody>
      </p:sp>
      <p:pic>
        <p:nvPicPr>
          <p:cNvPr id="23" name="Picture 22"/>
          <p:cNvPicPr>
            <a:picLocks noChangeAspect="1"/>
          </p:cNvPicPr>
          <p:nvPr/>
        </p:nvPicPr>
        <p:blipFill>
          <a:blip r:embed="rId6"/>
          <a:stretch>
            <a:fillRect/>
          </a:stretch>
        </p:blipFill>
        <p:spPr>
          <a:xfrm>
            <a:off x="7120106" y="3971279"/>
            <a:ext cx="883525" cy="715235"/>
          </a:xfrm>
          <a:prstGeom prst="rect">
            <a:avLst/>
          </a:prstGeom>
        </p:spPr>
      </p:pic>
      <p:pic>
        <p:nvPicPr>
          <p:cNvPr id="24" name="Picture 23"/>
          <p:cNvPicPr>
            <a:picLocks noChangeAspect="1"/>
          </p:cNvPicPr>
          <p:nvPr/>
        </p:nvPicPr>
        <p:blipFill>
          <a:blip r:embed="rId6"/>
          <a:stretch>
            <a:fillRect/>
          </a:stretch>
        </p:blipFill>
        <p:spPr>
          <a:xfrm>
            <a:off x="7257478" y="4048644"/>
            <a:ext cx="883525" cy="715235"/>
          </a:xfrm>
          <a:prstGeom prst="rect">
            <a:avLst/>
          </a:prstGeom>
        </p:spPr>
      </p:pic>
      <p:pic>
        <p:nvPicPr>
          <p:cNvPr id="25" name="Picture 24"/>
          <p:cNvPicPr>
            <a:picLocks noChangeAspect="1"/>
          </p:cNvPicPr>
          <p:nvPr/>
        </p:nvPicPr>
        <p:blipFill>
          <a:blip r:embed="rId6"/>
          <a:stretch>
            <a:fillRect/>
          </a:stretch>
        </p:blipFill>
        <p:spPr>
          <a:xfrm>
            <a:off x="7394851" y="4123739"/>
            <a:ext cx="883525" cy="715235"/>
          </a:xfrm>
          <a:prstGeom prst="rect">
            <a:avLst/>
          </a:prstGeom>
        </p:spPr>
      </p:pic>
      <p:pic>
        <p:nvPicPr>
          <p:cNvPr id="26" name="Picture 25"/>
          <p:cNvPicPr>
            <a:picLocks noChangeAspect="1"/>
          </p:cNvPicPr>
          <p:nvPr/>
        </p:nvPicPr>
        <p:blipFill>
          <a:blip r:embed="rId6"/>
          <a:stretch>
            <a:fillRect/>
          </a:stretch>
        </p:blipFill>
        <p:spPr>
          <a:xfrm>
            <a:off x="8486254" y="3972669"/>
            <a:ext cx="883525" cy="715235"/>
          </a:xfrm>
          <a:prstGeom prst="rect">
            <a:avLst/>
          </a:prstGeom>
        </p:spPr>
      </p:pic>
      <p:pic>
        <p:nvPicPr>
          <p:cNvPr id="27" name="Picture 26"/>
          <p:cNvPicPr>
            <a:picLocks noChangeAspect="1"/>
          </p:cNvPicPr>
          <p:nvPr/>
        </p:nvPicPr>
        <p:blipFill>
          <a:blip r:embed="rId6"/>
          <a:stretch>
            <a:fillRect/>
          </a:stretch>
        </p:blipFill>
        <p:spPr>
          <a:xfrm>
            <a:off x="8623627" y="4050034"/>
            <a:ext cx="883525" cy="715235"/>
          </a:xfrm>
          <a:prstGeom prst="rect">
            <a:avLst/>
          </a:prstGeom>
        </p:spPr>
      </p:pic>
      <p:pic>
        <p:nvPicPr>
          <p:cNvPr id="28" name="Picture 27"/>
          <p:cNvPicPr>
            <a:picLocks noChangeAspect="1"/>
          </p:cNvPicPr>
          <p:nvPr/>
        </p:nvPicPr>
        <p:blipFill>
          <a:blip r:embed="rId6"/>
          <a:stretch>
            <a:fillRect/>
          </a:stretch>
        </p:blipFill>
        <p:spPr>
          <a:xfrm>
            <a:off x="8760999" y="4125129"/>
            <a:ext cx="883525" cy="715235"/>
          </a:xfrm>
          <a:prstGeom prst="rect">
            <a:avLst/>
          </a:prstGeom>
        </p:spPr>
      </p:pic>
      <p:pic>
        <p:nvPicPr>
          <p:cNvPr id="29" name="Picture 28"/>
          <p:cNvPicPr>
            <a:picLocks noChangeAspect="1"/>
          </p:cNvPicPr>
          <p:nvPr/>
        </p:nvPicPr>
        <p:blipFill>
          <a:blip r:embed="rId6"/>
          <a:stretch>
            <a:fillRect/>
          </a:stretch>
        </p:blipFill>
        <p:spPr>
          <a:xfrm>
            <a:off x="9852403" y="3972669"/>
            <a:ext cx="883525" cy="715235"/>
          </a:xfrm>
          <a:prstGeom prst="rect">
            <a:avLst/>
          </a:prstGeom>
        </p:spPr>
      </p:pic>
      <p:pic>
        <p:nvPicPr>
          <p:cNvPr id="30" name="Picture 29"/>
          <p:cNvPicPr>
            <a:picLocks noChangeAspect="1"/>
          </p:cNvPicPr>
          <p:nvPr/>
        </p:nvPicPr>
        <p:blipFill>
          <a:blip r:embed="rId6"/>
          <a:stretch>
            <a:fillRect/>
          </a:stretch>
        </p:blipFill>
        <p:spPr>
          <a:xfrm>
            <a:off x="9989776" y="4050034"/>
            <a:ext cx="883525" cy="715235"/>
          </a:xfrm>
          <a:prstGeom prst="rect">
            <a:avLst/>
          </a:prstGeom>
        </p:spPr>
      </p:pic>
      <p:pic>
        <p:nvPicPr>
          <p:cNvPr id="31" name="Picture 30"/>
          <p:cNvPicPr>
            <a:picLocks noChangeAspect="1"/>
          </p:cNvPicPr>
          <p:nvPr/>
        </p:nvPicPr>
        <p:blipFill>
          <a:blip r:embed="rId6"/>
          <a:stretch>
            <a:fillRect/>
          </a:stretch>
        </p:blipFill>
        <p:spPr>
          <a:xfrm>
            <a:off x="10127148" y="4125129"/>
            <a:ext cx="883525" cy="715235"/>
          </a:xfrm>
          <a:prstGeom prst="rect">
            <a:avLst/>
          </a:prstGeom>
        </p:spPr>
      </p:pic>
      <p:sp>
        <p:nvSpPr>
          <p:cNvPr id="32" name="Rectangle 31"/>
          <p:cNvSpPr/>
          <p:nvPr/>
        </p:nvSpPr>
        <p:spPr>
          <a:xfrm>
            <a:off x="768682" y="5515318"/>
            <a:ext cx="4945459" cy="1077080"/>
          </a:xfrm>
          <a:prstGeom prst="rect">
            <a:avLst/>
          </a:prstGeom>
        </p:spPr>
        <p:txBody>
          <a:bodyPr wrap="square">
            <a:spAutoFit/>
          </a:bodyPr>
          <a:lstStyle/>
          <a:p>
            <a:r>
              <a:rPr lang="en-US" sz="3200" dirty="0">
                <a:solidFill>
                  <a:schemeClr val="tx2"/>
                </a:solidFill>
                <a:latin typeface="+mj-lt"/>
              </a:rPr>
              <a:t>Simplify design, reduce complexity and errors</a:t>
            </a:r>
          </a:p>
        </p:txBody>
      </p:sp>
    </p:spTree>
    <p:extLst>
      <p:ext uri="{BB962C8B-B14F-4D97-AF65-F5344CB8AC3E}">
        <p14:creationId xmlns:p14="http://schemas.microsoft.com/office/powerpoint/2010/main" val="112767329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1">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26"/>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21">
                                            <p:txEl>
                                              <p:pRg st="2" end="2"/>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23"/>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15"/>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29"/>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16"/>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21">
                                            <p:txEl>
                                              <p:pRg st="4" end="4"/>
                                            </p:txEl>
                                          </p:spTgt>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24"/>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25"/>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27"/>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28"/>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30"/>
                                        </p:tgtEl>
                                        <p:attrNameLst>
                                          <p:attrName>style.visibility</p:attrName>
                                        </p:attrNameLst>
                                      </p:cBhvr>
                                      <p:to>
                                        <p:strVal val="visible"/>
                                      </p:to>
                                    </p:set>
                                  </p:childTnLst>
                                </p:cTn>
                              </p:par>
                              <p:par>
                                <p:cTn id="35" presetID="1" presetClass="entr" presetSubtype="0" fill="hold" nodeType="withEffect">
                                  <p:stCondLst>
                                    <p:cond delay="0"/>
                                  </p:stCondLst>
                                  <p:childTnLst>
                                    <p:set>
                                      <p:cBhvr>
                                        <p:cTn id="36" dur="1" fill="hold">
                                          <p:stCondLst>
                                            <p:cond delay="0"/>
                                          </p:stCondLst>
                                        </p:cTn>
                                        <p:tgtEl>
                                          <p:spTgt spid="31"/>
                                        </p:tgtEl>
                                        <p:attrNameLst>
                                          <p:attrName>style.visibility</p:attrName>
                                        </p:attrNameLst>
                                      </p:cBhvr>
                                      <p:to>
                                        <p:strVal val="visible"/>
                                      </p:to>
                                    </p:set>
                                  </p:childTnLst>
                                </p:cTn>
                              </p:par>
                            </p:childTnLst>
                          </p:cTn>
                        </p:par>
                      </p:childTnLst>
                    </p:cTn>
                  </p:par>
                  <p:par>
                    <p:cTn id="37" fill="hold">
                      <p:stCondLst>
                        <p:cond delay="indefinite"/>
                      </p:stCondLst>
                      <p:childTnLst>
                        <p:par>
                          <p:cTn id="38" fill="hold">
                            <p:stCondLst>
                              <p:cond delay="0"/>
                            </p:stCondLst>
                            <p:childTnLst>
                              <p:par>
                                <p:cTn id="39" presetID="1" presetClass="entr" presetSubtype="0" fill="hold" nodeType="clickEffect">
                                  <p:stCondLst>
                                    <p:cond delay="0"/>
                                  </p:stCondLst>
                                  <p:childTnLst>
                                    <p:set>
                                      <p:cBhvr>
                                        <p:cTn id="40" dur="1" fill="hold">
                                          <p:stCondLst>
                                            <p:cond delay="0"/>
                                          </p:stCondLst>
                                        </p:cTn>
                                        <p:tgtEl>
                                          <p:spTgt spid="21">
                                            <p:txEl>
                                              <p:pRg st="6" end="6"/>
                                            </p:txEl>
                                          </p:spTgt>
                                        </p:tgtEl>
                                        <p:attrNameLst>
                                          <p:attrName>style.visibility</p:attrName>
                                        </p:attrNameLst>
                                      </p:cBhvr>
                                      <p:to>
                                        <p:strVal val="visible"/>
                                      </p:to>
                                    </p:set>
                                  </p:childTnLst>
                                </p:cTn>
                              </p:par>
                            </p:childTnLst>
                          </p:cTn>
                        </p:par>
                      </p:childTnLst>
                    </p:cTn>
                  </p:par>
                  <p:par>
                    <p:cTn id="41" fill="hold">
                      <p:stCondLst>
                        <p:cond delay="indefinite"/>
                      </p:stCondLst>
                      <p:childTnLst>
                        <p:par>
                          <p:cTn id="42" fill="hold">
                            <p:stCondLst>
                              <p:cond delay="0"/>
                            </p:stCondLst>
                            <p:childTnLst>
                              <p:par>
                                <p:cTn id="43" presetID="1" presetClass="entr" presetSubtype="0" fill="hold" grpId="0" nodeType="clickEffect">
                                  <p:stCondLst>
                                    <p:cond delay="0"/>
                                  </p:stCondLst>
                                  <p:childTnLst>
                                    <p:set>
                                      <p:cBhvr>
                                        <p:cTn id="44" dur="1" fill="hold">
                                          <p:stCondLst>
                                            <p:cond delay="0"/>
                                          </p:stCondLst>
                                        </p:cTn>
                                        <p:tgtEl>
                                          <p:spTgt spid="20"/>
                                        </p:tgtEl>
                                        <p:attrNameLst>
                                          <p:attrName>style.visibility</p:attrName>
                                        </p:attrNameLst>
                                      </p:cBhvr>
                                      <p:to>
                                        <p:strVal val="visible"/>
                                      </p:to>
                                    </p:set>
                                  </p:childTnLst>
                                </p:cTn>
                              </p:par>
                              <p:par>
                                <p:cTn id="45" presetID="1" presetClass="entr" presetSubtype="0" fill="hold" grpId="0" nodeType="withEffect">
                                  <p:stCondLst>
                                    <p:cond delay="0"/>
                                  </p:stCondLst>
                                  <p:childTnLst>
                                    <p:set>
                                      <p:cBhvr>
                                        <p:cTn id="46" dur="1" fill="hold">
                                          <p:stCondLst>
                                            <p:cond delay="0"/>
                                          </p:stCondLst>
                                        </p:cTn>
                                        <p:tgtEl>
                                          <p:spTgt spid="19"/>
                                        </p:tgtEl>
                                        <p:attrNameLst>
                                          <p:attrName>style.visibility</p:attrName>
                                        </p:attrNameLst>
                                      </p:cBhvr>
                                      <p:to>
                                        <p:strVal val="visible"/>
                                      </p:to>
                                    </p:set>
                                  </p:childTnLst>
                                </p:cTn>
                              </p:par>
                              <p:par>
                                <p:cTn id="47" presetID="1" presetClass="entr" presetSubtype="0" fill="hold" nodeType="withEffect">
                                  <p:stCondLst>
                                    <p:cond delay="0"/>
                                  </p:stCondLst>
                                  <p:childTnLst>
                                    <p:set>
                                      <p:cBhvr>
                                        <p:cTn id="48" dur="1" fill="hold">
                                          <p:stCondLst>
                                            <p:cond delay="0"/>
                                          </p:stCondLst>
                                        </p:cTn>
                                        <p:tgtEl>
                                          <p:spTgt spid="17"/>
                                        </p:tgtEl>
                                        <p:attrNameLst>
                                          <p:attrName>style.visibility</p:attrName>
                                        </p:attrNameLst>
                                      </p:cBhvr>
                                      <p:to>
                                        <p:strVal val="visible"/>
                                      </p:to>
                                    </p:set>
                                  </p:childTnLst>
                                </p:cTn>
                              </p:par>
                              <p:par>
                                <p:cTn id="49" presetID="1" presetClass="entr" presetSubtype="0" fill="hold" nodeType="withEffect">
                                  <p:stCondLst>
                                    <p:cond delay="0"/>
                                  </p:stCondLst>
                                  <p:childTnLst>
                                    <p:set>
                                      <p:cBhvr>
                                        <p:cTn id="50" dur="1" fill="hold">
                                          <p:stCondLst>
                                            <p:cond delay="0"/>
                                          </p:stCondLst>
                                        </p:cTn>
                                        <p:tgtEl>
                                          <p:spTgt spid="18"/>
                                        </p:tgtEl>
                                        <p:attrNameLst>
                                          <p:attrName>style.visibility</p:attrName>
                                        </p:attrNameLst>
                                      </p:cBhvr>
                                      <p:to>
                                        <p:strVal val="visible"/>
                                      </p:to>
                                    </p:set>
                                  </p:childTnLst>
                                </p:cTn>
                              </p:par>
                            </p:childTnLst>
                          </p:cTn>
                        </p:par>
                      </p:childTnLst>
                    </p:cTn>
                  </p:par>
                  <p:par>
                    <p:cTn id="51" fill="hold">
                      <p:stCondLst>
                        <p:cond delay="indefinite"/>
                      </p:stCondLst>
                      <p:childTnLst>
                        <p:par>
                          <p:cTn id="52" fill="hold">
                            <p:stCondLst>
                              <p:cond delay="0"/>
                            </p:stCondLst>
                            <p:childTnLst>
                              <p:par>
                                <p:cTn id="53" presetID="1" presetClass="entr" presetSubtype="0" fill="hold" grpId="0" nodeType="clickEffect">
                                  <p:stCondLst>
                                    <p:cond delay="0"/>
                                  </p:stCondLst>
                                  <p:childTnLst>
                                    <p:set>
                                      <p:cBhvr>
                                        <p:cTn id="54" dur="1" fill="hold">
                                          <p:stCondLst>
                                            <p:cond delay="0"/>
                                          </p:stCondLst>
                                        </p:cTn>
                                        <p:tgtEl>
                                          <p:spTgt spid="3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animBg="1"/>
      <p:bldP spid="20" grpId="0"/>
      <p:bldP spid="32" grpId="0"/>
    </p:bldLst>
  </p:timing>
</p:sld>
</file>

<file path=ppt/slides/slide12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9" name="Text Placeholder 3"/>
          <p:cNvSpPr txBox="1">
            <a:spLocks/>
          </p:cNvSpPr>
          <p:nvPr/>
        </p:nvSpPr>
        <p:spPr>
          <a:xfrm>
            <a:off x="517310" y="1212851"/>
            <a:ext cx="11702551" cy="5123403"/>
          </a:xfrm>
          <a:prstGeom prst="rect">
            <a:avLst/>
          </a:prstGeom>
        </p:spPr>
        <p:txBody>
          <a:bodyPr/>
          <a:lstStyle>
            <a:lvl1pPr marL="342846" marR="0" indent="-342846" algn="l" defTabSz="932594" rtl="0" eaLnBrk="1" fontAlgn="auto" latinLnBrk="0" hangingPunct="1">
              <a:lnSpc>
                <a:spcPct val="90000"/>
              </a:lnSpc>
              <a:spcBef>
                <a:spcPct val="20000"/>
              </a:spcBef>
              <a:spcAft>
                <a:spcPts val="0"/>
              </a:spcAft>
              <a:buClrTx/>
              <a:buSzPct val="90000"/>
              <a:buFont typeface="Arial" pitchFamily="34" charset="0"/>
              <a:buChar char="•"/>
              <a:tabLst/>
              <a:defRPr sz="4800" kern="1200" spc="0" baseline="0">
                <a:gradFill>
                  <a:gsLst>
                    <a:gs pos="1250">
                      <a:schemeClr val="tx1"/>
                    </a:gs>
                    <a:gs pos="100000">
                      <a:schemeClr val="tx1"/>
                    </a:gs>
                  </a:gsLst>
                  <a:lin ang="5400000" scaled="0"/>
                </a:gradFill>
                <a:latin typeface="+mj-lt"/>
                <a:ea typeface="+mn-ea"/>
                <a:cs typeface="+mn-cs"/>
              </a:defRPr>
            </a:lvl1pPr>
            <a:lvl2pPr marL="615935" marR="0" indent="-273044" algn="l" defTabSz="932594" rtl="0" eaLnBrk="1" fontAlgn="auto" latinLnBrk="0" hangingPunct="1">
              <a:lnSpc>
                <a:spcPct val="90000"/>
              </a:lnSpc>
              <a:spcBef>
                <a:spcPct val="20000"/>
              </a:spcBef>
              <a:spcAft>
                <a:spcPts val="0"/>
              </a:spcAft>
              <a:buClrTx/>
              <a:buSzPct val="90000"/>
              <a:buFont typeface="Arial" pitchFamily="34" charset="0"/>
              <a:buChar char="•"/>
              <a:tabLst/>
              <a:defRPr sz="3200" kern="1200" spc="0" baseline="0">
                <a:gradFill>
                  <a:gsLst>
                    <a:gs pos="1250">
                      <a:schemeClr val="tx1"/>
                    </a:gs>
                    <a:gs pos="100000">
                      <a:schemeClr val="tx1"/>
                    </a:gs>
                  </a:gsLst>
                  <a:lin ang="5400000" scaled="0"/>
                </a:gradFill>
                <a:latin typeface="+mn-lt"/>
                <a:ea typeface="+mn-ea"/>
                <a:cs typeface="+mn-cs"/>
              </a:defRPr>
            </a:lvl2pPr>
            <a:lvl3pPr marL="840296" marR="0" indent="-226478" algn="l" defTabSz="932594" rtl="0" eaLnBrk="1" fontAlgn="auto" latinLnBrk="0" hangingPunct="1">
              <a:lnSpc>
                <a:spcPct val="90000"/>
              </a:lnSpc>
              <a:spcBef>
                <a:spcPct val="20000"/>
              </a:spcBef>
              <a:spcAft>
                <a:spcPts val="0"/>
              </a:spcAft>
              <a:buClrTx/>
              <a:buSzPct val="90000"/>
              <a:buFont typeface="Arial" pitchFamily="34" charset="0"/>
              <a:buChar char="•"/>
              <a:tabLst/>
              <a:defRPr sz="2667" kern="1200" spc="0" baseline="0">
                <a:gradFill>
                  <a:gsLst>
                    <a:gs pos="1250">
                      <a:schemeClr val="tx1"/>
                    </a:gs>
                    <a:gs pos="100000">
                      <a:schemeClr val="tx1"/>
                    </a:gs>
                  </a:gsLst>
                  <a:lin ang="5400000" scaled="0"/>
                </a:gradFill>
                <a:latin typeface="+mn-lt"/>
                <a:ea typeface="+mn-ea"/>
                <a:cs typeface="+mn-cs"/>
              </a:defRPr>
            </a:lvl3pPr>
            <a:lvl4pPr marL="1064657" marR="0" indent="-226478" algn="l" defTabSz="93259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4pPr>
            <a:lvl5pPr marL="1219170" marR="0" indent="-226478" algn="l" defTabSz="93259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5pPr>
            <a:lvl6pPr marL="2564633" indent="-233149" algn="l" defTabSz="93259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932" indent="-233149" algn="l" defTabSz="93259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229" indent="-233149" algn="l" defTabSz="93259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528" indent="-233149" algn="l" defTabSz="932594"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14000"/>
              </a:lnSpc>
              <a:buNone/>
            </a:pPr>
            <a:r>
              <a:rPr lang="en-US" sz="3200" dirty="0">
                <a:solidFill>
                  <a:schemeClr val="tx2"/>
                </a:solidFill>
              </a:rPr>
              <a:t>Stateless Services</a:t>
            </a:r>
          </a:p>
          <a:p>
            <a:pPr marL="342900" lvl="1" indent="-342900"/>
            <a:r>
              <a:rPr lang="en-US" sz="2000" dirty="0"/>
              <a:t>State persisted to external storage, such as Azure DBs </a:t>
            </a:r>
          </a:p>
          <a:p>
            <a:pPr marL="342900" lvl="1" indent="-342900"/>
            <a:r>
              <a:rPr lang="en-US" sz="2000" dirty="0"/>
              <a:t>Existing web (ASP.NET) and worker role applications</a:t>
            </a:r>
          </a:p>
          <a:p>
            <a:pPr marL="0" indent="0">
              <a:lnSpc>
                <a:spcPct val="114000"/>
              </a:lnSpc>
              <a:buNone/>
            </a:pPr>
            <a:r>
              <a:rPr lang="en-US" sz="3200" dirty="0">
                <a:solidFill>
                  <a:schemeClr val="tx2"/>
                </a:solidFill>
              </a:rPr>
              <a:t>Stateful Services</a:t>
            </a:r>
          </a:p>
          <a:p>
            <a:pPr marL="342900" lvl="1" indent="-342900">
              <a:defRPr/>
            </a:pPr>
            <a:r>
              <a:rPr lang="en-US" sz="2000" dirty="0"/>
              <a:t>Reliability of state through replication and local persistence</a:t>
            </a:r>
          </a:p>
          <a:p>
            <a:pPr marL="342900" lvl="1" indent="-342900">
              <a:defRPr/>
            </a:pPr>
            <a:r>
              <a:rPr lang="en-US" sz="2000" dirty="0"/>
              <a:t>Lowers latency</a:t>
            </a:r>
          </a:p>
          <a:p>
            <a:pPr marL="342900" lvl="1" indent="-342900">
              <a:defRPr/>
            </a:pPr>
            <a:r>
              <a:rPr lang="en-US" sz="2000" dirty="0"/>
              <a:t>Reduces complexity in traditional three tier architectures</a:t>
            </a:r>
          </a:p>
          <a:p>
            <a:pPr marL="0" indent="0">
              <a:lnSpc>
                <a:spcPct val="114000"/>
              </a:lnSpc>
              <a:buNone/>
            </a:pPr>
            <a:r>
              <a:rPr lang="en-US" sz="3200" dirty="0">
                <a:solidFill>
                  <a:schemeClr val="tx2"/>
                </a:solidFill>
              </a:rPr>
              <a:t>Supports applications using other frameworks</a:t>
            </a:r>
          </a:p>
          <a:p>
            <a:pPr marL="342900" lvl="1" indent="-342900">
              <a:defRPr/>
            </a:pPr>
            <a:r>
              <a:rPr lang="en-US" sz="2000" dirty="0"/>
              <a:t>Node.js, Java VMs, any EXE</a:t>
            </a:r>
          </a:p>
        </p:txBody>
      </p:sp>
      <p:sp>
        <p:nvSpPr>
          <p:cNvPr id="10" name="Title 9"/>
          <p:cNvSpPr>
            <a:spLocks noGrp="1"/>
          </p:cNvSpPr>
          <p:nvPr>
            <p:ph type="title"/>
          </p:nvPr>
        </p:nvSpPr>
        <p:spPr/>
        <p:txBody>
          <a:bodyPr/>
          <a:lstStyle/>
          <a:p>
            <a:r>
              <a:rPr lang="en-US" dirty="0"/>
              <a:t>Writing microservices with Service Fabric</a:t>
            </a:r>
          </a:p>
        </p:txBody>
      </p:sp>
    </p:spTree>
    <p:extLst>
      <p:ext uri="{BB962C8B-B14F-4D97-AF65-F5344CB8AC3E}">
        <p14:creationId xmlns:p14="http://schemas.microsoft.com/office/powerpoint/2010/main" val="105794339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2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Title 4"/>
          <p:cNvSpPr>
            <a:spLocks noGrp="1"/>
          </p:cNvSpPr>
          <p:nvPr>
            <p:ph type="title"/>
          </p:nvPr>
        </p:nvSpPr>
        <p:spPr>
          <a:xfrm>
            <a:off x="366169" y="295278"/>
            <a:ext cx="11702551" cy="917575"/>
          </a:xfrm>
        </p:spPr>
        <p:txBody>
          <a:bodyPr/>
          <a:lstStyle/>
          <a:p>
            <a:r>
              <a:rPr lang="en-US" dirty="0"/>
              <a:t>Stateful microservice</a:t>
            </a:r>
          </a:p>
        </p:txBody>
      </p:sp>
      <p:pic>
        <p:nvPicPr>
          <p:cNvPr id="3" name="Picture 2"/>
          <p:cNvPicPr>
            <a:picLocks noChangeAspect="1"/>
          </p:cNvPicPr>
          <p:nvPr/>
        </p:nvPicPr>
        <p:blipFill>
          <a:blip r:embed="rId3"/>
          <a:stretch>
            <a:fillRect/>
          </a:stretch>
        </p:blipFill>
        <p:spPr>
          <a:xfrm>
            <a:off x="584362" y="2352692"/>
            <a:ext cx="2752374" cy="3104754"/>
          </a:xfrm>
          <a:prstGeom prst="rect">
            <a:avLst/>
          </a:prstGeom>
        </p:spPr>
      </p:pic>
      <p:sp>
        <p:nvSpPr>
          <p:cNvPr id="4" name="Oval 3"/>
          <p:cNvSpPr/>
          <p:nvPr/>
        </p:nvSpPr>
        <p:spPr bwMode="auto">
          <a:xfrm>
            <a:off x="5249700" y="1626880"/>
            <a:ext cx="5904309" cy="4041056"/>
          </a:xfrm>
          <a:prstGeom prst="ellipse">
            <a:avLst/>
          </a:prstGeom>
          <a:noFill/>
          <a:ln w="38100">
            <a:solidFill>
              <a:schemeClr val="bg2">
                <a:lumMod val="20000"/>
                <a:lumOff val="80000"/>
              </a:schemeClr>
            </a:solidFill>
            <a:headEnd type="none" w="med" len="med"/>
            <a:tailEnd type="none" w="med" len="med"/>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algn="ctr" defTabSz="932379" fontAlgn="base">
              <a:lnSpc>
                <a:spcPct val="90000"/>
              </a:lnSpc>
              <a:spcBef>
                <a:spcPct val="0"/>
              </a:spcBef>
              <a:spcAft>
                <a:spcPct val="0"/>
              </a:spcAft>
              <a:defRPr/>
            </a:pPr>
            <a:endParaRPr lang="en-US" sz="2400" dirty="0" err="1">
              <a:solidFill>
                <a:schemeClr val="tx1"/>
              </a:solidFill>
              <a:latin typeface="Segoe UI"/>
              <a:ea typeface="Segoe UI" pitchFamily="34" charset="0"/>
              <a:cs typeface="Segoe UI" pitchFamily="34" charset="0"/>
            </a:endParaRPr>
          </a:p>
        </p:txBody>
      </p:sp>
      <p:pic>
        <p:nvPicPr>
          <p:cNvPr id="6" name="Picture 5"/>
          <p:cNvPicPr>
            <a:picLocks noChangeAspect="1"/>
          </p:cNvPicPr>
          <p:nvPr/>
        </p:nvPicPr>
        <p:blipFill>
          <a:blip r:embed="rId4" cstate="screen">
            <a:lum bright="70000" contrast="-70000"/>
            <a:extLst>
              <a:ext uri="{28A0092B-C50C-407E-A947-70E740481C1C}">
                <a14:useLocalDpi xmlns:a14="http://schemas.microsoft.com/office/drawing/2010/main"/>
              </a:ext>
            </a:extLst>
          </a:blip>
          <a:stretch>
            <a:fillRect/>
          </a:stretch>
        </p:blipFill>
        <p:spPr>
          <a:xfrm>
            <a:off x="4561158" y="1189155"/>
            <a:ext cx="2741804" cy="2950613"/>
          </a:xfrm>
          <a:prstGeom prst="rect">
            <a:avLst/>
          </a:prstGeom>
        </p:spPr>
      </p:pic>
      <p:pic>
        <p:nvPicPr>
          <p:cNvPr id="7" name="Picture 6"/>
          <p:cNvPicPr>
            <a:picLocks noChangeAspect="1"/>
          </p:cNvPicPr>
          <p:nvPr/>
        </p:nvPicPr>
        <p:blipFill>
          <a:blip r:embed="rId4" cstate="screen">
            <a:lum bright="70000" contrast="-70000"/>
            <a:extLst>
              <a:ext uri="{28A0092B-C50C-407E-A947-70E740481C1C}">
                <a14:useLocalDpi xmlns:a14="http://schemas.microsoft.com/office/drawing/2010/main"/>
              </a:ext>
            </a:extLst>
          </a:blip>
          <a:stretch>
            <a:fillRect/>
          </a:stretch>
        </p:blipFill>
        <p:spPr>
          <a:xfrm>
            <a:off x="4561158" y="2930964"/>
            <a:ext cx="2741804" cy="2950613"/>
          </a:xfrm>
          <a:prstGeom prst="rect">
            <a:avLst/>
          </a:prstGeom>
        </p:spPr>
      </p:pic>
      <p:pic>
        <p:nvPicPr>
          <p:cNvPr id="8" name="Picture 7"/>
          <p:cNvPicPr>
            <a:picLocks noChangeAspect="1"/>
          </p:cNvPicPr>
          <p:nvPr/>
        </p:nvPicPr>
        <p:blipFill>
          <a:blip r:embed="rId4" cstate="screen">
            <a:lum bright="70000" contrast="-70000"/>
            <a:extLst>
              <a:ext uri="{28A0092B-C50C-407E-A947-70E740481C1C}">
                <a14:useLocalDpi xmlns:a14="http://schemas.microsoft.com/office/drawing/2010/main"/>
              </a:ext>
            </a:extLst>
          </a:blip>
          <a:stretch>
            <a:fillRect/>
          </a:stretch>
        </p:blipFill>
        <p:spPr>
          <a:xfrm>
            <a:off x="9542225" y="1274089"/>
            <a:ext cx="2741804" cy="2950613"/>
          </a:xfrm>
          <a:prstGeom prst="rect">
            <a:avLst/>
          </a:prstGeom>
        </p:spPr>
      </p:pic>
      <p:pic>
        <p:nvPicPr>
          <p:cNvPr id="9" name="Picture 8"/>
          <p:cNvPicPr>
            <a:picLocks noChangeAspect="1"/>
          </p:cNvPicPr>
          <p:nvPr/>
        </p:nvPicPr>
        <p:blipFill>
          <a:blip r:embed="rId4" cstate="screen">
            <a:lum bright="70000" contrast="-70000"/>
            <a:extLst>
              <a:ext uri="{28A0092B-C50C-407E-A947-70E740481C1C}">
                <a14:useLocalDpi xmlns:a14="http://schemas.microsoft.com/office/drawing/2010/main"/>
              </a:ext>
            </a:extLst>
          </a:blip>
          <a:stretch>
            <a:fillRect/>
          </a:stretch>
        </p:blipFill>
        <p:spPr>
          <a:xfrm>
            <a:off x="9542225" y="2992032"/>
            <a:ext cx="2741804" cy="2950613"/>
          </a:xfrm>
          <a:prstGeom prst="rect">
            <a:avLst/>
          </a:prstGeom>
        </p:spPr>
      </p:pic>
      <p:pic>
        <p:nvPicPr>
          <p:cNvPr id="10" name="Picture 9"/>
          <p:cNvPicPr>
            <a:picLocks noChangeAspect="1"/>
          </p:cNvPicPr>
          <p:nvPr/>
        </p:nvPicPr>
        <p:blipFill>
          <a:blip r:embed="rId4" cstate="screen">
            <a:lum bright="70000" contrast="-70000"/>
            <a:extLst>
              <a:ext uri="{28A0092B-C50C-407E-A947-70E740481C1C}">
                <a14:useLocalDpi xmlns:a14="http://schemas.microsoft.com/office/drawing/2010/main"/>
              </a:ext>
            </a:extLst>
          </a:blip>
          <a:stretch>
            <a:fillRect/>
          </a:stretch>
        </p:blipFill>
        <p:spPr>
          <a:xfrm>
            <a:off x="6988967" y="-83681"/>
            <a:ext cx="2741804" cy="2950613"/>
          </a:xfrm>
          <a:prstGeom prst="rect">
            <a:avLst/>
          </a:prstGeom>
        </p:spPr>
      </p:pic>
      <p:pic>
        <p:nvPicPr>
          <p:cNvPr id="11" name="Picture 10"/>
          <p:cNvPicPr>
            <a:picLocks noChangeAspect="1"/>
          </p:cNvPicPr>
          <p:nvPr/>
        </p:nvPicPr>
        <p:blipFill>
          <a:blip r:embed="rId4" cstate="screen">
            <a:lum bright="70000" contrast="-70000"/>
            <a:extLst>
              <a:ext uri="{28A0092B-C50C-407E-A947-70E740481C1C}">
                <a14:useLocalDpi xmlns:a14="http://schemas.microsoft.com/office/drawing/2010/main"/>
              </a:ext>
            </a:extLst>
          </a:blip>
          <a:stretch>
            <a:fillRect/>
          </a:stretch>
        </p:blipFill>
        <p:spPr>
          <a:xfrm>
            <a:off x="6988967" y="4360093"/>
            <a:ext cx="2741804" cy="2950613"/>
          </a:xfrm>
          <a:prstGeom prst="rect">
            <a:avLst/>
          </a:prstGeom>
        </p:spPr>
      </p:pic>
      <p:sp>
        <p:nvSpPr>
          <p:cNvPr id="12" name="Hexagon 11"/>
          <p:cNvSpPr/>
          <p:nvPr/>
        </p:nvSpPr>
        <p:spPr bwMode="auto">
          <a:xfrm>
            <a:off x="2182931" y="3822243"/>
            <a:ext cx="390771" cy="325033"/>
          </a:xfrm>
          <a:prstGeom prst="hexagon">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28" tIns="91428" rIns="34290" bIns="34290" rtlCol="0" anchor="b" anchorCtr="0"/>
          <a:lstStyle/>
          <a:p>
            <a:pPr algn="ctr" defTabSz="932313">
              <a:defRPr/>
            </a:pPr>
            <a:endParaRPr lang="en-US" sz="800" dirty="0">
              <a:solidFill>
                <a:schemeClr val="tx1"/>
              </a:solidFill>
              <a:latin typeface="Segoe UI"/>
              <a:ea typeface="Segoe UI" pitchFamily="34" charset="0"/>
              <a:cs typeface="Segoe UI" pitchFamily="34" charset="0"/>
            </a:endParaRPr>
          </a:p>
        </p:txBody>
      </p:sp>
      <p:sp>
        <p:nvSpPr>
          <p:cNvPr id="13" name="Hexagon 12"/>
          <p:cNvSpPr/>
          <p:nvPr/>
        </p:nvSpPr>
        <p:spPr bwMode="auto">
          <a:xfrm>
            <a:off x="2197244" y="4778130"/>
            <a:ext cx="390771" cy="325033"/>
          </a:xfrm>
          <a:prstGeom prst="hexagon">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28" tIns="91428" rIns="34290" bIns="34290" rtlCol="0" anchor="b" anchorCtr="0"/>
          <a:lstStyle/>
          <a:p>
            <a:pPr algn="ctr" defTabSz="932313">
              <a:defRPr/>
            </a:pPr>
            <a:endParaRPr lang="en-US" sz="800" dirty="0">
              <a:solidFill>
                <a:schemeClr val="tx1"/>
              </a:solidFill>
              <a:latin typeface="Segoe UI"/>
              <a:ea typeface="Segoe UI" pitchFamily="34" charset="0"/>
              <a:cs typeface="Segoe UI" pitchFamily="34" charset="0"/>
            </a:endParaRPr>
          </a:p>
        </p:txBody>
      </p:sp>
      <p:sp>
        <p:nvSpPr>
          <p:cNvPr id="14" name="Hexagon 13"/>
          <p:cNvSpPr/>
          <p:nvPr/>
        </p:nvSpPr>
        <p:spPr bwMode="auto">
          <a:xfrm>
            <a:off x="2197244" y="3800384"/>
            <a:ext cx="390771" cy="325033"/>
          </a:xfrm>
          <a:prstGeom prst="hexagon">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28" tIns="91428" rIns="34290" bIns="34290" rtlCol="0" anchor="b" anchorCtr="0"/>
          <a:lstStyle/>
          <a:p>
            <a:pPr algn="ctr" defTabSz="932313">
              <a:defRPr/>
            </a:pPr>
            <a:endParaRPr lang="en-US" sz="800" dirty="0">
              <a:solidFill>
                <a:schemeClr val="tx1"/>
              </a:solidFill>
              <a:latin typeface="Segoe UI"/>
              <a:ea typeface="Segoe UI" pitchFamily="34" charset="0"/>
              <a:cs typeface="Segoe UI" pitchFamily="34" charset="0"/>
            </a:endParaRPr>
          </a:p>
        </p:txBody>
      </p:sp>
      <p:sp>
        <p:nvSpPr>
          <p:cNvPr id="15" name="Hexagon 14"/>
          <p:cNvSpPr/>
          <p:nvPr/>
        </p:nvSpPr>
        <p:spPr bwMode="auto">
          <a:xfrm>
            <a:off x="2206888" y="4781696"/>
            <a:ext cx="390771" cy="325033"/>
          </a:xfrm>
          <a:prstGeom prst="hexagon">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28" tIns="91428" rIns="34290" bIns="34290" rtlCol="0" anchor="b" anchorCtr="0"/>
          <a:lstStyle/>
          <a:p>
            <a:pPr algn="ctr" defTabSz="932313">
              <a:defRPr/>
            </a:pPr>
            <a:endParaRPr lang="en-US" sz="800" dirty="0">
              <a:solidFill>
                <a:schemeClr val="tx1"/>
              </a:solidFill>
              <a:latin typeface="Segoe UI"/>
              <a:ea typeface="Segoe UI" pitchFamily="34" charset="0"/>
              <a:cs typeface="Segoe UI" pitchFamily="34" charset="0"/>
            </a:endParaRPr>
          </a:p>
        </p:txBody>
      </p:sp>
      <p:sp>
        <p:nvSpPr>
          <p:cNvPr id="16" name="TextBox 15"/>
          <p:cNvSpPr txBox="1"/>
          <p:nvPr/>
        </p:nvSpPr>
        <p:spPr>
          <a:xfrm>
            <a:off x="630099" y="1505171"/>
            <a:ext cx="2066343" cy="960140"/>
          </a:xfrm>
          <a:prstGeom prst="rect">
            <a:avLst/>
          </a:prstGeom>
          <a:noFill/>
        </p:spPr>
        <p:txBody>
          <a:bodyPr wrap="square" lIns="182857" tIns="146285" rIns="182857" bIns="146285" rtlCol="0">
            <a:spAutoFit/>
          </a:bodyPr>
          <a:lstStyle/>
          <a:p>
            <a:pPr defTabSz="932649">
              <a:lnSpc>
                <a:spcPct val="90000"/>
              </a:lnSpc>
              <a:spcAft>
                <a:spcPts val="600"/>
              </a:spcAft>
              <a:defRPr/>
            </a:pPr>
            <a:r>
              <a:rPr lang="en-US" sz="2400" dirty="0">
                <a:latin typeface="Segoe UI"/>
              </a:rPr>
              <a:t>Application Package</a:t>
            </a:r>
          </a:p>
        </p:txBody>
      </p:sp>
      <p:sp>
        <p:nvSpPr>
          <p:cNvPr id="17" name="Hexagon 16"/>
          <p:cNvSpPr/>
          <p:nvPr/>
        </p:nvSpPr>
        <p:spPr bwMode="auto">
          <a:xfrm>
            <a:off x="1559844" y="3795747"/>
            <a:ext cx="390771" cy="325033"/>
          </a:xfrm>
          <a:prstGeom prst="hexagon">
            <a:avLst/>
          </a:prstGeom>
          <a:solidFill>
            <a:srgbClr val="00206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28" tIns="91428" rIns="34290" bIns="34290" rtlCol="0" anchor="b" anchorCtr="0"/>
          <a:lstStyle/>
          <a:p>
            <a:pPr algn="ctr" defTabSz="932313">
              <a:defRPr/>
            </a:pPr>
            <a:endParaRPr lang="en-US" sz="800" dirty="0">
              <a:solidFill>
                <a:schemeClr val="tx1"/>
              </a:solidFill>
              <a:latin typeface="Segoe UI"/>
              <a:ea typeface="Segoe UI" pitchFamily="34" charset="0"/>
              <a:cs typeface="Segoe UI" pitchFamily="34" charset="0"/>
            </a:endParaRPr>
          </a:p>
        </p:txBody>
      </p:sp>
      <p:grpSp>
        <p:nvGrpSpPr>
          <p:cNvPr id="18" name="Group 17"/>
          <p:cNvGrpSpPr/>
          <p:nvPr/>
        </p:nvGrpSpPr>
        <p:grpSpPr>
          <a:xfrm>
            <a:off x="1561386" y="3717980"/>
            <a:ext cx="390771" cy="516999"/>
            <a:chOff x="913929" y="2513723"/>
            <a:chExt cx="390821" cy="517065"/>
          </a:xfrm>
        </p:grpSpPr>
        <p:sp>
          <p:nvSpPr>
            <p:cNvPr id="19" name="Hexagon 18"/>
            <p:cNvSpPr/>
            <p:nvPr/>
          </p:nvSpPr>
          <p:spPr bwMode="auto">
            <a:xfrm>
              <a:off x="913929" y="2609719"/>
              <a:ext cx="390821" cy="325074"/>
            </a:xfrm>
            <a:prstGeom prst="hexagon">
              <a:avLst/>
            </a:prstGeom>
            <a:solidFill>
              <a:srgbClr val="00206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28" tIns="91428" rIns="34290" bIns="34290" rtlCol="0" anchor="b" anchorCtr="0"/>
            <a:lstStyle/>
            <a:p>
              <a:pPr algn="ctr" defTabSz="932313">
                <a:defRPr/>
              </a:pPr>
              <a:endParaRPr lang="en-US" sz="800" dirty="0">
                <a:solidFill>
                  <a:schemeClr val="tx1"/>
                </a:solidFill>
                <a:latin typeface="Segoe UI"/>
                <a:ea typeface="Segoe UI" pitchFamily="34" charset="0"/>
                <a:cs typeface="Segoe UI" pitchFamily="34" charset="0"/>
              </a:endParaRPr>
            </a:p>
          </p:txBody>
        </p:sp>
        <p:sp>
          <p:nvSpPr>
            <p:cNvPr id="20" name="TextBox 19"/>
            <p:cNvSpPr txBox="1"/>
            <p:nvPr/>
          </p:nvSpPr>
          <p:spPr>
            <a:xfrm>
              <a:off x="913929" y="2513723"/>
              <a:ext cx="304800" cy="517065"/>
            </a:xfrm>
            <a:prstGeom prst="rect">
              <a:avLst/>
            </a:prstGeom>
            <a:noFill/>
          </p:spPr>
          <p:txBody>
            <a:bodyPr wrap="square" lIns="182857" tIns="146285" rIns="182857" bIns="146285" rtlCol="0">
              <a:spAutoFit/>
            </a:bodyPr>
            <a:lstStyle/>
            <a:p>
              <a:pPr defTabSz="932649">
                <a:lnSpc>
                  <a:spcPct val="90000"/>
                </a:lnSpc>
                <a:spcAft>
                  <a:spcPts val="600"/>
                </a:spcAft>
                <a:defRPr/>
              </a:pPr>
              <a:r>
                <a:rPr lang="en-US" sz="1600" dirty="0">
                  <a:latin typeface="Segoe UI"/>
                </a:rPr>
                <a:t>P</a:t>
              </a:r>
            </a:p>
          </p:txBody>
        </p:sp>
      </p:grpSp>
      <p:grpSp>
        <p:nvGrpSpPr>
          <p:cNvPr id="21" name="Group 20"/>
          <p:cNvGrpSpPr/>
          <p:nvPr/>
        </p:nvGrpSpPr>
        <p:grpSpPr>
          <a:xfrm>
            <a:off x="1559845" y="3714929"/>
            <a:ext cx="390771" cy="516999"/>
            <a:chOff x="913929" y="2513723"/>
            <a:chExt cx="390821" cy="517065"/>
          </a:xfrm>
        </p:grpSpPr>
        <p:sp>
          <p:nvSpPr>
            <p:cNvPr id="22" name="Hexagon 21"/>
            <p:cNvSpPr/>
            <p:nvPr/>
          </p:nvSpPr>
          <p:spPr bwMode="auto">
            <a:xfrm>
              <a:off x="913929" y="2609719"/>
              <a:ext cx="390821" cy="325074"/>
            </a:xfrm>
            <a:prstGeom prst="hexagon">
              <a:avLst/>
            </a:prstGeom>
            <a:solidFill>
              <a:srgbClr val="00206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28" tIns="91428" rIns="34290" bIns="34290" rtlCol="0" anchor="b" anchorCtr="0"/>
            <a:lstStyle/>
            <a:p>
              <a:pPr algn="ctr" defTabSz="932313">
                <a:defRPr/>
              </a:pPr>
              <a:endParaRPr lang="en-US" sz="800" dirty="0">
                <a:solidFill>
                  <a:schemeClr val="tx1"/>
                </a:solidFill>
                <a:latin typeface="Segoe UI"/>
                <a:ea typeface="Segoe UI" pitchFamily="34" charset="0"/>
                <a:cs typeface="Segoe UI" pitchFamily="34" charset="0"/>
              </a:endParaRPr>
            </a:p>
          </p:txBody>
        </p:sp>
        <p:sp>
          <p:nvSpPr>
            <p:cNvPr id="23" name="TextBox 22"/>
            <p:cNvSpPr txBox="1"/>
            <p:nvPr/>
          </p:nvSpPr>
          <p:spPr>
            <a:xfrm>
              <a:off x="913929" y="2513723"/>
              <a:ext cx="304800" cy="517065"/>
            </a:xfrm>
            <a:prstGeom prst="rect">
              <a:avLst/>
            </a:prstGeom>
            <a:noFill/>
          </p:spPr>
          <p:txBody>
            <a:bodyPr wrap="square" lIns="182857" tIns="146285" rIns="182857" bIns="146285" rtlCol="0">
              <a:spAutoFit/>
            </a:bodyPr>
            <a:lstStyle/>
            <a:p>
              <a:pPr defTabSz="932649">
                <a:lnSpc>
                  <a:spcPct val="90000"/>
                </a:lnSpc>
                <a:spcAft>
                  <a:spcPts val="600"/>
                </a:spcAft>
                <a:defRPr/>
              </a:pPr>
              <a:r>
                <a:rPr lang="en-US" sz="1600" dirty="0">
                  <a:latin typeface="Segoe UI"/>
                </a:rPr>
                <a:t>S</a:t>
              </a:r>
            </a:p>
          </p:txBody>
        </p:sp>
      </p:grpSp>
      <p:grpSp>
        <p:nvGrpSpPr>
          <p:cNvPr id="24" name="Group 23"/>
          <p:cNvGrpSpPr/>
          <p:nvPr/>
        </p:nvGrpSpPr>
        <p:grpSpPr>
          <a:xfrm>
            <a:off x="1559845" y="3707701"/>
            <a:ext cx="390771" cy="516999"/>
            <a:chOff x="913929" y="2513723"/>
            <a:chExt cx="390821" cy="517065"/>
          </a:xfrm>
        </p:grpSpPr>
        <p:sp>
          <p:nvSpPr>
            <p:cNvPr id="25" name="Hexagon 24"/>
            <p:cNvSpPr/>
            <p:nvPr/>
          </p:nvSpPr>
          <p:spPr bwMode="auto">
            <a:xfrm>
              <a:off x="913929" y="2609719"/>
              <a:ext cx="390821" cy="325074"/>
            </a:xfrm>
            <a:prstGeom prst="hexagon">
              <a:avLst/>
            </a:prstGeom>
            <a:solidFill>
              <a:srgbClr val="00206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28" tIns="91428" rIns="34290" bIns="34290" rtlCol="0" anchor="b" anchorCtr="0"/>
            <a:lstStyle/>
            <a:p>
              <a:pPr algn="ctr" defTabSz="932313">
                <a:defRPr/>
              </a:pPr>
              <a:endParaRPr lang="en-US" sz="800" dirty="0">
                <a:solidFill>
                  <a:schemeClr val="tx1"/>
                </a:solidFill>
                <a:latin typeface="Segoe UI"/>
                <a:ea typeface="Segoe UI" pitchFamily="34" charset="0"/>
                <a:cs typeface="Segoe UI" pitchFamily="34" charset="0"/>
              </a:endParaRPr>
            </a:p>
          </p:txBody>
        </p:sp>
        <p:sp>
          <p:nvSpPr>
            <p:cNvPr id="26" name="TextBox 25"/>
            <p:cNvSpPr txBox="1"/>
            <p:nvPr/>
          </p:nvSpPr>
          <p:spPr>
            <a:xfrm>
              <a:off x="913929" y="2513723"/>
              <a:ext cx="304800" cy="517065"/>
            </a:xfrm>
            <a:prstGeom prst="rect">
              <a:avLst/>
            </a:prstGeom>
            <a:noFill/>
          </p:spPr>
          <p:txBody>
            <a:bodyPr wrap="square" lIns="182857" tIns="146285" rIns="182857" bIns="146285" rtlCol="0">
              <a:spAutoFit/>
            </a:bodyPr>
            <a:lstStyle/>
            <a:p>
              <a:pPr defTabSz="932649">
                <a:lnSpc>
                  <a:spcPct val="90000"/>
                </a:lnSpc>
                <a:spcAft>
                  <a:spcPts val="600"/>
                </a:spcAft>
                <a:defRPr/>
              </a:pPr>
              <a:r>
                <a:rPr lang="en-US" sz="1600" dirty="0">
                  <a:latin typeface="Segoe UI"/>
                </a:rPr>
                <a:t>S</a:t>
              </a:r>
            </a:p>
          </p:txBody>
        </p:sp>
      </p:grpSp>
      <p:sp>
        <p:nvSpPr>
          <p:cNvPr id="27" name="Freeform 58"/>
          <p:cNvSpPr>
            <a:spLocks/>
          </p:cNvSpPr>
          <p:nvPr/>
        </p:nvSpPr>
        <p:spPr bwMode="auto">
          <a:xfrm flipH="1" flipV="1">
            <a:off x="7588869" y="1413236"/>
            <a:ext cx="2320673" cy="468979"/>
          </a:xfrm>
          <a:custGeom>
            <a:avLst/>
            <a:gdLst/>
            <a:ahLst/>
            <a:cxnLst>
              <a:cxn ang="0">
                <a:pos x="1104" y="1296"/>
              </a:cxn>
              <a:cxn ang="0">
                <a:pos x="864" y="480"/>
              </a:cxn>
              <a:cxn ang="0">
                <a:pos x="0" y="0"/>
              </a:cxn>
            </a:cxnLst>
            <a:rect l="0" t="0" r="r" b="b"/>
            <a:pathLst>
              <a:path w="1104" h="1296">
                <a:moveTo>
                  <a:pt x="1104" y="1296"/>
                </a:moveTo>
                <a:cubicBezTo>
                  <a:pt x="1076" y="996"/>
                  <a:pt x="1048" y="696"/>
                  <a:pt x="864" y="480"/>
                </a:cubicBezTo>
                <a:cubicBezTo>
                  <a:pt x="680" y="264"/>
                  <a:pt x="340" y="132"/>
                  <a:pt x="0" y="0"/>
                </a:cubicBezTo>
              </a:path>
            </a:pathLst>
          </a:custGeom>
          <a:noFill/>
          <a:ln w="19050" cap="flat" cmpd="sng">
            <a:solidFill>
              <a:srgbClr val="FFC000"/>
            </a:solidFill>
            <a:prstDash val="solid"/>
            <a:round/>
            <a:headEnd type="none" w="med" len="med"/>
            <a:tailEnd type="stealth" w="lg" len="lg"/>
          </a:ln>
          <a:effectLst/>
        </p:spPr>
        <p:txBody>
          <a:bodyPr wrap="square">
            <a:spAutoFit/>
          </a:bodyPr>
          <a:lstStyle/>
          <a:p>
            <a:pPr defTabSz="1243369">
              <a:defRPr/>
            </a:pPr>
            <a:endParaRPr lang="en-US" sz="2448" kern="0">
              <a:latin typeface="Segoe UI"/>
            </a:endParaRPr>
          </a:p>
        </p:txBody>
      </p:sp>
      <p:sp>
        <p:nvSpPr>
          <p:cNvPr id="28" name="Freeform 58"/>
          <p:cNvSpPr>
            <a:spLocks/>
          </p:cNvSpPr>
          <p:nvPr/>
        </p:nvSpPr>
        <p:spPr bwMode="auto">
          <a:xfrm flipV="1">
            <a:off x="5494676" y="1413239"/>
            <a:ext cx="2094194" cy="468979"/>
          </a:xfrm>
          <a:custGeom>
            <a:avLst/>
            <a:gdLst/>
            <a:ahLst/>
            <a:cxnLst>
              <a:cxn ang="0">
                <a:pos x="1104" y="1296"/>
              </a:cxn>
              <a:cxn ang="0">
                <a:pos x="864" y="480"/>
              </a:cxn>
              <a:cxn ang="0">
                <a:pos x="0" y="0"/>
              </a:cxn>
            </a:cxnLst>
            <a:rect l="0" t="0" r="r" b="b"/>
            <a:pathLst>
              <a:path w="1104" h="1296">
                <a:moveTo>
                  <a:pt x="1104" y="1296"/>
                </a:moveTo>
                <a:cubicBezTo>
                  <a:pt x="1076" y="996"/>
                  <a:pt x="1048" y="696"/>
                  <a:pt x="864" y="480"/>
                </a:cubicBezTo>
                <a:cubicBezTo>
                  <a:pt x="680" y="264"/>
                  <a:pt x="340" y="132"/>
                  <a:pt x="0" y="0"/>
                </a:cubicBezTo>
              </a:path>
            </a:pathLst>
          </a:custGeom>
          <a:noFill/>
          <a:ln w="19050" cap="flat" cmpd="sng">
            <a:solidFill>
              <a:srgbClr val="FFC000"/>
            </a:solidFill>
            <a:prstDash val="solid"/>
            <a:round/>
            <a:headEnd type="none" w="med" len="med"/>
            <a:tailEnd type="stealth" w="lg" len="lg"/>
          </a:ln>
          <a:effectLst/>
        </p:spPr>
        <p:txBody>
          <a:bodyPr wrap="square">
            <a:spAutoFit/>
          </a:bodyPr>
          <a:lstStyle/>
          <a:p>
            <a:pPr defTabSz="1243369">
              <a:defRPr/>
            </a:pPr>
            <a:endParaRPr lang="en-US" sz="2448" kern="0">
              <a:latin typeface="Segoe UI"/>
            </a:endParaRPr>
          </a:p>
        </p:txBody>
      </p:sp>
      <p:sp>
        <p:nvSpPr>
          <p:cNvPr id="29" name="TextBox 28"/>
          <p:cNvSpPr txBox="1"/>
          <p:nvPr/>
        </p:nvSpPr>
        <p:spPr>
          <a:xfrm>
            <a:off x="6654339" y="3388070"/>
            <a:ext cx="1371425" cy="516999"/>
          </a:xfrm>
          <a:prstGeom prst="rect">
            <a:avLst/>
          </a:prstGeom>
          <a:noFill/>
        </p:spPr>
        <p:txBody>
          <a:bodyPr wrap="square" lIns="182857" tIns="146285" rIns="182857" bIns="146285" rtlCol="0">
            <a:spAutoFit/>
          </a:bodyPr>
          <a:lstStyle/>
          <a:p>
            <a:pPr defTabSz="932649">
              <a:lnSpc>
                <a:spcPct val="90000"/>
              </a:lnSpc>
              <a:spcAft>
                <a:spcPts val="600"/>
              </a:spcAft>
              <a:defRPr/>
            </a:pPr>
            <a:r>
              <a:rPr lang="en-US" sz="1600" dirty="0">
                <a:latin typeface="Segoe UI"/>
              </a:rPr>
              <a:t>replication</a:t>
            </a:r>
          </a:p>
        </p:txBody>
      </p:sp>
      <p:sp>
        <p:nvSpPr>
          <p:cNvPr id="30" name="TextBox 29"/>
          <p:cNvSpPr txBox="1"/>
          <p:nvPr/>
        </p:nvSpPr>
        <p:spPr>
          <a:xfrm>
            <a:off x="8714404" y="3331831"/>
            <a:ext cx="1371425" cy="516999"/>
          </a:xfrm>
          <a:prstGeom prst="rect">
            <a:avLst/>
          </a:prstGeom>
          <a:noFill/>
        </p:spPr>
        <p:txBody>
          <a:bodyPr wrap="square" lIns="182857" tIns="146285" rIns="182857" bIns="146285" rtlCol="0">
            <a:spAutoFit/>
          </a:bodyPr>
          <a:lstStyle/>
          <a:p>
            <a:pPr defTabSz="932649">
              <a:lnSpc>
                <a:spcPct val="90000"/>
              </a:lnSpc>
              <a:spcAft>
                <a:spcPts val="600"/>
              </a:spcAft>
              <a:defRPr/>
            </a:pPr>
            <a:r>
              <a:rPr lang="en-US" sz="1600" dirty="0">
                <a:latin typeface="Segoe UI"/>
              </a:rPr>
              <a:t>replication</a:t>
            </a:r>
          </a:p>
        </p:txBody>
      </p:sp>
      <p:sp>
        <p:nvSpPr>
          <p:cNvPr id="31" name="Hexagon 30"/>
          <p:cNvSpPr/>
          <p:nvPr/>
        </p:nvSpPr>
        <p:spPr bwMode="auto">
          <a:xfrm>
            <a:off x="1501685" y="4781696"/>
            <a:ext cx="390771" cy="325033"/>
          </a:xfrm>
          <a:prstGeom prst="hexagon">
            <a:avLst/>
          </a:pr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28" tIns="91428" rIns="34290" bIns="34290" rtlCol="0" anchor="b" anchorCtr="0"/>
          <a:lstStyle/>
          <a:p>
            <a:pPr algn="ctr" defTabSz="932313">
              <a:defRPr/>
            </a:pPr>
            <a:endParaRPr lang="en-US" sz="800" dirty="0">
              <a:solidFill>
                <a:schemeClr val="tx1"/>
              </a:solidFill>
              <a:latin typeface="Segoe UI"/>
              <a:ea typeface="Segoe UI" pitchFamily="34" charset="0"/>
              <a:cs typeface="Segoe UI" pitchFamily="34" charset="0"/>
            </a:endParaRPr>
          </a:p>
        </p:txBody>
      </p:sp>
      <p:grpSp>
        <p:nvGrpSpPr>
          <p:cNvPr id="32" name="Group 31"/>
          <p:cNvGrpSpPr/>
          <p:nvPr/>
        </p:nvGrpSpPr>
        <p:grpSpPr>
          <a:xfrm>
            <a:off x="1508843" y="4685713"/>
            <a:ext cx="390771" cy="516999"/>
            <a:chOff x="913929" y="2513723"/>
            <a:chExt cx="390821" cy="517065"/>
          </a:xfrm>
        </p:grpSpPr>
        <p:sp>
          <p:nvSpPr>
            <p:cNvPr id="33" name="Hexagon 32"/>
            <p:cNvSpPr/>
            <p:nvPr/>
          </p:nvSpPr>
          <p:spPr bwMode="auto">
            <a:xfrm>
              <a:off x="913929" y="2609719"/>
              <a:ext cx="390821" cy="325074"/>
            </a:xfrm>
            <a:prstGeom prst="hexagon">
              <a:avLst/>
            </a:pr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28" tIns="91428" rIns="34290" bIns="34290" rtlCol="0" anchor="b" anchorCtr="0"/>
            <a:lstStyle/>
            <a:p>
              <a:pPr algn="ctr" defTabSz="932313">
                <a:defRPr/>
              </a:pPr>
              <a:endParaRPr lang="en-US" sz="800" dirty="0">
                <a:solidFill>
                  <a:schemeClr val="tx1"/>
                </a:solidFill>
                <a:latin typeface="Segoe UI"/>
                <a:ea typeface="Segoe UI" pitchFamily="34" charset="0"/>
                <a:cs typeface="Segoe UI" pitchFamily="34" charset="0"/>
              </a:endParaRPr>
            </a:p>
          </p:txBody>
        </p:sp>
        <p:sp>
          <p:nvSpPr>
            <p:cNvPr id="34" name="TextBox 33"/>
            <p:cNvSpPr txBox="1"/>
            <p:nvPr/>
          </p:nvSpPr>
          <p:spPr>
            <a:xfrm>
              <a:off x="913929" y="2513723"/>
              <a:ext cx="304800" cy="517065"/>
            </a:xfrm>
            <a:prstGeom prst="rect">
              <a:avLst/>
            </a:prstGeom>
            <a:noFill/>
          </p:spPr>
          <p:txBody>
            <a:bodyPr wrap="square" lIns="182857" tIns="146285" rIns="182857" bIns="146285" rtlCol="0">
              <a:spAutoFit/>
            </a:bodyPr>
            <a:lstStyle/>
            <a:p>
              <a:pPr defTabSz="932649">
                <a:lnSpc>
                  <a:spcPct val="90000"/>
                </a:lnSpc>
                <a:spcAft>
                  <a:spcPts val="600"/>
                </a:spcAft>
                <a:defRPr/>
              </a:pPr>
              <a:r>
                <a:rPr lang="en-US" sz="1600" dirty="0">
                  <a:latin typeface="Segoe UI"/>
                </a:rPr>
                <a:t>P</a:t>
              </a:r>
            </a:p>
          </p:txBody>
        </p:sp>
      </p:grpSp>
      <p:grpSp>
        <p:nvGrpSpPr>
          <p:cNvPr id="35" name="Group 34"/>
          <p:cNvGrpSpPr/>
          <p:nvPr/>
        </p:nvGrpSpPr>
        <p:grpSpPr>
          <a:xfrm>
            <a:off x="1508842" y="4682148"/>
            <a:ext cx="390771" cy="516999"/>
            <a:chOff x="913929" y="2513723"/>
            <a:chExt cx="390821" cy="517065"/>
          </a:xfrm>
        </p:grpSpPr>
        <p:sp>
          <p:nvSpPr>
            <p:cNvPr id="36" name="Hexagon 35"/>
            <p:cNvSpPr/>
            <p:nvPr/>
          </p:nvSpPr>
          <p:spPr bwMode="auto">
            <a:xfrm>
              <a:off x="913929" y="2609719"/>
              <a:ext cx="390821" cy="325074"/>
            </a:xfrm>
            <a:prstGeom prst="hexagon">
              <a:avLst/>
            </a:pr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28" tIns="91428" rIns="34290" bIns="34290" rtlCol="0" anchor="b" anchorCtr="0"/>
            <a:lstStyle/>
            <a:p>
              <a:pPr algn="ctr" defTabSz="932313">
                <a:defRPr/>
              </a:pPr>
              <a:endParaRPr lang="en-US" sz="800" dirty="0">
                <a:solidFill>
                  <a:schemeClr val="tx1"/>
                </a:solidFill>
                <a:latin typeface="Segoe UI"/>
                <a:ea typeface="Segoe UI" pitchFamily="34" charset="0"/>
                <a:cs typeface="Segoe UI" pitchFamily="34" charset="0"/>
              </a:endParaRPr>
            </a:p>
          </p:txBody>
        </p:sp>
        <p:sp>
          <p:nvSpPr>
            <p:cNvPr id="37" name="TextBox 36"/>
            <p:cNvSpPr txBox="1"/>
            <p:nvPr/>
          </p:nvSpPr>
          <p:spPr>
            <a:xfrm>
              <a:off x="913929" y="2513723"/>
              <a:ext cx="304800" cy="517065"/>
            </a:xfrm>
            <a:prstGeom prst="rect">
              <a:avLst/>
            </a:prstGeom>
            <a:noFill/>
          </p:spPr>
          <p:txBody>
            <a:bodyPr wrap="square" lIns="182857" tIns="146285" rIns="182857" bIns="146285" rtlCol="0">
              <a:spAutoFit/>
            </a:bodyPr>
            <a:lstStyle/>
            <a:p>
              <a:pPr defTabSz="932649">
                <a:lnSpc>
                  <a:spcPct val="90000"/>
                </a:lnSpc>
                <a:spcAft>
                  <a:spcPts val="600"/>
                </a:spcAft>
                <a:defRPr/>
              </a:pPr>
              <a:r>
                <a:rPr lang="en-US" sz="1600" dirty="0">
                  <a:latin typeface="Segoe UI"/>
                </a:rPr>
                <a:t>S</a:t>
              </a:r>
            </a:p>
          </p:txBody>
        </p:sp>
      </p:grpSp>
      <p:grpSp>
        <p:nvGrpSpPr>
          <p:cNvPr id="38" name="Group 37"/>
          <p:cNvGrpSpPr/>
          <p:nvPr/>
        </p:nvGrpSpPr>
        <p:grpSpPr>
          <a:xfrm>
            <a:off x="1511718" y="4685200"/>
            <a:ext cx="390771" cy="516999"/>
            <a:chOff x="913929" y="2513723"/>
            <a:chExt cx="390821" cy="517065"/>
          </a:xfrm>
        </p:grpSpPr>
        <p:sp>
          <p:nvSpPr>
            <p:cNvPr id="39" name="Hexagon 38"/>
            <p:cNvSpPr/>
            <p:nvPr/>
          </p:nvSpPr>
          <p:spPr bwMode="auto">
            <a:xfrm>
              <a:off x="913929" y="2609719"/>
              <a:ext cx="390821" cy="325074"/>
            </a:xfrm>
            <a:prstGeom prst="hexagon">
              <a:avLst/>
            </a:pr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28" tIns="91428" rIns="34290" bIns="34290" rtlCol="0" anchor="b" anchorCtr="0"/>
            <a:lstStyle/>
            <a:p>
              <a:pPr algn="ctr" defTabSz="932313">
                <a:defRPr/>
              </a:pPr>
              <a:endParaRPr lang="en-US" sz="800" dirty="0">
                <a:solidFill>
                  <a:schemeClr val="tx1"/>
                </a:solidFill>
                <a:latin typeface="Segoe UI"/>
                <a:ea typeface="Segoe UI" pitchFamily="34" charset="0"/>
                <a:cs typeface="Segoe UI" pitchFamily="34" charset="0"/>
              </a:endParaRPr>
            </a:p>
          </p:txBody>
        </p:sp>
        <p:sp>
          <p:nvSpPr>
            <p:cNvPr id="40" name="TextBox 39"/>
            <p:cNvSpPr txBox="1"/>
            <p:nvPr/>
          </p:nvSpPr>
          <p:spPr>
            <a:xfrm>
              <a:off x="913929" y="2513723"/>
              <a:ext cx="304800" cy="517065"/>
            </a:xfrm>
            <a:prstGeom prst="rect">
              <a:avLst/>
            </a:prstGeom>
            <a:noFill/>
          </p:spPr>
          <p:txBody>
            <a:bodyPr wrap="square" lIns="182857" tIns="146285" rIns="182857" bIns="146285" rtlCol="0">
              <a:spAutoFit/>
            </a:bodyPr>
            <a:lstStyle/>
            <a:p>
              <a:pPr defTabSz="932649">
                <a:lnSpc>
                  <a:spcPct val="90000"/>
                </a:lnSpc>
                <a:spcAft>
                  <a:spcPts val="600"/>
                </a:spcAft>
                <a:defRPr/>
              </a:pPr>
              <a:r>
                <a:rPr lang="en-US" sz="1600" dirty="0">
                  <a:latin typeface="Segoe UI"/>
                </a:rPr>
                <a:t>S</a:t>
              </a:r>
            </a:p>
          </p:txBody>
        </p:sp>
      </p:grpSp>
      <p:sp>
        <p:nvSpPr>
          <p:cNvPr id="41" name="Freeform 58"/>
          <p:cNvSpPr>
            <a:spLocks/>
          </p:cNvSpPr>
          <p:nvPr/>
        </p:nvSpPr>
        <p:spPr bwMode="auto">
          <a:xfrm rot="20274532" flipH="1">
            <a:off x="7102748" y="3893850"/>
            <a:ext cx="3218737" cy="468979"/>
          </a:xfrm>
          <a:custGeom>
            <a:avLst/>
            <a:gdLst/>
            <a:ahLst/>
            <a:cxnLst>
              <a:cxn ang="0">
                <a:pos x="1104" y="1296"/>
              </a:cxn>
              <a:cxn ang="0">
                <a:pos x="864" y="480"/>
              </a:cxn>
              <a:cxn ang="0">
                <a:pos x="0" y="0"/>
              </a:cxn>
            </a:cxnLst>
            <a:rect l="0" t="0" r="r" b="b"/>
            <a:pathLst>
              <a:path w="1104" h="1296">
                <a:moveTo>
                  <a:pt x="1104" y="1296"/>
                </a:moveTo>
                <a:cubicBezTo>
                  <a:pt x="1076" y="996"/>
                  <a:pt x="1048" y="696"/>
                  <a:pt x="864" y="480"/>
                </a:cubicBezTo>
                <a:cubicBezTo>
                  <a:pt x="680" y="264"/>
                  <a:pt x="340" y="132"/>
                  <a:pt x="0" y="0"/>
                </a:cubicBezTo>
              </a:path>
            </a:pathLst>
          </a:custGeom>
          <a:noFill/>
          <a:ln w="19050" cap="flat" cmpd="sng">
            <a:solidFill>
              <a:srgbClr val="FFC000"/>
            </a:solidFill>
            <a:prstDash val="solid"/>
            <a:round/>
            <a:headEnd type="none" w="med" len="med"/>
            <a:tailEnd type="stealth" w="lg" len="lg"/>
          </a:ln>
          <a:effectLst/>
        </p:spPr>
        <p:txBody>
          <a:bodyPr wrap="square">
            <a:spAutoFit/>
          </a:bodyPr>
          <a:lstStyle/>
          <a:p>
            <a:pPr defTabSz="1243369">
              <a:defRPr/>
            </a:pPr>
            <a:endParaRPr lang="en-US" sz="2448" kern="0">
              <a:latin typeface="Segoe UI"/>
            </a:endParaRPr>
          </a:p>
        </p:txBody>
      </p:sp>
      <p:sp>
        <p:nvSpPr>
          <p:cNvPr id="42" name="Freeform 59"/>
          <p:cNvSpPr>
            <a:spLocks/>
          </p:cNvSpPr>
          <p:nvPr/>
        </p:nvSpPr>
        <p:spPr bwMode="auto">
          <a:xfrm rot="20274532">
            <a:off x="6546436" y="3963370"/>
            <a:ext cx="438478" cy="468979"/>
          </a:xfrm>
          <a:custGeom>
            <a:avLst/>
            <a:gdLst/>
            <a:ahLst/>
            <a:cxnLst>
              <a:cxn ang="0">
                <a:pos x="1104" y="1296"/>
              </a:cxn>
              <a:cxn ang="0">
                <a:pos x="864" y="480"/>
              </a:cxn>
              <a:cxn ang="0">
                <a:pos x="0" y="0"/>
              </a:cxn>
            </a:cxnLst>
            <a:rect l="0" t="0" r="r" b="b"/>
            <a:pathLst>
              <a:path w="1104" h="1296">
                <a:moveTo>
                  <a:pt x="1104" y="1296"/>
                </a:moveTo>
                <a:cubicBezTo>
                  <a:pt x="1076" y="996"/>
                  <a:pt x="1048" y="696"/>
                  <a:pt x="864" y="480"/>
                </a:cubicBezTo>
                <a:cubicBezTo>
                  <a:pt x="680" y="264"/>
                  <a:pt x="340" y="132"/>
                  <a:pt x="0" y="0"/>
                </a:cubicBezTo>
              </a:path>
            </a:pathLst>
          </a:custGeom>
          <a:noFill/>
          <a:ln w="19050" cap="flat" cmpd="sng">
            <a:solidFill>
              <a:srgbClr val="FFC000"/>
            </a:solidFill>
            <a:prstDash val="solid"/>
            <a:round/>
            <a:headEnd type="none" w="med" len="med"/>
            <a:tailEnd type="stealth" w="lg" len="lg"/>
          </a:ln>
          <a:effectLst/>
        </p:spPr>
        <p:txBody>
          <a:bodyPr wrap="square">
            <a:spAutoFit/>
          </a:bodyPr>
          <a:lstStyle/>
          <a:p>
            <a:pPr defTabSz="1243369">
              <a:defRPr/>
            </a:pPr>
            <a:endParaRPr lang="en-US" sz="2448" kern="0">
              <a:latin typeface="Segoe UI"/>
            </a:endParaRPr>
          </a:p>
        </p:txBody>
      </p:sp>
    </p:spTree>
    <p:extLst>
      <p:ext uri="{BB962C8B-B14F-4D97-AF65-F5344CB8AC3E}">
        <p14:creationId xmlns:p14="http://schemas.microsoft.com/office/powerpoint/2010/main" val="213375710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8"/>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21"/>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24"/>
                                        </p:tgtEl>
                                        <p:attrNameLst>
                                          <p:attrName>style.visibility</p:attrName>
                                        </p:attrNameLst>
                                      </p:cBhvr>
                                      <p:to>
                                        <p:strVal val="visible"/>
                                      </p:to>
                                    </p:set>
                                  </p:childTnLst>
                                </p:cTn>
                              </p:par>
                              <p:par>
                                <p:cTn id="11" presetID="1" presetClass="entr" presetSubtype="0" fill="hold" grpId="1" nodeType="withEffect">
                                  <p:stCondLst>
                                    <p:cond delay="0"/>
                                  </p:stCondLst>
                                  <p:childTnLst>
                                    <p:set>
                                      <p:cBhvr>
                                        <p:cTn id="12" dur="1" fill="hold">
                                          <p:stCondLst>
                                            <p:cond delay="0"/>
                                          </p:stCondLst>
                                        </p:cTn>
                                        <p:tgtEl>
                                          <p:spTgt spid="12"/>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7"/>
                                        </p:tgtEl>
                                        <p:attrNameLst>
                                          <p:attrName>style.visibility</p:attrName>
                                        </p:attrNameLst>
                                      </p:cBhvr>
                                      <p:to>
                                        <p:strVal val="visible"/>
                                      </p:to>
                                    </p:set>
                                  </p:childTnLst>
                                </p:cTn>
                              </p:par>
                              <p:par>
                                <p:cTn id="15" presetID="1" presetClass="entr" presetSubtype="0" fill="hold" grpId="1" nodeType="withEffect">
                                  <p:stCondLst>
                                    <p:cond delay="0"/>
                                  </p:stCondLst>
                                  <p:childTnLst>
                                    <p:set>
                                      <p:cBhvr>
                                        <p:cTn id="16" dur="1" fill="hold">
                                          <p:stCondLst>
                                            <p:cond delay="0"/>
                                          </p:stCondLst>
                                        </p:cTn>
                                        <p:tgtEl>
                                          <p:spTgt spid="13"/>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16"/>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32"/>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35"/>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38"/>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31"/>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14"/>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15"/>
                                        </p:tgtEl>
                                        <p:attrNameLst>
                                          <p:attrName>style.visibility</p:attrName>
                                        </p:attrNameLst>
                                      </p:cBhvr>
                                      <p:to>
                                        <p:strVal val="visible"/>
                                      </p:to>
                                    </p:set>
                                  </p:childTnLst>
                                </p:cTn>
                              </p:par>
                              <p:par>
                                <p:cTn id="33" presetID="42" presetClass="path" presetSubtype="0" accel="50000" decel="50000" fill="hold" grpId="0" nodeType="withEffect">
                                  <p:stCondLst>
                                    <p:cond delay="0"/>
                                  </p:stCondLst>
                                  <p:childTnLst>
                                    <p:animMotion origin="layout" path="M 2.2313E-6 2.28779E-6 L 0.22772 -0.19179 " pathEditMode="relative" rAng="0" ptsTypes="AA">
                                      <p:cBhvr>
                                        <p:cTn id="34" dur="2000" fill="hold"/>
                                        <p:tgtEl>
                                          <p:spTgt spid="12"/>
                                        </p:tgtEl>
                                        <p:attrNameLst>
                                          <p:attrName>ppt_x</p:attrName>
                                          <p:attrName>ppt_y</p:attrName>
                                        </p:attrNameLst>
                                      </p:cBhvr>
                                      <p:rCtr x="11386" y="-9601"/>
                                    </p:animMotion>
                                  </p:childTnLst>
                                </p:cTn>
                              </p:par>
                              <p:par>
                                <p:cTn id="35" presetID="42" presetClass="path" presetSubtype="0" accel="50000" decel="50000" fill="hold" grpId="0" nodeType="withEffect">
                                  <p:stCondLst>
                                    <p:cond delay="0"/>
                                  </p:stCondLst>
                                  <p:childTnLst>
                                    <p:animMotion origin="layout" path="M 3.3929E-6 4.22152E-7 L 0.67526 -0.08511 " pathEditMode="relative" rAng="0" ptsTypes="AA">
                                      <p:cBhvr>
                                        <p:cTn id="36" dur="2000" fill="hold"/>
                                        <p:tgtEl>
                                          <p:spTgt spid="13"/>
                                        </p:tgtEl>
                                        <p:attrNameLst>
                                          <p:attrName>ppt_x</p:attrName>
                                          <p:attrName>ppt_y</p:attrName>
                                        </p:attrNameLst>
                                      </p:cBhvr>
                                      <p:rCtr x="33763" y="-4267"/>
                                    </p:animMotion>
                                  </p:childTnLst>
                                </p:cTn>
                              </p:par>
                              <p:par>
                                <p:cTn id="37" presetID="42" presetClass="path" presetSubtype="0" accel="50000" decel="50000" fill="hold" nodeType="withEffect">
                                  <p:stCondLst>
                                    <p:cond delay="0"/>
                                  </p:stCondLst>
                                  <p:childTnLst>
                                    <p:animMotion origin="layout" path="M 2.8772E-6 -2.89605E-6 L 0.46898 -0.39264 " pathEditMode="relative" rAng="0" ptsTypes="AA">
                                      <p:cBhvr>
                                        <p:cTn id="38" dur="2000" fill="hold"/>
                                        <p:tgtEl>
                                          <p:spTgt spid="18"/>
                                        </p:tgtEl>
                                        <p:attrNameLst>
                                          <p:attrName>ppt_x</p:attrName>
                                          <p:attrName>ppt_y</p:attrName>
                                        </p:attrNameLst>
                                      </p:cBhvr>
                                      <p:rCtr x="23449" y="-19632"/>
                                    </p:animMotion>
                                  </p:childTnLst>
                                </p:cTn>
                              </p:par>
                              <p:par>
                                <p:cTn id="39" presetID="42" presetClass="path" presetSubtype="0" accel="50000" decel="50000" fill="hold" nodeType="withEffect">
                                  <p:stCondLst>
                                    <p:cond delay="0"/>
                                  </p:stCondLst>
                                  <p:childTnLst>
                                    <p:animMotion origin="layout" path="M 0.00472 -0.00636 L 0.27776 0.04494 " pathEditMode="relative" rAng="0" ptsTypes="AA">
                                      <p:cBhvr>
                                        <p:cTn id="40" dur="2000" fill="hold"/>
                                        <p:tgtEl>
                                          <p:spTgt spid="21"/>
                                        </p:tgtEl>
                                        <p:attrNameLst>
                                          <p:attrName>ppt_x</p:attrName>
                                          <p:attrName>ppt_y</p:attrName>
                                        </p:attrNameLst>
                                      </p:cBhvr>
                                      <p:rCtr x="13646" y="2565"/>
                                    </p:animMotion>
                                  </p:childTnLst>
                                </p:cTn>
                              </p:par>
                              <p:par>
                                <p:cTn id="41" presetID="42" presetClass="path" presetSubtype="0" accel="50000" decel="50000" fill="hold" nodeType="withEffect">
                                  <p:stCondLst>
                                    <p:cond delay="0"/>
                                  </p:stCondLst>
                                  <p:childTnLst>
                                    <p:animMotion origin="layout" path="M 5.25913E-7 -4.15343E-6 L 0.67743 0.05674 " pathEditMode="relative" rAng="0" ptsTypes="AA">
                                      <p:cBhvr>
                                        <p:cTn id="42" dur="2000" fill="hold"/>
                                        <p:tgtEl>
                                          <p:spTgt spid="24"/>
                                        </p:tgtEl>
                                        <p:attrNameLst>
                                          <p:attrName>ppt_x</p:attrName>
                                          <p:attrName>ppt_y</p:attrName>
                                        </p:attrNameLst>
                                      </p:cBhvr>
                                      <p:rCtr x="33865" y="2837"/>
                                    </p:animMotion>
                                  </p:childTnLst>
                                </p:cTn>
                              </p:par>
                              <p:par>
                                <p:cTn id="43" presetID="42" presetClass="path" presetSubtype="0" accel="50000" decel="50000" fill="hold" nodeType="withEffect">
                                  <p:stCondLst>
                                    <p:cond delay="0"/>
                                  </p:stCondLst>
                                  <p:childTnLst>
                                    <p:animMotion origin="layout" path="M -4.71534E-6 -3.50431E-6 L 0.4732 0.10985 " pathEditMode="relative" rAng="0" ptsTypes="AA">
                                      <p:cBhvr>
                                        <p:cTn id="44" dur="2000" fill="hold"/>
                                        <p:tgtEl>
                                          <p:spTgt spid="32"/>
                                        </p:tgtEl>
                                        <p:attrNameLst>
                                          <p:attrName>ppt_x</p:attrName>
                                          <p:attrName>ppt_y</p:attrName>
                                        </p:attrNameLst>
                                      </p:cBhvr>
                                      <p:rCtr x="23653" y="5493"/>
                                    </p:animMotion>
                                  </p:childTnLst>
                                </p:cTn>
                              </p:par>
                              <p:par>
                                <p:cTn id="45" presetID="42" presetClass="path" presetSubtype="0" accel="50000" decel="50000" fill="hold" nodeType="withEffect">
                                  <p:stCondLst>
                                    <p:cond delay="0"/>
                                  </p:stCondLst>
                                  <p:childTnLst>
                                    <p:animMotion origin="layout" path="M -4.71534E-6 4.22152E-7 L 0.33227 -0.32842 " pathEditMode="relative" rAng="0" ptsTypes="AA">
                                      <p:cBhvr>
                                        <p:cTn id="46" dur="2000" fill="hold"/>
                                        <p:tgtEl>
                                          <p:spTgt spid="35"/>
                                        </p:tgtEl>
                                        <p:attrNameLst>
                                          <p:attrName>ppt_x</p:attrName>
                                          <p:attrName>ppt_y</p:attrName>
                                        </p:attrNameLst>
                                      </p:cBhvr>
                                      <p:rCtr x="16607" y="-16432"/>
                                    </p:animMotion>
                                  </p:childTnLst>
                                </p:cTn>
                              </p:par>
                              <p:par>
                                <p:cTn id="47" presetID="42" presetClass="path" presetSubtype="0" accel="50000" decel="50000" fill="hold" nodeType="withEffect">
                                  <p:stCondLst>
                                    <p:cond delay="0"/>
                                  </p:stCondLst>
                                  <p:childTnLst>
                                    <p:animMotion origin="layout" path="M 0.00128 0.00023 L 0.68267 -0.32864 " pathEditMode="relative" rAng="0" ptsTypes="AA">
                                      <p:cBhvr>
                                        <p:cTn id="48" dur="2000" fill="hold"/>
                                        <p:tgtEl>
                                          <p:spTgt spid="38"/>
                                        </p:tgtEl>
                                        <p:attrNameLst>
                                          <p:attrName>ppt_x</p:attrName>
                                          <p:attrName>ppt_y</p:attrName>
                                        </p:attrNameLst>
                                      </p:cBhvr>
                                      <p:rCtr x="34069" y="-16455"/>
                                    </p:animMotion>
                                  </p:childTnLst>
                                </p:cTn>
                              </p:par>
                            </p:childTnLst>
                          </p:cTn>
                        </p:par>
                      </p:childTnLst>
                    </p:cTn>
                  </p:par>
                  <p:par>
                    <p:cTn id="49" fill="hold">
                      <p:stCondLst>
                        <p:cond delay="indefinite"/>
                      </p:stCondLst>
                      <p:childTnLst>
                        <p:par>
                          <p:cTn id="50" fill="hold">
                            <p:stCondLst>
                              <p:cond delay="0"/>
                            </p:stCondLst>
                            <p:childTnLst>
                              <p:par>
                                <p:cTn id="51" presetID="1" presetClass="entr" presetSubtype="0" fill="hold" grpId="0" nodeType="clickEffect">
                                  <p:stCondLst>
                                    <p:cond delay="0"/>
                                  </p:stCondLst>
                                  <p:childTnLst>
                                    <p:set>
                                      <p:cBhvr>
                                        <p:cTn id="52" dur="1" fill="hold">
                                          <p:stCondLst>
                                            <p:cond delay="0"/>
                                          </p:stCondLst>
                                        </p:cTn>
                                        <p:tgtEl>
                                          <p:spTgt spid="27"/>
                                        </p:tgtEl>
                                        <p:attrNameLst>
                                          <p:attrName>style.visibility</p:attrName>
                                        </p:attrNameLst>
                                      </p:cBhvr>
                                      <p:to>
                                        <p:strVal val="visible"/>
                                      </p:to>
                                    </p:set>
                                  </p:childTnLst>
                                </p:cTn>
                              </p:par>
                              <p:par>
                                <p:cTn id="53" presetID="1" presetClass="entr" presetSubtype="0" fill="hold" grpId="0" nodeType="withEffect">
                                  <p:stCondLst>
                                    <p:cond delay="0"/>
                                  </p:stCondLst>
                                  <p:childTnLst>
                                    <p:set>
                                      <p:cBhvr>
                                        <p:cTn id="54" dur="1" fill="hold">
                                          <p:stCondLst>
                                            <p:cond delay="0"/>
                                          </p:stCondLst>
                                        </p:cTn>
                                        <p:tgtEl>
                                          <p:spTgt spid="28"/>
                                        </p:tgtEl>
                                        <p:attrNameLst>
                                          <p:attrName>style.visibility</p:attrName>
                                        </p:attrNameLst>
                                      </p:cBhvr>
                                      <p:to>
                                        <p:strVal val="visible"/>
                                      </p:to>
                                    </p:set>
                                  </p:childTnLst>
                                </p:cTn>
                              </p:par>
                              <p:par>
                                <p:cTn id="55" presetID="1" presetClass="entr" presetSubtype="0" fill="hold" grpId="0" nodeType="withEffect">
                                  <p:stCondLst>
                                    <p:cond delay="0"/>
                                  </p:stCondLst>
                                  <p:childTnLst>
                                    <p:set>
                                      <p:cBhvr>
                                        <p:cTn id="56" dur="1" fill="hold">
                                          <p:stCondLst>
                                            <p:cond delay="0"/>
                                          </p:stCondLst>
                                        </p:cTn>
                                        <p:tgtEl>
                                          <p:spTgt spid="30"/>
                                        </p:tgtEl>
                                        <p:attrNameLst>
                                          <p:attrName>style.visibility</p:attrName>
                                        </p:attrNameLst>
                                      </p:cBhvr>
                                      <p:to>
                                        <p:strVal val="visible"/>
                                      </p:to>
                                    </p:set>
                                  </p:childTnLst>
                                </p:cTn>
                              </p:par>
                              <p:par>
                                <p:cTn id="57" presetID="1" presetClass="entr" presetSubtype="0" fill="hold" grpId="0" nodeType="withEffect">
                                  <p:stCondLst>
                                    <p:cond delay="0"/>
                                  </p:stCondLst>
                                  <p:childTnLst>
                                    <p:set>
                                      <p:cBhvr>
                                        <p:cTn id="58" dur="1" fill="hold">
                                          <p:stCondLst>
                                            <p:cond delay="0"/>
                                          </p:stCondLst>
                                        </p:cTn>
                                        <p:tgtEl>
                                          <p:spTgt spid="29"/>
                                        </p:tgtEl>
                                        <p:attrNameLst>
                                          <p:attrName>style.visibility</p:attrName>
                                        </p:attrNameLst>
                                      </p:cBhvr>
                                      <p:to>
                                        <p:strVal val="visible"/>
                                      </p:to>
                                    </p:set>
                                  </p:childTnLst>
                                </p:cTn>
                              </p:par>
                              <p:par>
                                <p:cTn id="59" presetID="1" presetClass="entr" presetSubtype="0" fill="hold" grpId="0" nodeType="withEffect">
                                  <p:stCondLst>
                                    <p:cond delay="0"/>
                                  </p:stCondLst>
                                  <p:childTnLst>
                                    <p:set>
                                      <p:cBhvr>
                                        <p:cTn id="60" dur="1" fill="hold">
                                          <p:stCondLst>
                                            <p:cond delay="0"/>
                                          </p:stCondLst>
                                        </p:cTn>
                                        <p:tgtEl>
                                          <p:spTgt spid="41"/>
                                        </p:tgtEl>
                                        <p:attrNameLst>
                                          <p:attrName>style.visibility</p:attrName>
                                        </p:attrNameLst>
                                      </p:cBhvr>
                                      <p:to>
                                        <p:strVal val="visible"/>
                                      </p:to>
                                    </p:set>
                                  </p:childTnLst>
                                </p:cTn>
                              </p:par>
                              <p:par>
                                <p:cTn id="61" presetID="1" presetClass="entr" presetSubtype="0" fill="hold" grpId="0" nodeType="withEffect">
                                  <p:stCondLst>
                                    <p:cond delay="0"/>
                                  </p:stCondLst>
                                  <p:childTnLst>
                                    <p:set>
                                      <p:cBhvr>
                                        <p:cTn id="62" dur="1" fill="hold">
                                          <p:stCondLst>
                                            <p:cond delay="0"/>
                                          </p:stCondLst>
                                        </p:cTn>
                                        <p:tgtEl>
                                          <p:spTgt spid="4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2" grpId="1" animBg="1"/>
      <p:bldP spid="13" grpId="0" animBg="1"/>
      <p:bldP spid="13" grpId="1" animBg="1"/>
      <p:bldP spid="14" grpId="0" animBg="1"/>
      <p:bldP spid="15" grpId="0" animBg="1"/>
      <p:bldP spid="16" grpId="0"/>
      <p:bldP spid="17" grpId="0" animBg="1"/>
      <p:bldP spid="27" grpId="0" animBg="1"/>
      <p:bldP spid="28" grpId="0" animBg="1"/>
      <p:bldP spid="29" grpId="0"/>
      <p:bldP spid="30" grpId="0"/>
      <p:bldP spid="31" grpId="0" animBg="1"/>
      <p:bldP spid="41" grpId="0" animBg="1"/>
      <p:bldP spid="42" grpId="0" animBg="1"/>
    </p:bldLst>
  </p:timing>
</p:sld>
</file>

<file path=ppt/slides/slide12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366169" y="1212851"/>
            <a:ext cx="10325278" cy="2400657"/>
          </a:xfrm>
        </p:spPr>
        <p:txBody>
          <a:bodyPr/>
          <a:lstStyle/>
          <a:p>
            <a:r>
              <a:rPr lang="en-US" dirty="0"/>
              <a:t>Services can be partitioned for scale-out</a:t>
            </a:r>
          </a:p>
          <a:p>
            <a:r>
              <a:rPr lang="en-US" dirty="0"/>
              <a:t>You can choose your own partitioning scheme</a:t>
            </a:r>
          </a:p>
          <a:p>
            <a:r>
              <a:rPr lang="en-US" dirty="0"/>
              <a:t>Service partitions are striped across machines in the cluster</a:t>
            </a:r>
          </a:p>
        </p:txBody>
      </p:sp>
      <p:sp>
        <p:nvSpPr>
          <p:cNvPr id="3" name="Title 2"/>
          <p:cNvSpPr>
            <a:spLocks noGrp="1"/>
          </p:cNvSpPr>
          <p:nvPr>
            <p:ph type="title"/>
          </p:nvPr>
        </p:nvSpPr>
        <p:spPr/>
        <p:txBody>
          <a:bodyPr/>
          <a:lstStyle/>
          <a:p>
            <a:r>
              <a:rPr lang="en-US" dirty="0"/>
              <a:t>Service partitioning</a:t>
            </a:r>
          </a:p>
        </p:txBody>
      </p:sp>
      <p:sp>
        <p:nvSpPr>
          <p:cNvPr id="30" name="Rounded Rectangle 5"/>
          <p:cNvSpPr/>
          <p:nvPr/>
        </p:nvSpPr>
        <p:spPr>
          <a:xfrm>
            <a:off x="8231565" y="3815876"/>
            <a:ext cx="1532236" cy="2907327"/>
          </a:xfrm>
          <a:prstGeom prst="roundRect">
            <a:avLst/>
          </a:prstGeom>
          <a:solidFill>
            <a:schemeClr val="tx1"/>
          </a:solidFill>
          <a:ln w="9525" cap="flat" cmpd="sng" algn="ctr">
            <a:noFill/>
            <a:prstDash val="solid"/>
          </a:ln>
          <a:effectLst/>
        </p:spPr>
        <p:txBody>
          <a:bodyPr rtlCol="0" anchor="t"/>
          <a:lstStyle/>
          <a:p>
            <a:pPr algn="ctr" defTabSz="1243369">
              <a:defRPr/>
            </a:pPr>
            <a:r>
              <a:rPr lang="en-US" sz="2000" kern="0" dirty="0">
                <a:solidFill>
                  <a:srgbClr val="FFFFFF"/>
                </a:solidFill>
                <a:latin typeface="Segoe UI Light"/>
              </a:rPr>
              <a:t>Node 5</a:t>
            </a:r>
          </a:p>
        </p:txBody>
      </p:sp>
      <p:sp>
        <p:nvSpPr>
          <p:cNvPr id="31" name="Rounded Rectangle 6"/>
          <p:cNvSpPr/>
          <p:nvPr/>
        </p:nvSpPr>
        <p:spPr>
          <a:xfrm>
            <a:off x="6371112" y="3815876"/>
            <a:ext cx="1532236" cy="2907327"/>
          </a:xfrm>
          <a:prstGeom prst="roundRect">
            <a:avLst/>
          </a:prstGeom>
          <a:solidFill>
            <a:schemeClr val="tx1"/>
          </a:solidFill>
          <a:ln w="9525" cap="flat" cmpd="sng" algn="ctr">
            <a:noFill/>
            <a:prstDash val="solid"/>
          </a:ln>
          <a:effectLst/>
        </p:spPr>
        <p:txBody>
          <a:bodyPr rtlCol="0" anchor="t"/>
          <a:lstStyle/>
          <a:p>
            <a:pPr algn="ctr" defTabSz="1243369">
              <a:defRPr/>
            </a:pPr>
            <a:r>
              <a:rPr lang="en-US" sz="2000" kern="0" dirty="0">
                <a:solidFill>
                  <a:srgbClr val="FFFFFF"/>
                </a:solidFill>
                <a:latin typeface="Segoe UI Light"/>
              </a:rPr>
              <a:t>Node 4</a:t>
            </a:r>
          </a:p>
        </p:txBody>
      </p:sp>
      <p:sp>
        <p:nvSpPr>
          <p:cNvPr id="32" name="Rounded Rectangle 7"/>
          <p:cNvSpPr/>
          <p:nvPr/>
        </p:nvSpPr>
        <p:spPr>
          <a:xfrm>
            <a:off x="4510660" y="3815876"/>
            <a:ext cx="1532236" cy="2907327"/>
          </a:xfrm>
          <a:prstGeom prst="roundRect">
            <a:avLst/>
          </a:prstGeom>
          <a:solidFill>
            <a:schemeClr val="tx1"/>
          </a:solidFill>
          <a:ln w="9525" cap="flat" cmpd="sng" algn="ctr">
            <a:noFill/>
            <a:prstDash val="solid"/>
          </a:ln>
          <a:effectLst/>
        </p:spPr>
        <p:txBody>
          <a:bodyPr rtlCol="0" anchor="t"/>
          <a:lstStyle/>
          <a:p>
            <a:pPr algn="ctr" defTabSz="1243369">
              <a:defRPr/>
            </a:pPr>
            <a:r>
              <a:rPr lang="en-US" sz="2000" kern="0" dirty="0">
                <a:solidFill>
                  <a:srgbClr val="FFFFFF"/>
                </a:solidFill>
                <a:latin typeface="Segoe UI Light"/>
              </a:rPr>
              <a:t>Node 3</a:t>
            </a:r>
          </a:p>
        </p:txBody>
      </p:sp>
      <p:sp>
        <p:nvSpPr>
          <p:cNvPr id="33" name="Rounded Rectangle 8"/>
          <p:cNvSpPr/>
          <p:nvPr/>
        </p:nvSpPr>
        <p:spPr>
          <a:xfrm>
            <a:off x="10092019" y="3815876"/>
            <a:ext cx="1532236" cy="2907327"/>
          </a:xfrm>
          <a:prstGeom prst="roundRect">
            <a:avLst/>
          </a:prstGeom>
          <a:solidFill>
            <a:schemeClr val="tx1"/>
          </a:solidFill>
          <a:ln w="9525" cap="flat" cmpd="sng" algn="ctr">
            <a:noFill/>
            <a:prstDash val="solid"/>
          </a:ln>
          <a:effectLst/>
        </p:spPr>
        <p:txBody>
          <a:bodyPr rtlCol="0" anchor="t"/>
          <a:lstStyle/>
          <a:p>
            <a:pPr algn="ctr" defTabSz="1243369">
              <a:defRPr/>
            </a:pPr>
            <a:r>
              <a:rPr lang="en-US" sz="2000" kern="0" dirty="0">
                <a:solidFill>
                  <a:srgbClr val="FFFFFF"/>
                </a:solidFill>
                <a:latin typeface="Segoe UI Light"/>
              </a:rPr>
              <a:t>Node 6</a:t>
            </a:r>
          </a:p>
        </p:txBody>
      </p:sp>
      <p:sp>
        <p:nvSpPr>
          <p:cNvPr id="34" name="Rounded Rectangle 9"/>
          <p:cNvSpPr/>
          <p:nvPr/>
        </p:nvSpPr>
        <p:spPr>
          <a:xfrm>
            <a:off x="2650206" y="3815876"/>
            <a:ext cx="1532236" cy="2907327"/>
          </a:xfrm>
          <a:prstGeom prst="roundRect">
            <a:avLst/>
          </a:prstGeom>
          <a:solidFill>
            <a:schemeClr val="tx1"/>
          </a:solidFill>
          <a:ln w="9525" cap="flat" cmpd="sng" algn="ctr">
            <a:noFill/>
            <a:prstDash val="solid"/>
          </a:ln>
          <a:effectLst/>
        </p:spPr>
        <p:txBody>
          <a:bodyPr rtlCol="0" anchor="t"/>
          <a:lstStyle/>
          <a:p>
            <a:pPr algn="ctr" defTabSz="1243369">
              <a:defRPr/>
            </a:pPr>
            <a:r>
              <a:rPr lang="en-US" sz="2000" kern="0" dirty="0">
                <a:solidFill>
                  <a:srgbClr val="FFFFFF"/>
                </a:solidFill>
                <a:latin typeface="Segoe UI Light"/>
              </a:rPr>
              <a:t>Node 2</a:t>
            </a:r>
          </a:p>
        </p:txBody>
      </p:sp>
      <p:sp>
        <p:nvSpPr>
          <p:cNvPr id="35" name="Rounded Rectangle 10"/>
          <p:cNvSpPr/>
          <p:nvPr/>
        </p:nvSpPr>
        <p:spPr>
          <a:xfrm>
            <a:off x="763662" y="3802023"/>
            <a:ext cx="1532236" cy="2907327"/>
          </a:xfrm>
          <a:prstGeom prst="roundRect">
            <a:avLst/>
          </a:prstGeom>
          <a:solidFill>
            <a:schemeClr val="tx1"/>
          </a:solidFill>
          <a:ln w="9525" cap="flat" cmpd="sng" algn="ctr">
            <a:noFill/>
            <a:prstDash val="solid"/>
          </a:ln>
          <a:effectLst/>
        </p:spPr>
        <p:txBody>
          <a:bodyPr rtlCol="0" anchor="t"/>
          <a:lstStyle/>
          <a:p>
            <a:pPr algn="ctr" defTabSz="1243369">
              <a:defRPr/>
            </a:pPr>
            <a:r>
              <a:rPr lang="en-US" sz="2000" kern="0" dirty="0">
                <a:solidFill>
                  <a:srgbClr val="FFFFFF"/>
                </a:solidFill>
                <a:latin typeface="Segoe UI Light"/>
              </a:rPr>
              <a:t>Node 1</a:t>
            </a:r>
          </a:p>
        </p:txBody>
      </p:sp>
      <p:sp>
        <p:nvSpPr>
          <p:cNvPr id="36" name="Rectangle 35"/>
          <p:cNvSpPr/>
          <p:nvPr/>
        </p:nvSpPr>
        <p:spPr>
          <a:xfrm>
            <a:off x="2844897" y="4545216"/>
            <a:ext cx="1142854" cy="320339"/>
          </a:xfrm>
          <a:prstGeom prst="rect">
            <a:avLst/>
          </a:prstGeom>
          <a:solidFill>
            <a:schemeClr val="accent5"/>
          </a:solidFill>
          <a:ln w="19050" cap="flat" cmpd="sng" algn="ctr">
            <a:solidFill>
              <a:schemeClr val="tx1"/>
            </a:solidFill>
            <a:prstDash val="solid"/>
          </a:ln>
          <a:effectLst>
            <a:outerShdw blurRad="50800" dist="43000" dir="5400000" rotWithShape="0">
              <a:srgbClr val="000000">
                <a:alpha val="40000"/>
              </a:srgbClr>
            </a:outerShdw>
          </a:effectLst>
          <a:scene3d>
            <a:camera prst="orthographicFront" fov="0">
              <a:rot lat="0" lon="0" rev="0"/>
            </a:camera>
            <a:lightRig rig="balanced" dir="t">
              <a:rot lat="0" lon="0" rev="0"/>
            </a:lightRig>
          </a:scene3d>
          <a:sp3d prstMaterial="matte">
            <a:bevelT w="0" h="0"/>
            <a:contourClr>
              <a:srgbClr val="9BBB59">
                <a:tint val="100000"/>
                <a:shade val="100000"/>
                <a:hueMod val="100000"/>
                <a:satMod val="100000"/>
              </a:srgbClr>
            </a:contourClr>
          </a:sp3d>
        </p:spPr>
        <p:txBody>
          <a:bodyPr rtlCol="0" anchor="ctr"/>
          <a:lstStyle/>
          <a:p>
            <a:pPr algn="ctr" defTabSz="1243369">
              <a:defRPr/>
            </a:pPr>
            <a:r>
              <a:rPr lang="en-US" sz="2448" kern="0" dirty="0">
                <a:solidFill>
                  <a:sysClr val="window" lastClr="FFFFFF"/>
                </a:solidFill>
                <a:latin typeface="Segoe UI Light"/>
              </a:rPr>
              <a:t>P2</a:t>
            </a:r>
          </a:p>
        </p:txBody>
      </p:sp>
      <p:sp>
        <p:nvSpPr>
          <p:cNvPr id="37" name="Rectangle 36"/>
          <p:cNvSpPr/>
          <p:nvPr/>
        </p:nvSpPr>
        <p:spPr>
          <a:xfrm>
            <a:off x="4704586" y="5460869"/>
            <a:ext cx="1142854" cy="320339"/>
          </a:xfrm>
          <a:prstGeom prst="rect">
            <a:avLst/>
          </a:prstGeom>
          <a:solidFill>
            <a:schemeClr val="accent6"/>
          </a:solidFill>
          <a:ln w="9525" cap="flat" cmpd="sng" algn="ctr">
            <a:noFill/>
            <a:prstDash val="solid"/>
          </a:ln>
          <a:effectLst>
            <a:outerShdw blurRad="50800" dist="43000" dir="5400000" rotWithShape="0">
              <a:srgbClr val="000000">
                <a:alpha val="40000"/>
              </a:srgbClr>
            </a:outerShdw>
          </a:effectLst>
          <a:scene3d>
            <a:camera prst="orthographicFront" fov="0">
              <a:rot lat="0" lon="0" rev="0"/>
            </a:camera>
            <a:lightRig rig="balanced" dir="t">
              <a:rot lat="0" lon="0" rev="0"/>
            </a:lightRig>
          </a:scene3d>
          <a:sp3d prstMaterial="matte">
            <a:bevelT w="0" h="0"/>
            <a:contourClr>
              <a:srgbClr val="F79646">
                <a:tint val="100000"/>
                <a:shade val="100000"/>
                <a:hueMod val="100000"/>
                <a:satMod val="100000"/>
              </a:srgbClr>
            </a:contourClr>
          </a:sp3d>
        </p:spPr>
        <p:txBody>
          <a:bodyPr rtlCol="0" anchor="ctr"/>
          <a:lstStyle/>
          <a:p>
            <a:pPr algn="ctr" defTabSz="1243369">
              <a:defRPr/>
            </a:pPr>
            <a:r>
              <a:rPr lang="en-US" sz="2448" kern="0" dirty="0">
                <a:solidFill>
                  <a:sysClr val="window" lastClr="FFFFFF"/>
                </a:solidFill>
                <a:latin typeface="Segoe UI Light"/>
              </a:rPr>
              <a:t>S</a:t>
            </a:r>
          </a:p>
        </p:txBody>
      </p:sp>
      <p:sp>
        <p:nvSpPr>
          <p:cNvPr id="38" name="Rectangle 37"/>
          <p:cNvSpPr/>
          <p:nvPr/>
        </p:nvSpPr>
        <p:spPr>
          <a:xfrm>
            <a:off x="6535240" y="4549136"/>
            <a:ext cx="1142854" cy="320339"/>
          </a:xfrm>
          <a:prstGeom prst="rect">
            <a:avLst/>
          </a:prstGeom>
          <a:solidFill>
            <a:schemeClr val="tx2"/>
          </a:solidFill>
          <a:ln w="9525" cap="flat" cmpd="sng" algn="ctr">
            <a:noFill/>
            <a:prstDash val="solid"/>
          </a:ln>
          <a:effectLst>
            <a:outerShdw blurRad="50800" dist="43000" dir="5400000" rotWithShape="0">
              <a:srgbClr val="000000">
                <a:alpha val="40000"/>
              </a:srgbClr>
            </a:outerShdw>
          </a:effectLst>
          <a:scene3d>
            <a:camera prst="orthographicFront" fov="0">
              <a:rot lat="0" lon="0" rev="0"/>
            </a:camera>
            <a:lightRig rig="balanced" dir="t">
              <a:rot lat="0" lon="0" rev="0"/>
            </a:lightRig>
          </a:scene3d>
          <a:sp3d prstMaterial="matte">
            <a:bevelT w="0" h="0"/>
            <a:contourClr>
              <a:srgbClr val="C0504D">
                <a:tint val="100000"/>
                <a:shade val="100000"/>
                <a:hueMod val="100000"/>
                <a:satMod val="100000"/>
              </a:srgbClr>
            </a:contourClr>
          </a:sp3d>
        </p:spPr>
        <p:txBody>
          <a:bodyPr rtlCol="0" anchor="ctr"/>
          <a:lstStyle/>
          <a:p>
            <a:pPr algn="ctr" defTabSz="1243369">
              <a:defRPr/>
            </a:pPr>
            <a:r>
              <a:rPr lang="en-US" sz="2448" kern="0" dirty="0">
                <a:solidFill>
                  <a:sysClr val="window" lastClr="FFFFFF"/>
                </a:solidFill>
                <a:latin typeface="Segoe UI Light"/>
              </a:rPr>
              <a:t>S</a:t>
            </a:r>
          </a:p>
        </p:txBody>
      </p:sp>
      <p:sp>
        <p:nvSpPr>
          <p:cNvPr id="39" name="Rectangle 38"/>
          <p:cNvSpPr/>
          <p:nvPr/>
        </p:nvSpPr>
        <p:spPr>
          <a:xfrm>
            <a:off x="2831852" y="5007245"/>
            <a:ext cx="1142854" cy="320339"/>
          </a:xfrm>
          <a:prstGeom prst="rect">
            <a:avLst/>
          </a:prstGeom>
          <a:solidFill>
            <a:schemeClr val="accent6"/>
          </a:solidFill>
          <a:ln w="9525" cap="flat" cmpd="sng" algn="ctr">
            <a:noFill/>
            <a:prstDash val="solid"/>
          </a:ln>
          <a:effectLst>
            <a:outerShdw blurRad="50800" dist="43000" dir="5400000" rotWithShape="0">
              <a:srgbClr val="000000">
                <a:alpha val="40000"/>
              </a:srgbClr>
            </a:outerShdw>
          </a:effectLst>
          <a:scene3d>
            <a:camera prst="orthographicFront" fov="0">
              <a:rot lat="0" lon="0" rev="0"/>
            </a:camera>
            <a:lightRig rig="balanced" dir="t">
              <a:rot lat="0" lon="0" rev="0"/>
            </a:lightRig>
          </a:scene3d>
          <a:sp3d prstMaterial="matte">
            <a:bevelT w="0" h="0"/>
            <a:contourClr>
              <a:srgbClr val="F79646">
                <a:tint val="100000"/>
                <a:shade val="100000"/>
                <a:hueMod val="100000"/>
                <a:satMod val="100000"/>
              </a:srgbClr>
            </a:contourClr>
          </a:sp3d>
        </p:spPr>
        <p:txBody>
          <a:bodyPr rtlCol="0" anchor="ctr"/>
          <a:lstStyle/>
          <a:p>
            <a:pPr algn="ctr" defTabSz="1243369">
              <a:defRPr/>
            </a:pPr>
            <a:r>
              <a:rPr lang="en-US" sz="2448" kern="0" dirty="0">
                <a:solidFill>
                  <a:sysClr val="window" lastClr="FFFFFF"/>
                </a:solidFill>
                <a:latin typeface="Segoe UI Light"/>
              </a:rPr>
              <a:t>S</a:t>
            </a:r>
          </a:p>
        </p:txBody>
      </p:sp>
      <p:sp>
        <p:nvSpPr>
          <p:cNvPr id="40" name="Rectangle 39"/>
          <p:cNvSpPr/>
          <p:nvPr/>
        </p:nvSpPr>
        <p:spPr>
          <a:xfrm>
            <a:off x="969433" y="5460869"/>
            <a:ext cx="1142854" cy="320339"/>
          </a:xfrm>
          <a:prstGeom prst="rect">
            <a:avLst/>
          </a:prstGeom>
          <a:solidFill>
            <a:schemeClr val="accent1"/>
          </a:solidFill>
          <a:ln w="19050" cap="flat" cmpd="sng" algn="ctr">
            <a:solidFill>
              <a:schemeClr val="tx1"/>
            </a:solidFill>
            <a:prstDash val="solid"/>
          </a:ln>
          <a:effectLst>
            <a:outerShdw blurRad="38100" dist="25400" dir="5400000" rotWithShape="0">
              <a:srgbClr val="000000">
                <a:alpha val="40000"/>
              </a:srgbClr>
            </a:outerShdw>
          </a:effectLst>
        </p:spPr>
        <p:txBody>
          <a:bodyPr rtlCol="0" anchor="ctr"/>
          <a:lstStyle/>
          <a:p>
            <a:pPr algn="ctr" defTabSz="1243369">
              <a:defRPr/>
            </a:pPr>
            <a:r>
              <a:rPr lang="en-US" sz="2448" kern="0" dirty="0">
                <a:solidFill>
                  <a:sysClr val="windowText" lastClr="000000"/>
                </a:solidFill>
                <a:latin typeface="Segoe UI Light"/>
              </a:rPr>
              <a:t>P4</a:t>
            </a:r>
          </a:p>
        </p:txBody>
      </p:sp>
      <p:sp>
        <p:nvSpPr>
          <p:cNvPr id="41" name="Rectangle 40"/>
          <p:cNvSpPr/>
          <p:nvPr/>
        </p:nvSpPr>
        <p:spPr>
          <a:xfrm>
            <a:off x="4702118" y="5007245"/>
            <a:ext cx="1142854" cy="320339"/>
          </a:xfrm>
          <a:prstGeom prst="rect">
            <a:avLst/>
          </a:prstGeom>
          <a:solidFill>
            <a:schemeClr val="accent5"/>
          </a:solidFill>
          <a:ln w="9525" cap="flat" cmpd="sng" algn="ctr">
            <a:noFill/>
            <a:prstDash val="solid"/>
          </a:ln>
          <a:effectLst>
            <a:outerShdw blurRad="50800" dist="43000" dir="5400000" rotWithShape="0">
              <a:srgbClr val="000000">
                <a:alpha val="40000"/>
              </a:srgbClr>
            </a:outerShdw>
          </a:effectLst>
          <a:scene3d>
            <a:camera prst="orthographicFront" fov="0">
              <a:rot lat="0" lon="0" rev="0"/>
            </a:camera>
            <a:lightRig rig="balanced" dir="t">
              <a:rot lat="0" lon="0" rev="0"/>
            </a:lightRig>
          </a:scene3d>
          <a:sp3d prstMaterial="matte">
            <a:bevelT w="0" h="0"/>
            <a:contourClr>
              <a:srgbClr val="9BBB59">
                <a:tint val="100000"/>
                <a:shade val="100000"/>
                <a:hueMod val="100000"/>
                <a:satMod val="100000"/>
              </a:srgbClr>
            </a:contourClr>
          </a:sp3d>
        </p:spPr>
        <p:txBody>
          <a:bodyPr rtlCol="0" anchor="ctr"/>
          <a:lstStyle/>
          <a:p>
            <a:pPr algn="ctr" defTabSz="1243369">
              <a:defRPr/>
            </a:pPr>
            <a:r>
              <a:rPr lang="en-US" sz="2448" kern="0" dirty="0">
                <a:solidFill>
                  <a:sysClr val="window" lastClr="FFFFFF"/>
                </a:solidFill>
                <a:latin typeface="Segoe UI Light"/>
              </a:rPr>
              <a:t>S</a:t>
            </a:r>
          </a:p>
        </p:txBody>
      </p:sp>
      <p:sp>
        <p:nvSpPr>
          <p:cNvPr id="42" name="Rectangle 41"/>
          <p:cNvSpPr/>
          <p:nvPr/>
        </p:nvSpPr>
        <p:spPr>
          <a:xfrm>
            <a:off x="4702118" y="4553621"/>
            <a:ext cx="1142854" cy="320339"/>
          </a:xfrm>
          <a:prstGeom prst="rect">
            <a:avLst/>
          </a:prstGeom>
          <a:solidFill>
            <a:schemeClr val="tx2"/>
          </a:solidFill>
          <a:ln w="19050" cap="flat" cmpd="sng" algn="ctr">
            <a:solidFill>
              <a:schemeClr val="tx1"/>
            </a:solidFill>
            <a:prstDash val="solid"/>
          </a:ln>
          <a:effectLst>
            <a:outerShdw blurRad="50800" dist="43000" dir="5400000" rotWithShape="0">
              <a:srgbClr val="000000">
                <a:alpha val="40000"/>
              </a:srgbClr>
            </a:outerShdw>
          </a:effectLst>
          <a:scene3d>
            <a:camera prst="orthographicFront" fov="0">
              <a:rot lat="0" lon="0" rev="0"/>
            </a:camera>
            <a:lightRig rig="balanced" dir="t">
              <a:rot lat="0" lon="0" rev="0"/>
            </a:lightRig>
          </a:scene3d>
          <a:sp3d prstMaterial="matte">
            <a:bevelT w="0" h="0"/>
            <a:contourClr>
              <a:srgbClr val="C0504D">
                <a:tint val="100000"/>
                <a:shade val="100000"/>
                <a:hueMod val="100000"/>
                <a:satMod val="100000"/>
              </a:srgbClr>
            </a:contourClr>
          </a:sp3d>
        </p:spPr>
        <p:txBody>
          <a:bodyPr rtlCol="0" anchor="ctr"/>
          <a:lstStyle/>
          <a:p>
            <a:pPr algn="ctr" defTabSz="1243369">
              <a:defRPr/>
            </a:pPr>
            <a:r>
              <a:rPr lang="en-US" sz="2448" kern="0" dirty="0">
                <a:solidFill>
                  <a:sysClr val="window" lastClr="FFFFFF"/>
                </a:solidFill>
                <a:latin typeface="Segoe UI Light"/>
              </a:rPr>
              <a:t>P1</a:t>
            </a:r>
          </a:p>
        </p:txBody>
      </p:sp>
      <p:sp>
        <p:nvSpPr>
          <p:cNvPr id="43" name="Rectangle 42"/>
          <p:cNvSpPr/>
          <p:nvPr/>
        </p:nvSpPr>
        <p:spPr>
          <a:xfrm>
            <a:off x="2844897" y="5458080"/>
            <a:ext cx="1142854" cy="320339"/>
          </a:xfrm>
          <a:prstGeom prst="rect">
            <a:avLst/>
          </a:prstGeom>
          <a:solidFill>
            <a:schemeClr val="accent1"/>
          </a:solidFill>
          <a:ln w="9525" cap="flat" cmpd="sng" algn="ctr">
            <a:noFill/>
            <a:prstDash val="solid"/>
          </a:ln>
          <a:effectLst>
            <a:outerShdw blurRad="38100" dist="25400" dir="5400000" rotWithShape="0">
              <a:srgbClr val="000000">
                <a:alpha val="40000"/>
              </a:srgbClr>
            </a:outerShdw>
          </a:effectLst>
        </p:spPr>
        <p:txBody>
          <a:bodyPr rtlCol="0" anchor="ctr"/>
          <a:lstStyle/>
          <a:p>
            <a:pPr algn="ctr" defTabSz="1243369">
              <a:defRPr/>
            </a:pPr>
            <a:r>
              <a:rPr lang="en-US" sz="2448" kern="0" dirty="0">
                <a:solidFill>
                  <a:sysClr val="windowText" lastClr="000000"/>
                </a:solidFill>
                <a:latin typeface="Segoe UI Light"/>
              </a:rPr>
              <a:t>S</a:t>
            </a:r>
          </a:p>
        </p:txBody>
      </p:sp>
      <p:sp>
        <p:nvSpPr>
          <p:cNvPr id="44" name="Rectangle 43"/>
          <p:cNvSpPr/>
          <p:nvPr/>
        </p:nvSpPr>
        <p:spPr>
          <a:xfrm>
            <a:off x="6535240" y="5007245"/>
            <a:ext cx="1142854" cy="320339"/>
          </a:xfrm>
          <a:prstGeom prst="rect">
            <a:avLst/>
          </a:prstGeom>
          <a:solidFill>
            <a:schemeClr val="accent6"/>
          </a:solidFill>
          <a:ln w="19050" cap="flat" cmpd="sng" algn="ctr">
            <a:solidFill>
              <a:schemeClr val="tx1"/>
            </a:solidFill>
            <a:prstDash val="solid"/>
          </a:ln>
          <a:effectLst>
            <a:outerShdw blurRad="50800" dist="43000" dir="5400000" rotWithShape="0">
              <a:srgbClr val="000000">
                <a:alpha val="40000"/>
              </a:srgbClr>
            </a:outerShdw>
          </a:effectLst>
          <a:scene3d>
            <a:camera prst="orthographicFront" fov="0">
              <a:rot lat="0" lon="0" rev="0"/>
            </a:camera>
            <a:lightRig rig="balanced" dir="t">
              <a:rot lat="0" lon="0" rev="0"/>
            </a:lightRig>
          </a:scene3d>
          <a:sp3d prstMaterial="matte">
            <a:bevelT w="0" h="0"/>
            <a:contourClr>
              <a:srgbClr val="F79646">
                <a:tint val="100000"/>
                <a:shade val="100000"/>
                <a:hueMod val="100000"/>
                <a:satMod val="100000"/>
              </a:srgbClr>
            </a:contourClr>
          </a:sp3d>
        </p:spPr>
        <p:txBody>
          <a:bodyPr rtlCol="0" anchor="ctr"/>
          <a:lstStyle/>
          <a:p>
            <a:pPr algn="ctr" defTabSz="1243369">
              <a:defRPr/>
            </a:pPr>
            <a:r>
              <a:rPr lang="en-US" sz="2448" kern="0" dirty="0">
                <a:solidFill>
                  <a:sysClr val="window" lastClr="FFFFFF"/>
                </a:solidFill>
                <a:latin typeface="Segoe UI Light"/>
              </a:rPr>
              <a:t>P3</a:t>
            </a:r>
          </a:p>
        </p:txBody>
      </p:sp>
      <p:sp>
        <p:nvSpPr>
          <p:cNvPr id="45" name="Rectangle 44"/>
          <p:cNvSpPr/>
          <p:nvPr/>
        </p:nvSpPr>
        <p:spPr>
          <a:xfrm>
            <a:off x="969433" y="5007245"/>
            <a:ext cx="1142854" cy="320339"/>
          </a:xfrm>
          <a:prstGeom prst="rect">
            <a:avLst/>
          </a:prstGeom>
          <a:solidFill>
            <a:schemeClr val="accent5"/>
          </a:solidFill>
          <a:ln w="9525" cap="flat" cmpd="sng" algn="ctr">
            <a:noFill/>
            <a:prstDash val="solid"/>
          </a:ln>
          <a:effectLst>
            <a:outerShdw blurRad="50800" dist="43000" dir="5400000" rotWithShape="0">
              <a:srgbClr val="000000">
                <a:alpha val="40000"/>
              </a:srgbClr>
            </a:outerShdw>
          </a:effectLst>
          <a:scene3d>
            <a:camera prst="orthographicFront" fov="0">
              <a:rot lat="0" lon="0" rev="0"/>
            </a:camera>
            <a:lightRig rig="balanced" dir="t">
              <a:rot lat="0" lon="0" rev="0"/>
            </a:lightRig>
          </a:scene3d>
          <a:sp3d prstMaterial="matte">
            <a:bevelT w="0" h="0"/>
            <a:contourClr>
              <a:srgbClr val="9BBB59">
                <a:tint val="100000"/>
                <a:shade val="100000"/>
                <a:hueMod val="100000"/>
                <a:satMod val="100000"/>
              </a:srgbClr>
            </a:contourClr>
          </a:sp3d>
        </p:spPr>
        <p:txBody>
          <a:bodyPr rtlCol="0" anchor="ctr"/>
          <a:lstStyle/>
          <a:p>
            <a:pPr algn="ctr" defTabSz="1243369">
              <a:defRPr/>
            </a:pPr>
            <a:r>
              <a:rPr lang="en-US" sz="2448" kern="0" dirty="0">
                <a:solidFill>
                  <a:sysClr val="window" lastClr="FFFFFF"/>
                </a:solidFill>
                <a:latin typeface="Segoe UI Light"/>
              </a:rPr>
              <a:t>S</a:t>
            </a:r>
          </a:p>
        </p:txBody>
      </p:sp>
      <p:sp>
        <p:nvSpPr>
          <p:cNvPr id="46" name="Rectangle 45"/>
          <p:cNvSpPr/>
          <p:nvPr/>
        </p:nvSpPr>
        <p:spPr>
          <a:xfrm>
            <a:off x="6521721" y="5442565"/>
            <a:ext cx="1142854" cy="320339"/>
          </a:xfrm>
          <a:prstGeom prst="rect">
            <a:avLst/>
          </a:prstGeom>
          <a:solidFill>
            <a:schemeClr val="accent1"/>
          </a:solidFill>
          <a:ln w="9525" cap="flat" cmpd="sng" algn="ctr">
            <a:noFill/>
            <a:prstDash val="solid"/>
          </a:ln>
          <a:effectLst>
            <a:outerShdw blurRad="38100" dist="25400" dir="5400000" rotWithShape="0">
              <a:srgbClr val="000000">
                <a:alpha val="40000"/>
              </a:srgbClr>
            </a:outerShdw>
          </a:effectLst>
        </p:spPr>
        <p:txBody>
          <a:bodyPr rtlCol="0" anchor="ctr"/>
          <a:lstStyle/>
          <a:p>
            <a:pPr algn="ctr" defTabSz="1243369">
              <a:defRPr/>
            </a:pPr>
            <a:r>
              <a:rPr lang="en-US" sz="2448" kern="0" dirty="0">
                <a:solidFill>
                  <a:sysClr val="windowText" lastClr="000000"/>
                </a:solidFill>
                <a:latin typeface="Segoe UI Light"/>
              </a:rPr>
              <a:t>S</a:t>
            </a:r>
          </a:p>
        </p:txBody>
      </p:sp>
      <p:sp>
        <p:nvSpPr>
          <p:cNvPr id="47" name="Rectangle 46"/>
          <p:cNvSpPr/>
          <p:nvPr/>
        </p:nvSpPr>
        <p:spPr>
          <a:xfrm>
            <a:off x="957620" y="4545216"/>
            <a:ext cx="1144321" cy="328744"/>
          </a:xfrm>
          <a:prstGeom prst="rect">
            <a:avLst/>
          </a:prstGeom>
          <a:solidFill>
            <a:schemeClr val="tx2"/>
          </a:solidFill>
          <a:ln w="9525" cap="flat" cmpd="sng" algn="ctr">
            <a:noFill/>
            <a:prstDash val="solid"/>
          </a:ln>
          <a:effectLst>
            <a:outerShdw blurRad="50800" dist="43000" dir="5400000" rotWithShape="0">
              <a:srgbClr val="000000">
                <a:alpha val="40000"/>
              </a:srgbClr>
            </a:outerShdw>
          </a:effectLst>
          <a:scene3d>
            <a:camera prst="orthographicFront" fov="0">
              <a:rot lat="0" lon="0" rev="0"/>
            </a:camera>
            <a:lightRig rig="balanced" dir="t">
              <a:rot lat="0" lon="0" rev="0"/>
            </a:lightRig>
          </a:scene3d>
          <a:sp3d prstMaterial="matte">
            <a:bevelT w="0" h="0"/>
            <a:contourClr>
              <a:srgbClr val="C0504D">
                <a:tint val="100000"/>
                <a:shade val="100000"/>
                <a:hueMod val="100000"/>
                <a:satMod val="100000"/>
              </a:srgbClr>
            </a:contourClr>
          </a:sp3d>
        </p:spPr>
        <p:txBody>
          <a:bodyPr rtlCol="0" anchor="ctr"/>
          <a:lstStyle/>
          <a:p>
            <a:pPr algn="ctr" defTabSz="1243369">
              <a:defRPr/>
            </a:pPr>
            <a:r>
              <a:rPr lang="en-US" sz="2448" kern="0" dirty="0">
                <a:solidFill>
                  <a:sysClr val="window" lastClr="FFFFFF"/>
                </a:solidFill>
                <a:latin typeface="Segoe UI Light"/>
              </a:rPr>
              <a:t>S</a:t>
            </a:r>
          </a:p>
        </p:txBody>
      </p:sp>
    </p:spTree>
    <p:extLst>
      <p:ext uri="{BB962C8B-B14F-4D97-AF65-F5344CB8AC3E}">
        <p14:creationId xmlns:p14="http://schemas.microsoft.com/office/powerpoint/2010/main" val="20230911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8"/>
                                        </p:tgtEl>
                                        <p:attrNameLst>
                                          <p:attrName>style.visibility</p:attrName>
                                        </p:attrNameLst>
                                      </p:cBhvr>
                                      <p:to>
                                        <p:strVal val="visible"/>
                                      </p:to>
                                    </p:set>
                                    <p:animEffect transition="in" filter="fade">
                                      <p:cBhvr>
                                        <p:cTn id="7" dur="500"/>
                                        <p:tgtEl>
                                          <p:spTgt spid="38"/>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42"/>
                                        </p:tgtEl>
                                        <p:attrNameLst>
                                          <p:attrName>style.visibility</p:attrName>
                                        </p:attrNameLst>
                                      </p:cBhvr>
                                      <p:to>
                                        <p:strVal val="visible"/>
                                      </p:to>
                                    </p:set>
                                    <p:animEffect transition="in" filter="fade">
                                      <p:cBhvr>
                                        <p:cTn id="10" dur="500"/>
                                        <p:tgtEl>
                                          <p:spTgt spid="42"/>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47"/>
                                        </p:tgtEl>
                                        <p:attrNameLst>
                                          <p:attrName>style.visibility</p:attrName>
                                        </p:attrNameLst>
                                      </p:cBhvr>
                                      <p:to>
                                        <p:strVal val="visible"/>
                                      </p:to>
                                    </p:set>
                                    <p:animEffect transition="in" filter="fade">
                                      <p:cBhvr>
                                        <p:cTn id="13" dur="500"/>
                                        <p:tgtEl>
                                          <p:spTgt spid="47"/>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grpId="0" nodeType="clickEffect">
                                  <p:stCondLst>
                                    <p:cond delay="0"/>
                                  </p:stCondLst>
                                  <p:childTnLst>
                                    <p:set>
                                      <p:cBhvr>
                                        <p:cTn id="17" dur="1" fill="hold">
                                          <p:stCondLst>
                                            <p:cond delay="0"/>
                                          </p:stCondLst>
                                        </p:cTn>
                                        <p:tgtEl>
                                          <p:spTgt spid="36"/>
                                        </p:tgtEl>
                                        <p:attrNameLst>
                                          <p:attrName>style.visibility</p:attrName>
                                        </p:attrNameLst>
                                      </p:cBhvr>
                                      <p:to>
                                        <p:strVal val="visible"/>
                                      </p:to>
                                    </p:set>
                                    <p:animEffect transition="in" filter="fade">
                                      <p:cBhvr>
                                        <p:cTn id="18" dur="500"/>
                                        <p:tgtEl>
                                          <p:spTgt spid="36"/>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45"/>
                                        </p:tgtEl>
                                        <p:attrNameLst>
                                          <p:attrName>style.visibility</p:attrName>
                                        </p:attrNameLst>
                                      </p:cBhvr>
                                      <p:to>
                                        <p:strVal val="visible"/>
                                      </p:to>
                                    </p:set>
                                    <p:animEffect transition="in" filter="fade">
                                      <p:cBhvr>
                                        <p:cTn id="21" dur="500"/>
                                        <p:tgtEl>
                                          <p:spTgt spid="45"/>
                                        </p:tgtEl>
                                      </p:cBhvr>
                                    </p:animEffect>
                                  </p:childTnLst>
                                </p:cTn>
                              </p:par>
                              <p:par>
                                <p:cTn id="22" presetID="10" presetClass="entr" presetSubtype="0" fill="hold" grpId="1" nodeType="withEffect">
                                  <p:stCondLst>
                                    <p:cond delay="0"/>
                                  </p:stCondLst>
                                  <p:childTnLst>
                                    <p:set>
                                      <p:cBhvr>
                                        <p:cTn id="23" dur="1" fill="hold">
                                          <p:stCondLst>
                                            <p:cond delay="0"/>
                                          </p:stCondLst>
                                        </p:cTn>
                                        <p:tgtEl>
                                          <p:spTgt spid="41"/>
                                        </p:tgtEl>
                                        <p:attrNameLst>
                                          <p:attrName>style.visibility</p:attrName>
                                        </p:attrNameLst>
                                      </p:cBhvr>
                                      <p:to>
                                        <p:strVal val="visible"/>
                                      </p:to>
                                    </p:set>
                                    <p:animEffect transition="in" filter="fade">
                                      <p:cBhvr>
                                        <p:cTn id="24" dur="500"/>
                                        <p:tgtEl>
                                          <p:spTgt spid="41"/>
                                        </p:tgtEl>
                                      </p:cBhvr>
                                    </p:animEffect>
                                  </p:childTnLst>
                                </p:cTn>
                              </p:par>
                            </p:childTnLst>
                          </p:cTn>
                        </p:par>
                        <p:par>
                          <p:cTn id="25" fill="hold">
                            <p:stCondLst>
                              <p:cond delay="500"/>
                            </p:stCondLst>
                            <p:childTnLst>
                              <p:par>
                                <p:cTn id="26" presetID="10" presetClass="entr" presetSubtype="0" fill="hold" grpId="0" nodeType="afterEffect">
                                  <p:stCondLst>
                                    <p:cond delay="0"/>
                                  </p:stCondLst>
                                  <p:childTnLst>
                                    <p:set>
                                      <p:cBhvr>
                                        <p:cTn id="27" dur="1" fill="hold">
                                          <p:stCondLst>
                                            <p:cond delay="0"/>
                                          </p:stCondLst>
                                        </p:cTn>
                                        <p:tgtEl>
                                          <p:spTgt spid="39"/>
                                        </p:tgtEl>
                                        <p:attrNameLst>
                                          <p:attrName>style.visibility</p:attrName>
                                        </p:attrNameLst>
                                      </p:cBhvr>
                                      <p:to>
                                        <p:strVal val="visible"/>
                                      </p:to>
                                    </p:set>
                                    <p:animEffect transition="in" filter="fade">
                                      <p:cBhvr>
                                        <p:cTn id="28" dur="500"/>
                                        <p:tgtEl>
                                          <p:spTgt spid="39"/>
                                        </p:tgtEl>
                                      </p:cBhvr>
                                    </p:animEffect>
                                  </p:childTnLst>
                                </p:cTn>
                              </p:par>
                              <p:par>
                                <p:cTn id="29" presetID="10" presetClass="entr" presetSubtype="0" fill="hold" grpId="1" nodeType="withEffect">
                                  <p:stCondLst>
                                    <p:cond delay="0"/>
                                  </p:stCondLst>
                                  <p:childTnLst>
                                    <p:set>
                                      <p:cBhvr>
                                        <p:cTn id="30" dur="1" fill="hold">
                                          <p:stCondLst>
                                            <p:cond delay="0"/>
                                          </p:stCondLst>
                                        </p:cTn>
                                        <p:tgtEl>
                                          <p:spTgt spid="37"/>
                                        </p:tgtEl>
                                        <p:attrNameLst>
                                          <p:attrName>style.visibility</p:attrName>
                                        </p:attrNameLst>
                                      </p:cBhvr>
                                      <p:to>
                                        <p:strVal val="visible"/>
                                      </p:to>
                                    </p:set>
                                    <p:animEffect transition="in" filter="fade">
                                      <p:cBhvr>
                                        <p:cTn id="31" dur="500"/>
                                        <p:tgtEl>
                                          <p:spTgt spid="37"/>
                                        </p:tgtEl>
                                      </p:cBhvr>
                                    </p:animEffect>
                                  </p:childTnLst>
                                </p:cTn>
                              </p:par>
                              <p:par>
                                <p:cTn id="32" presetID="10" presetClass="entr" presetSubtype="0" fill="hold" grpId="1" nodeType="withEffect">
                                  <p:stCondLst>
                                    <p:cond delay="0"/>
                                  </p:stCondLst>
                                  <p:childTnLst>
                                    <p:set>
                                      <p:cBhvr>
                                        <p:cTn id="33" dur="1" fill="hold">
                                          <p:stCondLst>
                                            <p:cond delay="0"/>
                                          </p:stCondLst>
                                        </p:cTn>
                                        <p:tgtEl>
                                          <p:spTgt spid="44"/>
                                        </p:tgtEl>
                                        <p:attrNameLst>
                                          <p:attrName>style.visibility</p:attrName>
                                        </p:attrNameLst>
                                      </p:cBhvr>
                                      <p:to>
                                        <p:strVal val="visible"/>
                                      </p:to>
                                    </p:set>
                                    <p:animEffect transition="in" filter="fade">
                                      <p:cBhvr>
                                        <p:cTn id="34" dur="500"/>
                                        <p:tgtEl>
                                          <p:spTgt spid="44"/>
                                        </p:tgtEl>
                                      </p:cBhvr>
                                    </p:animEffect>
                                  </p:childTnLst>
                                </p:cTn>
                              </p:par>
                            </p:childTnLst>
                          </p:cTn>
                        </p:par>
                        <p:par>
                          <p:cTn id="35" fill="hold">
                            <p:stCondLst>
                              <p:cond delay="1000"/>
                            </p:stCondLst>
                            <p:childTnLst>
                              <p:par>
                                <p:cTn id="36" presetID="10" presetClass="entr" presetSubtype="0" fill="hold" grpId="1" nodeType="afterEffect">
                                  <p:stCondLst>
                                    <p:cond delay="0"/>
                                  </p:stCondLst>
                                  <p:childTnLst>
                                    <p:set>
                                      <p:cBhvr>
                                        <p:cTn id="37" dur="1" fill="hold">
                                          <p:stCondLst>
                                            <p:cond delay="0"/>
                                          </p:stCondLst>
                                        </p:cTn>
                                        <p:tgtEl>
                                          <p:spTgt spid="43"/>
                                        </p:tgtEl>
                                        <p:attrNameLst>
                                          <p:attrName>style.visibility</p:attrName>
                                        </p:attrNameLst>
                                      </p:cBhvr>
                                      <p:to>
                                        <p:strVal val="visible"/>
                                      </p:to>
                                    </p:set>
                                    <p:animEffect transition="in" filter="fade">
                                      <p:cBhvr>
                                        <p:cTn id="38" dur="500"/>
                                        <p:tgtEl>
                                          <p:spTgt spid="43"/>
                                        </p:tgtEl>
                                      </p:cBhvr>
                                    </p:animEffect>
                                  </p:childTnLst>
                                </p:cTn>
                              </p:par>
                              <p:par>
                                <p:cTn id="39" presetID="10" presetClass="entr" presetSubtype="0" fill="hold" grpId="1" nodeType="withEffect">
                                  <p:stCondLst>
                                    <p:cond delay="0"/>
                                  </p:stCondLst>
                                  <p:childTnLst>
                                    <p:set>
                                      <p:cBhvr>
                                        <p:cTn id="40" dur="1" fill="hold">
                                          <p:stCondLst>
                                            <p:cond delay="0"/>
                                          </p:stCondLst>
                                        </p:cTn>
                                        <p:tgtEl>
                                          <p:spTgt spid="40"/>
                                        </p:tgtEl>
                                        <p:attrNameLst>
                                          <p:attrName>style.visibility</p:attrName>
                                        </p:attrNameLst>
                                      </p:cBhvr>
                                      <p:to>
                                        <p:strVal val="visible"/>
                                      </p:to>
                                    </p:set>
                                    <p:animEffect transition="in" filter="fade">
                                      <p:cBhvr>
                                        <p:cTn id="41" dur="500"/>
                                        <p:tgtEl>
                                          <p:spTgt spid="40"/>
                                        </p:tgtEl>
                                      </p:cBhvr>
                                    </p:animEffect>
                                  </p:childTnLst>
                                </p:cTn>
                              </p:par>
                              <p:par>
                                <p:cTn id="42" presetID="10" presetClass="entr" presetSubtype="0" fill="hold" grpId="1" nodeType="withEffect">
                                  <p:stCondLst>
                                    <p:cond delay="0"/>
                                  </p:stCondLst>
                                  <p:childTnLst>
                                    <p:set>
                                      <p:cBhvr>
                                        <p:cTn id="43" dur="1" fill="hold">
                                          <p:stCondLst>
                                            <p:cond delay="0"/>
                                          </p:stCondLst>
                                        </p:cTn>
                                        <p:tgtEl>
                                          <p:spTgt spid="46"/>
                                        </p:tgtEl>
                                        <p:attrNameLst>
                                          <p:attrName>style.visibility</p:attrName>
                                        </p:attrNameLst>
                                      </p:cBhvr>
                                      <p:to>
                                        <p:strVal val="visible"/>
                                      </p:to>
                                    </p:set>
                                    <p:animEffect transition="in" filter="fade">
                                      <p:cBhvr>
                                        <p:cTn id="44" dur="500"/>
                                        <p:tgtEl>
                                          <p:spTgt spid="46"/>
                                        </p:tgtEl>
                                      </p:cBhvr>
                                    </p:animEffect>
                                  </p:childTnLst>
                                </p:cTn>
                              </p:par>
                            </p:childTnLst>
                          </p:cTn>
                        </p:par>
                      </p:childTnLst>
                    </p:cTn>
                  </p:par>
                  <p:par>
                    <p:cTn id="45" fill="hold">
                      <p:stCondLst>
                        <p:cond delay="indefinite"/>
                      </p:stCondLst>
                      <p:childTnLst>
                        <p:par>
                          <p:cTn id="46" fill="hold">
                            <p:stCondLst>
                              <p:cond delay="0"/>
                            </p:stCondLst>
                            <p:childTnLst>
                              <p:par>
                                <p:cTn id="47" presetID="10" presetClass="entr" presetSubtype="0" fill="hold" grpId="0" nodeType="clickEffect">
                                  <p:stCondLst>
                                    <p:cond delay="0"/>
                                  </p:stCondLst>
                                  <p:childTnLst>
                                    <p:set>
                                      <p:cBhvr>
                                        <p:cTn id="48" dur="1" fill="hold">
                                          <p:stCondLst>
                                            <p:cond delay="0"/>
                                          </p:stCondLst>
                                        </p:cTn>
                                        <p:tgtEl>
                                          <p:spTgt spid="30"/>
                                        </p:tgtEl>
                                        <p:attrNameLst>
                                          <p:attrName>style.visibility</p:attrName>
                                        </p:attrNameLst>
                                      </p:cBhvr>
                                      <p:to>
                                        <p:strVal val="visible"/>
                                      </p:to>
                                    </p:set>
                                    <p:animEffect transition="in" filter="fade">
                                      <p:cBhvr>
                                        <p:cTn id="49" dur="500"/>
                                        <p:tgtEl>
                                          <p:spTgt spid="30"/>
                                        </p:tgtEl>
                                      </p:cBhvr>
                                    </p:animEffect>
                                  </p:childTnLst>
                                </p:cTn>
                              </p:par>
                              <p:par>
                                <p:cTn id="50" presetID="10" presetClass="entr" presetSubtype="0" fill="hold" grpId="0" nodeType="withEffect">
                                  <p:stCondLst>
                                    <p:cond delay="0"/>
                                  </p:stCondLst>
                                  <p:childTnLst>
                                    <p:set>
                                      <p:cBhvr>
                                        <p:cTn id="51" dur="1" fill="hold">
                                          <p:stCondLst>
                                            <p:cond delay="0"/>
                                          </p:stCondLst>
                                        </p:cTn>
                                        <p:tgtEl>
                                          <p:spTgt spid="33"/>
                                        </p:tgtEl>
                                        <p:attrNameLst>
                                          <p:attrName>style.visibility</p:attrName>
                                        </p:attrNameLst>
                                      </p:cBhvr>
                                      <p:to>
                                        <p:strVal val="visible"/>
                                      </p:to>
                                    </p:set>
                                    <p:animEffect transition="in" filter="fade">
                                      <p:cBhvr>
                                        <p:cTn id="52" dur="500"/>
                                        <p:tgtEl>
                                          <p:spTgt spid="33"/>
                                        </p:tgtEl>
                                      </p:cBhvr>
                                    </p:animEffect>
                                  </p:childTnLst>
                                </p:cTn>
                              </p:par>
                            </p:childTnLst>
                          </p:cTn>
                        </p:par>
                        <p:par>
                          <p:cTn id="53" fill="hold">
                            <p:stCondLst>
                              <p:cond delay="500"/>
                            </p:stCondLst>
                            <p:childTnLst>
                              <p:par>
                                <p:cTn id="54" presetID="42" presetClass="path" presetSubtype="0" accel="50000" decel="50000" fill="hold" grpId="0" nodeType="afterEffect">
                                  <p:stCondLst>
                                    <p:cond delay="0"/>
                                  </p:stCondLst>
                                  <p:childTnLst>
                                    <p:animMotion origin="layout" path="M 9.82895E-7 4.67998E-6 L 0.30265 0.0034 " pathEditMode="relative" rAng="0" ptsTypes="AA">
                                      <p:cBhvr>
                                        <p:cTn id="55" dur="2000" fill="hold"/>
                                        <p:tgtEl>
                                          <p:spTgt spid="41"/>
                                        </p:tgtEl>
                                        <p:attrNameLst>
                                          <p:attrName>ppt_x</p:attrName>
                                          <p:attrName>ppt_y</p:attrName>
                                        </p:attrNameLst>
                                      </p:cBhvr>
                                      <p:rCtr x="15126" y="159"/>
                                    </p:animMotion>
                                  </p:childTnLst>
                                </p:cTn>
                              </p:par>
                              <p:par>
                                <p:cTn id="56" presetID="42" presetClass="path" presetSubtype="0" accel="50000" decel="50000" fill="hold" grpId="0" nodeType="withEffect">
                                  <p:stCondLst>
                                    <p:cond delay="0"/>
                                  </p:stCondLst>
                                  <p:childTnLst>
                                    <p:animMotion origin="layout" path="M -4.31453E-6 3.19564E-6 L -0.00026 -0.06491 " pathEditMode="relative" rAng="0" ptsTypes="AA">
                                      <p:cBhvr>
                                        <p:cTn id="57" dur="2000" fill="hold"/>
                                        <p:tgtEl>
                                          <p:spTgt spid="37"/>
                                        </p:tgtEl>
                                        <p:attrNameLst>
                                          <p:attrName>ppt_x</p:attrName>
                                          <p:attrName>ppt_y</p:attrName>
                                        </p:attrNameLst>
                                      </p:cBhvr>
                                      <p:rCtr x="102" y="-2928"/>
                                    </p:animMotion>
                                  </p:childTnLst>
                                </p:cTn>
                              </p:par>
                              <p:par>
                                <p:cTn id="58" presetID="42" presetClass="path" presetSubtype="0" accel="50000" decel="50000" fill="hold" grpId="0" nodeType="withEffect">
                                  <p:stCondLst>
                                    <p:cond delay="0"/>
                                  </p:stCondLst>
                                  <p:childTnLst>
                                    <p:animMotion origin="layout" path="M -3.27802E-6 -0.0025 L 0.30228 0.0009 " pathEditMode="relative" rAng="0" ptsTypes="AA">
                                      <p:cBhvr>
                                        <p:cTn id="59" dur="2000" fill="hold"/>
                                        <p:tgtEl>
                                          <p:spTgt spid="44"/>
                                        </p:tgtEl>
                                        <p:attrNameLst>
                                          <p:attrName>ppt_x</p:attrName>
                                          <p:attrName>ppt_y</p:attrName>
                                        </p:attrNameLst>
                                      </p:cBhvr>
                                      <p:rCtr x="15114" y="159"/>
                                    </p:animMotion>
                                  </p:childTnLst>
                                </p:cTn>
                              </p:par>
                              <p:par>
                                <p:cTn id="60" presetID="42" presetClass="path" presetSubtype="0" accel="50000" decel="50000" fill="hold" grpId="0" nodeType="withEffect">
                                  <p:stCondLst>
                                    <p:cond delay="0"/>
                                  </p:stCondLst>
                                  <p:childTnLst>
                                    <p:animMotion origin="layout" path="M -2.55297E-8 -2.87789E-6 L 0.452 -0.12891 " pathEditMode="relative" rAng="0" ptsTypes="AA">
                                      <p:cBhvr>
                                        <p:cTn id="61" dur="2000" fill="hold"/>
                                        <p:tgtEl>
                                          <p:spTgt spid="43"/>
                                        </p:tgtEl>
                                        <p:attrNameLst>
                                          <p:attrName>ppt_x</p:attrName>
                                          <p:attrName>ppt_y</p:attrName>
                                        </p:attrNameLst>
                                      </p:cBhvr>
                                      <p:rCtr x="22594" y="-6446"/>
                                    </p:animMotion>
                                  </p:childTnLst>
                                </p:cTn>
                              </p:par>
                              <p:par>
                                <p:cTn id="62" presetID="42" presetClass="path" presetSubtype="0" accel="50000" decel="50000" fill="hold" grpId="0" nodeType="withEffect">
                                  <p:stCondLst>
                                    <p:cond delay="0"/>
                                  </p:stCondLst>
                                  <p:childTnLst>
                                    <p:animMotion origin="layout" path="M 3.10186E-6 3.19564E-6 L 0.74981 -0.12937 " pathEditMode="relative" rAng="0" ptsTypes="AA">
                                      <p:cBhvr>
                                        <p:cTn id="63" dur="2000" fill="hold"/>
                                        <p:tgtEl>
                                          <p:spTgt spid="40"/>
                                        </p:tgtEl>
                                        <p:attrNameLst>
                                          <p:attrName>ppt_x</p:attrName>
                                          <p:attrName>ppt_y</p:attrName>
                                        </p:attrNameLst>
                                      </p:cBhvr>
                                      <p:rCtr x="37490" y="-6468"/>
                                    </p:animMotion>
                                  </p:childTnLst>
                                </p:cTn>
                              </p:par>
                              <p:par>
                                <p:cTn id="64" presetID="42" presetClass="path" presetSubtype="0" accel="50000" decel="50000" fill="hold" grpId="0" nodeType="withEffect">
                                  <p:stCondLst>
                                    <p:cond delay="0"/>
                                  </p:stCondLst>
                                  <p:childTnLst>
                                    <p:animMotion origin="layout" path="M -2.08833E-6 -3.24557E-6 L 0.00103 -0.06468 " pathEditMode="relative" rAng="0" ptsTypes="AA">
                                      <p:cBhvr>
                                        <p:cTn id="65" dur="2000" fill="hold"/>
                                        <p:tgtEl>
                                          <p:spTgt spid="46"/>
                                        </p:tgtEl>
                                        <p:attrNameLst>
                                          <p:attrName>ppt_x</p:attrName>
                                          <p:attrName>ppt_y</p:attrName>
                                        </p:attrNameLst>
                                      </p:cBhvr>
                                      <p:rCtr x="153" y="-2951"/>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0" grpId="0" animBg="1"/>
      <p:bldP spid="33" grpId="0" animBg="1"/>
      <p:bldP spid="36" grpId="0" animBg="1"/>
      <p:bldP spid="37" grpId="0" animBg="1"/>
      <p:bldP spid="37" grpId="1" animBg="1"/>
      <p:bldP spid="38" grpId="0" animBg="1"/>
      <p:bldP spid="39" grpId="0" animBg="1"/>
      <p:bldP spid="40" grpId="0" animBg="1"/>
      <p:bldP spid="40" grpId="1" animBg="1"/>
      <p:bldP spid="41" grpId="0" animBg="1"/>
      <p:bldP spid="41" grpId="1" animBg="1"/>
      <p:bldP spid="42" grpId="0" animBg="1"/>
      <p:bldP spid="43" grpId="0" animBg="1"/>
      <p:bldP spid="43" grpId="1" animBg="1"/>
      <p:bldP spid="44" grpId="0" animBg="1"/>
      <p:bldP spid="44" grpId="1" animBg="1"/>
      <p:bldP spid="45" grpId="0" animBg="1"/>
      <p:bldP spid="46" grpId="0" animBg="1"/>
      <p:bldP spid="46" grpId="1" animBg="1"/>
      <p:bldP spid="47" grpId="0" animBg="1"/>
    </p:bldLst>
  </p:timing>
</p:sld>
</file>

<file path=ppt/slides/slide12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Title 4"/>
          <p:cNvSpPr>
            <a:spLocks noGrp="1"/>
          </p:cNvSpPr>
          <p:nvPr>
            <p:ph type="title"/>
          </p:nvPr>
        </p:nvSpPr>
        <p:spPr>
          <a:xfrm>
            <a:off x="366169" y="295278"/>
            <a:ext cx="11702551" cy="917575"/>
          </a:xfrm>
        </p:spPr>
        <p:txBody>
          <a:bodyPr/>
          <a:lstStyle/>
          <a:p>
            <a:r>
              <a:rPr lang="en-US" dirty="0"/>
              <a:t>Service Fabric programming models</a:t>
            </a:r>
          </a:p>
        </p:txBody>
      </p:sp>
      <p:grpSp>
        <p:nvGrpSpPr>
          <p:cNvPr id="3" name="Group 99"/>
          <p:cNvGrpSpPr>
            <a:grpSpLocks/>
          </p:cNvGrpSpPr>
          <p:nvPr/>
        </p:nvGrpSpPr>
        <p:grpSpPr bwMode="auto">
          <a:xfrm>
            <a:off x="1777693" y="3830415"/>
            <a:ext cx="2303168" cy="2758976"/>
            <a:chOff x="2128279" y="4034335"/>
            <a:chExt cx="2303462" cy="2760199"/>
          </a:xfrm>
        </p:grpSpPr>
        <p:sp>
          <p:nvSpPr>
            <p:cNvPr id="4" name="TextBox 3"/>
            <p:cNvSpPr txBox="1"/>
            <p:nvPr/>
          </p:nvSpPr>
          <p:spPr>
            <a:xfrm>
              <a:off x="2637866" y="6249597"/>
              <a:ext cx="1284288" cy="544937"/>
            </a:xfrm>
            <a:prstGeom prst="rect">
              <a:avLst/>
            </a:prstGeom>
            <a:noFill/>
          </p:spPr>
          <p:txBody>
            <a:bodyPr lIns="182857" tIns="146285" rIns="182857" bIns="146285">
              <a:spAutoFit/>
            </a:bodyPr>
            <a:lstStyle/>
            <a:p>
              <a:pPr defTabSz="932649">
                <a:lnSpc>
                  <a:spcPct val="90000"/>
                </a:lnSpc>
                <a:spcAft>
                  <a:spcPts val="600"/>
                </a:spcAft>
                <a:defRPr/>
              </a:pPr>
              <a:r>
                <a:rPr lang="en-US" dirty="0"/>
                <a:t>Azure</a:t>
              </a:r>
              <a:endParaRPr lang="en-US" sz="2400" kern="0" dirty="0">
                <a:solidFill>
                  <a:schemeClr val="bg1"/>
                </a:solidFill>
                <a:latin typeface="Segoe UI"/>
                <a:ea typeface="MS PGothic" pitchFamily="34" charset="-128"/>
              </a:endParaRPr>
            </a:p>
          </p:txBody>
        </p:sp>
        <p:sp>
          <p:nvSpPr>
            <p:cNvPr id="6" name="Pentagon 101"/>
            <p:cNvSpPr/>
            <p:nvPr/>
          </p:nvSpPr>
          <p:spPr bwMode="auto">
            <a:xfrm rot="5400000">
              <a:off x="2809970" y="4006694"/>
              <a:ext cx="884517" cy="939800"/>
            </a:xfrm>
            <a:prstGeom prst="homePlate">
              <a:avLst/>
            </a:prstGeom>
            <a:solidFill>
              <a:srgbClr val="44546A"/>
            </a:solidFill>
            <a:ln w="6350" cap="flat" cmpd="sng" algn="ctr">
              <a:noFill/>
              <a:prstDash val="solid"/>
              <a:miter lim="800000"/>
              <a:headEnd type="none" w="med" len="med"/>
              <a:tailEnd type="none" w="med" len="med"/>
            </a:ln>
            <a:effectLst/>
          </p:spPr>
          <p:txBody>
            <a:bodyPr lIns="182857" tIns="146285" rIns="182857" bIns="146285"/>
            <a:lstStyle/>
            <a:p>
              <a:pPr algn="ctr" defTabSz="932379">
                <a:lnSpc>
                  <a:spcPct val="90000"/>
                </a:lnSpc>
                <a:defRPr/>
              </a:pPr>
              <a:endParaRPr lang="en-US" sz="2400" kern="0" dirty="0" err="1">
                <a:solidFill>
                  <a:prstClr val="black"/>
                </a:solidFill>
                <a:latin typeface="Calibri" panose="020F0502020204030204"/>
                <a:ea typeface="Segoe UI" pitchFamily="34" charset="0"/>
                <a:cs typeface="Segoe UI" pitchFamily="34" charset="0"/>
              </a:endParaRPr>
            </a:p>
          </p:txBody>
        </p:sp>
        <p:sp>
          <p:nvSpPr>
            <p:cNvPr id="7" name="Freeform 102"/>
            <p:cNvSpPr>
              <a:spLocks/>
            </p:cNvSpPr>
            <p:nvPr/>
          </p:nvSpPr>
          <p:spPr bwMode="auto">
            <a:xfrm>
              <a:off x="2128279" y="5039540"/>
              <a:ext cx="2303462" cy="1275164"/>
            </a:xfrm>
            <a:custGeom>
              <a:avLst/>
              <a:gdLst>
                <a:gd name="T0" fmla="*/ 1662 w 2136"/>
                <a:gd name="T1" fmla="*/ 1181 h 1181"/>
                <a:gd name="T2" fmla="*/ 239 w 2136"/>
                <a:gd name="T3" fmla="*/ 1181 h 1181"/>
                <a:gd name="T4" fmla="*/ 0 w 2136"/>
                <a:gd name="T5" fmla="*/ 937 h 1181"/>
                <a:gd name="T6" fmla="*/ 181 w 2136"/>
                <a:gd name="T7" fmla="*/ 706 h 1181"/>
                <a:gd name="T8" fmla="*/ 462 w 2136"/>
                <a:gd name="T9" fmla="*/ 487 h 1181"/>
                <a:gd name="T10" fmla="*/ 974 w 2136"/>
                <a:gd name="T11" fmla="*/ 0 h 1181"/>
                <a:gd name="T12" fmla="*/ 1440 w 2136"/>
                <a:gd name="T13" fmla="*/ 294 h 1181"/>
                <a:gd name="T14" fmla="*/ 1662 w 2136"/>
                <a:gd name="T15" fmla="*/ 235 h 1181"/>
                <a:gd name="T16" fmla="*/ 2136 w 2136"/>
                <a:gd name="T17" fmla="*/ 710 h 1181"/>
                <a:gd name="T18" fmla="*/ 1662 w 2136"/>
                <a:gd name="T19" fmla="*/ 1181 h 1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36" h="1181">
                  <a:moveTo>
                    <a:pt x="1662" y="1181"/>
                  </a:moveTo>
                  <a:cubicBezTo>
                    <a:pt x="239" y="1181"/>
                    <a:pt x="239" y="1181"/>
                    <a:pt x="239" y="1181"/>
                  </a:cubicBezTo>
                  <a:cubicBezTo>
                    <a:pt x="109" y="1181"/>
                    <a:pt x="0" y="1071"/>
                    <a:pt x="0" y="937"/>
                  </a:cubicBezTo>
                  <a:cubicBezTo>
                    <a:pt x="0" y="823"/>
                    <a:pt x="76" y="731"/>
                    <a:pt x="181" y="706"/>
                  </a:cubicBezTo>
                  <a:cubicBezTo>
                    <a:pt x="231" y="588"/>
                    <a:pt x="336" y="504"/>
                    <a:pt x="462" y="487"/>
                  </a:cubicBezTo>
                  <a:cubicBezTo>
                    <a:pt x="474" y="218"/>
                    <a:pt x="701" y="0"/>
                    <a:pt x="974" y="0"/>
                  </a:cubicBezTo>
                  <a:cubicBezTo>
                    <a:pt x="1175" y="0"/>
                    <a:pt x="1356" y="118"/>
                    <a:pt x="1440" y="294"/>
                  </a:cubicBezTo>
                  <a:cubicBezTo>
                    <a:pt x="1507" y="256"/>
                    <a:pt x="1582" y="235"/>
                    <a:pt x="1662" y="235"/>
                  </a:cubicBezTo>
                  <a:cubicBezTo>
                    <a:pt x="1922" y="235"/>
                    <a:pt x="2136" y="449"/>
                    <a:pt x="2136" y="710"/>
                  </a:cubicBezTo>
                  <a:cubicBezTo>
                    <a:pt x="2136" y="966"/>
                    <a:pt x="1922" y="1181"/>
                    <a:pt x="1662" y="1181"/>
                  </a:cubicBezTo>
                  <a:close/>
                </a:path>
              </a:pathLst>
            </a:custGeom>
            <a:solidFill>
              <a:srgbClr val="ED7D31">
                <a:lumMod val="50000"/>
                <a:lumOff val="50000"/>
              </a:srgbClr>
            </a:solidFill>
            <a:ln>
              <a:noFill/>
            </a:ln>
          </p:spPr>
          <p:txBody>
            <a:bodyPr/>
            <a:lstStyle/>
            <a:p>
              <a:pPr defTabSz="932649">
                <a:defRPr/>
              </a:pPr>
              <a:endParaRPr lang="en-US" kern="0">
                <a:solidFill>
                  <a:prstClr val="black"/>
                </a:solidFill>
                <a:latin typeface="Segoe UI"/>
                <a:ea typeface="MS PGothic" pitchFamily="34" charset="-128"/>
              </a:endParaRPr>
            </a:p>
          </p:txBody>
        </p:sp>
      </p:grpSp>
      <p:grpSp>
        <p:nvGrpSpPr>
          <p:cNvPr id="8" name="Group 103"/>
          <p:cNvGrpSpPr>
            <a:grpSpLocks/>
          </p:cNvGrpSpPr>
          <p:nvPr/>
        </p:nvGrpSpPr>
        <p:grpSpPr bwMode="auto">
          <a:xfrm>
            <a:off x="7606249" y="3816052"/>
            <a:ext cx="2303168" cy="2758976"/>
            <a:chOff x="7958844" y="4034334"/>
            <a:chExt cx="2303462" cy="2760200"/>
          </a:xfrm>
        </p:grpSpPr>
        <p:sp>
          <p:nvSpPr>
            <p:cNvPr id="9" name="TextBox 8"/>
            <p:cNvSpPr txBox="1"/>
            <p:nvPr/>
          </p:nvSpPr>
          <p:spPr>
            <a:xfrm>
              <a:off x="8035044" y="6249597"/>
              <a:ext cx="2151062" cy="544937"/>
            </a:xfrm>
            <a:prstGeom prst="rect">
              <a:avLst/>
            </a:prstGeom>
            <a:noFill/>
          </p:spPr>
          <p:txBody>
            <a:bodyPr lIns="182857" tIns="146285" rIns="182857" bIns="146285">
              <a:spAutoFit/>
            </a:bodyPr>
            <a:lstStyle/>
            <a:p>
              <a:pPr defTabSz="932649">
                <a:lnSpc>
                  <a:spcPct val="90000"/>
                </a:lnSpc>
                <a:spcAft>
                  <a:spcPts val="600"/>
                </a:spcAft>
                <a:defRPr/>
              </a:pPr>
              <a:r>
                <a:rPr lang="en-US" dirty="0"/>
                <a:t>Other clouds</a:t>
              </a:r>
            </a:p>
          </p:txBody>
        </p:sp>
        <p:sp>
          <p:nvSpPr>
            <p:cNvPr id="10" name="Pentagon 105"/>
            <p:cNvSpPr/>
            <p:nvPr/>
          </p:nvSpPr>
          <p:spPr bwMode="auto">
            <a:xfrm rot="5400000">
              <a:off x="8667522" y="4006693"/>
              <a:ext cx="884517" cy="939800"/>
            </a:xfrm>
            <a:prstGeom prst="homePlate">
              <a:avLst/>
            </a:prstGeom>
            <a:solidFill>
              <a:srgbClr val="44546A"/>
            </a:solidFill>
            <a:ln w="6350" cap="flat" cmpd="sng" algn="ctr">
              <a:noFill/>
              <a:prstDash val="solid"/>
              <a:miter lim="800000"/>
              <a:headEnd type="none" w="med" len="med"/>
              <a:tailEnd type="none" w="med" len="med"/>
            </a:ln>
            <a:effectLst/>
          </p:spPr>
          <p:txBody>
            <a:bodyPr lIns="182857" tIns="146285" rIns="182857" bIns="146285"/>
            <a:lstStyle/>
            <a:p>
              <a:pPr algn="ctr" defTabSz="932379">
                <a:lnSpc>
                  <a:spcPct val="90000"/>
                </a:lnSpc>
                <a:defRPr/>
              </a:pPr>
              <a:endParaRPr lang="en-US" sz="2400" kern="0" dirty="0" err="1">
                <a:solidFill>
                  <a:prstClr val="black"/>
                </a:solidFill>
                <a:latin typeface="Calibri" panose="020F0502020204030204"/>
                <a:ea typeface="Segoe UI" pitchFamily="34" charset="0"/>
                <a:cs typeface="Segoe UI" pitchFamily="34" charset="0"/>
              </a:endParaRPr>
            </a:p>
          </p:txBody>
        </p:sp>
        <p:sp>
          <p:nvSpPr>
            <p:cNvPr id="11" name="Freeform 106"/>
            <p:cNvSpPr>
              <a:spLocks/>
            </p:cNvSpPr>
            <p:nvPr/>
          </p:nvSpPr>
          <p:spPr bwMode="auto">
            <a:xfrm>
              <a:off x="7958844" y="5053831"/>
              <a:ext cx="2303462" cy="1275166"/>
            </a:xfrm>
            <a:custGeom>
              <a:avLst/>
              <a:gdLst>
                <a:gd name="T0" fmla="*/ 1662 w 2136"/>
                <a:gd name="T1" fmla="*/ 1181 h 1181"/>
                <a:gd name="T2" fmla="*/ 239 w 2136"/>
                <a:gd name="T3" fmla="*/ 1181 h 1181"/>
                <a:gd name="T4" fmla="*/ 0 w 2136"/>
                <a:gd name="T5" fmla="*/ 937 h 1181"/>
                <a:gd name="T6" fmla="*/ 181 w 2136"/>
                <a:gd name="T7" fmla="*/ 706 h 1181"/>
                <a:gd name="T8" fmla="*/ 462 w 2136"/>
                <a:gd name="T9" fmla="*/ 487 h 1181"/>
                <a:gd name="T10" fmla="*/ 974 w 2136"/>
                <a:gd name="T11" fmla="*/ 0 h 1181"/>
                <a:gd name="T12" fmla="*/ 1440 w 2136"/>
                <a:gd name="T13" fmla="*/ 294 h 1181"/>
                <a:gd name="T14" fmla="*/ 1662 w 2136"/>
                <a:gd name="T15" fmla="*/ 235 h 1181"/>
                <a:gd name="T16" fmla="*/ 2136 w 2136"/>
                <a:gd name="T17" fmla="*/ 710 h 1181"/>
                <a:gd name="T18" fmla="*/ 1662 w 2136"/>
                <a:gd name="T19" fmla="*/ 1181 h 1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36" h="1181">
                  <a:moveTo>
                    <a:pt x="1662" y="1181"/>
                  </a:moveTo>
                  <a:cubicBezTo>
                    <a:pt x="239" y="1181"/>
                    <a:pt x="239" y="1181"/>
                    <a:pt x="239" y="1181"/>
                  </a:cubicBezTo>
                  <a:cubicBezTo>
                    <a:pt x="109" y="1181"/>
                    <a:pt x="0" y="1071"/>
                    <a:pt x="0" y="937"/>
                  </a:cubicBezTo>
                  <a:cubicBezTo>
                    <a:pt x="0" y="823"/>
                    <a:pt x="76" y="731"/>
                    <a:pt x="181" y="706"/>
                  </a:cubicBezTo>
                  <a:cubicBezTo>
                    <a:pt x="231" y="588"/>
                    <a:pt x="336" y="504"/>
                    <a:pt x="462" y="487"/>
                  </a:cubicBezTo>
                  <a:cubicBezTo>
                    <a:pt x="474" y="218"/>
                    <a:pt x="701" y="0"/>
                    <a:pt x="974" y="0"/>
                  </a:cubicBezTo>
                  <a:cubicBezTo>
                    <a:pt x="1175" y="0"/>
                    <a:pt x="1356" y="118"/>
                    <a:pt x="1440" y="294"/>
                  </a:cubicBezTo>
                  <a:cubicBezTo>
                    <a:pt x="1507" y="256"/>
                    <a:pt x="1582" y="235"/>
                    <a:pt x="1662" y="235"/>
                  </a:cubicBezTo>
                  <a:cubicBezTo>
                    <a:pt x="1922" y="235"/>
                    <a:pt x="2136" y="449"/>
                    <a:pt x="2136" y="710"/>
                  </a:cubicBezTo>
                  <a:cubicBezTo>
                    <a:pt x="2136" y="966"/>
                    <a:pt x="1922" y="1181"/>
                    <a:pt x="1662" y="1181"/>
                  </a:cubicBezTo>
                  <a:close/>
                </a:path>
              </a:pathLst>
            </a:custGeom>
            <a:solidFill>
              <a:srgbClr val="FFC000">
                <a:lumMod val="40000"/>
                <a:lumOff val="60000"/>
              </a:srgbClr>
            </a:solidFill>
            <a:ln>
              <a:noFill/>
            </a:ln>
          </p:spPr>
          <p:txBody>
            <a:bodyPr/>
            <a:lstStyle/>
            <a:p>
              <a:pPr defTabSz="932649">
                <a:defRPr/>
              </a:pPr>
              <a:endParaRPr lang="en-US" kern="0">
                <a:solidFill>
                  <a:prstClr val="black"/>
                </a:solidFill>
                <a:latin typeface="Segoe UI"/>
                <a:ea typeface="MS PGothic" pitchFamily="34" charset="-128"/>
              </a:endParaRPr>
            </a:p>
          </p:txBody>
        </p:sp>
      </p:grpSp>
      <p:grpSp>
        <p:nvGrpSpPr>
          <p:cNvPr id="12" name="Group 107"/>
          <p:cNvGrpSpPr>
            <a:grpSpLocks/>
          </p:cNvGrpSpPr>
          <p:nvPr/>
        </p:nvGrpSpPr>
        <p:grpSpPr bwMode="auto">
          <a:xfrm>
            <a:off x="4584034" y="3816052"/>
            <a:ext cx="2565073" cy="2758976"/>
            <a:chOff x="4935683" y="4034334"/>
            <a:chExt cx="2564826" cy="2760200"/>
          </a:xfrm>
        </p:grpSpPr>
        <p:sp>
          <p:nvSpPr>
            <p:cNvPr id="13" name="TextBox 12"/>
            <p:cNvSpPr txBox="1"/>
            <p:nvPr/>
          </p:nvSpPr>
          <p:spPr>
            <a:xfrm>
              <a:off x="4935683" y="6249597"/>
              <a:ext cx="2564826" cy="544937"/>
            </a:xfrm>
            <a:prstGeom prst="rect">
              <a:avLst/>
            </a:prstGeom>
            <a:noFill/>
          </p:spPr>
          <p:txBody>
            <a:bodyPr lIns="182857" tIns="146285" rIns="182857" bIns="146285">
              <a:spAutoFit/>
            </a:bodyPr>
            <a:lstStyle/>
            <a:p>
              <a:pPr algn="ctr" defTabSz="932649">
                <a:lnSpc>
                  <a:spcPct val="90000"/>
                </a:lnSpc>
                <a:spcAft>
                  <a:spcPts val="600"/>
                </a:spcAft>
                <a:defRPr/>
              </a:pPr>
              <a:r>
                <a:rPr lang="en-US" dirty="0"/>
                <a:t>Private cloud</a:t>
              </a:r>
            </a:p>
          </p:txBody>
        </p:sp>
        <p:sp>
          <p:nvSpPr>
            <p:cNvPr id="14" name="Pentagon 109"/>
            <p:cNvSpPr/>
            <p:nvPr/>
          </p:nvSpPr>
          <p:spPr bwMode="auto">
            <a:xfrm rot="5400000">
              <a:off x="5791709" y="4006798"/>
              <a:ext cx="884517" cy="939590"/>
            </a:xfrm>
            <a:prstGeom prst="homePlate">
              <a:avLst/>
            </a:prstGeom>
            <a:solidFill>
              <a:srgbClr val="44546A"/>
            </a:solidFill>
            <a:ln w="6350" cap="flat" cmpd="sng" algn="ctr">
              <a:noFill/>
              <a:prstDash val="solid"/>
              <a:miter lim="800000"/>
              <a:headEnd type="none" w="med" len="med"/>
              <a:tailEnd type="none" w="med" len="med"/>
            </a:ln>
            <a:effectLst/>
          </p:spPr>
          <p:txBody>
            <a:bodyPr lIns="182857" tIns="146285" rIns="182857" bIns="146285"/>
            <a:lstStyle/>
            <a:p>
              <a:pPr algn="ctr" defTabSz="932379">
                <a:lnSpc>
                  <a:spcPct val="90000"/>
                </a:lnSpc>
                <a:defRPr/>
              </a:pPr>
              <a:endParaRPr lang="en-US" sz="2400" kern="0" dirty="0" err="1">
                <a:solidFill>
                  <a:prstClr val="black"/>
                </a:solidFill>
                <a:latin typeface="Calibri" panose="020F0502020204030204"/>
                <a:ea typeface="Segoe UI" pitchFamily="34" charset="0"/>
                <a:cs typeface="Segoe UI" pitchFamily="34" charset="0"/>
              </a:endParaRPr>
            </a:p>
          </p:txBody>
        </p:sp>
        <p:grpSp>
          <p:nvGrpSpPr>
            <p:cNvPr id="15" name="Group 8"/>
            <p:cNvGrpSpPr>
              <a:grpSpLocks noChangeAspect="1"/>
            </p:cNvGrpSpPr>
            <p:nvPr/>
          </p:nvGrpSpPr>
          <p:grpSpPr bwMode="auto">
            <a:xfrm>
              <a:off x="5313388" y="4831160"/>
              <a:ext cx="1809416" cy="1808295"/>
              <a:chOff x="4385" y="3099"/>
              <a:chExt cx="1613" cy="1612"/>
            </a:xfrm>
          </p:grpSpPr>
          <p:sp>
            <p:nvSpPr>
              <p:cNvPr id="16" name="AutoShape 7"/>
              <p:cNvSpPr>
                <a:spLocks noChangeAspect="1" noChangeArrowheads="1" noTextEdit="1"/>
              </p:cNvSpPr>
              <p:nvPr/>
            </p:nvSpPr>
            <p:spPr bwMode="auto">
              <a:xfrm>
                <a:off x="4385" y="3099"/>
                <a:ext cx="1613" cy="1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defTabSz="932649">
                  <a:defRPr/>
                </a:pPr>
                <a:endParaRPr lang="en-US" kern="0">
                  <a:solidFill>
                    <a:prstClr val="black"/>
                  </a:solidFill>
                  <a:latin typeface="Segoe UI"/>
                  <a:ea typeface="MS PGothic" pitchFamily="34" charset="-128"/>
                </a:endParaRPr>
              </a:p>
            </p:txBody>
          </p:sp>
          <p:sp>
            <p:nvSpPr>
              <p:cNvPr id="17" name="Rectangle 9"/>
              <p:cNvSpPr>
                <a:spLocks noChangeArrowheads="1"/>
              </p:cNvSpPr>
              <p:nvPr/>
            </p:nvSpPr>
            <p:spPr bwMode="auto">
              <a:xfrm>
                <a:off x="5494" y="3463"/>
                <a:ext cx="253" cy="892"/>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defTabSz="932649">
                  <a:defRPr/>
                </a:pPr>
                <a:endParaRPr lang="en-US" kern="0">
                  <a:solidFill>
                    <a:prstClr val="black"/>
                  </a:solidFill>
                  <a:latin typeface="Segoe UI"/>
                  <a:ea typeface="MS PGothic" pitchFamily="34" charset="-128"/>
                </a:endParaRPr>
              </a:p>
            </p:txBody>
          </p:sp>
          <p:sp>
            <p:nvSpPr>
              <p:cNvPr id="18" name="Rectangle 10"/>
              <p:cNvSpPr>
                <a:spLocks noChangeArrowheads="1"/>
              </p:cNvSpPr>
              <p:nvPr/>
            </p:nvSpPr>
            <p:spPr bwMode="auto">
              <a:xfrm>
                <a:off x="4638" y="3463"/>
                <a:ext cx="253" cy="892"/>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defTabSz="932649">
                  <a:defRPr/>
                </a:pPr>
                <a:endParaRPr lang="en-US" kern="0">
                  <a:solidFill>
                    <a:prstClr val="black"/>
                  </a:solidFill>
                  <a:latin typeface="Segoe UI"/>
                  <a:ea typeface="MS PGothic" pitchFamily="34" charset="-128"/>
                </a:endParaRPr>
              </a:p>
            </p:txBody>
          </p:sp>
          <p:sp>
            <p:nvSpPr>
              <p:cNvPr id="19" name="Rectangle 11"/>
              <p:cNvSpPr>
                <a:spLocks noChangeArrowheads="1"/>
              </p:cNvSpPr>
              <p:nvPr/>
            </p:nvSpPr>
            <p:spPr bwMode="auto">
              <a:xfrm>
                <a:off x="4703" y="3531"/>
                <a:ext cx="314" cy="82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defTabSz="932649">
                  <a:defRPr/>
                </a:pPr>
                <a:endParaRPr lang="en-US" kern="0">
                  <a:solidFill>
                    <a:prstClr val="black"/>
                  </a:solidFill>
                  <a:latin typeface="Segoe UI"/>
                  <a:ea typeface="MS PGothic" pitchFamily="34" charset="-128"/>
                </a:endParaRPr>
              </a:p>
            </p:txBody>
          </p:sp>
          <p:sp>
            <p:nvSpPr>
              <p:cNvPr id="20" name="Rectangle 19"/>
              <p:cNvSpPr>
                <a:spLocks noChangeArrowheads="1"/>
              </p:cNvSpPr>
              <p:nvPr/>
            </p:nvSpPr>
            <p:spPr bwMode="auto">
              <a:xfrm>
                <a:off x="5367" y="3653"/>
                <a:ext cx="313" cy="702"/>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defTabSz="932649">
                  <a:defRPr/>
                </a:pPr>
                <a:endParaRPr lang="en-US" kern="0">
                  <a:solidFill>
                    <a:prstClr val="black"/>
                  </a:solidFill>
                  <a:latin typeface="Segoe UI"/>
                  <a:ea typeface="MS PGothic" pitchFamily="34" charset="-128"/>
                </a:endParaRPr>
              </a:p>
            </p:txBody>
          </p:sp>
          <p:sp>
            <p:nvSpPr>
              <p:cNvPr id="21" name="Rectangle 13"/>
              <p:cNvSpPr>
                <a:spLocks noChangeArrowheads="1"/>
              </p:cNvSpPr>
              <p:nvPr/>
            </p:nvSpPr>
            <p:spPr bwMode="auto">
              <a:xfrm>
                <a:off x="4968" y="3779"/>
                <a:ext cx="463" cy="576"/>
              </a:xfrm>
              <a:prstGeom prst="rect">
                <a:avLst/>
              </a:prstGeom>
              <a:solidFill>
                <a:srgbClr val="44546A"/>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defTabSz="932649">
                  <a:defRPr/>
                </a:pPr>
                <a:endParaRPr lang="en-US" kern="0">
                  <a:solidFill>
                    <a:prstClr val="black"/>
                  </a:solidFill>
                  <a:latin typeface="Segoe UI"/>
                  <a:ea typeface="MS PGothic" pitchFamily="34" charset="-128"/>
                </a:endParaRPr>
              </a:p>
            </p:txBody>
          </p:sp>
          <p:sp>
            <p:nvSpPr>
              <p:cNvPr id="22" name="Rectangle 14"/>
              <p:cNvSpPr>
                <a:spLocks noChangeArrowheads="1"/>
              </p:cNvSpPr>
              <p:nvPr/>
            </p:nvSpPr>
            <p:spPr bwMode="auto">
              <a:xfrm>
                <a:off x="4945" y="3762"/>
                <a:ext cx="508" cy="17"/>
              </a:xfrm>
              <a:prstGeom prst="rect">
                <a:avLst/>
              </a:prstGeom>
              <a:solidFill>
                <a:srgbClr val="ED7D31"/>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defTabSz="932649">
                  <a:defRPr/>
                </a:pPr>
                <a:endParaRPr lang="en-US" kern="0">
                  <a:solidFill>
                    <a:prstClr val="black"/>
                  </a:solidFill>
                  <a:latin typeface="Segoe UI"/>
                  <a:ea typeface="MS PGothic" pitchFamily="34" charset="-128"/>
                </a:endParaRPr>
              </a:p>
            </p:txBody>
          </p:sp>
          <p:sp>
            <p:nvSpPr>
              <p:cNvPr id="23" name="Rectangle 15"/>
              <p:cNvSpPr>
                <a:spLocks noChangeArrowheads="1"/>
              </p:cNvSpPr>
              <p:nvPr/>
            </p:nvSpPr>
            <p:spPr bwMode="auto">
              <a:xfrm>
                <a:off x="5223" y="4239"/>
                <a:ext cx="61" cy="116"/>
              </a:xfrm>
              <a:prstGeom prst="rect">
                <a:avLst/>
              </a:prstGeom>
              <a:solidFill>
                <a:srgbClr val="ED7D31"/>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defTabSz="932649">
                  <a:defRPr/>
                </a:pPr>
                <a:endParaRPr lang="en-US" kern="0">
                  <a:solidFill>
                    <a:prstClr val="black"/>
                  </a:solidFill>
                  <a:latin typeface="Segoe UI"/>
                  <a:ea typeface="MS PGothic" pitchFamily="34" charset="-128"/>
                </a:endParaRPr>
              </a:p>
            </p:txBody>
          </p:sp>
          <p:sp>
            <p:nvSpPr>
              <p:cNvPr id="24" name="Rectangle 16"/>
              <p:cNvSpPr>
                <a:spLocks noChangeArrowheads="1"/>
              </p:cNvSpPr>
              <p:nvPr/>
            </p:nvSpPr>
            <p:spPr bwMode="auto">
              <a:xfrm>
                <a:off x="5117" y="4239"/>
                <a:ext cx="61" cy="116"/>
              </a:xfrm>
              <a:prstGeom prst="rect">
                <a:avLst/>
              </a:prstGeom>
              <a:solidFill>
                <a:srgbClr val="ED7D31"/>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defTabSz="932649">
                  <a:defRPr/>
                </a:pPr>
                <a:endParaRPr lang="en-US" kern="0">
                  <a:solidFill>
                    <a:prstClr val="black"/>
                  </a:solidFill>
                  <a:latin typeface="Segoe UI"/>
                  <a:ea typeface="MS PGothic" pitchFamily="34" charset="-128"/>
                </a:endParaRPr>
              </a:p>
            </p:txBody>
          </p:sp>
          <p:sp>
            <p:nvSpPr>
              <p:cNvPr id="25" name="Rectangle 17"/>
              <p:cNvSpPr>
                <a:spLocks noChangeArrowheads="1"/>
              </p:cNvSpPr>
              <p:nvPr/>
            </p:nvSpPr>
            <p:spPr bwMode="auto">
              <a:xfrm>
                <a:off x="5015" y="3831"/>
                <a:ext cx="371" cy="59"/>
              </a:xfrm>
              <a:prstGeom prst="rect">
                <a:avLst/>
              </a:prstGeom>
              <a:solidFill>
                <a:srgbClr val="ED7D31"/>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defTabSz="932649">
                  <a:defRPr/>
                </a:pPr>
                <a:endParaRPr lang="en-US" kern="0">
                  <a:solidFill>
                    <a:prstClr val="black"/>
                  </a:solidFill>
                  <a:latin typeface="Segoe UI"/>
                  <a:ea typeface="MS PGothic" pitchFamily="34" charset="-128"/>
                </a:endParaRPr>
              </a:p>
            </p:txBody>
          </p:sp>
          <p:sp>
            <p:nvSpPr>
              <p:cNvPr id="26" name="Rectangle 18"/>
              <p:cNvSpPr>
                <a:spLocks noChangeArrowheads="1"/>
              </p:cNvSpPr>
              <p:nvPr/>
            </p:nvSpPr>
            <p:spPr bwMode="auto">
              <a:xfrm>
                <a:off x="5015" y="3935"/>
                <a:ext cx="371" cy="59"/>
              </a:xfrm>
              <a:prstGeom prst="rect">
                <a:avLst/>
              </a:prstGeom>
              <a:solidFill>
                <a:srgbClr val="ED7D31"/>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defTabSz="932649">
                  <a:defRPr/>
                </a:pPr>
                <a:endParaRPr lang="en-US" kern="0">
                  <a:solidFill>
                    <a:prstClr val="black"/>
                  </a:solidFill>
                  <a:latin typeface="Segoe UI"/>
                  <a:ea typeface="MS PGothic" pitchFamily="34" charset="-128"/>
                </a:endParaRPr>
              </a:p>
            </p:txBody>
          </p:sp>
          <p:sp>
            <p:nvSpPr>
              <p:cNvPr id="27" name="Rectangle 19"/>
              <p:cNvSpPr>
                <a:spLocks noChangeArrowheads="1"/>
              </p:cNvSpPr>
              <p:nvPr/>
            </p:nvSpPr>
            <p:spPr bwMode="auto">
              <a:xfrm>
                <a:off x="5015" y="4038"/>
                <a:ext cx="371" cy="61"/>
              </a:xfrm>
              <a:prstGeom prst="rect">
                <a:avLst/>
              </a:prstGeom>
              <a:solidFill>
                <a:srgbClr val="ED7D31"/>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defTabSz="932649">
                  <a:defRPr/>
                </a:pPr>
                <a:endParaRPr lang="en-US" kern="0">
                  <a:solidFill>
                    <a:prstClr val="black"/>
                  </a:solidFill>
                  <a:latin typeface="Segoe UI"/>
                  <a:ea typeface="MS PGothic" pitchFamily="34" charset="-128"/>
                </a:endParaRPr>
              </a:p>
            </p:txBody>
          </p:sp>
          <p:sp>
            <p:nvSpPr>
              <p:cNvPr id="28" name="Rectangle 20"/>
              <p:cNvSpPr>
                <a:spLocks noChangeArrowheads="1"/>
              </p:cNvSpPr>
              <p:nvPr/>
            </p:nvSpPr>
            <p:spPr bwMode="auto">
              <a:xfrm>
                <a:off x="5015" y="4141"/>
                <a:ext cx="371" cy="61"/>
              </a:xfrm>
              <a:prstGeom prst="rect">
                <a:avLst/>
              </a:prstGeom>
              <a:solidFill>
                <a:srgbClr val="ED7D31"/>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defTabSz="932649">
                  <a:defRPr/>
                </a:pPr>
                <a:endParaRPr lang="en-US" kern="0">
                  <a:solidFill>
                    <a:prstClr val="black"/>
                  </a:solidFill>
                  <a:latin typeface="Segoe UI"/>
                  <a:ea typeface="MS PGothic" pitchFamily="34" charset="-128"/>
                </a:endParaRPr>
              </a:p>
            </p:txBody>
          </p:sp>
          <p:sp>
            <p:nvSpPr>
              <p:cNvPr id="29" name="Rectangle 21"/>
              <p:cNvSpPr>
                <a:spLocks noChangeArrowheads="1"/>
              </p:cNvSpPr>
              <p:nvPr/>
            </p:nvSpPr>
            <p:spPr bwMode="auto">
              <a:xfrm>
                <a:off x="5043" y="3690"/>
                <a:ext cx="180" cy="72"/>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defTabSz="932649">
                  <a:defRPr/>
                </a:pPr>
                <a:endParaRPr lang="en-US" kern="0">
                  <a:solidFill>
                    <a:prstClr val="black"/>
                  </a:solidFill>
                  <a:latin typeface="Segoe UI"/>
                  <a:ea typeface="MS PGothic" pitchFamily="34" charset="-128"/>
                </a:endParaRPr>
              </a:p>
            </p:txBody>
          </p:sp>
        </p:grpSp>
      </p:grpSp>
      <p:grpSp>
        <p:nvGrpSpPr>
          <p:cNvPr id="30" name="Group 29"/>
          <p:cNvGrpSpPr/>
          <p:nvPr/>
        </p:nvGrpSpPr>
        <p:grpSpPr>
          <a:xfrm>
            <a:off x="667523" y="2942723"/>
            <a:ext cx="10429603" cy="1314424"/>
            <a:chOff x="1018527" y="3096683"/>
            <a:chExt cx="10430934" cy="1314592"/>
          </a:xfrm>
          <a:solidFill>
            <a:srgbClr val="44546A"/>
          </a:solidFill>
        </p:grpSpPr>
        <p:grpSp>
          <p:nvGrpSpPr>
            <p:cNvPr id="31" name="Group 30"/>
            <p:cNvGrpSpPr/>
            <p:nvPr/>
          </p:nvGrpSpPr>
          <p:grpSpPr>
            <a:xfrm>
              <a:off x="1018527" y="3096683"/>
              <a:ext cx="10430934" cy="1314592"/>
              <a:chOff x="1042161" y="3566576"/>
              <a:chExt cx="10430934" cy="1347584"/>
            </a:xfrm>
            <a:grpFill/>
          </p:grpSpPr>
          <p:sp>
            <p:nvSpPr>
              <p:cNvPr id="33" name="Hexagon 32"/>
              <p:cNvSpPr>
                <a:spLocks noChangeAspect="1"/>
              </p:cNvSpPr>
              <p:nvPr/>
            </p:nvSpPr>
            <p:spPr bwMode="auto">
              <a:xfrm>
                <a:off x="1464086" y="3566578"/>
                <a:ext cx="666750" cy="576739"/>
              </a:xfrm>
              <a:prstGeom prst="hexagon">
                <a:avLst/>
              </a:prstGeom>
              <a:grpFill/>
              <a:ln w="6350" cap="flat" cmpd="sng" algn="ctr">
                <a:noFill/>
                <a:prstDash val="solid"/>
                <a:miter lim="800000"/>
                <a:headEnd type="none" w="med" len="med"/>
                <a:tailEnd type="none" w="med" len="med"/>
              </a:ln>
              <a:effectLst/>
            </p:spPr>
            <p:txBody>
              <a:bodyPr lIns="182857" tIns="146285" rIns="182857" bIns="146285"/>
              <a:lstStyle/>
              <a:p>
                <a:pPr algn="ctr" defTabSz="932379">
                  <a:lnSpc>
                    <a:spcPct val="90000"/>
                  </a:lnSpc>
                  <a:defRPr/>
                </a:pPr>
                <a:endParaRPr lang="en-US" sz="2400" kern="0" dirty="0" err="1">
                  <a:solidFill>
                    <a:prstClr val="white"/>
                  </a:solidFill>
                  <a:latin typeface="Calibri" panose="020F0502020204030204"/>
                  <a:ea typeface="Segoe UI" pitchFamily="34" charset="0"/>
                  <a:cs typeface="Segoe UI" pitchFamily="34" charset="0"/>
                </a:endParaRPr>
              </a:p>
            </p:txBody>
          </p:sp>
          <p:sp>
            <p:nvSpPr>
              <p:cNvPr id="34" name="Hexagon 33"/>
              <p:cNvSpPr>
                <a:spLocks noChangeAspect="1"/>
              </p:cNvSpPr>
              <p:nvPr/>
            </p:nvSpPr>
            <p:spPr bwMode="auto">
              <a:xfrm>
                <a:off x="3691642" y="3566576"/>
                <a:ext cx="666750" cy="576739"/>
              </a:xfrm>
              <a:prstGeom prst="hexagon">
                <a:avLst/>
              </a:prstGeom>
              <a:grpFill/>
              <a:ln w="6350" cap="flat" cmpd="sng" algn="ctr">
                <a:noFill/>
                <a:prstDash val="solid"/>
                <a:miter lim="800000"/>
                <a:headEnd type="none" w="med" len="med"/>
                <a:tailEnd type="none" w="med" len="med"/>
              </a:ln>
              <a:effectLst/>
            </p:spPr>
            <p:txBody>
              <a:bodyPr lIns="182857" tIns="146285" rIns="182857" bIns="146285"/>
              <a:lstStyle/>
              <a:p>
                <a:pPr algn="ctr" defTabSz="932379">
                  <a:lnSpc>
                    <a:spcPct val="90000"/>
                  </a:lnSpc>
                  <a:defRPr/>
                </a:pPr>
                <a:endParaRPr lang="en-US" sz="2400" kern="0" dirty="0" err="1">
                  <a:solidFill>
                    <a:prstClr val="white"/>
                  </a:solidFill>
                  <a:latin typeface="Calibri" panose="020F0502020204030204"/>
                  <a:ea typeface="Segoe UI" pitchFamily="34" charset="0"/>
                  <a:cs typeface="Segoe UI" pitchFamily="34" charset="0"/>
                </a:endParaRPr>
              </a:p>
            </p:txBody>
          </p:sp>
          <p:sp>
            <p:nvSpPr>
              <p:cNvPr id="35" name="Hexagon 34"/>
              <p:cNvSpPr>
                <a:spLocks noChangeAspect="1"/>
              </p:cNvSpPr>
              <p:nvPr/>
            </p:nvSpPr>
            <p:spPr bwMode="auto">
              <a:xfrm>
                <a:off x="2580392" y="3566578"/>
                <a:ext cx="666750" cy="576739"/>
              </a:xfrm>
              <a:prstGeom prst="hexagon">
                <a:avLst/>
              </a:prstGeom>
              <a:grpFill/>
              <a:ln w="6350" cap="flat" cmpd="sng" algn="ctr">
                <a:noFill/>
                <a:prstDash val="solid"/>
                <a:miter lim="800000"/>
                <a:headEnd type="none" w="med" len="med"/>
                <a:tailEnd type="none" w="med" len="med"/>
              </a:ln>
              <a:effectLst/>
            </p:spPr>
            <p:txBody>
              <a:bodyPr lIns="182857" tIns="146285" rIns="182857" bIns="146285"/>
              <a:lstStyle/>
              <a:p>
                <a:pPr algn="ctr" defTabSz="932379">
                  <a:lnSpc>
                    <a:spcPct val="90000"/>
                  </a:lnSpc>
                  <a:defRPr/>
                </a:pPr>
                <a:endParaRPr lang="en-US" sz="2400" kern="0" dirty="0" err="1">
                  <a:solidFill>
                    <a:prstClr val="white"/>
                  </a:solidFill>
                  <a:latin typeface="Calibri" panose="020F0502020204030204"/>
                  <a:ea typeface="Segoe UI" pitchFamily="34" charset="0"/>
                  <a:cs typeface="Segoe UI" pitchFamily="34" charset="0"/>
                </a:endParaRPr>
              </a:p>
            </p:txBody>
          </p:sp>
          <p:sp>
            <p:nvSpPr>
              <p:cNvPr id="36" name="Hexagon 35"/>
              <p:cNvSpPr>
                <a:spLocks noChangeAspect="1"/>
              </p:cNvSpPr>
              <p:nvPr/>
            </p:nvSpPr>
            <p:spPr bwMode="auto">
              <a:xfrm>
                <a:off x="5926019" y="3571287"/>
                <a:ext cx="666750" cy="576739"/>
              </a:xfrm>
              <a:prstGeom prst="hexagon">
                <a:avLst/>
              </a:prstGeom>
              <a:grpFill/>
              <a:ln w="6350" cap="flat" cmpd="sng" algn="ctr">
                <a:noFill/>
                <a:prstDash val="solid"/>
                <a:miter lim="800000"/>
                <a:headEnd type="none" w="med" len="med"/>
                <a:tailEnd type="none" w="med" len="med"/>
              </a:ln>
              <a:effectLst/>
            </p:spPr>
            <p:txBody>
              <a:bodyPr lIns="182857" tIns="146285" rIns="182857" bIns="146285"/>
              <a:lstStyle/>
              <a:p>
                <a:pPr algn="ctr" defTabSz="932379">
                  <a:lnSpc>
                    <a:spcPct val="90000"/>
                  </a:lnSpc>
                  <a:defRPr/>
                </a:pPr>
                <a:endParaRPr lang="en-US" sz="2400" kern="0" dirty="0" err="1">
                  <a:solidFill>
                    <a:prstClr val="white"/>
                  </a:solidFill>
                  <a:latin typeface="Calibri" panose="020F0502020204030204"/>
                  <a:ea typeface="Segoe UI" pitchFamily="34" charset="0"/>
                  <a:cs typeface="Segoe UI" pitchFamily="34" charset="0"/>
                </a:endParaRPr>
              </a:p>
            </p:txBody>
          </p:sp>
          <p:sp>
            <p:nvSpPr>
              <p:cNvPr id="37" name="Hexagon 36"/>
              <p:cNvSpPr>
                <a:spLocks noChangeAspect="1"/>
              </p:cNvSpPr>
              <p:nvPr/>
            </p:nvSpPr>
            <p:spPr bwMode="auto">
              <a:xfrm>
                <a:off x="4813004" y="3568721"/>
                <a:ext cx="666750" cy="576739"/>
              </a:xfrm>
              <a:prstGeom prst="hexagon">
                <a:avLst/>
              </a:prstGeom>
              <a:grpFill/>
              <a:ln w="6350" cap="flat" cmpd="sng" algn="ctr">
                <a:noFill/>
                <a:prstDash val="solid"/>
                <a:miter lim="800000"/>
                <a:headEnd type="none" w="med" len="med"/>
                <a:tailEnd type="none" w="med" len="med"/>
              </a:ln>
              <a:effectLst/>
            </p:spPr>
            <p:txBody>
              <a:bodyPr lIns="182857" tIns="146285" rIns="182857" bIns="146285"/>
              <a:lstStyle/>
              <a:p>
                <a:pPr algn="ctr" defTabSz="932379">
                  <a:lnSpc>
                    <a:spcPct val="90000"/>
                  </a:lnSpc>
                  <a:defRPr/>
                </a:pPr>
                <a:endParaRPr lang="en-US" sz="2400" kern="0" dirty="0" err="1">
                  <a:solidFill>
                    <a:prstClr val="white"/>
                  </a:solidFill>
                  <a:latin typeface="Calibri" panose="020F0502020204030204"/>
                  <a:ea typeface="Segoe UI" pitchFamily="34" charset="0"/>
                  <a:cs typeface="Segoe UI" pitchFamily="34" charset="0"/>
                </a:endParaRPr>
              </a:p>
            </p:txBody>
          </p:sp>
          <p:sp>
            <p:nvSpPr>
              <p:cNvPr id="38" name="Hexagon 37"/>
              <p:cNvSpPr>
                <a:spLocks noChangeAspect="1"/>
              </p:cNvSpPr>
              <p:nvPr/>
            </p:nvSpPr>
            <p:spPr bwMode="auto">
              <a:xfrm>
                <a:off x="8158631" y="3566576"/>
                <a:ext cx="666750" cy="576739"/>
              </a:xfrm>
              <a:prstGeom prst="hexagon">
                <a:avLst/>
              </a:prstGeom>
              <a:grpFill/>
              <a:ln w="6350" cap="flat" cmpd="sng" algn="ctr">
                <a:noFill/>
                <a:prstDash val="solid"/>
                <a:miter lim="800000"/>
                <a:headEnd type="none" w="med" len="med"/>
                <a:tailEnd type="none" w="med" len="med"/>
              </a:ln>
              <a:effectLst/>
            </p:spPr>
            <p:txBody>
              <a:bodyPr lIns="182857" tIns="146285" rIns="182857" bIns="146285"/>
              <a:lstStyle/>
              <a:p>
                <a:pPr algn="ctr" defTabSz="932379">
                  <a:lnSpc>
                    <a:spcPct val="90000"/>
                  </a:lnSpc>
                  <a:defRPr/>
                </a:pPr>
                <a:endParaRPr lang="en-US" sz="2400" kern="0" dirty="0" err="1">
                  <a:solidFill>
                    <a:prstClr val="white"/>
                  </a:solidFill>
                  <a:latin typeface="Calibri" panose="020F0502020204030204"/>
                  <a:ea typeface="Segoe UI" pitchFamily="34" charset="0"/>
                  <a:cs typeface="Segoe UI" pitchFamily="34" charset="0"/>
                </a:endParaRPr>
              </a:p>
            </p:txBody>
          </p:sp>
          <p:sp>
            <p:nvSpPr>
              <p:cNvPr id="39" name="Hexagon 38"/>
              <p:cNvSpPr>
                <a:spLocks noChangeAspect="1"/>
              </p:cNvSpPr>
              <p:nvPr/>
            </p:nvSpPr>
            <p:spPr bwMode="auto">
              <a:xfrm>
                <a:off x="7037269" y="3566577"/>
                <a:ext cx="666750" cy="576739"/>
              </a:xfrm>
              <a:prstGeom prst="hexagon">
                <a:avLst/>
              </a:prstGeom>
              <a:grpFill/>
              <a:ln w="6350" cap="flat" cmpd="sng" algn="ctr">
                <a:noFill/>
                <a:prstDash val="solid"/>
                <a:miter lim="800000"/>
                <a:headEnd type="none" w="med" len="med"/>
                <a:tailEnd type="none" w="med" len="med"/>
              </a:ln>
              <a:effectLst/>
            </p:spPr>
            <p:txBody>
              <a:bodyPr lIns="182857" tIns="146285" rIns="182857" bIns="146285"/>
              <a:lstStyle/>
              <a:p>
                <a:pPr algn="ctr" defTabSz="932379">
                  <a:lnSpc>
                    <a:spcPct val="90000"/>
                  </a:lnSpc>
                  <a:defRPr/>
                </a:pPr>
                <a:endParaRPr lang="en-US" sz="2400" kern="0" dirty="0" err="1">
                  <a:solidFill>
                    <a:prstClr val="white"/>
                  </a:solidFill>
                  <a:latin typeface="Calibri" panose="020F0502020204030204"/>
                  <a:ea typeface="Segoe UI" pitchFamily="34" charset="0"/>
                  <a:cs typeface="Segoe UI" pitchFamily="34" charset="0"/>
                </a:endParaRPr>
              </a:p>
            </p:txBody>
          </p:sp>
          <p:sp>
            <p:nvSpPr>
              <p:cNvPr id="40" name="Hexagon 39"/>
              <p:cNvSpPr>
                <a:spLocks noChangeAspect="1"/>
              </p:cNvSpPr>
              <p:nvPr/>
            </p:nvSpPr>
            <p:spPr bwMode="auto">
              <a:xfrm>
                <a:off x="10387953" y="3566576"/>
                <a:ext cx="666750" cy="576739"/>
              </a:xfrm>
              <a:prstGeom prst="hexagon">
                <a:avLst/>
              </a:prstGeom>
              <a:grpFill/>
              <a:ln w="6350" cap="flat" cmpd="sng" algn="ctr">
                <a:noFill/>
                <a:prstDash val="solid"/>
                <a:miter lim="800000"/>
                <a:headEnd type="none" w="med" len="med"/>
                <a:tailEnd type="none" w="med" len="med"/>
              </a:ln>
              <a:effectLst/>
            </p:spPr>
            <p:txBody>
              <a:bodyPr lIns="182857" tIns="146285" rIns="182857" bIns="146285"/>
              <a:lstStyle/>
              <a:p>
                <a:pPr algn="ctr" defTabSz="932379">
                  <a:lnSpc>
                    <a:spcPct val="90000"/>
                  </a:lnSpc>
                  <a:defRPr/>
                </a:pPr>
                <a:endParaRPr lang="en-US" sz="2400" kern="0" dirty="0" err="1">
                  <a:solidFill>
                    <a:prstClr val="white"/>
                  </a:solidFill>
                  <a:latin typeface="Calibri" panose="020F0502020204030204"/>
                  <a:ea typeface="Segoe UI" pitchFamily="34" charset="0"/>
                  <a:cs typeface="Segoe UI" pitchFamily="34" charset="0"/>
                </a:endParaRPr>
              </a:p>
            </p:txBody>
          </p:sp>
          <p:sp>
            <p:nvSpPr>
              <p:cNvPr id="41" name="Hexagon 40"/>
              <p:cNvSpPr>
                <a:spLocks noChangeAspect="1"/>
              </p:cNvSpPr>
              <p:nvPr/>
            </p:nvSpPr>
            <p:spPr bwMode="auto">
              <a:xfrm>
                <a:off x="9271647" y="3571286"/>
                <a:ext cx="666750" cy="576739"/>
              </a:xfrm>
              <a:prstGeom prst="hexagon">
                <a:avLst/>
              </a:prstGeom>
              <a:grpFill/>
              <a:ln w="6350" cap="flat" cmpd="sng" algn="ctr">
                <a:noFill/>
                <a:prstDash val="solid"/>
                <a:miter lim="800000"/>
                <a:headEnd type="none" w="med" len="med"/>
                <a:tailEnd type="none" w="med" len="med"/>
              </a:ln>
              <a:effectLst/>
            </p:spPr>
            <p:txBody>
              <a:bodyPr lIns="182857" tIns="146285" rIns="182857" bIns="146285"/>
              <a:lstStyle/>
              <a:p>
                <a:pPr algn="ctr" defTabSz="932379">
                  <a:lnSpc>
                    <a:spcPct val="90000"/>
                  </a:lnSpc>
                  <a:defRPr/>
                </a:pPr>
                <a:endParaRPr lang="en-US" sz="2400" kern="0" dirty="0" err="1">
                  <a:solidFill>
                    <a:prstClr val="white"/>
                  </a:solidFill>
                  <a:latin typeface="Calibri" panose="020F0502020204030204"/>
                  <a:ea typeface="Segoe UI" pitchFamily="34" charset="0"/>
                  <a:cs typeface="Segoe UI" pitchFamily="34" charset="0"/>
                </a:endParaRPr>
              </a:p>
            </p:txBody>
          </p:sp>
          <p:sp>
            <p:nvSpPr>
              <p:cNvPr id="42" name="Rectangle 41"/>
              <p:cNvSpPr/>
              <p:nvPr/>
            </p:nvSpPr>
            <p:spPr bwMode="auto">
              <a:xfrm>
                <a:off x="1042161" y="3873318"/>
                <a:ext cx="10430934" cy="1040842"/>
              </a:xfrm>
              <a:prstGeom prst="rect">
                <a:avLst/>
              </a:prstGeom>
              <a:grpFill/>
              <a:ln w="6350" cap="flat" cmpd="sng" algn="ctr">
                <a:noFill/>
                <a:prstDash val="solid"/>
                <a:miter lim="800000"/>
                <a:headEnd type="none" w="med" len="med"/>
                <a:tailEnd type="none" w="med" len="med"/>
              </a:ln>
              <a:effectLst/>
            </p:spPr>
            <p:txBody>
              <a:bodyPr lIns="182857" tIns="146285" rIns="182857" bIns="146285"/>
              <a:lstStyle/>
              <a:p>
                <a:pPr algn="ctr" defTabSz="932379">
                  <a:lnSpc>
                    <a:spcPct val="90000"/>
                  </a:lnSpc>
                  <a:defRPr/>
                </a:pPr>
                <a:endParaRPr lang="en-US" sz="2400" kern="0" dirty="0" err="1">
                  <a:solidFill>
                    <a:prstClr val="white"/>
                  </a:solidFill>
                  <a:latin typeface="Calibri" panose="020F0502020204030204"/>
                  <a:ea typeface="Segoe UI" pitchFamily="34" charset="0"/>
                  <a:cs typeface="Segoe UI" pitchFamily="34" charset="0"/>
                </a:endParaRPr>
              </a:p>
            </p:txBody>
          </p:sp>
        </p:grpSp>
        <p:sp>
          <p:nvSpPr>
            <p:cNvPr id="32" name="TextBox 31"/>
            <p:cNvSpPr txBox="1"/>
            <p:nvPr/>
          </p:nvSpPr>
          <p:spPr>
            <a:xfrm>
              <a:off x="4737649" y="3534263"/>
              <a:ext cx="2963543" cy="738664"/>
            </a:xfrm>
            <a:prstGeom prst="rect">
              <a:avLst/>
            </a:prstGeom>
            <a:noFill/>
          </p:spPr>
          <p:txBody>
            <a:bodyPr lIns="182857" tIns="146285" rIns="182857" bIns="146285">
              <a:spAutoFit/>
            </a:bodyPr>
            <a:lstStyle/>
            <a:p>
              <a:pPr algn="ctr" defTabSz="932649">
                <a:lnSpc>
                  <a:spcPct val="90000"/>
                </a:lnSpc>
                <a:spcAft>
                  <a:spcPts val="600"/>
                </a:spcAft>
                <a:defRPr/>
              </a:pPr>
              <a:r>
                <a:rPr lang="en-US" sz="3200" kern="0" dirty="0">
                  <a:solidFill>
                    <a:prstClr val="white"/>
                  </a:solidFill>
                  <a:latin typeface="Segoe UI"/>
                  <a:ea typeface="MS PGothic" pitchFamily="34" charset="-128"/>
                </a:rPr>
                <a:t>Service Fabric</a:t>
              </a:r>
            </a:p>
          </p:txBody>
        </p:sp>
      </p:grpSp>
      <p:grpSp>
        <p:nvGrpSpPr>
          <p:cNvPr id="43" name="Group 139"/>
          <p:cNvGrpSpPr>
            <a:grpSpLocks/>
          </p:cNvGrpSpPr>
          <p:nvPr/>
        </p:nvGrpSpPr>
        <p:grpSpPr bwMode="auto">
          <a:xfrm>
            <a:off x="530077" y="1395424"/>
            <a:ext cx="10704733" cy="1820630"/>
            <a:chOff x="880533" y="1549399"/>
            <a:chExt cx="10706923" cy="1821338"/>
          </a:xfrm>
        </p:grpSpPr>
        <p:sp>
          <p:nvSpPr>
            <p:cNvPr id="44" name="Hexagon 43"/>
            <p:cNvSpPr>
              <a:spLocks noChangeAspect="1"/>
            </p:cNvSpPr>
            <p:nvPr/>
          </p:nvSpPr>
          <p:spPr bwMode="auto">
            <a:xfrm>
              <a:off x="880533" y="2176625"/>
              <a:ext cx="666801" cy="576414"/>
            </a:xfrm>
            <a:prstGeom prst="hexagon">
              <a:avLst/>
            </a:prstGeom>
            <a:solidFill>
              <a:srgbClr val="44546A">
                <a:lumMod val="60000"/>
                <a:lumOff val="40000"/>
              </a:srgbClr>
            </a:solidFill>
            <a:ln w="6350" cap="flat" cmpd="sng" algn="ctr">
              <a:noFill/>
              <a:prstDash val="solid"/>
              <a:miter lim="800000"/>
              <a:headEnd type="none" w="med" len="med"/>
              <a:tailEnd type="none" w="med" len="med"/>
            </a:ln>
            <a:effectLst/>
          </p:spPr>
          <p:txBody>
            <a:bodyPr lIns="182857" tIns="146285" rIns="182857" bIns="146285"/>
            <a:lstStyle/>
            <a:p>
              <a:pPr algn="ctr" defTabSz="932379">
                <a:lnSpc>
                  <a:spcPct val="90000"/>
                </a:lnSpc>
                <a:defRPr/>
              </a:pPr>
              <a:endParaRPr lang="en-US" sz="2400" kern="0" dirty="0" err="1">
                <a:solidFill>
                  <a:prstClr val="black"/>
                </a:solidFill>
                <a:latin typeface="Calibri" panose="020F0502020204030204"/>
                <a:ea typeface="Segoe UI" pitchFamily="34" charset="0"/>
                <a:cs typeface="Segoe UI" pitchFamily="34" charset="0"/>
              </a:endParaRPr>
            </a:p>
          </p:txBody>
        </p:sp>
        <p:sp>
          <p:nvSpPr>
            <p:cNvPr id="45" name="Hexagon 44"/>
            <p:cNvSpPr>
              <a:spLocks noChangeAspect="1"/>
            </p:cNvSpPr>
            <p:nvPr/>
          </p:nvSpPr>
          <p:spPr bwMode="auto">
            <a:xfrm>
              <a:off x="1439376" y="1866982"/>
              <a:ext cx="666801" cy="576413"/>
            </a:xfrm>
            <a:prstGeom prst="hexagon">
              <a:avLst/>
            </a:prstGeom>
            <a:solidFill>
              <a:srgbClr val="ED7D31">
                <a:lumMod val="75000"/>
                <a:lumOff val="25000"/>
              </a:srgbClr>
            </a:solidFill>
            <a:ln w="6350" cap="flat" cmpd="sng" algn="ctr">
              <a:noFill/>
              <a:prstDash val="solid"/>
              <a:miter lim="800000"/>
              <a:headEnd type="none" w="med" len="med"/>
              <a:tailEnd type="none" w="med" len="med"/>
            </a:ln>
            <a:effectLst/>
          </p:spPr>
          <p:txBody>
            <a:bodyPr lIns="182857" tIns="146285" rIns="182857" bIns="146285"/>
            <a:lstStyle/>
            <a:p>
              <a:pPr algn="ctr" defTabSz="932379">
                <a:lnSpc>
                  <a:spcPct val="90000"/>
                </a:lnSpc>
                <a:defRPr/>
              </a:pPr>
              <a:endParaRPr lang="en-US" sz="2400" kern="0" dirty="0" err="1">
                <a:solidFill>
                  <a:prstClr val="black"/>
                </a:solidFill>
                <a:latin typeface="Calibri" panose="020F0502020204030204"/>
                <a:ea typeface="Segoe UI" pitchFamily="34" charset="0"/>
                <a:cs typeface="Segoe UI" pitchFamily="34" charset="0"/>
              </a:endParaRPr>
            </a:p>
          </p:txBody>
        </p:sp>
        <p:sp>
          <p:nvSpPr>
            <p:cNvPr id="46" name="Hexagon 45"/>
            <p:cNvSpPr>
              <a:spLocks noChangeAspect="1"/>
            </p:cNvSpPr>
            <p:nvPr/>
          </p:nvSpPr>
          <p:spPr bwMode="auto">
            <a:xfrm>
              <a:off x="1439376" y="2484680"/>
              <a:ext cx="666801" cy="576414"/>
            </a:xfrm>
            <a:prstGeom prst="hexagon">
              <a:avLst/>
            </a:prstGeom>
            <a:solidFill>
              <a:srgbClr val="70AD47">
                <a:lumMod val="85000"/>
                <a:lumOff val="15000"/>
              </a:srgbClr>
            </a:solidFill>
            <a:ln w="6350" cap="flat" cmpd="sng" algn="ctr">
              <a:noFill/>
              <a:prstDash val="solid"/>
              <a:miter lim="800000"/>
              <a:headEnd type="none" w="med" len="med"/>
              <a:tailEnd type="none" w="med" len="med"/>
            </a:ln>
            <a:effectLst/>
          </p:spPr>
          <p:txBody>
            <a:bodyPr lIns="182857" tIns="146285" rIns="182857" bIns="146285"/>
            <a:lstStyle/>
            <a:p>
              <a:pPr algn="ctr" defTabSz="932379">
                <a:lnSpc>
                  <a:spcPct val="90000"/>
                </a:lnSpc>
                <a:defRPr/>
              </a:pPr>
              <a:endParaRPr lang="en-US" sz="2400" kern="0" dirty="0" err="1">
                <a:solidFill>
                  <a:prstClr val="black"/>
                </a:solidFill>
                <a:latin typeface="Calibri" panose="020F0502020204030204"/>
                <a:ea typeface="Segoe UI" pitchFamily="34" charset="0"/>
                <a:cs typeface="Segoe UI" pitchFamily="34" charset="0"/>
              </a:endParaRPr>
            </a:p>
          </p:txBody>
        </p:sp>
        <p:sp>
          <p:nvSpPr>
            <p:cNvPr id="47" name="Hexagon 46"/>
            <p:cNvSpPr>
              <a:spLocks noChangeAspect="1"/>
            </p:cNvSpPr>
            <p:nvPr/>
          </p:nvSpPr>
          <p:spPr bwMode="auto">
            <a:xfrm>
              <a:off x="1996631" y="2176625"/>
              <a:ext cx="666801" cy="576414"/>
            </a:xfrm>
            <a:prstGeom prst="hexagon">
              <a:avLst/>
            </a:prstGeom>
            <a:solidFill>
              <a:srgbClr val="5B9BD5"/>
            </a:solidFill>
            <a:ln w="6350" cap="flat" cmpd="sng" algn="ctr">
              <a:noFill/>
              <a:prstDash val="solid"/>
              <a:miter lim="800000"/>
              <a:headEnd type="none" w="med" len="med"/>
              <a:tailEnd type="none" w="med" len="med"/>
            </a:ln>
            <a:effectLst/>
          </p:spPr>
          <p:txBody>
            <a:bodyPr lIns="182857" tIns="146285" rIns="182857" bIns="146285"/>
            <a:lstStyle/>
            <a:p>
              <a:pPr algn="ctr" defTabSz="932379">
                <a:lnSpc>
                  <a:spcPct val="90000"/>
                </a:lnSpc>
                <a:defRPr/>
              </a:pPr>
              <a:endParaRPr lang="en-US" sz="2400" kern="0" dirty="0" err="1">
                <a:solidFill>
                  <a:prstClr val="black"/>
                </a:solidFill>
                <a:latin typeface="Calibri" panose="020F0502020204030204"/>
                <a:ea typeface="Segoe UI" pitchFamily="34" charset="0"/>
                <a:cs typeface="Segoe UI" pitchFamily="34" charset="0"/>
              </a:endParaRPr>
            </a:p>
          </p:txBody>
        </p:sp>
        <p:sp>
          <p:nvSpPr>
            <p:cNvPr id="48" name="Hexagon 47"/>
            <p:cNvSpPr>
              <a:spLocks noChangeAspect="1"/>
            </p:cNvSpPr>
            <p:nvPr/>
          </p:nvSpPr>
          <p:spPr bwMode="auto">
            <a:xfrm>
              <a:off x="1996631" y="1557338"/>
              <a:ext cx="666801" cy="578001"/>
            </a:xfrm>
            <a:prstGeom prst="hexagon">
              <a:avLst/>
            </a:prstGeom>
            <a:solidFill>
              <a:srgbClr val="ED7D31"/>
            </a:solidFill>
            <a:ln w="6350" cap="flat" cmpd="sng" algn="ctr">
              <a:noFill/>
              <a:prstDash val="solid"/>
              <a:miter lim="800000"/>
              <a:headEnd type="none" w="med" len="med"/>
              <a:tailEnd type="none" w="med" len="med"/>
            </a:ln>
            <a:effectLst/>
          </p:spPr>
          <p:txBody>
            <a:bodyPr lIns="182857" tIns="146285" rIns="182857" bIns="146285"/>
            <a:lstStyle/>
            <a:p>
              <a:pPr algn="ctr" defTabSz="932379">
                <a:lnSpc>
                  <a:spcPct val="90000"/>
                </a:lnSpc>
                <a:defRPr/>
              </a:pPr>
              <a:endParaRPr lang="en-US" sz="2400" kern="0" dirty="0" err="1">
                <a:solidFill>
                  <a:prstClr val="black"/>
                </a:solidFill>
                <a:latin typeface="Calibri" panose="020F0502020204030204"/>
                <a:ea typeface="Segoe UI" pitchFamily="34" charset="0"/>
                <a:cs typeface="Segoe UI" pitchFamily="34" charset="0"/>
              </a:endParaRPr>
            </a:p>
          </p:txBody>
        </p:sp>
        <p:sp>
          <p:nvSpPr>
            <p:cNvPr id="49" name="Hexagon 48"/>
            <p:cNvSpPr>
              <a:spLocks noChangeAspect="1"/>
            </p:cNvSpPr>
            <p:nvPr/>
          </p:nvSpPr>
          <p:spPr bwMode="auto">
            <a:xfrm>
              <a:off x="1996631" y="2794324"/>
              <a:ext cx="666801" cy="576413"/>
            </a:xfrm>
            <a:prstGeom prst="hexagon">
              <a:avLst/>
            </a:prstGeom>
            <a:solidFill>
              <a:srgbClr val="A5A5A5">
                <a:lumMod val="60000"/>
                <a:lumOff val="40000"/>
              </a:srgbClr>
            </a:solidFill>
            <a:ln w="6350" cap="flat" cmpd="sng" algn="ctr">
              <a:noFill/>
              <a:prstDash val="solid"/>
              <a:miter lim="800000"/>
              <a:headEnd type="none" w="med" len="med"/>
              <a:tailEnd type="none" w="med" len="med"/>
            </a:ln>
            <a:effectLst/>
          </p:spPr>
          <p:txBody>
            <a:bodyPr lIns="182857" tIns="146285" rIns="182857" bIns="146285"/>
            <a:lstStyle/>
            <a:p>
              <a:pPr algn="ctr" defTabSz="932379">
                <a:lnSpc>
                  <a:spcPct val="90000"/>
                </a:lnSpc>
                <a:defRPr/>
              </a:pPr>
              <a:endParaRPr lang="en-US" sz="2400" kern="0" dirty="0" err="1">
                <a:solidFill>
                  <a:prstClr val="black"/>
                </a:solidFill>
                <a:latin typeface="Calibri" panose="020F0502020204030204"/>
                <a:ea typeface="Segoe UI" pitchFamily="34" charset="0"/>
                <a:cs typeface="Segoe UI" pitchFamily="34" charset="0"/>
              </a:endParaRPr>
            </a:p>
          </p:txBody>
        </p:sp>
        <p:sp>
          <p:nvSpPr>
            <p:cNvPr id="50" name="Hexagon 49"/>
            <p:cNvSpPr>
              <a:spLocks noChangeAspect="1"/>
            </p:cNvSpPr>
            <p:nvPr/>
          </p:nvSpPr>
          <p:spPr bwMode="auto">
            <a:xfrm>
              <a:off x="880533" y="2794324"/>
              <a:ext cx="666801" cy="576413"/>
            </a:xfrm>
            <a:prstGeom prst="hexagon">
              <a:avLst/>
            </a:prstGeom>
            <a:solidFill>
              <a:srgbClr val="ED7D31"/>
            </a:solidFill>
            <a:ln w="6350" cap="flat" cmpd="sng" algn="ctr">
              <a:noFill/>
              <a:prstDash val="solid"/>
              <a:miter lim="800000"/>
              <a:headEnd type="none" w="med" len="med"/>
              <a:tailEnd type="none" w="med" len="med"/>
            </a:ln>
            <a:effectLst/>
          </p:spPr>
          <p:txBody>
            <a:bodyPr lIns="182857" tIns="146285" rIns="182857" bIns="146285"/>
            <a:lstStyle/>
            <a:p>
              <a:pPr algn="ctr" defTabSz="932379">
                <a:lnSpc>
                  <a:spcPct val="90000"/>
                </a:lnSpc>
                <a:defRPr/>
              </a:pPr>
              <a:endParaRPr lang="en-US" sz="2400" kern="0" dirty="0" err="1">
                <a:solidFill>
                  <a:prstClr val="black"/>
                </a:solidFill>
                <a:latin typeface="Calibri" panose="020F0502020204030204"/>
                <a:ea typeface="Segoe UI" pitchFamily="34" charset="0"/>
                <a:cs typeface="Segoe UI" pitchFamily="34" charset="0"/>
              </a:endParaRPr>
            </a:p>
          </p:txBody>
        </p:sp>
        <p:sp>
          <p:nvSpPr>
            <p:cNvPr id="51" name="Hexagon 50"/>
            <p:cNvSpPr>
              <a:spLocks noChangeAspect="1"/>
            </p:cNvSpPr>
            <p:nvPr/>
          </p:nvSpPr>
          <p:spPr bwMode="auto">
            <a:xfrm>
              <a:off x="880533" y="1557338"/>
              <a:ext cx="666801" cy="578001"/>
            </a:xfrm>
            <a:prstGeom prst="hexagon">
              <a:avLst/>
            </a:prstGeom>
            <a:solidFill>
              <a:srgbClr val="44546A"/>
            </a:solidFill>
            <a:ln w="6350" cap="flat" cmpd="sng" algn="ctr">
              <a:noFill/>
              <a:prstDash val="solid"/>
              <a:miter lim="800000"/>
              <a:headEnd type="none" w="med" len="med"/>
              <a:tailEnd type="none" w="med" len="med"/>
            </a:ln>
            <a:effectLst/>
          </p:spPr>
          <p:txBody>
            <a:bodyPr lIns="182857" tIns="146285" rIns="182857" bIns="146285"/>
            <a:lstStyle/>
            <a:p>
              <a:pPr algn="ctr" defTabSz="932379">
                <a:lnSpc>
                  <a:spcPct val="90000"/>
                </a:lnSpc>
                <a:defRPr/>
              </a:pPr>
              <a:endParaRPr lang="en-US" sz="2400" kern="0" dirty="0" err="1">
                <a:solidFill>
                  <a:prstClr val="black"/>
                </a:solidFill>
                <a:latin typeface="Calibri" panose="020F0502020204030204"/>
                <a:ea typeface="Segoe UI" pitchFamily="34" charset="0"/>
                <a:cs typeface="Segoe UI" pitchFamily="34" charset="0"/>
              </a:endParaRPr>
            </a:p>
          </p:txBody>
        </p:sp>
        <p:sp>
          <p:nvSpPr>
            <p:cNvPr id="52" name="Hexagon 51"/>
            <p:cNvSpPr>
              <a:spLocks noChangeAspect="1"/>
            </p:cNvSpPr>
            <p:nvPr/>
          </p:nvSpPr>
          <p:spPr bwMode="auto">
            <a:xfrm>
              <a:off x="2555474" y="1866982"/>
              <a:ext cx="666801" cy="576413"/>
            </a:xfrm>
            <a:prstGeom prst="hexagon">
              <a:avLst/>
            </a:prstGeom>
            <a:solidFill>
              <a:srgbClr val="A5A5A5">
                <a:lumMod val="60000"/>
                <a:lumOff val="40000"/>
              </a:srgbClr>
            </a:solidFill>
            <a:ln w="6350" cap="flat" cmpd="sng" algn="ctr">
              <a:noFill/>
              <a:prstDash val="solid"/>
              <a:miter lim="800000"/>
              <a:headEnd type="none" w="med" len="med"/>
              <a:tailEnd type="none" w="med" len="med"/>
            </a:ln>
            <a:effectLst/>
          </p:spPr>
          <p:txBody>
            <a:bodyPr lIns="182857" tIns="146285" rIns="182857" bIns="146285"/>
            <a:lstStyle/>
            <a:p>
              <a:pPr algn="ctr" defTabSz="932379">
                <a:lnSpc>
                  <a:spcPct val="90000"/>
                </a:lnSpc>
                <a:defRPr/>
              </a:pPr>
              <a:endParaRPr lang="en-US" sz="2400" kern="0" dirty="0" err="1">
                <a:solidFill>
                  <a:prstClr val="black"/>
                </a:solidFill>
                <a:latin typeface="Calibri" panose="020F0502020204030204"/>
                <a:ea typeface="Segoe UI" pitchFamily="34" charset="0"/>
                <a:cs typeface="Segoe UI" pitchFamily="34" charset="0"/>
              </a:endParaRPr>
            </a:p>
          </p:txBody>
        </p:sp>
        <p:sp>
          <p:nvSpPr>
            <p:cNvPr id="53" name="Hexagon 52"/>
            <p:cNvSpPr>
              <a:spLocks noChangeAspect="1"/>
            </p:cNvSpPr>
            <p:nvPr/>
          </p:nvSpPr>
          <p:spPr bwMode="auto">
            <a:xfrm>
              <a:off x="2555474" y="2484680"/>
              <a:ext cx="666801" cy="576414"/>
            </a:xfrm>
            <a:prstGeom prst="hexagon">
              <a:avLst/>
            </a:prstGeom>
            <a:solidFill>
              <a:srgbClr val="44546A"/>
            </a:solidFill>
            <a:ln w="6350" cap="flat" cmpd="sng" algn="ctr">
              <a:noFill/>
              <a:prstDash val="solid"/>
              <a:miter lim="800000"/>
              <a:headEnd type="none" w="med" len="med"/>
              <a:tailEnd type="none" w="med" len="med"/>
            </a:ln>
            <a:effectLst/>
          </p:spPr>
          <p:txBody>
            <a:bodyPr lIns="182857" tIns="146285" rIns="182857" bIns="146285"/>
            <a:lstStyle/>
            <a:p>
              <a:pPr algn="ctr" defTabSz="932379">
                <a:lnSpc>
                  <a:spcPct val="90000"/>
                </a:lnSpc>
                <a:defRPr/>
              </a:pPr>
              <a:endParaRPr lang="en-US" sz="2400" kern="0" dirty="0" err="1">
                <a:solidFill>
                  <a:prstClr val="black"/>
                </a:solidFill>
                <a:latin typeface="Calibri" panose="020F0502020204030204"/>
                <a:ea typeface="Segoe UI" pitchFamily="34" charset="0"/>
                <a:cs typeface="Segoe UI" pitchFamily="34" charset="0"/>
              </a:endParaRPr>
            </a:p>
          </p:txBody>
        </p:sp>
        <p:sp>
          <p:nvSpPr>
            <p:cNvPr id="54" name="Hexagon 53"/>
            <p:cNvSpPr>
              <a:spLocks noChangeAspect="1"/>
            </p:cNvSpPr>
            <p:nvPr/>
          </p:nvSpPr>
          <p:spPr bwMode="auto">
            <a:xfrm>
              <a:off x="3112730" y="2176625"/>
              <a:ext cx="666801" cy="576414"/>
            </a:xfrm>
            <a:prstGeom prst="hexagon">
              <a:avLst/>
            </a:prstGeom>
            <a:solidFill>
              <a:sysClr val="window" lastClr="FFFFFF">
                <a:lumMod val="75000"/>
              </a:sysClr>
            </a:solidFill>
            <a:ln w="6350" cap="flat" cmpd="sng" algn="ctr">
              <a:noFill/>
              <a:prstDash val="solid"/>
              <a:miter lim="800000"/>
              <a:headEnd type="none" w="med" len="med"/>
              <a:tailEnd type="none" w="med" len="med"/>
            </a:ln>
            <a:effectLst/>
          </p:spPr>
          <p:txBody>
            <a:bodyPr lIns="182857" tIns="146285" rIns="182857" bIns="146285"/>
            <a:lstStyle/>
            <a:p>
              <a:pPr algn="ctr" defTabSz="932379">
                <a:lnSpc>
                  <a:spcPct val="90000"/>
                </a:lnSpc>
                <a:defRPr/>
              </a:pPr>
              <a:endParaRPr lang="en-US" sz="2400" kern="0" dirty="0" err="1">
                <a:solidFill>
                  <a:prstClr val="black"/>
                </a:solidFill>
                <a:latin typeface="Calibri" panose="020F0502020204030204"/>
                <a:ea typeface="Segoe UI" pitchFamily="34" charset="0"/>
                <a:cs typeface="Segoe UI" pitchFamily="34" charset="0"/>
              </a:endParaRPr>
            </a:p>
          </p:txBody>
        </p:sp>
        <p:sp>
          <p:nvSpPr>
            <p:cNvPr id="55" name="Hexagon 54"/>
            <p:cNvSpPr>
              <a:spLocks noChangeAspect="1"/>
            </p:cNvSpPr>
            <p:nvPr/>
          </p:nvSpPr>
          <p:spPr bwMode="auto">
            <a:xfrm>
              <a:off x="3671573" y="1866982"/>
              <a:ext cx="666801" cy="576413"/>
            </a:xfrm>
            <a:prstGeom prst="hexagon">
              <a:avLst/>
            </a:prstGeom>
            <a:solidFill>
              <a:srgbClr val="4472C4"/>
            </a:solidFill>
            <a:ln w="6350" cap="flat" cmpd="sng" algn="ctr">
              <a:noFill/>
              <a:prstDash val="solid"/>
              <a:miter lim="800000"/>
              <a:headEnd type="none" w="med" len="med"/>
              <a:tailEnd type="none" w="med" len="med"/>
            </a:ln>
            <a:effectLst/>
          </p:spPr>
          <p:txBody>
            <a:bodyPr lIns="182857" tIns="146285" rIns="182857" bIns="146285"/>
            <a:lstStyle/>
            <a:p>
              <a:pPr algn="ctr" defTabSz="932379">
                <a:lnSpc>
                  <a:spcPct val="90000"/>
                </a:lnSpc>
                <a:defRPr/>
              </a:pPr>
              <a:endParaRPr lang="en-US" sz="2400" kern="0" dirty="0" err="1">
                <a:solidFill>
                  <a:prstClr val="black"/>
                </a:solidFill>
                <a:latin typeface="Calibri" panose="020F0502020204030204"/>
                <a:ea typeface="Segoe UI" pitchFamily="34" charset="0"/>
                <a:cs typeface="Segoe UI" pitchFamily="34" charset="0"/>
              </a:endParaRPr>
            </a:p>
          </p:txBody>
        </p:sp>
        <p:sp>
          <p:nvSpPr>
            <p:cNvPr id="56" name="Hexagon 55"/>
            <p:cNvSpPr>
              <a:spLocks noChangeAspect="1"/>
            </p:cNvSpPr>
            <p:nvPr/>
          </p:nvSpPr>
          <p:spPr bwMode="auto">
            <a:xfrm>
              <a:off x="3671573" y="2484680"/>
              <a:ext cx="666801" cy="576414"/>
            </a:xfrm>
            <a:prstGeom prst="hexagon">
              <a:avLst/>
            </a:prstGeom>
            <a:solidFill>
              <a:srgbClr val="ED7D31">
                <a:lumMod val="75000"/>
                <a:lumOff val="25000"/>
              </a:srgbClr>
            </a:solidFill>
            <a:ln w="6350" cap="flat" cmpd="sng" algn="ctr">
              <a:noFill/>
              <a:prstDash val="solid"/>
              <a:miter lim="800000"/>
              <a:headEnd type="none" w="med" len="med"/>
              <a:tailEnd type="none" w="med" len="med"/>
            </a:ln>
            <a:effectLst/>
          </p:spPr>
          <p:txBody>
            <a:bodyPr lIns="182857" tIns="146285" rIns="182857" bIns="146285"/>
            <a:lstStyle/>
            <a:p>
              <a:pPr algn="ctr" defTabSz="932379">
                <a:lnSpc>
                  <a:spcPct val="90000"/>
                </a:lnSpc>
                <a:defRPr/>
              </a:pPr>
              <a:endParaRPr lang="en-US" sz="2400" kern="0" dirty="0" err="1">
                <a:solidFill>
                  <a:prstClr val="black"/>
                </a:solidFill>
                <a:latin typeface="Calibri" panose="020F0502020204030204"/>
                <a:ea typeface="Segoe UI" pitchFamily="34" charset="0"/>
                <a:cs typeface="Segoe UI" pitchFamily="34" charset="0"/>
              </a:endParaRPr>
            </a:p>
          </p:txBody>
        </p:sp>
        <p:sp>
          <p:nvSpPr>
            <p:cNvPr id="57" name="Hexagon 56"/>
            <p:cNvSpPr>
              <a:spLocks noChangeAspect="1"/>
            </p:cNvSpPr>
            <p:nvPr/>
          </p:nvSpPr>
          <p:spPr bwMode="auto">
            <a:xfrm>
              <a:off x="4228827" y="2176625"/>
              <a:ext cx="666801" cy="576414"/>
            </a:xfrm>
            <a:prstGeom prst="hexagon">
              <a:avLst/>
            </a:prstGeom>
            <a:solidFill>
              <a:srgbClr val="44546A">
                <a:lumMod val="60000"/>
                <a:lumOff val="40000"/>
              </a:srgbClr>
            </a:solidFill>
            <a:ln w="6350" cap="flat" cmpd="sng" algn="ctr">
              <a:noFill/>
              <a:prstDash val="solid"/>
              <a:miter lim="800000"/>
              <a:headEnd type="none" w="med" len="med"/>
              <a:tailEnd type="none" w="med" len="med"/>
            </a:ln>
            <a:effectLst/>
          </p:spPr>
          <p:txBody>
            <a:bodyPr lIns="182857" tIns="146285" rIns="182857" bIns="146285"/>
            <a:lstStyle/>
            <a:p>
              <a:pPr algn="ctr" defTabSz="932379">
                <a:lnSpc>
                  <a:spcPct val="90000"/>
                </a:lnSpc>
                <a:defRPr/>
              </a:pPr>
              <a:endParaRPr lang="en-US" sz="2400" kern="0" dirty="0" err="1">
                <a:solidFill>
                  <a:prstClr val="black"/>
                </a:solidFill>
                <a:latin typeface="Calibri" panose="020F0502020204030204"/>
                <a:ea typeface="Segoe UI" pitchFamily="34" charset="0"/>
                <a:cs typeface="Segoe UI" pitchFamily="34" charset="0"/>
              </a:endParaRPr>
            </a:p>
          </p:txBody>
        </p:sp>
        <p:sp>
          <p:nvSpPr>
            <p:cNvPr id="58" name="Hexagon 57"/>
            <p:cNvSpPr>
              <a:spLocks noChangeAspect="1"/>
            </p:cNvSpPr>
            <p:nvPr/>
          </p:nvSpPr>
          <p:spPr bwMode="auto">
            <a:xfrm>
              <a:off x="4228827" y="1557338"/>
              <a:ext cx="666801" cy="578001"/>
            </a:xfrm>
            <a:prstGeom prst="hexagon">
              <a:avLst/>
            </a:prstGeom>
            <a:solidFill>
              <a:srgbClr val="44546A"/>
            </a:solidFill>
            <a:ln w="6350" cap="flat" cmpd="sng" algn="ctr">
              <a:noFill/>
              <a:prstDash val="solid"/>
              <a:miter lim="800000"/>
              <a:headEnd type="none" w="med" len="med"/>
              <a:tailEnd type="none" w="med" len="med"/>
            </a:ln>
            <a:effectLst/>
          </p:spPr>
          <p:txBody>
            <a:bodyPr lIns="182857" tIns="146285" rIns="182857" bIns="146285"/>
            <a:lstStyle/>
            <a:p>
              <a:pPr algn="ctr" defTabSz="932379">
                <a:lnSpc>
                  <a:spcPct val="90000"/>
                </a:lnSpc>
                <a:defRPr/>
              </a:pPr>
              <a:endParaRPr lang="en-US" sz="2400" kern="0" dirty="0" err="1">
                <a:solidFill>
                  <a:prstClr val="black"/>
                </a:solidFill>
                <a:latin typeface="Calibri" panose="020F0502020204030204"/>
                <a:ea typeface="Segoe UI" pitchFamily="34" charset="0"/>
                <a:cs typeface="Segoe UI" pitchFamily="34" charset="0"/>
              </a:endParaRPr>
            </a:p>
          </p:txBody>
        </p:sp>
        <p:sp>
          <p:nvSpPr>
            <p:cNvPr id="59" name="Hexagon 58"/>
            <p:cNvSpPr>
              <a:spLocks noChangeAspect="1"/>
            </p:cNvSpPr>
            <p:nvPr/>
          </p:nvSpPr>
          <p:spPr bwMode="auto">
            <a:xfrm>
              <a:off x="4228827" y="2794324"/>
              <a:ext cx="666801" cy="576413"/>
            </a:xfrm>
            <a:prstGeom prst="hexagon">
              <a:avLst/>
            </a:prstGeom>
            <a:solidFill>
              <a:srgbClr val="ED7D31"/>
            </a:solidFill>
            <a:ln w="6350" cap="flat" cmpd="sng" algn="ctr">
              <a:noFill/>
              <a:prstDash val="solid"/>
              <a:miter lim="800000"/>
              <a:headEnd type="none" w="med" len="med"/>
              <a:tailEnd type="none" w="med" len="med"/>
            </a:ln>
            <a:effectLst/>
          </p:spPr>
          <p:txBody>
            <a:bodyPr lIns="182857" tIns="146285" rIns="182857" bIns="146285"/>
            <a:lstStyle/>
            <a:p>
              <a:pPr algn="ctr" defTabSz="932379">
                <a:lnSpc>
                  <a:spcPct val="90000"/>
                </a:lnSpc>
                <a:defRPr/>
              </a:pPr>
              <a:endParaRPr lang="en-US" sz="2400" kern="0" dirty="0" err="1">
                <a:solidFill>
                  <a:prstClr val="black"/>
                </a:solidFill>
                <a:latin typeface="Calibri" panose="020F0502020204030204"/>
                <a:ea typeface="Segoe UI" pitchFamily="34" charset="0"/>
                <a:cs typeface="Segoe UI" pitchFamily="34" charset="0"/>
              </a:endParaRPr>
            </a:p>
          </p:txBody>
        </p:sp>
        <p:sp>
          <p:nvSpPr>
            <p:cNvPr id="60" name="Hexagon 59"/>
            <p:cNvSpPr>
              <a:spLocks noChangeAspect="1"/>
            </p:cNvSpPr>
            <p:nvPr/>
          </p:nvSpPr>
          <p:spPr bwMode="auto">
            <a:xfrm>
              <a:off x="3112730" y="2794324"/>
              <a:ext cx="666801" cy="576413"/>
            </a:xfrm>
            <a:prstGeom prst="hexagon">
              <a:avLst/>
            </a:prstGeom>
            <a:solidFill>
              <a:srgbClr val="5B9BD5"/>
            </a:solidFill>
            <a:ln w="6350" cap="flat" cmpd="sng" algn="ctr">
              <a:noFill/>
              <a:prstDash val="solid"/>
              <a:miter lim="800000"/>
              <a:headEnd type="none" w="med" len="med"/>
              <a:tailEnd type="none" w="med" len="med"/>
            </a:ln>
            <a:effectLst/>
          </p:spPr>
          <p:txBody>
            <a:bodyPr lIns="182857" tIns="146285" rIns="182857" bIns="146285"/>
            <a:lstStyle/>
            <a:p>
              <a:pPr algn="ctr" defTabSz="932379">
                <a:lnSpc>
                  <a:spcPct val="90000"/>
                </a:lnSpc>
                <a:defRPr/>
              </a:pPr>
              <a:endParaRPr lang="en-US" sz="2400" kern="0" dirty="0" err="1">
                <a:solidFill>
                  <a:prstClr val="black"/>
                </a:solidFill>
                <a:latin typeface="Calibri" panose="020F0502020204030204"/>
                <a:ea typeface="Segoe UI" pitchFamily="34" charset="0"/>
                <a:cs typeface="Segoe UI" pitchFamily="34" charset="0"/>
              </a:endParaRPr>
            </a:p>
          </p:txBody>
        </p:sp>
        <p:sp>
          <p:nvSpPr>
            <p:cNvPr id="61" name="Hexagon 60"/>
            <p:cNvSpPr>
              <a:spLocks noChangeAspect="1"/>
            </p:cNvSpPr>
            <p:nvPr/>
          </p:nvSpPr>
          <p:spPr bwMode="auto">
            <a:xfrm>
              <a:off x="3112730" y="1557338"/>
              <a:ext cx="666801" cy="578001"/>
            </a:xfrm>
            <a:prstGeom prst="hexagon">
              <a:avLst/>
            </a:prstGeom>
            <a:solidFill>
              <a:srgbClr val="70AD47">
                <a:lumMod val="85000"/>
                <a:lumOff val="15000"/>
              </a:srgbClr>
            </a:solidFill>
            <a:ln w="6350" cap="flat" cmpd="sng" algn="ctr">
              <a:noFill/>
              <a:prstDash val="solid"/>
              <a:miter lim="800000"/>
              <a:headEnd type="none" w="med" len="med"/>
              <a:tailEnd type="none" w="med" len="med"/>
            </a:ln>
            <a:effectLst/>
          </p:spPr>
          <p:txBody>
            <a:bodyPr lIns="182857" tIns="146285" rIns="182857" bIns="146285"/>
            <a:lstStyle/>
            <a:p>
              <a:pPr algn="ctr" defTabSz="932379">
                <a:lnSpc>
                  <a:spcPct val="90000"/>
                </a:lnSpc>
                <a:defRPr/>
              </a:pPr>
              <a:endParaRPr lang="en-US" sz="2400" kern="0" dirty="0" err="1">
                <a:solidFill>
                  <a:prstClr val="black"/>
                </a:solidFill>
                <a:latin typeface="Calibri" panose="020F0502020204030204"/>
                <a:ea typeface="Segoe UI" pitchFamily="34" charset="0"/>
                <a:cs typeface="Segoe UI" pitchFamily="34" charset="0"/>
              </a:endParaRPr>
            </a:p>
          </p:txBody>
        </p:sp>
        <p:sp>
          <p:nvSpPr>
            <p:cNvPr id="62" name="Hexagon 61"/>
            <p:cNvSpPr>
              <a:spLocks noChangeAspect="1"/>
            </p:cNvSpPr>
            <p:nvPr/>
          </p:nvSpPr>
          <p:spPr bwMode="auto">
            <a:xfrm>
              <a:off x="4787670" y="1866982"/>
              <a:ext cx="666801" cy="576413"/>
            </a:xfrm>
            <a:prstGeom prst="hexagon">
              <a:avLst/>
            </a:prstGeom>
            <a:solidFill>
              <a:srgbClr val="ED7D31">
                <a:lumMod val="75000"/>
                <a:lumOff val="25000"/>
              </a:srgbClr>
            </a:solidFill>
            <a:ln w="6350" cap="flat" cmpd="sng" algn="ctr">
              <a:noFill/>
              <a:prstDash val="solid"/>
              <a:miter lim="800000"/>
              <a:headEnd type="none" w="med" len="med"/>
              <a:tailEnd type="none" w="med" len="med"/>
            </a:ln>
            <a:effectLst/>
          </p:spPr>
          <p:txBody>
            <a:bodyPr lIns="182857" tIns="146285" rIns="182857" bIns="146285"/>
            <a:lstStyle/>
            <a:p>
              <a:pPr algn="ctr" defTabSz="932379">
                <a:lnSpc>
                  <a:spcPct val="90000"/>
                </a:lnSpc>
                <a:defRPr/>
              </a:pPr>
              <a:endParaRPr lang="en-US" sz="2400" kern="0" dirty="0" err="1">
                <a:solidFill>
                  <a:prstClr val="black"/>
                </a:solidFill>
                <a:latin typeface="Calibri" panose="020F0502020204030204"/>
                <a:ea typeface="Segoe UI" pitchFamily="34" charset="0"/>
                <a:cs typeface="Segoe UI" pitchFamily="34" charset="0"/>
              </a:endParaRPr>
            </a:p>
          </p:txBody>
        </p:sp>
        <p:sp>
          <p:nvSpPr>
            <p:cNvPr id="63" name="Hexagon 62"/>
            <p:cNvSpPr>
              <a:spLocks noChangeAspect="1"/>
            </p:cNvSpPr>
            <p:nvPr/>
          </p:nvSpPr>
          <p:spPr bwMode="auto">
            <a:xfrm>
              <a:off x="4787670" y="2484680"/>
              <a:ext cx="666801" cy="576414"/>
            </a:xfrm>
            <a:prstGeom prst="hexagon">
              <a:avLst/>
            </a:prstGeom>
            <a:solidFill>
              <a:srgbClr val="70AD47">
                <a:lumMod val="85000"/>
                <a:lumOff val="15000"/>
              </a:srgbClr>
            </a:solidFill>
            <a:ln w="6350" cap="flat" cmpd="sng" algn="ctr">
              <a:noFill/>
              <a:prstDash val="solid"/>
              <a:miter lim="800000"/>
              <a:headEnd type="none" w="med" len="med"/>
              <a:tailEnd type="none" w="med" len="med"/>
            </a:ln>
            <a:effectLst/>
          </p:spPr>
          <p:txBody>
            <a:bodyPr lIns="182857" tIns="146285" rIns="182857" bIns="146285"/>
            <a:lstStyle/>
            <a:p>
              <a:pPr algn="ctr" defTabSz="932379">
                <a:lnSpc>
                  <a:spcPct val="90000"/>
                </a:lnSpc>
                <a:defRPr/>
              </a:pPr>
              <a:endParaRPr lang="en-US" sz="2400" kern="0" dirty="0" err="1">
                <a:solidFill>
                  <a:prstClr val="black"/>
                </a:solidFill>
                <a:latin typeface="Calibri" panose="020F0502020204030204"/>
                <a:ea typeface="Segoe UI" pitchFamily="34" charset="0"/>
                <a:cs typeface="Segoe UI" pitchFamily="34" charset="0"/>
              </a:endParaRPr>
            </a:p>
          </p:txBody>
        </p:sp>
        <p:sp>
          <p:nvSpPr>
            <p:cNvPr id="64" name="Hexagon 63"/>
            <p:cNvSpPr>
              <a:spLocks noChangeAspect="1"/>
            </p:cNvSpPr>
            <p:nvPr/>
          </p:nvSpPr>
          <p:spPr bwMode="auto">
            <a:xfrm>
              <a:off x="5341751" y="2167097"/>
              <a:ext cx="666801" cy="576414"/>
            </a:xfrm>
            <a:prstGeom prst="hexagon">
              <a:avLst/>
            </a:prstGeom>
            <a:solidFill>
              <a:srgbClr val="5B9BD5"/>
            </a:solidFill>
            <a:ln w="6350" cap="flat" cmpd="sng" algn="ctr">
              <a:noFill/>
              <a:prstDash val="solid"/>
              <a:miter lim="800000"/>
              <a:headEnd type="none" w="med" len="med"/>
              <a:tailEnd type="none" w="med" len="med"/>
            </a:ln>
            <a:effectLst/>
          </p:spPr>
          <p:txBody>
            <a:bodyPr lIns="182857" tIns="146285" rIns="182857" bIns="146285"/>
            <a:lstStyle/>
            <a:p>
              <a:pPr algn="ctr" defTabSz="932379">
                <a:lnSpc>
                  <a:spcPct val="90000"/>
                </a:lnSpc>
                <a:defRPr/>
              </a:pPr>
              <a:endParaRPr lang="en-US" sz="2400" kern="0" dirty="0" err="1">
                <a:solidFill>
                  <a:prstClr val="black"/>
                </a:solidFill>
                <a:latin typeface="Calibri" panose="020F0502020204030204"/>
                <a:ea typeface="Segoe UI" pitchFamily="34" charset="0"/>
                <a:cs typeface="Segoe UI" pitchFamily="34" charset="0"/>
              </a:endParaRPr>
            </a:p>
          </p:txBody>
        </p:sp>
        <p:sp>
          <p:nvSpPr>
            <p:cNvPr id="65" name="Hexagon 64"/>
            <p:cNvSpPr>
              <a:spLocks noChangeAspect="1"/>
            </p:cNvSpPr>
            <p:nvPr/>
          </p:nvSpPr>
          <p:spPr bwMode="auto">
            <a:xfrm>
              <a:off x="5900594" y="1866982"/>
              <a:ext cx="666801" cy="576413"/>
            </a:xfrm>
            <a:prstGeom prst="hexagon">
              <a:avLst/>
            </a:prstGeom>
            <a:solidFill>
              <a:srgbClr val="A5A5A5">
                <a:lumMod val="60000"/>
                <a:lumOff val="40000"/>
              </a:srgbClr>
            </a:solidFill>
            <a:ln w="6350" cap="flat" cmpd="sng" algn="ctr">
              <a:noFill/>
              <a:prstDash val="solid"/>
              <a:miter lim="800000"/>
              <a:headEnd type="none" w="med" len="med"/>
              <a:tailEnd type="none" w="med" len="med"/>
            </a:ln>
            <a:effectLst/>
          </p:spPr>
          <p:txBody>
            <a:bodyPr lIns="182857" tIns="146285" rIns="182857" bIns="146285"/>
            <a:lstStyle/>
            <a:p>
              <a:pPr algn="ctr" defTabSz="932379">
                <a:lnSpc>
                  <a:spcPct val="90000"/>
                </a:lnSpc>
                <a:defRPr/>
              </a:pPr>
              <a:endParaRPr lang="en-US" sz="2400" kern="0" dirty="0" err="1">
                <a:solidFill>
                  <a:prstClr val="black"/>
                </a:solidFill>
                <a:latin typeface="Calibri" panose="020F0502020204030204"/>
                <a:ea typeface="Segoe UI" pitchFamily="34" charset="0"/>
                <a:cs typeface="Segoe UI" pitchFamily="34" charset="0"/>
              </a:endParaRPr>
            </a:p>
          </p:txBody>
        </p:sp>
        <p:sp>
          <p:nvSpPr>
            <p:cNvPr id="66" name="Hexagon 65"/>
            <p:cNvSpPr>
              <a:spLocks noChangeAspect="1"/>
            </p:cNvSpPr>
            <p:nvPr/>
          </p:nvSpPr>
          <p:spPr bwMode="auto">
            <a:xfrm>
              <a:off x="5900594" y="2484680"/>
              <a:ext cx="666801" cy="576414"/>
            </a:xfrm>
            <a:prstGeom prst="hexagon">
              <a:avLst/>
            </a:prstGeom>
            <a:solidFill>
              <a:srgbClr val="44546A"/>
            </a:solidFill>
            <a:ln w="6350" cap="flat" cmpd="sng" algn="ctr">
              <a:noFill/>
              <a:prstDash val="solid"/>
              <a:miter lim="800000"/>
              <a:headEnd type="none" w="med" len="med"/>
              <a:tailEnd type="none" w="med" len="med"/>
            </a:ln>
            <a:effectLst/>
          </p:spPr>
          <p:txBody>
            <a:bodyPr lIns="182857" tIns="146285" rIns="182857" bIns="146285"/>
            <a:lstStyle/>
            <a:p>
              <a:pPr algn="ctr" defTabSz="932379">
                <a:lnSpc>
                  <a:spcPct val="90000"/>
                </a:lnSpc>
                <a:defRPr/>
              </a:pPr>
              <a:endParaRPr lang="en-US" sz="2400" kern="0" dirty="0" err="1">
                <a:solidFill>
                  <a:prstClr val="black"/>
                </a:solidFill>
                <a:latin typeface="Calibri" panose="020F0502020204030204"/>
                <a:ea typeface="Segoe UI" pitchFamily="34" charset="0"/>
                <a:cs typeface="Segoe UI" pitchFamily="34" charset="0"/>
              </a:endParaRPr>
            </a:p>
          </p:txBody>
        </p:sp>
        <p:sp>
          <p:nvSpPr>
            <p:cNvPr id="67" name="Hexagon 66"/>
            <p:cNvSpPr>
              <a:spLocks noChangeAspect="1"/>
            </p:cNvSpPr>
            <p:nvPr/>
          </p:nvSpPr>
          <p:spPr bwMode="auto">
            <a:xfrm>
              <a:off x="6459437" y="2176625"/>
              <a:ext cx="666801" cy="576414"/>
            </a:xfrm>
            <a:prstGeom prst="hexagon">
              <a:avLst/>
            </a:prstGeom>
            <a:solidFill>
              <a:sysClr val="window" lastClr="FFFFFF">
                <a:lumMod val="75000"/>
              </a:sysClr>
            </a:solidFill>
            <a:ln w="6350" cap="flat" cmpd="sng" algn="ctr">
              <a:noFill/>
              <a:prstDash val="solid"/>
              <a:miter lim="800000"/>
              <a:headEnd type="none" w="med" len="med"/>
              <a:tailEnd type="none" w="med" len="med"/>
            </a:ln>
            <a:effectLst/>
          </p:spPr>
          <p:txBody>
            <a:bodyPr lIns="182857" tIns="146285" rIns="182857" bIns="146285"/>
            <a:lstStyle/>
            <a:p>
              <a:pPr algn="ctr" defTabSz="932379">
                <a:lnSpc>
                  <a:spcPct val="90000"/>
                </a:lnSpc>
                <a:defRPr/>
              </a:pPr>
              <a:endParaRPr lang="en-US" sz="2400" kern="0" dirty="0" err="1">
                <a:solidFill>
                  <a:prstClr val="black"/>
                </a:solidFill>
                <a:latin typeface="Calibri" panose="020F0502020204030204"/>
                <a:ea typeface="Segoe UI" pitchFamily="34" charset="0"/>
                <a:cs typeface="Segoe UI" pitchFamily="34" charset="0"/>
              </a:endParaRPr>
            </a:p>
          </p:txBody>
        </p:sp>
        <p:sp>
          <p:nvSpPr>
            <p:cNvPr id="68" name="Hexagon 67"/>
            <p:cNvSpPr>
              <a:spLocks noChangeAspect="1"/>
            </p:cNvSpPr>
            <p:nvPr/>
          </p:nvSpPr>
          <p:spPr bwMode="auto">
            <a:xfrm>
              <a:off x="6459437" y="1557338"/>
              <a:ext cx="666801" cy="578001"/>
            </a:xfrm>
            <a:prstGeom prst="hexagon">
              <a:avLst/>
            </a:prstGeom>
            <a:solidFill>
              <a:srgbClr val="5B9BD5"/>
            </a:solidFill>
            <a:ln w="6350" cap="flat" cmpd="sng" algn="ctr">
              <a:noFill/>
              <a:prstDash val="solid"/>
              <a:miter lim="800000"/>
              <a:headEnd type="none" w="med" len="med"/>
              <a:tailEnd type="none" w="med" len="med"/>
            </a:ln>
            <a:effectLst/>
          </p:spPr>
          <p:txBody>
            <a:bodyPr lIns="182857" tIns="146285" rIns="182857" bIns="146285"/>
            <a:lstStyle/>
            <a:p>
              <a:pPr algn="ctr" defTabSz="932379">
                <a:lnSpc>
                  <a:spcPct val="90000"/>
                </a:lnSpc>
                <a:defRPr/>
              </a:pPr>
              <a:endParaRPr lang="en-US" sz="2400" kern="0" dirty="0" err="1">
                <a:solidFill>
                  <a:prstClr val="black"/>
                </a:solidFill>
                <a:latin typeface="Calibri" panose="020F0502020204030204"/>
                <a:ea typeface="Segoe UI" pitchFamily="34" charset="0"/>
                <a:cs typeface="Segoe UI" pitchFamily="34" charset="0"/>
              </a:endParaRPr>
            </a:p>
          </p:txBody>
        </p:sp>
        <p:sp>
          <p:nvSpPr>
            <p:cNvPr id="69" name="Hexagon 68"/>
            <p:cNvSpPr>
              <a:spLocks noChangeAspect="1"/>
            </p:cNvSpPr>
            <p:nvPr/>
          </p:nvSpPr>
          <p:spPr bwMode="auto">
            <a:xfrm>
              <a:off x="6459437" y="2794324"/>
              <a:ext cx="666801" cy="576413"/>
            </a:xfrm>
            <a:prstGeom prst="hexagon">
              <a:avLst/>
            </a:prstGeom>
            <a:solidFill>
              <a:srgbClr val="5B9BD5"/>
            </a:solidFill>
            <a:ln w="6350" cap="flat" cmpd="sng" algn="ctr">
              <a:noFill/>
              <a:prstDash val="solid"/>
              <a:miter lim="800000"/>
              <a:headEnd type="none" w="med" len="med"/>
              <a:tailEnd type="none" w="med" len="med"/>
            </a:ln>
            <a:effectLst/>
          </p:spPr>
          <p:txBody>
            <a:bodyPr lIns="182857" tIns="146285" rIns="182857" bIns="146285"/>
            <a:lstStyle/>
            <a:p>
              <a:pPr algn="ctr" defTabSz="932379">
                <a:lnSpc>
                  <a:spcPct val="90000"/>
                </a:lnSpc>
                <a:defRPr/>
              </a:pPr>
              <a:endParaRPr lang="en-US" sz="2400" kern="0" dirty="0" err="1">
                <a:solidFill>
                  <a:prstClr val="black"/>
                </a:solidFill>
                <a:latin typeface="Calibri" panose="020F0502020204030204"/>
                <a:ea typeface="Segoe UI" pitchFamily="34" charset="0"/>
                <a:cs typeface="Segoe UI" pitchFamily="34" charset="0"/>
              </a:endParaRPr>
            </a:p>
          </p:txBody>
        </p:sp>
        <p:sp>
          <p:nvSpPr>
            <p:cNvPr id="70" name="Hexagon 69"/>
            <p:cNvSpPr>
              <a:spLocks noChangeAspect="1"/>
            </p:cNvSpPr>
            <p:nvPr/>
          </p:nvSpPr>
          <p:spPr bwMode="auto">
            <a:xfrm>
              <a:off x="5341751" y="2784797"/>
              <a:ext cx="666801" cy="578001"/>
            </a:xfrm>
            <a:prstGeom prst="hexagon">
              <a:avLst/>
            </a:prstGeom>
            <a:solidFill>
              <a:srgbClr val="A5A5A5">
                <a:lumMod val="60000"/>
                <a:lumOff val="40000"/>
              </a:srgbClr>
            </a:solidFill>
            <a:ln w="6350" cap="flat" cmpd="sng" algn="ctr">
              <a:noFill/>
              <a:prstDash val="solid"/>
              <a:miter lim="800000"/>
              <a:headEnd type="none" w="med" len="med"/>
              <a:tailEnd type="none" w="med" len="med"/>
            </a:ln>
            <a:effectLst/>
          </p:spPr>
          <p:txBody>
            <a:bodyPr lIns="182857" tIns="146285" rIns="182857" bIns="146285"/>
            <a:lstStyle/>
            <a:p>
              <a:pPr algn="ctr" defTabSz="932379">
                <a:lnSpc>
                  <a:spcPct val="90000"/>
                </a:lnSpc>
                <a:defRPr/>
              </a:pPr>
              <a:endParaRPr lang="en-US" sz="2400" kern="0" dirty="0" err="1">
                <a:solidFill>
                  <a:prstClr val="black"/>
                </a:solidFill>
                <a:latin typeface="Calibri" panose="020F0502020204030204"/>
                <a:ea typeface="Segoe UI" pitchFamily="34" charset="0"/>
                <a:cs typeface="Segoe UI" pitchFamily="34" charset="0"/>
              </a:endParaRPr>
            </a:p>
          </p:txBody>
        </p:sp>
        <p:sp>
          <p:nvSpPr>
            <p:cNvPr id="71" name="Hexagon 70"/>
            <p:cNvSpPr>
              <a:spLocks noChangeAspect="1"/>
            </p:cNvSpPr>
            <p:nvPr/>
          </p:nvSpPr>
          <p:spPr bwMode="auto">
            <a:xfrm>
              <a:off x="5341751" y="1549399"/>
              <a:ext cx="666801" cy="576413"/>
            </a:xfrm>
            <a:prstGeom prst="hexagon">
              <a:avLst/>
            </a:prstGeom>
            <a:solidFill>
              <a:srgbClr val="ED7D31"/>
            </a:solidFill>
            <a:ln w="6350" cap="flat" cmpd="sng" algn="ctr">
              <a:noFill/>
              <a:prstDash val="solid"/>
              <a:miter lim="800000"/>
              <a:headEnd type="none" w="med" len="med"/>
              <a:tailEnd type="none" w="med" len="med"/>
            </a:ln>
            <a:effectLst/>
          </p:spPr>
          <p:txBody>
            <a:bodyPr lIns="182857" tIns="146285" rIns="182857" bIns="146285"/>
            <a:lstStyle/>
            <a:p>
              <a:pPr algn="ctr" defTabSz="932379">
                <a:lnSpc>
                  <a:spcPct val="90000"/>
                </a:lnSpc>
                <a:defRPr/>
              </a:pPr>
              <a:endParaRPr lang="en-US" sz="2400" kern="0" dirty="0" err="1">
                <a:solidFill>
                  <a:prstClr val="black"/>
                </a:solidFill>
                <a:latin typeface="Calibri" panose="020F0502020204030204"/>
                <a:ea typeface="Segoe UI" pitchFamily="34" charset="0"/>
                <a:cs typeface="Segoe UI" pitchFamily="34" charset="0"/>
              </a:endParaRPr>
            </a:p>
          </p:txBody>
        </p:sp>
        <p:sp>
          <p:nvSpPr>
            <p:cNvPr id="72" name="Hexagon 71"/>
            <p:cNvSpPr>
              <a:spLocks noChangeAspect="1"/>
            </p:cNvSpPr>
            <p:nvPr/>
          </p:nvSpPr>
          <p:spPr bwMode="auto">
            <a:xfrm>
              <a:off x="7016692" y="1866982"/>
              <a:ext cx="666801" cy="576413"/>
            </a:xfrm>
            <a:prstGeom prst="hexagon">
              <a:avLst/>
            </a:prstGeom>
            <a:solidFill>
              <a:srgbClr val="4472C4"/>
            </a:solidFill>
            <a:ln w="6350" cap="flat" cmpd="sng" algn="ctr">
              <a:noFill/>
              <a:prstDash val="solid"/>
              <a:miter lim="800000"/>
              <a:headEnd type="none" w="med" len="med"/>
              <a:tailEnd type="none" w="med" len="med"/>
            </a:ln>
            <a:effectLst/>
          </p:spPr>
          <p:txBody>
            <a:bodyPr lIns="182857" tIns="146285" rIns="182857" bIns="146285"/>
            <a:lstStyle/>
            <a:p>
              <a:pPr algn="ctr" defTabSz="932379">
                <a:lnSpc>
                  <a:spcPct val="90000"/>
                </a:lnSpc>
                <a:defRPr/>
              </a:pPr>
              <a:endParaRPr lang="en-US" sz="2400" kern="0" dirty="0" err="1">
                <a:solidFill>
                  <a:prstClr val="black"/>
                </a:solidFill>
                <a:latin typeface="Calibri" panose="020F0502020204030204"/>
                <a:ea typeface="Segoe UI" pitchFamily="34" charset="0"/>
                <a:cs typeface="Segoe UI" pitchFamily="34" charset="0"/>
              </a:endParaRPr>
            </a:p>
          </p:txBody>
        </p:sp>
        <p:sp>
          <p:nvSpPr>
            <p:cNvPr id="73" name="Hexagon 72"/>
            <p:cNvSpPr>
              <a:spLocks noChangeAspect="1"/>
            </p:cNvSpPr>
            <p:nvPr/>
          </p:nvSpPr>
          <p:spPr bwMode="auto">
            <a:xfrm>
              <a:off x="7016692" y="2484680"/>
              <a:ext cx="666801" cy="576414"/>
            </a:xfrm>
            <a:prstGeom prst="hexagon">
              <a:avLst/>
            </a:prstGeom>
            <a:solidFill>
              <a:srgbClr val="ED7D31">
                <a:lumMod val="75000"/>
                <a:lumOff val="25000"/>
              </a:srgbClr>
            </a:solidFill>
            <a:ln w="6350" cap="flat" cmpd="sng" algn="ctr">
              <a:noFill/>
              <a:prstDash val="solid"/>
              <a:miter lim="800000"/>
              <a:headEnd type="none" w="med" len="med"/>
              <a:tailEnd type="none" w="med" len="med"/>
            </a:ln>
            <a:effectLst/>
          </p:spPr>
          <p:txBody>
            <a:bodyPr lIns="182857" tIns="146285" rIns="182857" bIns="146285"/>
            <a:lstStyle/>
            <a:p>
              <a:pPr algn="ctr" defTabSz="932379">
                <a:lnSpc>
                  <a:spcPct val="90000"/>
                </a:lnSpc>
                <a:defRPr/>
              </a:pPr>
              <a:endParaRPr lang="en-US" sz="2400" kern="0" dirty="0" err="1">
                <a:solidFill>
                  <a:prstClr val="black"/>
                </a:solidFill>
                <a:latin typeface="Calibri" panose="020F0502020204030204"/>
                <a:ea typeface="Segoe UI" pitchFamily="34" charset="0"/>
                <a:cs typeface="Segoe UI" pitchFamily="34" charset="0"/>
              </a:endParaRPr>
            </a:p>
          </p:txBody>
        </p:sp>
        <p:sp>
          <p:nvSpPr>
            <p:cNvPr id="74" name="Hexagon 73"/>
            <p:cNvSpPr>
              <a:spLocks noChangeAspect="1"/>
            </p:cNvSpPr>
            <p:nvPr/>
          </p:nvSpPr>
          <p:spPr bwMode="auto">
            <a:xfrm>
              <a:off x="7575535" y="2176625"/>
              <a:ext cx="666801" cy="576414"/>
            </a:xfrm>
            <a:prstGeom prst="hexagon">
              <a:avLst/>
            </a:prstGeom>
            <a:solidFill>
              <a:srgbClr val="44546A">
                <a:lumMod val="60000"/>
                <a:lumOff val="40000"/>
              </a:srgbClr>
            </a:solidFill>
            <a:ln w="6350" cap="flat" cmpd="sng" algn="ctr">
              <a:noFill/>
              <a:prstDash val="solid"/>
              <a:miter lim="800000"/>
              <a:headEnd type="none" w="med" len="med"/>
              <a:tailEnd type="none" w="med" len="med"/>
            </a:ln>
            <a:effectLst/>
          </p:spPr>
          <p:txBody>
            <a:bodyPr lIns="182857" tIns="146285" rIns="182857" bIns="146285"/>
            <a:lstStyle/>
            <a:p>
              <a:pPr algn="ctr" defTabSz="932379">
                <a:lnSpc>
                  <a:spcPct val="90000"/>
                </a:lnSpc>
                <a:defRPr/>
              </a:pPr>
              <a:endParaRPr lang="en-US" sz="2400" kern="0" dirty="0" err="1">
                <a:solidFill>
                  <a:prstClr val="black"/>
                </a:solidFill>
                <a:latin typeface="Calibri" panose="020F0502020204030204"/>
                <a:ea typeface="Segoe UI" pitchFamily="34" charset="0"/>
                <a:cs typeface="Segoe UI" pitchFamily="34" charset="0"/>
              </a:endParaRPr>
            </a:p>
          </p:txBody>
        </p:sp>
        <p:sp>
          <p:nvSpPr>
            <p:cNvPr id="75" name="Hexagon 74"/>
            <p:cNvSpPr>
              <a:spLocks noChangeAspect="1"/>
            </p:cNvSpPr>
            <p:nvPr/>
          </p:nvSpPr>
          <p:spPr bwMode="auto">
            <a:xfrm>
              <a:off x="8132790" y="1866982"/>
              <a:ext cx="666801" cy="576413"/>
            </a:xfrm>
            <a:prstGeom prst="hexagon">
              <a:avLst/>
            </a:prstGeom>
            <a:solidFill>
              <a:srgbClr val="ED7D31">
                <a:lumMod val="75000"/>
                <a:lumOff val="25000"/>
              </a:srgbClr>
            </a:solidFill>
            <a:ln w="6350" cap="flat" cmpd="sng" algn="ctr">
              <a:noFill/>
              <a:prstDash val="solid"/>
              <a:miter lim="800000"/>
              <a:headEnd type="none" w="med" len="med"/>
              <a:tailEnd type="none" w="med" len="med"/>
            </a:ln>
            <a:effectLst/>
          </p:spPr>
          <p:txBody>
            <a:bodyPr lIns="182857" tIns="146285" rIns="182857" bIns="146285"/>
            <a:lstStyle/>
            <a:p>
              <a:pPr algn="ctr" defTabSz="932379">
                <a:lnSpc>
                  <a:spcPct val="90000"/>
                </a:lnSpc>
                <a:defRPr/>
              </a:pPr>
              <a:endParaRPr lang="en-US" sz="2400" kern="0" dirty="0" err="1">
                <a:solidFill>
                  <a:prstClr val="black"/>
                </a:solidFill>
                <a:latin typeface="Calibri" panose="020F0502020204030204"/>
                <a:ea typeface="Segoe UI" pitchFamily="34" charset="0"/>
                <a:cs typeface="Segoe UI" pitchFamily="34" charset="0"/>
              </a:endParaRPr>
            </a:p>
          </p:txBody>
        </p:sp>
        <p:sp>
          <p:nvSpPr>
            <p:cNvPr id="76" name="Hexagon 75"/>
            <p:cNvSpPr>
              <a:spLocks noChangeAspect="1"/>
            </p:cNvSpPr>
            <p:nvPr/>
          </p:nvSpPr>
          <p:spPr bwMode="auto">
            <a:xfrm>
              <a:off x="8132790" y="2484680"/>
              <a:ext cx="666801" cy="576414"/>
            </a:xfrm>
            <a:prstGeom prst="hexagon">
              <a:avLst/>
            </a:prstGeom>
            <a:solidFill>
              <a:srgbClr val="70AD47">
                <a:lumMod val="85000"/>
                <a:lumOff val="15000"/>
              </a:srgbClr>
            </a:solidFill>
            <a:ln w="6350" cap="flat" cmpd="sng" algn="ctr">
              <a:noFill/>
              <a:prstDash val="solid"/>
              <a:miter lim="800000"/>
              <a:headEnd type="none" w="med" len="med"/>
              <a:tailEnd type="none" w="med" len="med"/>
            </a:ln>
            <a:effectLst/>
          </p:spPr>
          <p:txBody>
            <a:bodyPr lIns="182857" tIns="146285" rIns="182857" bIns="146285"/>
            <a:lstStyle/>
            <a:p>
              <a:pPr algn="ctr" defTabSz="932379">
                <a:lnSpc>
                  <a:spcPct val="90000"/>
                </a:lnSpc>
                <a:defRPr/>
              </a:pPr>
              <a:endParaRPr lang="en-US" sz="2400" kern="0" dirty="0" err="1">
                <a:solidFill>
                  <a:prstClr val="black"/>
                </a:solidFill>
                <a:latin typeface="Calibri" panose="020F0502020204030204"/>
                <a:ea typeface="Segoe UI" pitchFamily="34" charset="0"/>
                <a:cs typeface="Segoe UI" pitchFamily="34" charset="0"/>
              </a:endParaRPr>
            </a:p>
          </p:txBody>
        </p:sp>
        <p:sp>
          <p:nvSpPr>
            <p:cNvPr id="77" name="Hexagon 76"/>
            <p:cNvSpPr>
              <a:spLocks noChangeAspect="1"/>
            </p:cNvSpPr>
            <p:nvPr/>
          </p:nvSpPr>
          <p:spPr bwMode="auto">
            <a:xfrm>
              <a:off x="8691633" y="2176625"/>
              <a:ext cx="666801" cy="576414"/>
            </a:xfrm>
            <a:prstGeom prst="hexagon">
              <a:avLst/>
            </a:prstGeom>
            <a:solidFill>
              <a:srgbClr val="5B9BD5"/>
            </a:solidFill>
            <a:ln w="6350" cap="flat" cmpd="sng" algn="ctr">
              <a:noFill/>
              <a:prstDash val="solid"/>
              <a:miter lim="800000"/>
              <a:headEnd type="none" w="med" len="med"/>
              <a:tailEnd type="none" w="med" len="med"/>
            </a:ln>
            <a:effectLst/>
          </p:spPr>
          <p:txBody>
            <a:bodyPr lIns="182857" tIns="146285" rIns="182857" bIns="146285"/>
            <a:lstStyle/>
            <a:p>
              <a:pPr algn="ctr" defTabSz="932379">
                <a:lnSpc>
                  <a:spcPct val="90000"/>
                </a:lnSpc>
                <a:defRPr/>
              </a:pPr>
              <a:endParaRPr lang="en-US" sz="2400" kern="0" dirty="0" err="1">
                <a:solidFill>
                  <a:prstClr val="black"/>
                </a:solidFill>
                <a:latin typeface="Calibri" panose="020F0502020204030204"/>
                <a:ea typeface="Segoe UI" pitchFamily="34" charset="0"/>
                <a:cs typeface="Segoe UI" pitchFamily="34" charset="0"/>
              </a:endParaRPr>
            </a:p>
          </p:txBody>
        </p:sp>
        <p:sp>
          <p:nvSpPr>
            <p:cNvPr id="78" name="Hexagon 77"/>
            <p:cNvSpPr>
              <a:spLocks noChangeAspect="1"/>
            </p:cNvSpPr>
            <p:nvPr/>
          </p:nvSpPr>
          <p:spPr bwMode="auto">
            <a:xfrm>
              <a:off x="8691633" y="1557338"/>
              <a:ext cx="666801" cy="578001"/>
            </a:xfrm>
            <a:prstGeom prst="hexagon">
              <a:avLst/>
            </a:prstGeom>
            <a:solidFill>
              <a:srgbClr val="ED7D31"/>
            </a:solidFill>
            <a:ln w="6350" cap="flat" cmpd="sng" algn="ctr">
              <a:noFill/>
              <a:prstDash val="solid"/>
              <a:miter lim="800000"/>
              <a:headEnd type="none" w="med" len="med"/>
              <a:tailEnd type="none" w="med" len="med"/>
            </a:ln>
            <a:effectLst/>
          </p:spPr>
          <p:txBody>
            <a:bodyPr lIns="182857" tIns="146285" rIns="182857" bIns="146285"/>
            <a:lstStyle/>
            <a:p>
              <a:pPr algn="ctr" defTabSz="932379">
                <a:lnSpc>
                  <a:spcPct val="90000"/>
                </a:lnSpc>
                <a:defRPr/>
              </a:pPr>
              <a:endParaRPr lang="en-US" sz="2400" kern="0" dirty="0" err="1">
                <a:solidFill>
                  <a:prstClr val="black"/>
                </a:solidFill>
                <a:latin typeface="Calibri" panose="020F0502020204030204"/>
                <a:ea typeface="Segoe UI" pitchFamily="34" charset="0"/>
                <a:cs typeface="Segoe UI" pitchFamily="34" charset="0"/>
              </a:endParaRPr>
            </a:p>
          </p:txBody>
        </p:sp>
        <p:sp>
          <p:nvSpPr>
            <p:cNvPr id="79" name="Hexagon 78"/>
            <p:cNvSpPr>
              <a:spLocks noChangeAspect="1"/>
            </p:cNvSpPr>
            <p:nvPr/>
          </p:nvSpPr>
          <p:spPr bwMode="auto">
            <a:xfrm>
              <a:off x="8691633" y="2794324"/>
              <a:ext cx="666801" cy="576413"/>
            </a:xfrm>
            <a:prstGeom prst="hexagon">
              <a:avLst/>
            </a:prstGeom>
            <a:solidFill>
              <a:srgbClr val="A5A5A5">
                <a:lumMod val="60000"/>
                <a:lumOff val="40000"/>
              </a:srgbClr>
            </a:solidFill>
            <a:ln w="6350" cap="flat" cmpd="sng" algn="ctr">
              <a:noFill/>
              <a:prstDash val="solid"/>
              <a:miter lim="800000"/>
              <a:headEnd type="none" w="med" len="med"/>
              <a:tailEnd type="none" w="med" len="med"/>
            </a:ln>
            <a:effectLst/>
          </p:spPr>
          <p:txBody>
            <a:bodyPr lIns="182857" tIns="146285" rIns="182857" bIns="146285"/>
            <a:lstStyle/>
            <a:p>
              <a:pPr algn="ctr" defTabSz="932379">
                <a:lnSpc>
                  <a:spcPct val="90000"/>
                </a:lnSpc>
                <a:defRPr/>
              </a:pPr>
              <a:endParaRPr lang="en-US" sz="2400" kern="0" dirty="0" err="1">
                <a:solidFill>
                  <a:prstClr val="black"/>
                </a:solidFill>
                <a:latin typeface="Calibri" panose="020F0502020204030204"/>
                <a:ea typeface="Segoe UI" pitchFamily="34" charset="0"/>
                <a:cs typeface="Segoe UI" pitchFamily="34" charset="0"/>
              </a:endParaRPr>
            </a:p>
          </p:txBody>
        </p:sp>
        <p:sp>
          <p:nvSpPr>
            <p:cNvPr id="80" name="Hexagon 79"/>
            <p:cNvSpPr>
              <a:spLocks noChangeAspect="1"/>
            </p:cNvSpPr>
            <p:nvPr/>
          </p:nvSpPr>
          <p:spPr bwMode="auto">
            <a:xfrm>
              <a:off x="7575535" y="2794324"/>
              <a:ext cx="666801" cy="576413"/>
            </a:xfrm>
            <a:prstGeom prst="hexagon">
              <a:avLst/>
            </a:prstGeom>
            <a:solidFill>
              <a:srgbClr val="ED7D31"/>
            </a:solidFill>
            <a:ln w="6350" cap="flat" cmpd="sng" algn="ctr">
              <a:noFill/>
              <a:prstDash val="solid"/>
              <a:miter lim="800000"/>
              <a:headEnd type="none" w="med" len="med"/>
              <a:tailEnd type="none" w="med" len="med"/>
            </a:ln>
            <a:effectLst/>
          </p:spPr>
          <p:txBody>
            <a:bodyPr lIns="182857" tIns="146285" rIns="182857" bIns="146285"/>
            <a:lstStyle/>
            <a:p>
              <a:pPr algn="ctr" defTabSz="932379">
                <a:lnSpc>
                  <a:spcPct val="90000"/>
                </a:lnSpc>
                <a:defRPr/>
              </a:pPr>
              <a:endParaRPr lang="en-US" sz="2400" kern="0" dirty="0" err="1">
                <a:solidFill>
                  <a:prstClr val="black"/>
                </a:solidFill>
                <a:latin typeface="Calibri" panose="020F0502020204030204"/>
                <a:ea typeface="Segoe UI" pitchFamily="34" charset="0"/>
                <a:cs typeface="Segoe UI" pitchFamily="34" charset="0"/>
              </a:endParaRPr>
            </a:p>
          </p:txBody>
        </p:sp>
        <p:sp>
          <p:nvSpPr>
            <p:cNvPr id="81" name="Hexagon 80"/>
            <p:cNvSpPr>
              <a:spLocks noChangeAspect="1"/>
            </p:cNvSpPr>
            <p:nvPr/>
          </p:nvSpPr>
          <p:spPr bwMode="auto">
            <a:xfrm>
              <a:off x="7575535" y="1557338"/>
              <a:ext cx="666801" cy="578001"/>
            </a:xfrm>
            <a:prstGeom prst="hexagon">
              <a:avLst/>
            </a:prstGeom>
            <a:solidFill>
              <a:srgbClr val="44546A"/>
            </a:solidFill>
            <a:ln w="6350" cap="flat" cmpd="sng" algn="ctr">
              <a:noFill/>
              <a:prstDash val="solid"/>
              <a:miter lim="800000"/>
              <a:headEnd type="none" w="med" len="med"/>
              <a:tailEnd type="none" w="med" len="med"/>
            </a:ln>
            <a:effectLst/>
          </p:spPr>
          <p:txBody>
            <a:bodyPr lIns="182857" tIns="146285" rIns="182857" bIns="146285"/>
            <a:lstStyle/>
            <a:p>
              <a:pPr algn="ctr" defTabSz="932379">
                <a:lnSpc>
                  <a:spcPct val="90000"/>
                </a:lnSpc>
                <a:defRPr/>
              </a:pPr>
              <a:endParaRPr lang="en-US" sz="2400" kern="0" dirty="0" err="1">
                <a:solidFill>
                  <a:prstClr val="black"/>
                </a:solidFill>
                <a:latin typeface="Calibri" panose="020F0502020204030204"/>
                <a:ea typeface="Segoe UI" pitchFamily="34" charset="0"/>
                <a:cs typeface="Segoe UI" pitchFamily="34" charset="0"/>
              </a:endParaRPr>
            </a:p>
          </p:txBody>
        </p:sp>
        <p:sp>
          <p:nvSpPr>
            <p:cNvPr id="82" name="Hexagon 81"/>
            <p:cNvSpPr>
              <a:spLocks noChangeAspect="1"/>
            </p:cNvSpPr>
            <p:nvPr/>
          </p:nvSpPr>
          <p:spPr bwMode="auto">
            <a:xfrm>
              <a:off x="9248888" y="1866982"/>
              <a:ext cx="666801" cy="576413"/>
            </a:xfrm>
            <a:prstGeom prst="hexagon">
              <a:avLst/>
            </a:prstGeom>
            <a:solidFill>
              <a:srgbClr val="A5A5A5">
                <a:lumMod val="60000"/>
                <a:lumOff val="40000"/>
              </a:srgbClr>
            </a:solidFill>
            <a:ln w="6350" cap="flat" cmpd="sng" algn="ctr">
              <a:noFill/>
              <a:prstDash val="solid"/>
              <a:miter lim="800000"/>
              <a:headEnd type="none" w="med" len="med"/>
              <a:tailEnd type="none" w="med" len="med"/>
            </a:ln>
            <a:effectLst/>
          </p:spPr>
          <p:txBody>
            <a:bodyPr lIns="182857" tIns="146285" rIns="182857" bIns="146285"/>
            <a:lstStyle/>
            <a:p>
              <a:pPr algn="ctr" defTabSz="932379">
                <a:lnSpc>
                  <a:spcPct val="90000"/>
                </a:lnSpc>
                <a:defRPr/>
              </a:pPr>
              <a:endParaRPr lang="en-US" sz="2400" kern="0" dirty="0" err="1">
                <a:solidFill>
                  <a:prstClr val="black"/>
                </a:solidFill>
                <a:latin typeface="Calibri" panose="020F0502020204030204"/>
                <a:ea typeface="Segoe UI" pitchFamily="34" charset="0"/>
                <a:cs typeface="Segoe UI" pitchFamily="34" charset="0"/>
              </a:endParaRPr>
            </a:p>
          </p:txBody>
        </p:sp>
        <p:sp>
          <p:nvSpPr>
            <p:cNvPr id="83" name="Hexagon 82"/>
            <p:cNvSpPr>
              <a:spLocks noChangeAspect="1"/>
            </p:cNvSpPr>
            <p:nvPr/>
          </p:nvSpPr>
          <p:spPr bwMode="auto">
            <a:xfrm>
              <a:off x="9248888" y="2484680"/>
              <a:ext cx="666801" cy="576414"/>
            </a:xfrm>
            <a:prstGeom prst="hexagon">
              <a:avLst/>
            </a:prstGeom>
            <a:solidFill>
              <a:srgbClr val="44546A"/>
            </a:solidFill>
            <a:ln w="6350" cap="flat" cmpd="sng" algn="ctr">
              <a:noFill/>
              <a:prstDash val="solid"/>
              <a:miter lim="800000"/>
              <a:headEnd type="none" w="med" len="med"/>
              <a:tailEnd type="none" w="med" len="med"/>
            </a:ln>
            <a:effectLst/>
          </p:spPr>
          <p:txBody>
            <a:bodyPr lIns="182857" tIns="146285" rIns="182857" bIns="146285"/>
            <a:lstStyle/>
            <a:p>
              <a:pPr algn="ctr" defTabSz="932379">
                <a:lnSpc>
                  <a:spcPct val="90000"/>
                </a:lnSpc>
                <a:defRPr/>
              </a:pPr>
              <a:endParaRPr lang="en-US" sz="2400" kern="0" dirty="0" err="1">
                <a:solidFill>
                  <a:prstClr val="black"/>
                </a:solidFill>
                <a:latin typeface="Calibri" panose="020F0502020204030204"/>
                <a:ea typeface="Segoe UI" pitchFamily="34" charset="0"/>
                <a:cs typeface="Segoe UI" pitchFamily="34" charset="0"/>
              </a:endParaRPr>
            </a:p>
          </p:txBody>
        </p:sp>
        <p:sp>
          <p:nvSpPr>
            <p:cNvPr id="84" name="Hexagon 83"/>
            <p:cNvSpPr>
              <a:spLocks noChangeAspect="1"/>
            </p:cNvSpPr>
            <p:nvPr/>
          </p:nvSpPr>
          <p:spPr bwMode="auto">
            <a:xfrm>
              <a:off x="9804556" y="2167097"/>
              <a:ext cx="666801" cy="576414"/>
            </a:xfrm>
            <a:prstGeom prst="hexagon">
              <a:avLst/>
            </a:prstGeom>
            <a:solidFill>
              <a:sysClr val="window" lastClr="FFFFFF">
                <a:lumMod val="75000"/>
              </a:sysClr>
            </a:solidFill>
            <a:ln w="6350" cap="flat" cmpd="sng" algn="ctr">
              <a:noFill/>
              <a:prstDash val="solid"/>
              <a:miter lim="800000"/>
              <a:headEnd type="none" w="med" len="med"/>
              <a:tailEnd type="none" w="med" len="med"/>
            </a:ln>
            <a:effectLst/>
          </p:spPr>
          <p:txBody>
            <a:bodyPr lIns="182857" tIns="146285" rIns="182857" bIns="146285"/>
            <a:lstStyle/>
            <a:p>
              <a:pPr algn="ctr" defTabSz="932379">
                <a:lnSpc>
                  <a:spcPct val="90000"/>
                </a:lnSpc>
                <a:defRPr/>
              </a:pPr>
              <a:endParaRPr lang="en-US" sz="2400" kern="0" dirty="0" err="1">
                <a:solidFill>
                  <a:prstClr val="black"/>
                </a:solidFill>
                <a:latin typeface="Calibri" panose="020F0502020204030204"/>
                <a:ea typeface="Segoe UI" pitchFamily="34" charset="0"/>
                <a:cs typeface="Segoe UI" pitchFamily="34" charset="0"/>
              </a:endParaRPr>
            </a:p>
          </p:txBody>
        </p:sp>
        <p:sp>
          <p:nvSpPr>
            <p:cNvPr id="85" name="Hexagon 84"/>
            <p:cNvSpPr>
              <a:spLocks noChangeAspect="1"/>
            </p:cNvSpPr>
            <p:nvPr/>
          </p:nvSpPr>
          <p:spPr bwMode="auto">
            <a:xfrm>
              <a:off x="10361812" y="1857455"/>
              <a:ext cx="666801" cy="578001"/>
            </a:xfrm>
            <a:prstGeom prst="hexagon">
              <a:avLst/>
            </a:prstGeom>
            <a:solidFill>
              <a:srgbClr val="4472C4"/>
            </a:solidFill>
            <a:ln w="6350" cap="flat" cmpd="sng" algn="ctr">
              <a:noFill/>
              <a:prstDash val="solid"/>
              <a:miter lim="800000"/>
              <a:headEnd type="none" w="med" len="med"/>
              <a:tailEnd type="none" w="med" len="med"/>
            </a:ln>
            <a:effectLst/>
          </p:spPr>
          <p:txBody>
            <a:bodyPr lIns="182857" tIns="146285" rIns="182857" bIns="146285"/>
            <a:lstStyle/>
            <a:p>
              <a:pPr algn="ctr" defTabSz="932379">
                <a:lnSpc>
                  <a:spcPct val="90000"/>
                </a:lnSpc>
                <a:defRPr/>
              </a:pPr>
              <a:endParaRPr lang="en-US" sz="2400" kern="0" dirty="0" err="1">
                <a:solidFill>
                  <a:prstClr val="black"/>
                </a:solidFill>
                <a:latin typeface="Calibri" panose="020F0502020204030204"/>
                <a:ea typeface="Segoe UI" pitchFamily="34" charset="0"/>
                <a:cs typeface="Segoe UI" pitchFamily="34" charset="0"/>
              </a:endParaRPr>
            </a:p>
          </p:txBody>
        </p:sp>
        <p:sp>
          <p:nvSpPr>
            <p:cNvPr id="86" name="Hexagon 85"/>
            <p:cNvSpPr>
              <a:spLocks noChangeAspect="1"/>
            </p:cNvSpPr>
            <p:nvPr/>
          </p:nvSpPr>
          <p:spPr bwMode="auto">
            <a:xfrm>
              <a:off x="10361812" y="2476741"/>
              <a:ext cx="666801" cy="576413"/>
            </a:xfrm>
            <a:prstGeom prst="hexagon">
              <a:avLst/>
            </a:prstGeom>
            <a:solidFill>
              <a:srgbClr val="ED7D31">
                <a:lumMod val="75000"/>
                <a:lumOff val="25000"/>
              </a:srgbClr>
            </a:solidFill>
            <a:ln w="6350" cap="flat" cmpd="sng" algn="ctr">
              <a:noFill/>
              <a:prstDash val="solid"/>
              <a:miter lim="800000"/>
              <a:headEnd type="none" w="med" len="med"/>
              <a:tailEnd type="none" w="med" len="med"/>
            </a:ln>
            <a:effectLst/>
          </p:spPr>
          <p:txBody>
            <a:bodyPr lIns="182857" tIns="146285" rIns="182857" bIns="146285"/>
            <a:lstStyle/>
            <a:p>
              <a:pPr algn="ctr" defTabSz="932379">
                <a:lnSpc>
                  <a:spcPct val="90000"/>
                </a:lnSpc>
                <a:defRPr/>
              </a:pPr>
              <a:endParaRPr lang="en-US" sz="2400" kern="0" dirty="0" err="1">
                <a:solidFill>
                  <a:prstClr val="black"/>
                </a:solidFill>
                <a:latin typeface="Calibri" panose="020F0502020204030204"/>
                <a:ea typeface="Segoe UI" pitchFamily="34" charset="0"/>
                <a:cs typeface="Segoe UI" pitchFamily="34" charset="0"/>
              </a:endParaRPr>
            </a:p>
          </p:txBody>
        </p:sp>
        <p:sp>
          <p:nvSpPr>
            <p:cNvPr id="87" name="Hexagon 86"/>
            <p:cNvSpPr>
              <a:spLocks noChangeAspect="1"/>
            </p:cNvSpPr>
            <p:nvPr/>
          </p:nvSpPr>
          <p:spPr bwMode="auto">
            <a:xfrm>
              <a:off x="10920655" y="2167097"/>
              <a:ext cx="666801" cy="576414"/>
            </a:xfrm>
            <a:prstGeom prst="hexagon">
              <a:avLst/>
            </a:prstGeom>
            <a:solidFill>
              <a:srgbClr val="44546A">
                <a:lumMod val="60000"/>
                <a:lumOff val="40000"/>
              </a:srgbClr>
            </a:solidFill>
            <a:ln w="6350" cap="flat" cmpd="sng" algn="ctr">
              <a:noFill/>
              <a:prstDash val="solid"/>
              <a:miter lim="800000"/>
              <a:headEnd type="none" w="med" len="med"/>
              <a:tailEnd type="none" w="med" len="med"/>
            </a:ln>
            <a:effectLst/>
          </p:spPr>
          <p:txBody>
            <a:bodyPr lIns="182857" tIns="146285" rIns="182857" bIns="146285"/>
            <a:lstStyle/>
            <a:p>
              <a:pPr algn="ctr" defTabSz="932379">
                <a:lnSpc>
                  <a:spcPct val="90000"/>
                </a:lnSpc>
                <a:defRPr/>
              </a:pPr>
              <a:endParaRPr lang="en-US" sz="2400" kern="0" dirty="0" err="1">
                <a:solidFill>
                  <a:prstClr val="black"/>
                </a:solidFill>
                <a:latin typeface="Calibri" panose="020F0502020204030204"/>
                <a:ea typeface="Segoe UI" pitchFamily="34" charset="0"/>
                <a:cs typeface="Segoe UI" pitchFamily="34" charset="0"/>
              </a:endParaRPr>
            </a:p>
          </p:txBody>
        </p:sp>
        <p:sp>
          <p:nvSpPr>
            <p:cNvPr id="88" name="Hexagon 87"/>
            <p:cNvSpPr>
              <a:spLocks noChangeAspect="1"/>
            </p:cNvSpPr>
            <p:nvPr/>
          </p:nvSpPr>
          <p:spPr bwMode="auto">
            <a:xfrm>
              <a:off x="10920655" y="1549399"/>
              <a:ext cx="666801" cy="576413"/>
            </a:xfrm>
            <a:prstGeom prst="hexagon">
              <a:avLst/>
            </a:prstGeom>
            <a:solidFill>
              <a:srgbClr val="44546A"/>
            </a:solidFill>
            <a:ln w="6350" cap="flat" cmpd="sng" algn="ctr">
              <a:noFill/>
              <a:prstDash val="solid"/>
              <a:miter lim="800000"/>
              <a:headEnd type="none" w="med" len="med"/>
              <a:tailEnd type="none" w="med" len="med"/>
            </a:ln>
            <a:effectLst/>
          </p:spPr>
          <p:txBody>
            <a:bodyPr lIns="182857" tIns="146285" rIns="182857" bIns="146285"/>
            <a:lstStyle/>
            <a:p>
              <a:pPr algn="ctr" defTabSz="932379">
                <a:lnSpc>
                  <a:spcPct val="90000"/>
                </a:lnSpc>
                <a:defRPr/>
              </a:pPr>
              <a:endParaRPr lang="en-US" sz="2400" kern="0" dirty="0" err="1">
                <a:solidFill>
                  <a:prstClr val="black"/>
                </a:solidFill>
                <a:latin typeface="Calibri" panose="020F0502020204030204"/>
                <a:ea typeface="Segoe UI" pitchFamily="34" charset="0"/>
                <a:cs typeface="Segoe UI" pitchFamily="34" charset="0"/>
              </a:endParaRPr>
            </a:p>
          </p:txBody>
        </p:sp>
        <p:sp>
          <p:nvSpPr>
            <p:cNvPr id="89" name="Hexagon 88"/>
            <p:cNvSpPr>
              <a:spLocks noChangeAspect="1"/>
            </p:cNvSpPr>
            <p:nvPr/>
          </p:nvSpPr>
          <p:spPr bwMode="auto">
            <a:xfrm>
              <a:off x="10920655" y="2784797"/>
              <a:ext cx="666801" cy="578001"/>
            </a:xfrm>
            <a:prstGeom prst="hexagon">
              <a:avLst/>
            </a:prstGeom>
            <a:solidFill>
              <a:srgbClr val="ED7D31"/>
            </a:solidFill>
            <a:ln w="6350" cap="flat" cmpd="sng" algn="ctr">
              <a:noFill/>
              <a:prstDash val="solid"/>
              <a:miter lim="800000"/>
              <a:headEnd type="none" w="med" len="med"/>
              <a:tailEnd type="none" w="med" len="med"/>
            </a:ln>
            <a:effectLst/>
          </p:spPr>
          <p:txBody>
            <a:bodyPr lIns="182857" tIns="146285" rIns="182857" bIns="146285"/>
            <a:lstStyle/>
            <a:p>
              <a:pPr algn="ctr" defTabSz="932379">
                <a:lnSpc>
                  <a:spcPct val="90000"/>
                </a:lnSpc>
                <a:defRPr/>
              </a:pPr>
              <a:endParaRPr lang="en-US" sz="2400" kern="0" dirty="0" err="1">
                <a:solidFill>
                  <a:prstClr val="black"/>
                </a:solidFill>
                <a:latin typeface="Calibri" panose="020F0502020204030204"/>
                <a:ea typeface="Segoe UI" pitchFamily="34" charset="0"/>
                <a:cs typeface="Segoe UI" pitchFamily="34" charset="0"/>
              </a:endParaRPr>
            </a:p>
          </p:txBody>
        </p:sp>
        <p:sp>
          <p:nvSpPr>
            <p:cNvPr id="90" name="Hexagon 89"/>
            <p:cNvSpPr>
              <a:spLocks noChangeAspect="1"/>
            </p:cNvSpPr>
            <p:nvPr/>
          </p:nvSpPr>
          <p:spPr bwMode="auto">
            <a:xfrm>
              <a:off x="9804556" y="2784797"/>
              <a:ext cx="666801" cy="578001"/>
            </a:xfrm>
            <a:prstGeom prst="hexagon">
              <a:avLst/>
            </a:prstGeom>
            <a:solidFill>
              <a:srgbClr val="5B9BD5"/>
            </a:solidFill>
            <a:ln w="6350" cap="flat" cmpd="sng" algn="ctr">
              <a:noFill/>
              <a:prstDash val="solid"/>
              <a:miter lim="800000"/>
              <a:headEnd type="none" w="med" len="med"/>
              <a:tailEnd type="none" w="med" len="med"/>
            </a:ln>
            <a:effectLst/>
          </p:spPr>
          <p:txBody>
            <a:bodyPr lIns="182857" tIns="146285" rIns="182857" bIns="146285"/>
            <a:lstStyle/>
            <a:p>
              <a:pPr algn="ctr" defTabSz="932379">
                <a:lnSpc>
                  <a:spcPct val="90000"/>
                </a:lnSpc>
                <a:defRPr/>
              </a:pPr>
              <a:endParaRPr lang="en-US" sz="2400" kern="0" dirty="0" err="1">
                <a:solidFill>
                  <a:prstClr val="black"/>
                </a:solidFill>
                <a:latin typeface="Calibri" panose="020F0502020204030204"/>
                <a:ea typeface="Segoe UI" pitchFamily="34" charset="0"/>
                <a:cs typeface="Segoe UI" pitchFamily="34" charset="0"/>
              </a:endParaRPr>
            </a:p>
          </p:txBody>
        </p:sp>
        <p:sp>
          <p:nvSpPr>
            <p:cNvPr id="91" name="Hexagon 90"/>
            <p:cNvSpPr>
              <a:spLocks noChangeAspect="1"/>
            </p:cNvSpPr>
            <p:nvPr/>
          </p:nvSpPr>
          <p:spPr bwMode="auto">
            <a:xfrm>
              <a:off x="9804556" y="1549399"/>
              <a:ext cx="666801" cy="576413"/>
            </a:xfrm>
            <a:prstGeom prst="hexagon">
              <a:avLst/>
            </a:prstGeom>
            <a:solidFill>
              <a:srgbClr val="5B9BD5"/>
            </a:solidFill>
            <a:ln w="6350" cap="flat" cmpd="sng" algn="ctr">
              <a:noFill/>
              <a:prstDash val="solid"/>
              <a:miter lim="800000"/>
              <a:headEnd type="none" w="med" len="med"/>
              <a:tailEnd type="none" w="med" len="med"/>
            </a:ln>
            <a:effectLst/>
          </p:spPr>
          <p:txBody>
            <a:bodyPr lIns="182857" tIns="146285" rIns="182857" bIns="146285"/>
            <a:lstStyle/>
            <a:p>
              <a:pPr algn="ctr" defTabSz="932379">
                <a:lnSpc>
                  <a:spcPct val="90000"/>
                </a:lnSpc>
                <a:defRPr/>
              </a:pPr>
              <a:endParaRPr lang="en-US" sz="2400" kern="0" dirty="0" err="1">
                <a:solidFill>
                  <a:prstClr val="black"/>
                </a:solidFill>
                <a:latin typeface="Calibri" panose="020F0502020204030204"/>
                <a:ea typeface="Segoe UI" pitchFamily="34" charset="0"/>
                <a:cs typeface="Segoe UI" pitchFamily="34" charset="0"/>
              </a:endParaRPr>
            </a:p>
          </p:txBody>
        </p:sp>
      </p:grpSp>
      <p:grpSp>
        <p:nvGrpSpPr>
          <p:cNvPr id="92" name="Group 188"/>
          <p:cNvGrpSpPr>
            <a:grpSpLocks/>
          </p:cNvGrpSpPr>
          <p:nvPr/>
        </p:nvGrpSpPr>
        <p:grpSpPr bwMode="auto">
          <a:xfrm>
            <a:off x="653887" y="3436688"/>
            <a:ext cx="10388861" cy="628570"/>
            <a:chOff x="1004881" y="3591355"/>
            <a:chExt cx="10390601" cy="627864"/>
          </a:xfrm>
        </p:grpSpPr>
        <p:sp>
          <p:nvSpPr>
            <p:cNvPr id="93" name="TextBox 189"/>
            <p:cNvSpPr txBox="1">
              <a:spLocks noChangeArrowheads="1"/>
            </p:cNvSpPr>
            <p:nvPr/>
          </p:nvSpPr>
          <p:spPr bwMode="auto">
            <a:xfrm>
              <a:off x="1004881" y="3642317"/>
              <a:ext cx="1054473"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82857" tIns="146285" rIns="182857" bIns="146285">
              <a:spAutoFit/>
            </a:bodyPr>
            <a:lstStyle/>
            <a:p>
              <a:pPr>
                <a:lnSpc>
                  <a:spcPct val="90000"/>
                </a:lnSpc>
                <a:spcAft>
                  <a:spcPts val="600"/>
                </a:spcAft>
              </a:pPr>
              <a:r>
                <a:rPr lang="en-US" altLang="en-US" sz="1200">
                  <a:solidFill>
                    <a:srgbClr val="FFFFFF"/>
                  </a:solidFill>
                </a:rPr>
                <a:t>Scalability</a:t>
              </a:r>
            </a:p>
          </p:txBody>
        </p:sp>
        <p:sp>
          <p:nvSpPr>
            <p:cNvPr id="94" name="TextBox 190"/>
            <p:cNvSpPr txBox="1">
              <a:spLocks noChangeArrowheads="1"/>
            </p:cNvSpPr>
            <p:nvPr/>
          </p:nvSpPr>
          <p:spPr bwMode="auto">
            <a:xfrm>
              <a:off x="2183528" y="3658964"/>
              <a:ext cx="1131253"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82857" tIns="146285" rIns="182857" bIns="146285">
              <a:spAutoFit/>
            </a:bodyPr>
            <a:lstStyle/>
            <a:p>
              <a:pPr>
                <a:lnSpc>
                  <a:spcPct val="90000"/>
                </a:lnSpc>
                <a:spcAft>
                  <a:spcPts val="600"/>
                </a:spcAft>
              </a:pPr>
              <a:r>
                <a:rPr lang="en-US" altLang="en-US" sz="1200">
                  <a:solidFill>
                    <a:srgbClr val="FFFFFF"/>
                  </a:solidFill>
                </a:rPr>
                <a:t>Availability</a:t>
              </a:r>
            </a:p>
          </p:txBody>
        </p:sp>
        <p:sp>
          <p:nvSpPr>
            <p:cNvPr id="95" name="TextBox 191"/>
            <p:cNvSpPr txBox="1">
              <a:spLocks noChangeArrowheads="1"/>
            </p:cNvSpPr>
            <p:nvPr/>
          </p:nvSpPr>
          <p:spPr bwMode="auto">
            <a:xfrm>
              <a:off x="3402899" y="3667876"/>
              <a:ext cx="1257970"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82857" tIns="146285" rIns="182857" bIns="146285">
              <a:spAutoFit/>
            </a:bodyPr>
            <a:lstStyle/>
            <a:p>
              <a:pPr>
                <a:lnSpc>
                  <a:spcPct val="90000"/>
                </a:lnSpc>
                <a:spcAft>
                  <a:spcPts val="600"/>
                </a:spcAft>
              </a:pPr>
              <a:r>
                <a:rPr lang="en-US" altLang="en-US" sz="1200">
                  <a:solidFill>
                    <a:srgbClr val="FFFFFF"/>
                  </a:solidFill>
                </a:rPr>
                <a:t>Performance</a:t>
              </a:r>
            </a:p>
          </p:txBody>
        </p:sp>
        <p:sp>
          <p:nvSpPr>
            <p:cNvPr id="96" name="TextBox 192"/>
            <p:cNvSpPr txBox="1">
              <a:spLocks noChangeArrowheads="1"/>
            </p:cNvSpPr>
            <p:nvPr/>
          </p:nvSpPr>
          <p:spPr bwMode="auto">
            <a:xfrm>
              <a:off x="7566166" y="3591355"/>
              <a:ext cx="1312106" cy="6278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82857" tIns="146285" rIns="182857" bIns="146285">
              <a:spAutoFit/>
            </a:bodyPr>
            <a:lstStyle/>
            <a:p>
              <a:pPr algn="ctr">
                <a:lnSpc>
                  <a:spcPct val="90000"/>
                </a:lnSpc>
                <a:spcAft>
                  <a:spcPts val="600"/>
                </a:spcAft>
              </a:pPr>
              <a:r>
                <a:rPr lang="en-US" altLang="en-US" sz="1200">
                  <a:solidFill>
                    <a:srgbClr val="FFFFFF"/>
                  </a:solidFill>
                </a:rPr>
                <a:t>Lifecycle management</a:t>
              </a:r>
            </a:p>
          </p:txBody>
        </p:sp>
        <p:sp>
          <p:nvSpPr>
            <p:cNvPr id="97" name="TextBox 193"/>
            <p:cNvSpPr txBox="1">
              <a:spLocks noChangeArrowheads="1"/>
            </p:cNvSpPr>
            <p:nvPr/>
          </p:nvSpPr>
          <p:spPr bwMode="auto">
            <a:xfrm>
              <a:off x="8771756" y="3674444"/>
              <a:ext cx="1312106"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82857" tIns="146285" rIns="182857" bIns="146285">
              <a:spAutoFit/>
            </a:bodyPr>
            <a:lstStyle/>
            <a:p>
              <a:pPr algn="ctr">
                <a:lnSpc>
                  <a:spcPct val="90000"/>
                </a:lnSpc>
                <a:spcAft>
                  <a:spcPts val="600"/>
                </a:spcAft>
              </a:pPr>
              <a:r>
                <a:rPr lang="en-US" altLang="en-US" sz="1200">
                  <a:solidFill>
                    <a:srgbClr val="FFFFFF"/>
                  </a:solidFill>
                </a:rPr>
                <a:t>Portability</a:t>
              </a:r>
            </a:p>
          </p:txBody>
        </p:sp>
        <p:sp>
          <p:nvSpPr>
            <p:cNvPr id="98" name="TextBox 194"/>
            <p:cNvSpPr txBox="1">
              <a:spLocks noChangeArrowheads="1"/>
            </p:cNvSpPr>
            <p:nvPr/>
          </p:nvSpPr>
          <p:spPr bwMode="auto">
            <a:xfrm>
              <a:off x="10083376" y="3674444"/>
              <a:ext cx="1312106"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82857" tIns="146285" rIns="182857" bIns="146285">
              <a:spAutoFit/>
            </a:bodyPr>
            <a:lstStyle/>
            <a:p>
              <a:pPr algn="ctr">
                <a:lnSpc>
                  <a:spcPct val="90000"/>
                </a:lnSpc>
                <a:spcAft>
                  <a:spcPts val="600"/>
                </a:spcAft>
              </a:pPr>
              <a:r>
                <a:rPr lang="en-US" altLang="en-US" sz="1200">
                  <a:solidFill>
                    <a:srgbClr val="FFFFFF"/>
                  </a:solidFill>
                </a:rPr>
                <a:t>Monitoring</a:t>
              </a:r>
            </a:p>
          </p:txBody>
        </p:sp>
      </p:grpSp>
      <p:sp>
        <p:nvSpPr>
          <p:cNvPr id="99" name="Rectangle 98"/>
          <p:cNvSpPr/>
          <p:nvPr/>
        </p:nvSpPr>
        <p:spPr bwMode="auto">
          <a:xfrm>
            <a:off x="2351637" y="2499571"/>
            <a:ext cx="3206160" cy="754021"/>
          </a:xfrm>
          <a:prstGeom prst="rect">
            <a:avLst/>
          </a:prstGeom>
          <a:solidFill>
            <a:srgbClr val="FFB900"/>
          </a:solidFill>
          <a:ln w="6350" cap="flat" cmpd="sng" algn="ctr">
            <a:noFill/>
            <a:prstDash val="solid"/>
            <a:miter lim="800000"/>
            <a:headEnd type="none" w="med" len="med"/>
            <a:tailEnd type="none" w="med" len="med"/>
          </a:ln>
          <a:effectLst/>
        </p:spPr>
        <p:txBody>
          <a:bodyPr tIns="91428" rIns="34290" bIns="34290" anchor="ctr"/>
          <a:lstStyle/>
          <a:p>
            <a:pPr algn="ctr" defTabSz="932313">
              <a:defRPr/>
            </a:pPr>
            <a:r>
              <a:rPr lang="en-US" sz="2400" kern="0" dirty="0">
                <a:gradFill>
                  <a:gsLst>
                    <a:gs pos="0">
                      <a:srgbClr val="FFFFFF"/>
                    </a:gs>
                    <a:gs pos="100000">
                      <a:srgbClr val="FFFFFF"/>
                    </a:gs>
                  </a:gsLst>
                  <a:lin ang="5400000" scaled="0"/>
                </a:gradFill>
                <a:latin typeface="Calibri" panose="020F0502020204030204"/>
                <a:ea typeface="Segoe UI" pitchFamily="34" charset="0"/>
                <a:cs typeface="Segoe UI" pitchFamily="34" charset="0"/>
              </a:rPr>
              <a:t>Any code</a:t>
            </a:r>
          </a:p>
        </p:txBody>
      </p:sp>
      <p:sp>
        <p:nvSpPr>
          <p:cNvPr id="100" name="Rectangle 99"/>
          <p:cNvSpPr/>
          <p:nvPr/>
        </p:nvSpPr>
        <p:spPr bwMode="auto">
          <a:xfrm>
            <a:off x="5774672" y="2491982"/>
            <a:ext cx="3483581" cy="754021"/>
          </a:xfrm>
          <a:prstGeom prst="rect">
            <a:avLst/>
          </a:prstGeom>
          <a:solidFill>
            <a:srgbClr val="FFB900"/>
          </a:solidFill>
          <a:ln w="6350" cap="flat" cmpd="sng" algn="ctr">
            <a:noFill/>
            <a:prstDash val="solid"/>
            <a:miter lim="800000"/>
            <a:headEnd type="none" w="med" len="med"/>
            <a:tailEnd type="none" w="med" len="med"/>
          </a:ln>
          <a:effectLst/>
        </p:spPr>
        <p:txBody>
          <a:bodyPr tIns="91428" rIns="34290" bIns="34290" anchor="ctr"/>
          <a:lstStyle/>
          <a:p>
            <a:pPr algn="ctr" defTabSz="932313">
              <a:defRPr/>
            </a:pPr>
            <a:r>
              <a:rPr lang="en-US" sz="2400" kern="0" dirty="0">
                <a:gradFill>
                  <a:gsLst>
                    <a:gs pos="0">
                      <a:srgbClr val="FFFFFF"/>
                    </a:gs>
                    <a:gs pos="100000">
                      <a:srgbClr val="FFFFFF"/>
                    </a:gs>
                  </a:gsLst>
                  <a:lin ang="5400000" scaled="0"/>
                </a:gradFill>
                <a:latin typeface="Calibri" panose="020F0502020204030204"/>
                <a:ea typeface="Segoe UI" pitchFamily="34" charset="0"/>
                <a:cs typeface="Segoe UI" pitchFamily="34" charset="0"/>
              </a:rPr>
              <a:t>Reliable Services API</a:t>
            </a:r>
          </a:p>
        </p:txBody>
      </p:sp>
      <p:sp>
        <p:nvSpPr>
          <p:cNvPr id="101" name="Rectangle 100"/>
          <p:cNvSpPr/>
          <p:nvPr/>
        </p:nvSpPr>
        <p:spPr bwMode="auto">
          <a:xfrm>
            <a:off x="5772159" y="1592445"/>
            <a:ext cx="3483581" cy="754021"/>
          </a:xfrm>
          <a:prstGeom prst="rect">
            <a:avLst/>
          </a:prstGeom>
          <a:solidFill>
            <a:srgbClr val="FFB900"/>
          </a:solidFill>
          <a:ln w="6350" cap="flat" cmpd="sng" algn="ctr">
            <a:noFill/>
            <a:prstDash val="solid"/>
            <a:miter lim="800000"/>
            <a:headEnd type="none" w="med" len="med"/>
            <a:tailEnd type="none" w="med" len="med"/>
          </a:ln>
          <a:effectLst/>
        </p:spPr>
        <p:txBody>
          <a:bodyPr tIns="91428" rIns="34290" bIns="34290" anchor="ctr"/>
          <a:lstStyle/>
          <a:p>
            <a:pPr algn="ctr" defTabSz="932313">
              <a:defRPr/>
            </a:pPr>
            <a:r>
              <a:rPr lang="en-US" sz="2400" kern="0" dirty="0">
                <a:gradFill>
                  <a:gsLst>
                    <a:gs pos="0">
                      <a:srgbClr val="FFFFFF"/>
                    </a:gs>
                    <a:gs pos="100000">
                      <a:srgbClr val="FFFFFF"/>
                    </a:gs>
                  </a:gsLst>
                  <a:lin ang="5400000" scaled="0"/>
                </a:gradFill>
                <a:latin typeface="Calibri" panose="020F0502020204030204"/>
                <a:ea typeface="Segoe UI" pitchFamily="34" charset="0"/>
                <a:cs typeface="Segoe UI" pitchFamily="34" charset="0"/>
              </a:rPr>
              <a:t>Reliable Actors API</a:t>
            </a:r>
          </a:p>
        </p:txBody>
      </p:sp>
    </p:spTree>
    <p:extLst>
      <p:ext uri="{BB962C8B-B14F-4D97-AF65-F5344CB8AC3E}">
        <p14:creationId xmlns:p14="http://schemas.microsoft.com/office/powerpoint/2010/main" val="237607329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99"/>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00"/>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10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66169" y="1212851"/>
            <a:ext cx="10993494" cy="6420219"/>
          </a:xfrm>
        </p:spPr>
        <p:txBody>
          <a:bodyPr/>
          <a:lstStyle/>
          <a:p>
            <a:r>
              <a:rPr lang="en-US" sz="3200" dirty="0"/>
              <a:t>You can host stateless front-end/back-end roles</a:t>
            </a:r>
          </a:p>
          <a:p>
            <a:r>
              <a:rPr lang="en-US" sz="3200" dirty="0"/>
              <a:t>Connectivity between the services</a:t>
            </a:r>
          </a:p>
          <a:p>
            <a:r>
              <a:rPr lang="en-US" sz="3200" dirty="0"/>
              <a:t>Service URIs</a:t>
            </a:r>
          </a:p>
          <a:p>
            <a:r>
              <a:rPr lang="en-US" sz="3200" dirty="0"/>
              <a:t>Client/server </a:t>
            </a:r>
          </a:p>
          <a:p>
            <a:r>
              <a:rPr lang="en-US" sz="3200" dirty="0"/>
              <a:t>Default Stack (Strongly typed RPC)/WCF/HTTP *all in C#</a:t>
            </a:r>
          </a:p>
          <a:p>
            <a:r>
              <a:rPr lang="en-US" sz="3200" dirty="0"/>
              <a:t>SF not support </a:t>
            </a:r>
            <a:r>
              <a:rPr lang="en-US" sz="3200" dirty="0" err="1"/>
              <a:t>System.Web</a:t>
            </a:r>
            <a:r>
              <a:rPr lang="en-US" sz="3200" dirty="0"/>
              <a:t> and IIS dependencies</a:t>
            </a:r>
          </a:p>
          <a:p>
            <a:r>
              <a:rPr lang="en-US" sz="3200" dirty="0"/>
              <a:t>Support for ASP.NET 5 – Open Source Stack</a:t>
            </a:r>
          </a:p>
          <a:p>
            <a:r>
              <a:rPr lang="en-US" sz="3200" dirty="0"/>
              <a:t>Can host – EXE/JVMs/</a:t>
            </a:r>
            <a:r>
              <a:rPr lang="en-US" sz="3200" dirty="0" err="1"/>
              <a:t>.Net</a:t>
            </a:r>
            <a:r>
              <a:rPr lang="en-US" sz="3200" dirty="0"/>
              <a:t>/Windows containers*</a:t>
            </a:r>
          </a:p>
          <a:p>
            <a:r>
              <a:rPr lang="en-US" sz="3200" dirty="0"/>
              <a:t>You will need a minimum of 5 VMs – Hybrid</a:t>
            </a:r>
          </a:p>
          <a:p>
            <a:r>
              <a:rPr lang="en-US" sz="3200" dirty="0"/>
              <a:t>Where state is required you can use Reliable Collections or external references</a:t>
            </a:r>
          </a:p>
          <a:p>
            <a:endParaRPr lang="en-US" sz="2800" dirty="0"/>
          </a:p>
        </p:txBody>
      </p:sp>
      <p:sp>
        <p:nvSpPr>
          <p:cNvPr id="2" name="Title 1"/>
          <p:cNvSpPr>
            <a:spLocks noGrp="1"/>
          </p:cNvSpPr>
          <p:nvPr>
            <p:ph type="title"/>
          </p:nvPr>
        </p:nvSpPr>
        <p:spPr/>
        <p:txBody>
          <a:bodyPr/>
          <a:lstStyle/>
          <a:p>
            <a:r>
              <a:rPr lang="en-US" dirty="0"/>
              <a:t>Service Fabric deployment</a:t>
            </a:r>
          </a:p>
        </p:txBody>
      </p:sp>
    </p:spTree>
    <p:extLst>
      <p:ext uri="{BB962C8B-B14F-4D97-AF65-F5344CB8AC3E}">
        <p14:creationId xmlns:p14="http://schemas.microsoft.com/office/powerpoint/2010/main" val="341729617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2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366169" y="1212851"/>
            <a:ext cx="11702552" cy="2227533"/>
          </a:xfrm>
        </p:spPr>
        <p:txBody>
          <a:bodyPr/>
          <a:lstStyle/>
          <a:p>
            <a:r>
              <a:rPr lang="en-US" sz="3200" dirty="0"/>
              <a:t>Independent unit of state and compute (large number in parallel)</a:t>
            </a:r>
          </a:p>
          <a:p>
            <a:r>
              <a:rPr lang="en-US" sz="3200" dirty="0"/>
              <a:t>Communicates with other actors using asynchronous messaging</a:t>
            </a:r>
          </a:p>
          <a:p>
            <a:r>
              <a:rPr lang="en-US" sz="3200" dirty="0"/>
              <a:t>Automatic state management and turn based concurrency </a:t>
            </a:r>
          </a:p>
          <a:p>
            <a:endParaRPr lang="en-US" sz="1050" dirty="0">
              <a:solidFill>
                <a:schemeClr val="tx1"/>
              </a:solidFill>
            </a:endParaRPr>
          </a:p>
          <a:p>
            <a:pPr lvl="1"/>
            <a:r>
              <a:rPr lang="en-US" dirty="0">
                <a:solidFill>
                  <a:schemeClr val="tx1"/>
                </a:solidFill>
              </a:rPr>
              <a:t>I.e., single-threaded execution within an Actor</a:t>
            </a:r>
          </a:p>
        </p:txBody>
      </p:sp>
      <p:sp>
        <p:nvSpPr>
          <p:cNvPr id="2" name="Title 1"/>
          <p:cNvSpPr>
            <a:spLocks noGrp="1"/>
          </p:cNvSpPr>
          <p:nvPr>
            <p:ph type="title"/>
          </p:nvPr>
        </p:nvSpPr>
        <p:spPr/>
        <p:txBody>
          <a:bodyPr/>
          <a:lstStyle/>
          <a:p>
            <a:r>
              <a:rPr lang="en-US" dirty="0"/>
              <a:t>Reliable Actor API</a:t>
            </a:r>
          </a:p>
        </p:txBody>
      </p:sp>
    </p:spTree>
    <p:extLst>
      <p:ext uri="{BB962C8B-B14F-4D97-AF65-F5344CB8AC3E}">
        <p14:creationId xmlns:p14="http://schemas.microsoft.com/office/powerpoint/2010/main" val="194011052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2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8" name="Text Placeholder 7"/>
          <p:cNvSpPr>
            <a:spLocks noGrp="1"/>
          </p:cNvSpPr>
          <p:nvPr>
            <p:ph type="body" sz="quarter" idx="10"/>
          </p:nvPr>
        </p:nvSpPr>
        <p:spPr>
          <a:xfrm>
            <a:off x="366168" y="1212851"/>
            <a:ext cx="11702553" cy="3871829"/>
          </a:xfrm>
        </p:spPr>
        <p:txBody>
          <a:bodyPr/>
          <a:lstStyle/>
          <a:p>
            <a:r>
              <a:rPr lang="en-US" sz="3200" dirty="0"/>
              <a:t>Build Stateless Services using technologies such as ASP.NET</a:t>
            </a:r>
          </a:p>
          <a:p>
            <a:r>
              <a:rPr lang="en-US" sz="3200" dirty="0"/>
              <a:t>Build </a:t>
            </a:r>
            <a:r>
              <a:rPr lang="en-US" sz="3200" dirty="0" err="1"/>
              <a:t>Stateful</a:t>
            </a:r>
            <a:r>
              <a:rPr lang="en-US" sz="3200" dirty="0"/>
              <a:t> Services using reliable collections</a:t>
            </a:r>
          </a:p>
          <a:p>
            <a:r>
              <a:rPr lang="en-US" sz="3200" dirty="0"/>
              <a:t>Manage the concurrency and granularity of state changes using transactions</a:t>
            </a:r>
          </a:p>
          <a:p>
            <a:r>
              <a:rPr lang="en-US" sz="3200" dirty="0"/>
              <a:t>Communicate with services using the technology of your choice (e.g. </a:t>
            </a:r>
            <a:r>
              <a:rPr lang="en-US" sz="3200" dirty="0" err="1"/>
              <a:t>WebAPI</a:t>
            </a:r>
            <a:r>
              <a:rPr lang="en-US" sz="3200" dirty="0"/>
              <a:t>, WCF)</a:t>
            </a:r>
          </a:p>
          <a:p>
            <a:endParaRPr lang="en-US" dirty="0"/>
          </a:p>
        </p:txBody>
      </p:sp>
      <p:sp>
        <p:nvSpPr>
          <p:cNvPr id="2" name="Title 1"/>
          <p:cNvSpPr>
            <a:spLocks noGrp="1"/>
          </p:cNvSpPr>
          <p:nvPr>
            <p:ph type="title"/>
          </p:nvPr>
        </p:nvSpPr>
        <p:spPr/>
        <p:txBody>
          <a:bodyPr/>
          <a:lstStyle/>
          <a:p>
            <a:r>
              <a:rPr lang="en-US"/>
              <a:t>Reliable Services API</a:t>
            </a:r>
            <a:endParaRPr lang="en-US" dirty="0"/>
          </a:p>
        </p:txBody>
      </p:sp>
    </p:spTree>
    <p:extLst>
      <p:ext uri="{BB962C8B-B14F-4D97-AF65-F5344CB8AC3E}">
        <p14:creationId xmlns:p14="http://schemas.microsoft.com/office/powerpoint/2010/main" val="123718099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2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66168" y="1212851"/>
            <a:ext cx="11702553" cy="3945696"/>
          </a:xfrm>
        </p:spPr>
        <p:txBody>
          <a:bodyPr/>
          <a:lstStyle/>
          <a:p>
            <a:r>
              <a:rPr lang="en-US" sz="3200" dirty="0"/>
              <a:t>Here’s my code in a service</a:t>
            </a:r>
          </a:p>
          <a:p>
            <a:r>
              <a:rPr lang="en-US" sz="3200" dirty="0"/>
              <a:t>Set up number of instances</a:t>
            </a:r>
          </a:p>
          <a:p>
            <a:r>
              <a:rPr lang="en-US" sz="3200" dirty="0"/>
              <a:t>Deploy to service fabric cluster</a:t>
            </a:r>
          </a:p>
          <a:p>
            <a:r>
              <a:rPr lang="en-US" sz="3200" dirty="0"/>
              <a:t>Give me an endpoint I can reference my service</a:t>
            </a:r>
          </a:p>
          <a:p>
            <a:r>
              <a:rPr lang="en-US" sz="3200" dirty="0"/>
              <a:t>And that’s all folks…</a:t>
            </a:r>
          </a:p>
          <a:p>
            <a:endParaRPr lang="en-US" sz="3200" dirty="0"/>
          </a:p>
          <a:p>
            <a:r>
              <a:rPr lang="en-US" sz="3200" dirty="0"/>
              <a:t>What am I not thinking about?</a:t>
            </a:r>
          </a:p>
        </p:txBody>
      </p:sp>
      <p:sp>
        <p:nvSpPr>
          <p:cNvPr id="2" name="Title 1"/>
          <p:cNvSpPr>
            <a:spLocks noGrp="1"/>
          </p:cNvSpPr>
          <p:nvPr>
            <p:ph type="title"/>
          </p:nvPr>
        </p:nvSpPr>
        <p:spPr/>
        <p:txBody>
          <a:bodyPr/>
          <a:lstStyle/>
          <a:p>
            <a:r>
              <a:rPr lang="en-US" dirty="0"/>
              <a:t>Essentially</a:t>
            </a:r>
          </a:p>
        </p:txBody>
      </p:sp>
    </p:spTree>
    <p:extLst>
      <p:ext uri="{BB962C8B-B14F-4D97-AF65-F5344CB8AC3E}">
        <p14:creationId xmlns:p14="http://schemas.microsoft.com/office/powerpoint/2010/main" val="372751988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2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366168" y="2989432"/>
            <a:ext cx="7583733" cy="1098762"/>
          </a:xfrm>
        </p:spPr>
        <p:txBody>
          <a:bodyPr/>
          <a:lstStyle/>
          <a:p>
            <a:r>
              <a:rPr lang="en-US" dirty="0"/>
              <a:t>Mobile engagements</a:t>
            </a:r>
          </a:p>
        </p:txBody>
      </p:sp>
    </p:spTree>
    <p:extLst>
      <p:ext uri="{BB962C8B-B14F-4D97-AF65-F5344CB8AC3E}">
        <p14:creationId xmlns:p14="http://schemas.microsoft.com/office/powerpoint/2010/main" val="274744056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46104" y="194426"/>
            <a:ext cx="11727427" cy="682453"/>
          </a:xfrm>
        </p:spPr>
        <p:txBody>
          <a:bodyPr vert="horz" wrap="square" lIns="0" tIns="0" rIns="0" bIns="0" rtlCol="0" anchor="t">
            <a:noAutofit/>
          </a:bodyPr>
          <a:lstStyle/>
          <a:p>
            <a:r>
              <a:rPr lang="en-US" sz="3999" dirty="0">
                <a:solidFill>
                  <a:schemeClr val="tx1"/>
                </a:solidFill>
              </a:rPr>
              <a:t>App Service Features &amp; Capabilities</a:t>
            </a:r>
          </a:p>
        </p:txBody>
      </p:sp>
      <p:sp>
        <p:nvSpPr>
          <p:cNvPr id="14" name="TextBox 13"/>
          <p:cNvSpPr txBox="1"/>
          <p:nvPr/>
        </p:nvSpPr>
        <p:spPr>
          <a:xfrm>
            <a:off x="482868" y="835502"/>
            <a:ext cx="10803515" cy="282513"/>
          </a:xfrm>
          <a:prstGeom prst="rect">
            <a:avLst/>
          </a:prstGeom>
          <a:noFill/>
        </p:spPr>
        <p:txBody>
          <a:bodyPr wrap="none" lIns="0" tIns="0" rIns="0" bIns="0" rtlCol="0">
            <a:spAutoFit/>
          </a:bodyPr>
          <a:lstStyle/>
          <a:p>
            <a:pPr algn="ctr" defTabSz="914224">
              <a:lnSpc>
                <a:spcPct val="90000"/>
              </a:lnSpc>
              <a:spcAft>
                <a:spcPts val="612"/>
              </a:spcAft>
            </a:pPr>
            <a:r>
              <a:rPr lang="en-US" sz="2000" kern="0" dirty="0">
                <a:latin typeface="Segoe UI Light" charset="0"/>
              </a:rPr>
              <a:t>All features and capabilities are shared across all of App Service application (Web, Mobile, and API)</a:t>
            </a:r>
          </a:p>
        </p:txBody>
      </p:sp>
      <p:grpSp>
        <p:nvGrpSpPr>
          <p:cNvPr id="3" name="Group 2"/>
          <p:cNvGrpSpPr/>
          <p:nvPr/>
        </p:nvGrpSpPr>
        <p:grpSpPr>
          <a:xfrm>
            <a:off x="716061" y="1348631"/>
            <a:ext cx="11718738" cy="5572413"/>
            <a:chOff x="701998" y="1123210"/>
            <a:chExt cx="11490002" cy="5463646"/>
          </a:xfrm>
        </p:grpSpPr>
        <p:sp>
          <p:nvSpPr>
            <p:cNvPr id="27" name="Rectangle 26"/>
            <p:cNvSpPr/>
            <p:nvPr/>
          </p:nvSpPr>
          <p:spPr bwMode="auto">
            <a:xfrm>
              <a:off x="746821" y="1123210"/>
              <a:ext cx="3699928" cy="78897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21" tIns="109696" rIns="137121" bIns="109696" numCol="1" spcCol="0" rtlCol="0" fromWordArt="0" anchor="t" anchorCtr="0" forceAA="0" compatLnSpc="1">
              <a:prstTxWarp prst="textNoShape">
                <a:avLst/>
              </a:prstTxWarp>
              <a:noAutofit/>
            </a:bodyPr>
            <a:lstStyle/>
            <a:p>
              <a:pPr defTabSz="699085">
                <a:defRPr/>
              </a:pPr>
              <a:r>
                <a:rPr lang="en-US" sz="2800" kern="0" dirty="0">
                  <a:solidFill>
                    <a:schemeClr val="tx1"/>
                  </a:solidFill>
                  <a:latin typeface="Segoe UI Light"/>
                  <a:ea typeface="Segoe UI" pitchFamily="34" charset="0"/>
                  <a:cs typeface="Segoe UI" pitchFamily="34" charset="0"/>
                </a:rPr>
                <a:t>Enterprise grade</a:t>
              </a:r>
              <a:endParaRPr lang="en-US" sz="3199" kern="0" dirty="0">
                <a:solidFill>
                  <a:schemeClr val="tx1"/>
                </a:solidFill>
                <a:ea typeface="Segoe UI" pitchFamily="34" charset="0"/>
                <a:cs typeface="Segoe UI" pitchFamily="34" charset="0"/>
              </a:endParaRPr>
            </a:p>
            <a:p>
              <a:pPr defTabSz="699085">
                <a:defRPr/>
              </a:pPr>
              <a:r>
                <a:rPr lang="en-US" sz="1224" kern="0" dirty="0">
                  <a:solidFill>
                    <a:schemeClr val="tx1"/>
                  </a:solidFill>
                  <a:ea typeface="Segoe UI" pitchFamily="34" charset="0"/>
                  <a:cs typeface="Segoe UI" pitchFamily="34" charset="0"/>
                </a:rPr>
                <a:t>Designed for secure mission-critical applications</a:t>
              </a:r>
            </a:p>
          </p:txBody>
        </p:sp>
        <p:sp>
          <p:nvSpPr>
            <p:cNvPr id="28" name="Rectangle 27"/>
            <p:cNvSpPr/>
            <p:nvPr/>
          </p:nvSpPr>
          <p:spPr bwMode="auto">
            <a:xfrm>
              <a:off x="4693699" y="1123210"/>
              <a:ext cx="3445541" cy="78897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21" tIns="109696" rIns="137121" bIns="109696" numCol="1" spcCol="0" rtlCol="0" fromWordArt="0" anchor="t" anchorCtr="0" forceAA="0" compatLnSpc="1">
              <a:prstTxWarp prst="textNoShape">
                <a:avLst/>
              </a:prstTxWarp>
              <a:noAutofit/>
            </a:bodyPr>
            <a:lstStyle/>
            <a:p>
              <a:pPr defTabSz="699085">
                <a:defRPr/>
              </a:pPr>
              <a:r>
                <a:rPr lang="en-US" sz="2800" kern="0" dirty="0">
                  <a:solidFill>
                    <a:schemeClr val="tx1"/>
                  </a:solidFill>
                  <a:latin typeface="Segoe UI Light"/>
                  <a:ea typeface="Segoe UI" pitchFamily="34" charset="0"/>
                  <a:cs typeface="Segoe UI" pitchFamily="34" charset="0"/>
                </a:rPr>
                <a:t>Fully managed</a:t>
              </a:r>
              <a:endParaRPr lang="en-US" sz="3199" kern="0" dirty="0">
                <a:solidFill>
                  <a:schemeClr val="tx1"/>
                </a:solidFill>
                <a:ea typeface="Segoe UI" pitchFamily="34" charset="0"/>
                <a:cs typeface="Segoe UI" pitchFamily="34" charset="0"/>
              </a:endParaRPr>
            </a:p>
            <a:p>
              <a:pPr defTabSz="699085">
                <a:defRPr/>
              </a:pPr>
              <a:r>
                <a:rPr lang="en-US" sz="1224" kern="0" dirty="0">
                  <a:solidFill>
                    <a:schemeClr val="tx1"/>
                  </a:solidFill>
                </a:rPr>
                <a:t>Optimized for Availability and Automatic scale</a:t>
              </a:r>
              <a:endParaRPr lang="en-US" sz="1224" kern="0" dirty="0">
                <a:solidFill>
                  <a:schemeClr val="tx1"/>
                </a:solidFill>
                <a:ea typeface="Segoe UI" pitchFamily="34" charset="0"/>
                <a:cs typeface="Segoe UI" pitchFamily="34" charset="0"/>
              </a:endParaRPr>
            </a:p>
          </p:txBody>
        </p:sp>
        <p:sp>
          <p:nvSpPr>
            <p:cNvPr id="29" name="Rectangle 28"/>
            <p:cNvSpPr/>
            <p:nvPr/>
          </p:nvSpPr>
          <p:spPr bwMode="auto">
            <a:xfrm>
              <a:off x="8160540" y="1123210"/>
              <a:ext cx="3166359" cy="78897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21" tIns="109696" rIns="137121" bIns="109696" numCol="1" spcCol="0" rtlCol="0" fromWordArt="0" anchor="t" anchorCtr="0" forceAA="0" compatLnSpc="1">
              <a:prstTxWarp prst="textNoShape">
                <a:avLst/>
              </a:prstTxWarp>
              <a:noAutofit/>
            </a:bodyPr>
            <a:lstStyle/>
            <a:p>
              <a:pPr defTabSz="699085">
                <a:defRPr/>
              </a:pPr>
              <a:r>
                <a:rPr lang="en-US" sz="2800" kern="0" dirty="0">
                  <a:solidFill>
                    <a:schemeClr val="tx1"/>
                  </a:solidFill>
                  <a:latin typeface="Segoe UI Light"/>
                  <a:ea typeface="Segoe UI" pitchFamily="34" charset="0"/>
                  <a:cs typeface="Segoe UI" pitchFamily="34" charset="0"/>
                </a:rPr>
                <a:t>Built for </a:t>
              </a:r>
              <a:r>
                <a:rPr lang="en-US" sz="2800" kern="0" dirty="0" err="1">
                  <a:solidFill>
                    <a:schemeClr val="tx1"/>
                  </a:solidFill>
                  <a:latin typeface="Segoe UI Light"/>
                  <a:ea typeface="Segoe UI" pitchFamily="34" charset="0"/>
                  <a:cs typeface="Segoe UI" pitchFamily="34" charset="0"/>
                </a:rPr>
                <a:t>DevOps</a:t>
              </a:r>
              <a:endParaRPr lang="en-US" sz="3199" kern="0" dirty="0">
                <a:solidFill>
                  <a:schemeClr val="tx1"/>
                </a:solidFill>
                <a:ea typeface="Segoe UI" pitchFamily="34" charset="0"/>
                <a:cs typeface="Segoe UI" pitchFamily="34" charset="0"/>
              </a:endParaRPr>
            </a:p>
            <a:p>
              <a:pPr defTabSz="699085">
                <a:defRPr/>
              </a:pPr>
              <a:r>
                <a:rPr lang="en-US" sz="1224" kern="0" dirty="0">
                  <a:solidFill>
                    <a:schemeClr val="tx1"/>
                  </a:solidFill>
                </a:rPr>
                <a:t>Agility through Continuous Deployment</a:t>
              </a:r>
              <a:endParaRPr lang="en-US" sz="1224" kern="0" dirty="0">
                <a:solidFill>
                  <a:schemeClr val="tx1"/>
                </a:solidFill>
                <a:ea typeface="Segoe UI" pitchFamily="34" charset="0"/>
                <a:cs typeface="Segoe UI" pitchFamily="34" charset="0"/>
              </a:endParaRPr>
            </a:p>
          </p:txBody>
        </p:sp>
        <p:sp>
          <p:nvSpPr>
            <p:cNvPr id="30" name="TextBox 29"/>
            <p:cNvSpPr txBox="1"/>
            <p:nvPr/>
          </p:nvSpPr>
          <p:spPr>
            <a:xfrm>
              <a:off x="779276" y="1940741"/>
              <a:ext cx="3667473" cy="4343661"/>
            </a:xfrm>
            <a:prstGeom prst="rect">
              <a:avLst/>
            </a:prstGeom>
            <a:noFill/>
            <a:ln>
              <a:noFill/>
            </a:ln>
          </p:spPr>
          <p:txBody>
            <a:bodyPr wrap="square" lIns="137121" tIns="109696" rIns="137121" bIns="109696" rtlCol="0">
              <a:spAutoFit/>
            </a:bodyPr>
            <a:lstStyle/>
            <a:p>
              <a:pPr defTabSz="914224">
                <a:spcAft>
                  <a:spcPts val="224"/>
                </a:spcAft>
                <a:defRPr/>
              </a:pPr>
              <a:r>
                <a:rPr lang="en-US" sz="1632" kern="0" dirty="0">
                  <a:latin typeface="Segoe UI"/>
                  <a:ea typeface="Calibri" panose="020F0502020204030204" pitchFamily="34" charset="0"/>
                  <a:cs typeface="Calibri" panose="020F0502020204030204" pitchFamily="34" charset="0"/>
                </a:rPr>
                <a:t>Premium Tier </a:t>
              </a:r>
            </a:p>
            <a:p>
              <a:pPr defTabSz="914224">
                <a:spcAft>
                  <a:spcPts val="224"/>
                </a:spcAft>
                <a:defRPr/>
              </a:pPr>
              <a:r>
                <a:rPr lang="en-US" sz="1632" kern="0" dirty="0">
                  <a:latin typeface="Segoe UI"/>
                  <a:ea typeface="Calibri" panose="020F0502020204030204" pitchFamily="34" charset="0"/>
                  <a:cs typeface="Calibri" panose="020F0502020204030204" pitchFamily="34" charset="0"/>
                </a:rPr>
                <a:t>App Service Environments</a:t>
              </a:r>
            </a:p>
            <a:p>
              <a:pPr defTabSz="914224">
                <a:spcAft>
                  <a:spcPts val="224"/>
                </a:spcAft>
                <a:defRPr/>
              </a:pPr>
              <a:r>
                <a:rPr lang="en-US" sz="1632" kern="0" dirty="0">
                  <a:latin typeface="Segoe UI"/>
                  <a:ea typeface="Calibri" panose="020F0502020204030204" pitchFamily="34" charset="0"/>
                  <a:cs typeface="Calibri" panose="020F0502020204030204" pitchFamily="34" charset="0"/>
                </a:rPr>
                <a:t>Hybrid Connections / VPN Support</a:t>
              </a:r>
            </a:p>
            <a:p>
              <a:pPr defTabSz="914224">
                <a:spcAft>
                  <a:spcPts val="224"/>
                </a:spcAft>
                <a:defRPr/>
              </a:pPr>
              <a:r>
                <a:rPr lang="en-US" sz="1632" kern="0" dirty="0">
                  <a:latin typeface="Segoe UI"/>
                  <a:ea typeface="Calibri" panose="020F0502020204030204" pitchFamily="34" charset="0"/>
                  <a:cs typeface="Calibri" panose="020F0502020204030204" pitchFamily="34" charset="0"/>
                </a:rPr>
                <a:t>Scheduled Backup</a:t>
              </a:r>
            </a:p>
            <a:p>
              <a:pPr defTabSz="914224">
                <a:spcAft>
                  <a:spcPts val="224"/>
                </a:spcAft>
                <a:defRPr/>
              </a:pPr>
              <a:r>
                <a:rPr lang="en-US" sz="1632" kern="0" dirty="0">
                  <a:latin typeface="Segoe UI"/>
                  <a:ea typeface="Calibri" panose="020F0502020204030204" pitchFamily="34" charset="0"/>
                  <a:cs typeface="Calibri" panose="020F0502020204030204" pitchFamily="34" charset="0"/>
                </a:rPr>
                <a:t>Azure Active Directory Integration </a:t>
              </a:r>
            </a:p>
            <a:p>
              <a:pPr defTabSz="914224">
                <a:spcAft>
                  <a:spcPts val="224"/>
                </a:spcAft>
                <a:defRPr/>
              </a:pPr>
              <a:r>
                <a:rPr lang="en-US" sz="1632" kern="0" dirty="0">
                  <a:latin typeface="Segoe UI"/>
                  <a:ea typeface="Calibri" panose="020F0502020204030204" pitchFamily="34" charset="0"/>
                  <a:cs typeface="Calibri" panose="020F0502020204030204" pitchFamily="34" charset="0"/>
                </a:rPr>
                <a:t>Site Resiliency, HA, and DR</a:t>
              </a:r>
            </a:p>
            <a:p>
              <a:pPr defTabSz="914224">
                <a:spcAft>
                  <a:spcPts val="224"/>
                </a:spcAft>
                <a:defRPr/>
              </a:pPr>
              <a:r>
                <a:rPr lang="en-US" sz="1632" kern="0" dirty="0">
                  <a:latin typeface="Segoe UI"/>
                  <a:ea typeface="Calibri" panose="020F0502020204030204" pitchFamily="34" charset="0"/>
                  <a:cs typeface="Calibri" panose="020F0502020204030204" pitchFamily="34" charset="0"/>
                </a:rPr>
                <a:t>Web Jobs</a:t>
              </a:r>
            </a:p>
            <a:p>
              <a:pPr defTabSz="914224">
                <a:spcAft>
                  <a:spcPts val="224"/>
                </a:spcAft>
                <a:defRPr/>
              </a:pPr>
              <a:r>
                <a:rPr lang="en-US" sz="1632" kern="0" dirty="0">
                  <a:latin typeface="Segoe UI"/>
                  <a:ea typeface="Calibri" panose="020F0502020204030204" pitchFamily="34" charset="0"/>
                  <a:cs typeface="Calibri" panose="020F0502020204030204" pitchFamily="34" charset="0"/>
                </a:rPr>
                <a:t>Role Base Access Control </a:t>
              </a:r>
            </a:p>
            <a:p>
              <a:pPr defTabSz="914224">
                <a:spcAft>
                  <a:spcPts val="224"/>
                </a:spcAft>
                <a:defRPr/>
              </a:pPr>
              <a:r>
                <a:rPr lang="en-US" sz="1632" kern="0" dirty="0">
                  <a:latin typeface="Segoe UI"/>
                  <a:ea typeface="Calibri" panose="020F0502020204030204" pitchFamily="34" charset="0"/>
                  <a:cs typeface="Calibri" panose="020F0502020204030204" pitchFamily="34" charset="0"/>
                </a:rPr>
                <a:t>Audit / Compliance </a:t>
              </a:r>
            </a:p>
            <a:p>
              <a:pPr defTabSz="914224">
                <a:spcAft>
                  <a:spcPts val="224"/>
                </a:spcAft>
                <a:defRPr/>
              </a:pPr>
              <a:r>
                <a:rPr lang="en-US" sz="1632" kern="0" dirty="0">
                  <a:latin typeface="Segoe UI"/>
                  <a:ea typeface="Calibri" panose="020F0502020204030204" pitchFamily="34" charset="0"/>
                  <a:cs typeface="Calibri" panose="020F0502020204030204" pitchFamily="34" charset="0"/>
                </a:rPr>
                <a:t>Enterprise Migration</a:t>
              </a:r>
            </a:p>
            <a:p>
              <a:pPr defTabSz="914224">
                <a:spcAft>
                  <a:spcPts val="224"/>
                </a:spcAft>
                <a:defRPr/>
              </a:pPr>
              <a:r>
                <a:rPr lang="en-US" sz="1632" kern="0" dirty="0">
                  <a:latin typeface="Segoe UI"/>
                  <a:ea typeface="Calibri" panose="020F0502020204030204" pitchFamily="34" charset="0"/>
                  <a:cs typeface="Calibri" panose="020F0502020204030204" pitchFamily="34" charset="0"/>
                </a:rPr>
                <a:t>Client Certs </a:t>
              </a:r>
            </a:p>
            <a:p>
              <a:pPr defTabSz="914224">
                <a:spcAft>
                  <a:spcPts val="224"/>
                </a:spcAft>
                <a:defRPr/>
              </a:pPr>
              <a:r>
                <a:rPr lang="en-US" sz="1632" kern="0" dirty="0" err="1">
                  <a:latin typeface="Segoe UI"/>
                  <a:ea typeface="Calibri" panose="020F0502020204030204" pitchFamily="34" charset="0"/>
                  <a:cs typeface="Calibri" panose="020F0502020204030204" pitchFamily="34" charset="0"/>
                </a:rPr>
                <a:t>Redis</a:t>
              </a:r>
              <a:r>
                <a:rPr lang="en-US" sz="1632" kern="0" dirty="0">
                  <a:latin typeface="Segoe UI"/>
                  <a:ea typeface="Calibri" panose="020F0502020204030204" pitchFamily="34" charset="0"/>
                  <a:cs typeface="Calibri" panose="020F0502020204030204" pitchFamily="34" charset="0"/>
                </a:rPr>
                <a:t> Caching</a:t>
              </a:r>
            </a:p>
            <a:p>
              <a:pPr defTabSz="914224">
                <a:spcAft>
                  <a:spcPts val="224"/>
                </a:spcAft>
                <a:defRPr/>
              </a:pPr>
              <a:r>
                <a:rPr lang="en-US" sz="1632" kern="0" dirty="0">
                  <a:latin typeface="Segoe UI"/>
                  <a:ea typeface="Calibri" panose="020F0502020204030204" pitchFamily="34" charset="0"/>
                  <a:cs typeface="Calibri" panose="020F0502020204030204" pitchFamily="34" charset="0"/>
                </a:rPr>
                <a:t>IP Restrictions/ SSL</a:t>
              </a:r>
            </a:p>
            <a:p>
              <a:pPr defTabSz="914224">
                <a:spcAft>
                  <a:spcPts val="224"/>
                </a:spcAft>
                <a:defRPr/>
              </a:pPr>
              <a:r>
                <a:rPr lang="en-US" sz="1632" kern="0" dirty="0">
                  <a:latin typeface="Segoe UI"/>
                  <a:ea typeface="Calibri" panose="020F0502020204030204" pitchFamily="34" charset="0"/>
                  <a:cs typeface="Calibri" panose="020F0502020204030204" pitchFamily="34" charset="0"/>
                </a:rPr>
                <a:t>Web Sockets</a:t>
              </a:r>
            </a:p>
            <a:p>
              <a:pPr defTabSz="914224">
                <a:spcAft>
                  <a:spcPts val="224"/>
                </a:spcAft>
                <a:defRPr/>
              </a:pPr>
              <a:r>
                <a:rPr lang="en-US" sz="1632" kern="0" dirty="0">
                  <a:latin typeface="Segoe UI"/>
                  <a:ea typeface="Calibri" panose="020F0502020204030204" pitchFamily="34" charset="0"/>
                  <a:cs typeface="Calibri" panose="020F0502020204030204" pitchFamily="34" charset="0"/>
                </a:rPr>
                <a:t>SQL, MySQL, </a:t>
              </a:r>
              <a:r>
                <a:rPr lang="en-US" sz="1632" kern="0" dirty="0" err="1">
                  <a:latin typeface="Segoe UI"/>
                  <a:ea typeface="Calibri" panose="020F0502020204030204" pitchFamily="34" charset="0"/>
                  <a:cs typeface="Calibri" panose="020F0502020204030204" pitchFamily="34" charset="0"/>
                </a:rPr>
                <a:t>DocDB</a:t>
              </a:r>
              <a:r>
                <a:rPr lang="en-US" sz="1632" kern="0" dirty="0">
                  <a:latin typeface="Segoe UI"/>
                  <a:ea typeface="Calibri" panose="020F0502020204030204" pitchFamily="34" charset="0"/>
                  <a:cs typeface="Calibri" panose="020F0502020204030204" pitchFamily="34" charset="0"/>
                </a:rPr>
                <a:t>, &amp; Mongo</a:t>
              </a:r>
            </a:p>
          </p:txBody>
        </p:sp>
        <p:sp>
          <p:nvSpPr>
            <p:cNvPr id="31" name="TextBox 30"/>
            <p:cNvSpPr txBox="1"/>
            <p:nvPr/>
          </p:nvSpPr>
          <p:spPr>
            <a:xfrm>
              <a:off x="4720081" y="1940741"/>
              <a:ext cx="3405750" cy="4318013"/>
            </a:xfrm>
            <a:prstGeom prst="rect">
              <a:avLst/>
            </a:prstGeom>
            <a:noFill/>
            <a:ln>
              <a:noFill/>
            </a:ln>
          </p:spPr>
          <p:txBody>
            <a:bodyPr wrap="square" lIns="137121" tIns="109696" rIns="137121" bIns="109696" rtlCol="0">
              <a:spAutoFit/>
            </a:bodyPr>
            <a:lstStyle/>
            <a:p>
              <a:pPr defTabSz="914224">
                <a:spcAft>
                  <a:spcPts val="224"/>
                </a:spcAft>
                <a:defRPr/>
              </a:pPr>
              <a:r>
                <a:rPr lang="en-US" sz="1632" kern="0" dirty="0">
                  <a:ea typeface="Calibri" panose="020F0502020204030204" pitchFamily="34" charset="0"/>
                  <a:cs typeface="Calibri" panose="020F0502020204030204" pitchFamily="34" charset="0"/>
                </a:rPr>
                <a:t>OS &amp; Framework Patching  </a:t>
              </a:r>
            </a:p>
            <a:p>
              <a:pPr defTabSz="914224">
                <a:spcAft>
                  <a:spcPts val="224"/>
                </a:spcAft>
                <a:defRPr/>
              </a:pPr>
              <a:r>
                <a:rPr lang="en-US" sz="1632" kern="0" dirty="0">
                  <a:latin typeface="Segoe UI"/>
                  <a:ea typeface="Calibri" panose="020F0502020204030204" pitchFamily="34" charset="0"/>
                  <a:cs typeface="Calibri" panose="020F0502020204030204" pitchFamily="34" charset="0"/>
                </a:rPr>
                <a:t>Automated Deployment</a:t>
              </a:r>
              <a:br>
                <a:rPr lang="en-US" sz="1632" kern="0" dirty="0">
                  <a:latin typeface="Segoe UI"/>
                  <a:ea typeface="Calibri" panose="020F0502020204030204" pitchFamily="34" charset="0"/>
                  <a:cs typeface="Calibri" panose="020F0502020204030204" pitchFamily="34" charset="0"/>
                </a:rPr>
              </a:br>
              <a:r>
                <a:rPr lang="en-US" sz="1632" kern="0" dirty="0" err="1">
                  <a:latin typeface="Segoe UI"/>
                  <a:ea typeface="Calibri" panose="020F0502020204030204" pitchFamily="34" charset="0"/>
                  <a:cs typeface="Calibri" panose="020F0502020204030204" pitchFamily="34" charset="0"/>
                </a:rPr>
                <a:t>AutoScale</a:t>
              </a:r>
              <a:endParaRPr lang="en-US" sz="1632" kern="0" dirty="0">
                <a:latin typeface="Segoe UI"/>
                <a:ea typeface="Calibri" panose="020F0502020204030204" pitchFamily="34" charset="0"/>
                <a:cs typeface="Calibri" panose="020F0502020204030204" pitchFamily="34" charset="0"/>
              </a:endParaRPr>
            </a:p>
            <a:p>
              <a:pPr defTabSz="914224">
                <a:spcAft>
                  <a:spcPts val="224"/>
                </a:spcAft>
                <a:defRPr/>
              </a:pPr>
              <a:r>
                <a:rPr lang="en-US" sz="1632" kern="0" dirty="0">
                  <a:latin typeface="Segoe UI"/>
                  <a:ea typeface="Calibri" panose="020F0502020204030204" pitchFamily="34" charset="0"/>
                  <a:cs typeface="Calibri" panose="020F0502020204030204" pitchFamily="34" charset="0"/>
                </a:rPr>
                <a:t>Built-in Load Balancing</a:t>
              </a:r>
            </a:p>
            <a:p>
              <a:pPr defTabSz="914224">
                <a:spcAft>
                  <a:spcPts val="224"/>
                </a:spcAft>
                <a:defRPr/>
              </a:pPr>
              <a:r>
                <a:rPr lang="en-US" sz="1632" kern="0" dirty="0">
                  <a:latin typeface="Segoe UI"/>
                  <a:ea typeface="Calibri" panose="020F0502020204030204" pitchFamily="34" charset="0"/>
                  <a:cs typeface="Calibri" panose="020F0502020204030204" pitchFamily="34" charset="0"/>
                </a:rPr>
                <a:t>WW Datacenter Coverage</a:t>
              </a:r>
            </a:p>
            <a:p>
              <a:pPr defTabSz="914224">
                <a:spcAft>
                  <a:spcPts val="224"/>
                </a:spcAft>
                <a:defRPr/>
              </a:pPr>
              <a:r>
                <a:rPr lang="en-US" sz="1632" kern="0" dirty="0">
                  <a:latin typeface="Segoe UI"/>
                  <a:ea typeface="Calibri" panose="020F0502020204030204" pitchFamily="34" charset="0"/>
                  <a:cs typeface="Calibri" panose="020F0502020204030204" pitchFamily="34" charset="0"/>
                </a:rPr>
                <a:t>End Point Monitoring &amp; Alerts</a:t>
              </a:r>
            </a:p>
            <a:p>
              <a:pPr defTabSz="914224">
                <a:spcAft>
                  <a:spcPts val="224"/>
                </a:spcAft>
                <a:defRPr/>
              </a:pPr>
              <a:r>
                <a:rPr lang="en-US" sz="1632" kern="0" dirty="0">
                  <a:latin typeface="Segoe UI"/>
                  <a:ea typeface="Calibri" panose="020F0502020204030204" pitchFamily="34" charset="0"/>
                  <a:cs typeface="Calibri" panose="020F0502020204030204" pitchFamily="34" charset="0"/>
                </a:rPr>
                <a:t>DR Site Support</a:t>
              </a:r>
            </a:p>
            <a:p>
              <a:pPr defTabSz="914224">
                <a:spcAft>
                  <a:spcPts val="224"/>
                </a:spcAft>
                <a:defRPr/>
              </a:pPr>
              <a:r>
                <a:rPr lang="en-US" sz="1632" kern="0" dirty="0" err="1">
                  <a:latin typeface="Segoe UI"/>
                  <a:ea typeface="Calibri" panose="020F0502020204030204" pitchFamily="34" charset="0"/>
                  <a:cs typeface="Calibri" panose="020F0502020204030204" pitchFamily="34" charset="0"/>
                </a:rPr>
                <a:t>WildCard</a:t>
              </a:r>
              <a:r>
                <a:rPr lang="en-US" sz="1632" kern="0" dirty="0">
                  <a:latin typeface="Segoe UI"/>
                  <a:ea typeface="Calibri" panose="020F0502020204030204" pitchFamily="34" charset="0"/>
                  <a:cs typeface="Calibri" panose="020F0502020204030204" pitchFamily="34" charset="0"/>
                </a:rPr>
                <a:t> Support</a:t>
              </a:r>
            </a:p>
            <a:p>
              <a:pPr defTabSz="914224">
                <a:spcAft>
                  <a:spcPts val="224"/>
                </a:spcAft>
                <a:defRPr/>
              </a:pPr>
              <a:r>
                <a:rPr lang="en-US" sz="1632" kern="0" dirty="0">
                  <a:latin typeface="Segoe UI"/>
                  <a:ea typeface="Calibri" panose="020F0502020204030204" pitchFamily="34" charset="0"/>
                  <a:cs typeface="Calibri" panose="020F0502020204030204" pitchFamily="34" charset="0"/>
                </a:rPr>
                <a:t>Dedicated IP address</a:t>
              </a:r>
            </a:p>
            <a:p>
              <a:pPr defTabSz="914224">
                <a:spcAft>
                  <a:spcPts val="224"/>
                </a:spcAft>
                <a:defRPr/>
              </a:pPr>
              <a:r>
                <a:rPr lang="en-US" sz="1632" kern="0" dirty="0">
                  <a:latin typeface="Segoe UI"/>
                  <a:ea typeface="Calibri" panose="020F0502020204030204" pitchFamily="34" charset="0"/>
                  <a:cs typeface="Calibri" panose="020F0502020204030204" pitchFamily="34" charset="0"/>
                </a:rPr>
                <a:t>HTTP Compression </a:t>
              </a:r>
            </a:p>
            <a:p>
              <a:pPr defTabSz="914224">
                <a:spcAft>
                  <a:spcPts val="224"/>
                </a:spcAft>
                <a:defRPr/>
              </a:pPr>
              <a:r>
                <a:rPr lang="en-US" sz="1632" kern="0" dirty="0" err="1">
                  <a:latin typeface="Segoe UI"/>
                  <a:ea typeface="Calibri" panose="020F0502020204030204" pitchFamily="34" charset="0"/>
                  <a:cs typeface="Calibri" panose="020F0502020204030204" pitchFamily="34" charset="0"/>
                </a:rPr>
                <a:t>WebJobs</a:t>
              </a:r>
              <a:endParaRPr lang="en-US" sz="1632" kern="0" dirty="0">
                <a:latin typeface="Segoe UI"/>
                <a:ea typeface="Calibri" panose="020F0502020204030204" pitchFamily="34" charset="0"/>
                <a:cs typeface="Calibri" panose="020F0502020204030204" pitchFamily="34" charset="0"/>
              </a:endParaRPr>
            </a:p>
            <a:p>
              <a:pPr defTabSz="914224">
                <a:spcAft>
                  <a:spcPts val="224"/>
                </a:spcAft>
                <a:defRPr/>
              </a:pPr>
              <a:r>
                <a:rPr lang="en-US" sz="1632" kern="0" dirty="0">
                  <a:latin typeface="Segoe UI"/>
                  <a:ea typeface="Calibri" panose="020F0502020204030204" pitchFamily="34" charset="0"/>
                  <a:cs typeface="Calibri" panose="020F0502020204030204" pitchFamily="34" charset="0"/>
                </a:rPr>
                <a:t>Premium WordPress</a:t>
              </a:r>
            </a:p>
            <a:p>
              <a:pPr defTabSz="914224">
                <a:spcAft>
                  <a:spcPts val="224"/>
                </a:spcAft>
                <a:defRPr/>
              </a:pPr>
              <a:r>
                <a:rPr lang="en-US" sz="1632" kern="0" dirty="0">
                  <a:latin typeface="Segoe UI"/>
                  <a:ea typeface="Calibri" panose="020F0502020204030204" pitchFamily="34" charset="0"/>
                  <a:cs typeface="Calibri" panose="020F0502020204030204" pitchFamily="34" charset="0"/>
                </a:rPr>
                <a:t>Sticky Sessions</a:t>
              </a:r>
            </a:p>
            <a:p>
              <a:pPr defTabSz="914224">
                <a:spcAft>
                  <a:spcPts val="224"/>
                </a:spcAft>
                <a:defRPr/>
              </a:pPr>
              <a:r>
                <a:rPr lang="en-US" sz="1632" kern="0" dirty="0">
                  <a:latin typeface="Segoe UI"/>
                  <a:ea typeface="Calibri" panose="020F0502020204030204" pitchFamily="34" charset="0"/>
                  <a:cs typeface="Calibri" panose="020F0502020204030204" pitchFamily="34" charset="0"/>
                </a:rPr>
                <a:t>App Service Environment </a:t>
              </a:r>
            </a:p>
            <a:p>
              <a:pPr defTabSz="914224">
                <a:spcAft>
                  <a:spcPts val="224"/>
                </a:spcAft>
                <a:defRPr/>
              </a:pPr>
              <a:endParaRPr lang="en-US" sz="1632" kern="0" dirty="0">
                <a:latin typeface="Segoe UI"/>
                <a:ea typeface="Calibri" panose="020F0502020204030204" pitchFamily="34" charset="0"/>
                <a:cs typeface="Calibri" panose="020F0502020204030204" pitchFamily="34" charset="0"/>
              </a:endParaRPr>
            </a:p>
          </p:txBody>
        </p:sp>
        <p:sp>
          <p:nvSpPr>
            <p:cNvPr id="32" name="TextBox 31"/>
            <p:cNvSpPr txBox="1"/>
            <p:nvPr/>
          </p:nvSpPr>
          <p:spPr>
            <a:xfrm>
              <a:off x="8195989" y="1940741"/>
              <a:ext cx="3996011" cy="4646115"/>
            </a:xfrm>
            <a:prstGeom prst="rect">
              <a:avLst/>
            </a:prstGeom>
            <a:noFill/>
            <a:ln>
              <a:noFill/>
            </a:ln>
          </p:spPr>
          <p:txBody>
            <a:bodyPr wrap="square" lIns="137121" tIns="109696" rIns="137121" bIns="109696" rtlCol="0">
              <a:spAutoFit/>
            </a:bodyPr>
            <a:lstStyle/>
            <a:p>
              <a:pPr defTabSz="914224">
                <a:spcAft>
                  <a:spcPts val="224"/>
                </a:spcAft>
                <a:defRPr/>
              </a:pPr>
              <a:r>
                <a:rPr lang="en-US" sz="1632" kern="0" dirty="0">
                  <a:latin typeface="Segoe UI"/>
                  <a:ea typeface="Calibri" panose="020F0502020204030204" pitchFamily="34" charset="0"/>
                  <a:cs typeface="Calibri" panose="020F0502020204030204" pitchFamily="34" charset="0"/>
                </a:rPr>
                <a:t>Remote Debugging w/ Visual Studio </a:t>
              </a:r>
            </a:p>
            <a:p>
              <a:pPr defTabSz="914224">
                <a:spcAft>
                  <a:spcPts val="224"/>
                </a:spcAft>
                <a:defRPr/>
              </a:pPr>
              <a:r>
                <a:rPr lang="en-US" sz="1632" kern="0" dirty="0">
                  <a:latin typeface="Segoe UI"/>
                  <a:ea typeface="Calibri" panose="020F0502020204030204" pitchFamily="34" charset="0"/>
                  <a:cs typeface="Calibri" panose="020F0502020204030204" pitchFamily="34" charset="0"/>
                </a:rPr>
                <a:t>Site Staging Slots</a:t>
              </a:r>
            </a:p>
            <a:p>
              <a:pPr defTabSz="914224">
                <a:spcAft>
                  <a:spcPts val="224"/>
                </a:spcAft>
                <a:defRPr/>
              </a:pPr>
              <a:r>
                <a:rPr lang="en-US" sz="1632" kern="0" dirty="0">
                  <a:latin typeface="Segoe UI"/>
                  <a:ea typeface="Calibri" panose="020F0502020204030204" pitchFamily="34" charset="0"/>
                  <a:cs typeface="Calibri" panose="020F0502020204030204" pitchFamily="34" charset="0"/>
                </a:rPr>
                <a:t>Traffic Routing</a:t>
              </a:r>
            </a:p>
            <a:p>
              <a:pPr defTabSz="914224">
                <a:spcAft>
                  <a:spcPts val="224"/>
                </a:spcAft>
                <a:defRPr/>
              </a:pPr>
              <a:r>
                <a:rPr lang="en-US" sz="1632" kern="0" dirty="0">
                  <a:latin typeface="Segoe UI"/>
                  <a:ea typeface="Calibri" panose="020F0502020204030204" pitchFamily="34" charset="0"/>
                  <a:cs typeface="Calibri" panose="020F0502020204030204" pitchFamily="34" charset="0"/>
                </a:rPr>
                <a:t>Continuous Integration/Deployment </a:t>
              </a:r>
            </a:p>
            <a:p>
              <a:pPr defTabSz="914224">
                <a:spcAft>
                  <a:spcPts val="224"/>
                </a:spcAft>
                <a:defRPr/>
              </a:pPr>
              <a:r>
                <a:rPr lang="en-US" sz="1632" kern="0" dirty="0">
                  <a:latin typeface="Segoe UI"/>
                  <a:ea typeface="Calibri" panose="020F0502020204030204" pitchFamily="34" charset="0"/>
                  <a:cs typeface="Calibri" panose="020F0502020204030204" pitchFamily="34" charset="0"/>
                </a:rPr>
                <a:t>Git, Visual Studio Online and GitHub</a:t>
              </a:r>
            </a:p>
            <a:p>
              <a:pPr defTabSz="914224">
                <a:spcAft>
                  <a:spcPts val="224"/>
                </a:spcAft>
                <a:defRPr/>
              </a:pPr>
              <a:r>
                <a:rPr lang="en-US" sz="1632" kern="0" dirty="0">
                  <a:latin typeface="Segoe UI"/>
                  <a:ea typeface="Calibri" panose="020F0502020204030204" pitchFamily="34" charset="0"/>
                  <a:cs typeface="Calibri" panose="020F0502020204030204" pitchFamily="34" charset="0"/>
                </a:rPr>
                <a:t>App &amp; Site Diagnostics</a:t>
              </a:r>
            </a:p>
            <a:p>
              <a:pPr defTabSz="914224">
                <a:spcAft>
                  <a:spcPts val="224"/>
                </a:spcAft>
                <a:defRPr/>
              </a:pPr>
              <a:r>
                <a:rPr lang="en-US" sz="1632" kern="0" dirty="0">
                  <a:latin typeface="Segoe UI"/>
                  <a:ea typeface="Calibri" panose="020F0502020204030204" pitchFamily="34" charset="0"/>
                  <a:cs typeface="Calibri" panose="020F0502020204030204" pitchFamily="34" charset="0"/>
                </a:rPr>
                <a:t>Site Extensions Gallery </a:t>
              </a:r>
            </a:p>
            <a:p>
              <a:pPr defTabSz="914224">
                <a:spcAft>
                  <a:spcPts val="224"/>
                </a:spcAft>
                <a:defRPr/>
              </a:pPr>
              <a:r>
                <a:rPr lang="en-US" sz="1632" kern="0" dirty="0">
                  <a:latin typeface="Segoe UI"/>
                  <a:ea typeface="Calibri" panose="020F0502020204030204" pitchFamily="34" charset="0"/>
                  <a:cs typeface="Calibri" panose="020F0502020204030204" pitchFamily="34" charset="0"/>
                </a:rPr>
                <a:t>NET, PHP, Python, Node, Java</a:t>
              </a:r>
            </a:p>
            <a:p>
              <a:pPr defTabSz="914224">
                <a:spcAft>
                  <a:spcPts val="224"/>
                </a:spcAft>
                <a:defRPr/>
              </a:pPr>
              <a:r>
                <a:rPr lang="en-US" sz="1632" kern="0" dirty="0">
                  <a:latin typeface="Segoe UI"/>
                  <a:ea typeface="Calibri" panose="020F0502020204030204" pitchFamily="34" charset="0"/>
                  <a:cs typeface="Calibri" panose="020F0502020204030204" pitchFamily="34" charset="0"/>
                </a:rPr>
                <a:t>Framework Installer</a:t>
              </a:r>
            </a:p>
            <a:p>
              <a:pPr defTabSz="914224">
                <a:spcAft>
                  <a:spcPts val="224"/>
                </a:spcAft>
                <a:defRPr/>
              </a:pPr>
              <a:r>
                <a:rPr lang="en-US" sz="1632" kern="0" dirty="0">
                  <a:latin typeface="Segoe UI"/>
                  <a:ea typeface="Calibri" panose="020F0502020204030204" pitchFamily="34" charset="0"/>
                  <a:cs typeface="Calibri" panose="020F0502020204030204" pitchFamily="34" charset="0"/>
                </a:rPr>
                <a:t>Browser-based editing</a:t>
              </a:r>
            </a:p>
            <a:p>
              <a:pPr defTabSz="914224">
                <a:spcAft>
                  <a:spcPts val="224"/>
                </a:spcAft>
                <a:defRPr/>
              </a:pPr>
              <a:r>
                <a:rPr lang="en-US" sz="1632" kern="0" dirty="0">
                  <a:latin typeface="Segoe UI"/>
                  <a:ea typeface="Calibri" panose="020F0502020204030204" pitchFamily="34" charset="0"/>
                  <a:cs typeface="Calibri" panose="020F0502020204030204" pitchFamily="34" charset="0"/>
                </a:rPr>
                <a:t>Auto-Healing</a:t>
              </a:r>
            </a:p>
            <a:p>
              <a:pPr defTabSz="914224">
                <a:spcAft>
                  <a:spcPts val="224"/>
                </a:spcAft>
                <a:defRPr/>
              </a:pPr>
              <a:r>
                <a:rPr lang="en-US" sz="1632" kern="0" dirty="0">
                  <a:latin typeface="Segoe UI"/>
                  <a:ea typeface="Calibri" panose="020F0502020204030204" pitchFamily="34" charset="0"/>
                  <a:cs typeface="Calibri" panose="020F0502020204030204" pitchFamily="34" charset="0"/>
                </a:rPr>
                <a:t>Logging and Auditing </a:t>
              </a:r>
            </a:p>
            <a:p>
              <a:pPr defTabSz="914224">
                <a:spcAft>
                  <a:spcPts val="306"/>
                </a:spcAft>
                <a:defRPr/>
              </a:pPr>
              <a:r>
                <a:rPr lang="en-US" sz="1632" kern="0" dirty="0">
                  <a:latin typeface="Segoe UI"/>
                  <a:ea typeface="Calibri" panose="020F0502020204030204" pitchFamily="34" charset="0"/>
                  <a:cs typeface="Calibri" panose="020F0502020204030204" pitchFamily="34" charset="0"/>
                </a:rPr>
                <a:t>Admin-Site</a:t>
              </a:r>
            </a:p>
            <a:p>
              <a:pPr defTabSz="914224">
                <a:spcAft>
                  <a:spcPts val="306"/>
                </a:spcAft>
                <a:defRPr/>
              </a:pPr>
              <a:r>
                <a:rPr lang="en-US" sz="1632" kern="0" dirty="0">
                  <a:latin typeface="Segoe UI"/>
                  <a:ea typeface="Calibri" panose="020F0502020204030204" pitchFamily="34" charset="0"/>
                  <a:cs typeface="Calibri" panose="020F0502020204030204" pitchFamily="34" charset="0"/>
                </a:rPr>
                <a:t>Support Site Extension </a:t>
              </a:r>
            </a:p>
            <a:p>
              <a:pPr defTabSz="914224">
                <a:spcAft>
                  <a:spcPts val="224"/>
                </a:spcAft>
                <a:defRPr/>
              </a:pPr>
              <a:endParaRPr lang="en-US" sz="1632" kern="0" dirty="0">
                <a:latin typeface="Segoe UI"/>
                <a:ea typeface="Calibri" panose="020F0502020204030204" pitchFamily="34" charset="0"/>
                <a:cs typeface="Calibri" panose="020F0502020204030204" pitchFamily="34" charset="0"/>
              </a:endParaRPr>
            </a:p>
            <a:p>
              <a:pPr defTabSz="914224">
                <a:spcAft>
                  <a:spcPts val="224"/>
                </a:spcAft>
                <a:defRPr/>
              </a:pPr>
              <a:endParaRPr lang="en-US" sz="1632" kern="0" dirty="0">
                <a:latin typeface="Segoe UI"/>
                <a:ea typeface="Calibri" panose="020F0502020204030204" pitchFamily="34" charset="0"/>
                <a:cs typeface="Calibri" panose="020F0502020204030204" pitchFamily="34" charset="0"/>
              </a:endParaRPr>
            </a:p>
          </p:txBody>
        </p:sp>
        <p:sp>
          <p:nvSpPr>
            <p:cNvPr id="33" name="Rectangle 32"/>
            <p:cNvSpPr/>
            <p:nvPr/>
          </p:nvSpPr>
          <p:spPr>
            <a:xfrm>
              <a:off x="701998" y="1312868"/>
              <a:ext cx="45719" cy="5014189"/>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4"/>
              <a:endParaRPr lang="en-US" sz="2400" kern="0">
                <a:solidFill>
                  <a:schemeClr val="tx1"/>
                </a:solidFill>
              </a:endParaRPr>
            </a:p>
          </p:txBody>
        </p:sp>
        <p:sp>
          <p:nvSpPr>
            <p:cNvPr id="34" name="Rectangle 33"/>
            <p:cNvSpPr/>
            <p:nvPr/>
          </p:nvSpPr>
          <p:spPr>
            <a:xfrm>
              <a:off x="4606364" y="1312868"/>
              <a:ext cx="45719" cy="5014189"/>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4"/>
              <a:endParaRPr lang="en-US" sz="2400" kern="0">
                <a:solidFill>
                  <a:schemeClr val="tx1"/>
                </a:solidFill>
              </a:endParaRPr>
            </a:p>
          </p:txBody>
        </p:sp>
        <p:sp>
          <p:nvSpPr>
            <p:cNvPr id="35" name="Rectangle 34"/>
            <p:cNvSpPr/>
            <p:nvPr/>
          </p:nvSpPr>
          <p:spPr>
            <a:xfrm>
              <a:off x="8124932" y="1312869"/>
              <a:ext cx="45719" cy="5014188"/>
            </a:xfrm>
            <a:prstGeom prst="rect">
              <a:avLst/>
            </a:prstGeom>
            <a:solidFill>
              <a:srgbClr val="E34F2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21" tIns="109696" rIns="137121" bIns="109696" numCol="1" spcCol="0" rtlCol="0" fromWordArt="0" anchor="ctr" anchorCtr="0" forceAA="0" compatLnSpc="1">
              <a:prstTxWarp prst="textNoShape">
                <a:avLst/>
              </a:prstTxWarp>
              <a:noAutofit/>
            </a:bodyPr>
            <a:lstStyle/>
            <a:p>
              <a:pPr defTabSz="699085">
                <a:lnSpc>
                  <a:spcPct val="90000"/>
                </a:lnSpc>
              </a:pPr>
              <a:endParaRPr lang="en-US" sz="2400" kern="0">
                <a:solidFill>
                  <a:schemeClr val="tx1"/>
                </a:solidFill>
                <a:ea typeface="Segoe UI" pitchFamily="34" charset="0"/>
                <a:cs typeface="Segoe UI" pitchFamily="34" charset="0"/>
              </a:endParaRPr>
            </a:p>
          </p:txBody>
        </p:sp>
      </p:grpSp>
    </p:spTree>
    <p:extLst>
      <p:ext uri="{BB962C8B-B14F-4D97-AF65-F5344CB8AC3E}">
        <p14:creationId xmlns:p14="http://schemas.microsoft.com/office/powerpoint/2010/main" val="4581832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a:t>Mobile engagement</a:t>
            </a:r>
          </a:p>
        </p:txBody>
      </p:sp>
      <p:sp>
        <p:nvSpPr>
          <p:cNvPr id="7" name="Text Placeholder 6"/>
          <p:cNvSpPr>
            <a:spLocks noGrp="1"/>
          </p:cNvSpPr>
          <p:nvPr>
            <p:ph type="body" sz="quarter" idx="10"/>
          </p:nvPr>
        </p:nvSpPr>
        <p:spPr>
          <a:xfrm>
            <a:off x="366169" y="2926673"/>
            <a:ext cx="5608081" cy="3471720"/>
          </a:xfrm>
        </p:spPr>
        <p:txBody>
          <a:bodyPr/>
          <a:lstStyle/>
          <a:p>
            <a:pPr marL="342900" indent="-342900">
              <a:buFont typeface="+mj-lt"/>
              <a:buAutoNum type="arabicPeriod"/>
            </a:pPr>
            <a:r>
              <a:rPr lang="en-US" sz="2000" b="1" dirty="0"/>
              <a:t>Contextually-aware push notifications </a:t>
            </a:r>
            <a:br>
              <a:rPr lang="en-US" sz="2000" b="1" dirty="0"/>
            </a:br>
            <a:r>
              <a:rPr lang="en-US" sz="2000" b="1" dirty="0"/>
              <a:t>and in-app messaging</a:t>
            </a:r>
            <a:endParaRPr lang="en-US" sz="2000" dirty="0"/>
          </a:p>
          <a:p>
            <a:r>
              <a:rPr lang="en-US" sz="1600" dirty="0">
                <a:latin typeface="+mn-lt"/>
              </a:rPr>
              <a:t>This is the core focus of the product - perform targeted and personalized push notifications. And for this to happen, we collect rich behavioral analytics data.</a:t>
            </a:r>
          </a:p>
          <a:p>
            <a:pPr marL="342900" indent="-342900">
              <a:buFont typeface="+mj-lt"/>
              <a:buAutoNum type="arabicPeriod" startAt="2"/>
            </a:pPr>
            <a:r>
              <a:rPr lang="en-US" sz="2000" b="1" dirty="0"/>
              <a:t>Data-driven insights into app usage</a:t>
            </a:r>
            <a:endParaRPr lang="en-US" sz="2000" dirty="0"/>
          </a:p>
          <a:p>
            <a:r>
              <a:rPr lang="en-US" sz="1600" dirty="0">
                <a:latin typeface="+mn-lt"/>
              </a:rPr>
              <a:t>We provide cross platform SDKs to collect the behavioral analytics about the app users. Note the term behavioral analytics (as against performance analytics) because we focus on how the app users are using the app. We do collect basic performance analytics data about errors, crashes etc., but that is not the core focus of the product.</a:t>
            </a:r>
          </a:p>
        </p:txBody>
      </p:sp>
      <p:sp>
        <p:nvSpPr>
          <p:cNvPr id="8" name="Text Placeholder 7"/>
          <p:cNvSpPr>
            <a:spLocks noGrp="1"/>
          </p:cNvSpPr>
          <p:nvPr>
            <p:ph type="body" sz="quarter" idx="11"/>
          </p:nvPr>
        </p:nvSpPr>
        <p:spPr>
          <a:xfrm>
            <a:off x="6461209" y="2926673"/>
            <a:ext cx="5608081" cy="3570208"/>
          </a:xfrm>
        </p:spPr>
        <p:txBody>
          <a:bodyPr/>
          <a:lstStyle/>
          <a:p>
            <a:pPr marL="457200" indent="-457200">
              <a:buFont typeface="+mj-lt"/>
              <a:buAutoNum type="arabicPeriod" startAt="3"/>
            </a:pPr>
            <a:r>
              <a:rPr lang="en-US" sz="2000" b="1" dirty="0"/>
              <a:t>Real-time user segmentation</a:t>
            </a:r>
          </a:p>
          <a:p>
            <a:r>
              <a:rPr lang="en-US" sz="1600" dirty="0">
                <a:latin typeface="+mn-lt"/>
              </a:rPr>
              <a:t>Once you have collected app users' behavioral analytics data, we allow you to segment your audience based on various parameters and collected data to enable you to run targeted push campaigns. </a:t>
            </a:r>
          </a:p>
          <a:p>
            <a:pPr marL="457200" indent="-457200">
              <a:buFont typeface="+mj-lt"/>
              <a:buAutoNum type="arabicPeriod" startAt="4"/>
            </a:pPr>
            <a:r>
              <a:rPr lang="en-US" sz="2000" b="1" dirty="0"/>
              <a:t>Software-as-a-service (SaaS)</a:t>
            </a:r>
          </a:p>
          <a:p>
            <a:r>
              <a:rPr lang="en-US" sz="1600" dirty="0">
                <a:latin typeface="+mn-lt"/>
              </a:rPr>
              <a:t>We have a portal separate from the Azure management portal which is optimized to interact and view rich behavioral analytics about the app users and run marketing push campaigns. The product is geared to get you going in no time!</a:t>
            </a:r>
          </a:p>
          <a:p>
            <a:endParaRPr lang="en-US" sz="1600" dirty="0"/>
          </a:p>
        </p:txBody>
      </p:sp>
      <p:sp>
        <p:nvSpPr>
          <p:cNvPr id="9" name="Text Placeholder 2"/>
          <p:cNvSpPr txBox="1">
            <a:spLocks/>
          </p:cNvSpPr>
          <p:nvPr/>
        </p:nvSpPr>
        <p:spPr>
          <a:xfrm>
            <a:off x="366168" y="1212851"/>
            <a:ext cx="11702553" cy="1514261"/>
          </a:xfrm>
          <a:prstGeom prst="rect">
            <a:avLst/>
          </a:prstGeom>
        </p:spPr>
        <p:txBody>
          <a:bodyPr vert="horz" wrap="square" lIns="146304" tIns="91440" rIns="146304" bIns="91440" rtlCol="0">
            <a:spAutoFit/>
          </a:bodyPr>
          <a:lstStyle>
            <a:lvl1pPr marL="0" marR="0" indent="0" algn="l" defTabSz="932594" rtl="0" eaLnBrk="1" fontAlgn="auto" latinLnBrk="0" hangingPunct="1">
              <a:lnSpc>
                <a:spcPct val="90000"/>
              </a:lnSpc>
              <a:spcBef>
                <a:spcPts val="1224"/>
              </a:spcBef>
              <a:spcAft>
                <a:spcPts val="0"/>
              </a:spcAft>
              <a:buClr>
                <a:schemeClr val="tx1"/>
              </a:buClr>
              <a:buSzPct val="90000"/>
              <a:buFont typeface="Wingdings" pitchFamily="2" charset="2"/>
              <a:buNone/>
              <a:tabLst/>
              <a:defRPr sz="3200" kern="1200" spc="0" baseline="0">
                <a:gradFill>
                  <a:gsLst>
                    <a:gs pos="1250">
                      <a:schemeClr val="tx1"/>
                    </a:gs>
                    <a:gs pos="100000">
                      <a:schemeClr val="tx1"/>
                    </a:gs>
                  </a:gsLst>
                  <a:lin ang="5400000" scaled="0"/>
                </a:gradFill>
                <a:latin typeface="+mj-lt"/>
                <a:ea typeface="+mn-ea"/>
                <a:cs typeface="+mn-cs"/>
              </a:defRPr>
            </a:lvl1pPr>
            <a:lvl2pPr marL="0" marR="0" indent="0" algn="l" defTabSz="932594" rtl="0" eaLnBrk="1" fontAlgn="auto" latinLnBrk="0" hangingPunct="1">
              <a:lnSpc>
                <a:spcPct val="90000"/>
              </a:lnSpc>
              <a:spcBef>
                <a:spcPct val="20000"/>
              </a:spcBef>
              <a:spcAft>
                <a:spcPts val="0"/>
              </a:spcAft>
              <a:buClrTx/>
              <a:buSzPct val="90000"/>
              <a:buFont typeface="Arial" pitchFamily="34" charset="0"/>
              <a:buNone/>
              <a:tabLst/>
              <a:defRPr sz="1800" kern="1200" spc="0" baseline="0">
                <a:gradFill>
                  <a:gsLst>
                    <a:gs pos="1250">
                      <a:schemeClr val="tx1"/>
                    </a:gs>
                    <a:gs pos="100000">
                      <a:schemeClr val="tx1"/>
                    </a:gs>
                  </a:gsLst>
                  <a:lin ang="5400000" scaled="0"/>
                </a:gradFill>
                <a:latin typeface="+mn-lt"/>
                <a:ea typeface="+mn-ea"/>
                <a:cs typeface="+mn-cs"/>
              </a:defRPr>
            </a:lvl2pPr>
            <a:lvl3pPr marL="231738" marR="0" indent="0" algn="l" defTabSz="932594" rtl="0" eaLnBrk="1" fontAlgn="auto" latinLnBrk="0" hangingPunct="1">
              <a:lnSpc>
                <a:spcPct val="90000"/>
              </a:lnSpc>
              <a:spcBef>
                <a:spcPct val="20000"/>
              </a:spcBef>
              <a:spcAft>
                <a:spcPts val="0"/>
              </a:spcAft>
              <a:buClrTx/>
              <a:buSzPct val="90000"/>
              <a:buFont typeface="Arial" pitchFamily="34" charset="0"/>
              <a:buNone/>
              <a:tabLst/>
              <a:defRPr sz="1800" kern="1200" spc="0" baseline="0">
                <a:gradFill>
                  <a:gsLst>
                    <a:gs pos="1250">
                      <a:schemeClr val="tx1"/>
                    </a:gs>
                    <a:gs pos="100000">
                      <a:schemeClr val="tx1"/>
                    </a:gs>
                  </a:gsLst>
                  <a:lin ang="5400000" scaled="0"/>
                </a:gradFill>
                <a:latin typeface="+mn-lt"/>
                <a:ea typeface="+mn-ea"/>
                <a:cs typeface="+mn-cs"/>
              </a:defRPr>
            </a:lvl3pPr>
            <a:lvl4pPr marL="460302" marR="0" indent="0" algn="l" defTabSz="932594" rtl="0" eaLnBrk="1" fontAlgn="auto" latinLnBrk="0" hangingPunct="1">
              <a:lnSpc>
                <a:spcPct val="90000"/>
              </a:lnSpc>
              <a:spcBef>
                <a:spcPct val="20000"/>
              </a:spcBef>
              <a:spcAft>
                <a:spcPts val="0"/>
              </a:spcAft>
              <a:buClrTx/>
              <a:buSzPct val="90000"/>
              <a:buFont typeface="Arial" pitchFamily="34" charset="0"/>
              <a:buNone/>
              <a:tabLst/>
              <a:defRPr sz="1600" kern="1200" spc="0" baseline="0">
                <a:gradFill>
                  <a:gsLst>
                    <a:gs pos="1250">
                      <a:schemeClr val="tx1"/>
                    </a:gs>
                    <a:gs pos="100000">
                      <a:schemeClr val="tx1"/>
                    </a:gs>
                  </a:gsLst>
                  <a:lin ang="5400000" scaled="0"/>
                </a:gradFill>
                <a:latin typeface="+mn-lt"/>
                <a:ea typeface="+mn-ea"/>
                <a:cs typeface="+mn-cs"/>
              </a:defRPr>
            </a:lvl4pPr>
            <a:lvl5pPr marL="685691" marR="0" indent="0" algn="l" defTabSz="932594" rtl="0" eaLnBrk="1" fontAlgn="auto" latinLnBrk="0" hangingPunct="1">
              <a:lnSpc>
                <a:spcPct val="90000"/>
              </a:lnSpc>
              <a:spcBef>
                <a:spcPct val="20000"/>
              </a:spcBef>
              <a:spcAft>
                <a:spcPts val="0"/>
              </a:spcAft>
              <a:buClrTx/>
              <a:buSzPct val="90000"/>
              <a:buFont typeface="Arial" pitchFamily="34" charset="0"/>
              <a:buNone/>
              <a:tabLst/>
              <a:defRPr sz="1600" kern="1200" spc="0" baseline="0">
                <a:gradFill>
                  <a:gsLst>
                    <a:gs pos="1250">
                      <a:schemeClr val="tx1"/>
                    </a:gs>
                    <a:gs pos="100000">
                      <a:schemeClr val="tx1"/>
                    </a:gs>
                  </a:gsLst>
                  <a:lin ang="5400000" scaled="0"/>
                </a:gradFill>
                <a:latin typeface="+mn-lt"/>
                <a:ea typeface="+mn-ea"/>
                <a:cs typeface="+mn-cs"/>
              </a:defRPr>
            </a:lvl5pPr>
            <a:lvl6pPr marL="2564633" indent="-233149" algn="l" defTabSz="93259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932" indent="-233149" algn="l" defTabSz="93259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229" indent="-233149" algn="l" defTabSz="93259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528" indent="-233149" algn="l" defTabSz="932594"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400" dirty="0">
                <a:solidFill>
                  <a:schemeClr val="accent1"/>
                </a:solidFill>
              </a:rPr>
              <a:t>Azure Mobile Engagement is a software-as-a-service (SaaS) user engagement platform that provides data-driven insights into app usage, real-time user segmentation, and enables contextually-aware push notifications and in-app messaging. It enables you to create and manage a targeted engagement strategy for your mobile applications.</a:t>
            </a:r>
          </a:p>
        </p:txBody>
      </p:sp>
    </p:spTree>
    <p:extLst>
      <p:ext uri="{BB962C8B-B14F-4D97-AF65-F5344CB8AC3E}">
        <p14:creationId xmlns:p14="http://schemas.microsoft.com/office/powerpoint/2010/main" val="1604130147"/>
      </p:ext>
    </p:extLst>
  </p:cSld>
  <p:clrMapOvr>
    <a:masterClrMapping/>
  </p:clrMapOvr>
  <p:transition>
    <p:fade/>
  </p:transition>
</p:sld>
</file>

<file path=ppt/slides/slide13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Segoe UI Light" panose="020B0502040204020203" pitchFamily="34" charset="0"/>
                <a:cs typeface="Segoe UI Light" panose="020B0502040204020203" pitchFamily="34" charset="0"/>
              </a:rPr>
              <a:t>Mobile engagement decisions</a:t>
            </a:r>
            <a:endParaRPr lang="en-US" dirty="0"/>
          </a:p>
        </p:txBody>
      </p:sp>
      <p:graphicFrame>
        <p:nvGraphicFramePr>
          <p:cNvPr id="3" name="Diagram 2"/>
          <p:cNvGraphicFramePr/>
          <p:nvPr>
            <p:extLst/>
          </p:nvPr>
        </p:nvGraphicFramePr>
        <p:xfrm>
          <a:off x="1161825" y="1212853"/>
          <a:ext cx="8435831" cy="525621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 name="Octagon 3"/>
          <p:cNvSpPr/>
          <p:nvPr/>
        </p:nvSpPr>
        <p:spPr>
          <a:xfrm>
            <a:off x="1107200" y="2430463"/>
            <a:ext cx="443098" cy="439889"/>
          </a:xfrm>
          <a:prstGeom prst="octagon">
            <a:avLst/>
          </a:prstGeom>
          <a:solidFill>
            <a:srgbClr val="CC0000"/>
          </a:solidFill>
        </p:spPr>
        <p:style>
          <a:lnRef idx="1">
            <a:schemeClr val="accent2"/>
          </a:lnRef>
          <a:fillRef idx="3">
            <a:schemeClr val="accent2"/>
          </a:fillRef>
          <a:effectRef idx="2">
            <a:schemeClr val="accent2"/>
          </a:effectRef>
          <a:fontRef idx="minor">
            <a:schemeClr val="lt1"/>
          </a:fontRef>
        </p:style>
        <p:txBody>
          <a:bodyPr rot="0" spcFirstLastPara="0" vert="horz" wrap="square" lIns="68583" tIns="34291" rIns="68583" bIns="34291" numCol="1" spcCol="0" rtlCol="0" fromWordArt="0" anchor="ctr" anchorCtr="0" forceAA="0" compatLnSpc="1">
            <a:prstTxWarp prst="textNoShape">
              <a:avLst/>
            </a:prstTxWarp>
            <a:noAutofit/>
          </a:bodyPr>
          <a:lstStyle/>
          <a:p>
            <a:endParaRPr lang="en-US" sz="1350"/>
          </a:p>
        </p:txBody>
      </p:sp>
      <p:sp>
        <p:nvSpPr>
          <p:cNvPr id="5" name="Isosceles Triangle 4"/>
          <p:cNvSpPr>
            <a:spLocks/>
          </p:cNvSpPr>
          <p:nvPr/>
        </p:nvSpPr>
        <p:spPr>
          <a:xfrm>
            <a:off x="1021842" y="4110985"/>
            <a:ext cx="579874" cy="457219"/>
          </a:xfrm>
          <a:prstGeom prst="triangle">
            <a:avLst/>
          </a:prstGeom>
          <a:solidFill>
            <a:srgbClr val="FFFF00"/>
          </a:solidFill>
        </p:spPr>
        <p:style>
          <a:lnRef idx="1">
            <a:schemeClr val="accent6"/>
          </a:lnRef>
          <a:fillRef idx="3">
            <a:schemeClr val="accent6"/>
          </a:fillRef>
          <a:effectRef idx="2">
            <a:schemeClr val="accent6"/>
          </a:effectRef>
          <a:fontRef idx="minor">
            <a:schemeClr val="lt1"/>
          </a:fontRef>
        </p:style>
        <p:txBody>
          <a:bodyPr rot="0" spcFirstLastPara="0" vert="horz" wrap="square" lIns="68583" tIns="34291" rIns="68583" bIns="34291" numCol="1" spcCol="0" rtlCol="0" fromWordArt="0" anchor="ctr" anchorCtr="0" forceAA="0" compatLnSpc="1">
            <a:prstTxWarp prst="textNoShape">
              <a:avLst/>
            </a:prstTxWarp>
            <a:noAutofit/>
          </a:bodyPr>
          <a:lstStyle/>
          <a:p>
            <a:endParaRPr lang="en-US" sz="1350"/>
          </a:p>
        </p:txBody>
      </p:sp>
      <p:sp>
        <p:nvSpPr>
          <p:cNvPr id="6" name="Oval 5"/>
          <p:cNvSpPr>
            <a:spLocks/>
          </p:cNvSpPr>
          <p:nvPr/>
        </p:nvSpPr>
        <p:spPr>
          <a:xfrm>
            <a:off x="1021843" y="5993586"/>
            <a:ext cx="474539" cy="475477"/>
          </a:xfrm>
          <a:prstGeom prst="ellipse">
            <a:avLst/>
          </a:prstGeom>
          <a:solidFill>
            <a:srgbClr val="00B050"/>
          </a:solidFill>
        </p:spPr>
        <p:style>
          <a:lnRef idx="1">
            <a:schemeClr val="accent3"/>
          </a:lnRef>
          <a:fillRef idx="3">
            <a:schemeClr val="accent3"/>
          </a:fillRef>
          <a:effectRef idx="2">
            <a:schemeClr val="accent3"/>
          </a:effectRef>
          <a:fontRef idx="minor">
            <a:schemeClr val="lt1"/>
          </a:fontRef>
        </p:style>
        <p:txBody>
          <a:bodyPr rot="0" spcFirstLastPara="0" vert="horz" wrap="square" lIns="68583" tIns="34291" rIns="68583" bIns="34291" numCol="1" spcCol="0" rtlCol="0" fromWordArt="0" anchor="ctr" anchorCtr="0" forceAA="0" compatLnSpc="1">
            <a:prstTxWarp prst="textNoShape">
              <a:avLst/>
            </a:prstTxWarp>
            <a:noAutofit/>
          </a:bodyPr>
          <a:lstStyle/>
          <a:p>
            <a:endParaRPr lang="en-US" sz="1350"/>
          </a:p>
        </p:txBody>
      </p:sp>
    </p:spTree>
    <p:extLst>
      <p:ext uri="{BB962C8B-B14F-4D97-AF65-F5344CB8AC3E}">
        <p14:creationId xmlns:p14="http://schemas.microsoft.com/office/powerpoint/2010/main" val="4151461461"/>
      </p:ext>
    </p:extLst>
  </p:cSld>
  <p:clrMapOvr>
    <a:masterClrMapping/>
  </p:clrMapOvr>
  <p:transition>
    <p:fade/>
  </p:transition>
</p:sld>
</file>

<file path=ppt/slides/slide13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Title 4"/>
          <p:cNvSpPr>
            <a:spLocks noGrp="1"/>
          </p:cNvSpPr>
          <p:nvPr>
            <p:ph type="title"/>
          </p:nvPr>
        </p:nvSpPr>
        <p:spPr>
          <a:xfrm>
            <a:off x="366169" y="295278"/>
            <a:ext cx="11702551" cy="917575"/>
          </a:xfrm>
        </p:spPr>
        <p:txBody>
          <a:bodyPr/>
          <a:lstStyle/>
          <a:p>
            <a:r>
              <a:rPr lang="en-US" dirty="0"/>
              <a:t>Creating a container…</a:t>
            </a:r>
          </a:p>
        </p:txBody>
      </p:sp>
      <p:pic>
        <p:nvPicPr>
          <p:cNvPr id="3" name="Picture 2"/>
          <p:cNvPicPr>
            <a:picLocks noChangeAspect="1"/>
          </p:cNvPicPr>
          <p:nvPr/>
        </p:nvPicPr>
        <p:blipFill>
          <a:blip r:embed="rId3"/>
          <a:stretch>
            <a:fillRect/>
          </a:stretch>
        </p:blipFill>
        <p:spPr>
          <a:xfrm>
            <a:off x="846029" y="2049647"/>
            <a:ext cx="4495227" cy="380951"/>
          </a:xfrm>
          <a:prstGeom prst="rect">
            <a:avLst/>
          </a:prstGeom>
        </p:spPr>
      </p:pic>
      <p:pic>
        <p:nvPicPr>
          <p:cNvPr id="4" name="Picture 3"/>
          <p:cNvPicPr>
            <a:picLocks noChangeAspect="1"/>
          </p:cNvPicPr>
          <p:nvPr/>
        </p:nvPicPr>
        <p:blipFill>
          <a:blip r:embed="rId4"/>
          <a:stretch>
            <a:fillRect/>
          </a:stretch>
        </p:blipFill>
        <p:spPr>
          <a:xfrm>
            <a:off x="503173" y="2866310"/>
            <a:ext cx="5187148" cy="1543649"/>
          </a:xfrm>
          <a:prstGeom prst="rect">
            <a:avLst/>
          </a:prstGeom>
        </p:spPr>
      </p:pic>
      <p:pic>
        <p:nvPicPr>
          <p:cNvPr id="6" name="Picture 5"/>
          <p:cNvPicPr>
            <a:picLocks noChangeAspect="1"/>
          </p:cNvPicPr>
          <p:nvPr/>
        </p:nvPicPr>
        <p:blipFill>
          <a:blip r:embed="rId5"/>
          <a:stretch>
            <a:fillRect/>
          </a:stretch>
        </p:blipFill>
        <p:spPr>
          <a:xfrm>
            <a:off x="507843" y="5171862"/>
            <a:ext cx="8895214" cy="1095235"/>
          </a:xfrm>
          <a:prstGeom prst="rect">
            <a:avLst/>
          </a:prstGeom>
        </p:spPr>
      </p:pic>
      <p:pic>
        <p:nvPicPr>
          <p:cNvPr id="7" name="Picture 6"/>
          <p:cNvPicPr>
            <a:picLocks noChangeAspect="1"/>
          </p:cNvPicPr>
          <p:nvPr/>
        </p:nvPicPr>
        <p:blipFill>
          <a:blip r:embed="rId6"/>
          <a:stretch>
            <a:fillRect/>
          </a:stretch>
        </p:blipFill>
        <p:spPr>
          <a:xfrm>
            <a:off x="6551539" y="1897265"/>
            <a:ext cx="5611113" cy="2209518"/>
          </a:xfrm>
          <a:prstGeom prst="rect">
            <a:avLst/>
          </a:prstGeom>
        </p:spPr>
      </p:pic>
      <p:sp>
        <p:nvSpPr>
          <p:cNvPr id="8" name="Down Arrow 7"/>
          <p:cNvSpPr/>
          <p:nvPr/>
        </p:nvSpPr>
        <p:spPr bwMode="auto">
          <a:xfrm>
            <a:off x="2826977" y="4486148"/>
            <a:ext cx="533332" cy="609523"/>
          </a:xfrm>
          <a:prstGeom prst="downArrow">
            <a:avLst/>
          </a:prstGeom>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1" rIns="0" bIns="46631" numCol="1" rtlCol="0" anchor="ctr" anchorCtr="0" compatLnSpc="1">
            <a:prstTxWarp prst="textNoShape">
              <a:avLst/>
            </a:prstTxWarp>
          </a:bodyPr>
          <a:lstStyle/>
          <a:p>
            <a:pPr algn="ctr" defTabSz="932379"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9" name="Down Arrow 8"/>
          <p:cNvSpPr/>
          <p:nvPr/>
        </p:nvSpPr>
        <p:spPr bwMode="auto">
          <a:xfrm>
            <a:off x="2712691" y="2485358"/>
            <a:ext cx="533332" cy="609523"/>
          </a:xfrm>
          <a:prstGeom prst="downArrow">
            <a:avLst/>
          </a:prstGeom>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1" rIns="0" bIns="46631" numCol="1" rtlCol="0" anchor="ctr" anchorCtr="0" compatLnSpc="1">
            <a:prstTxWarp prst="textNoShape">
              <a:avLst/>
            </a:prstTxWarp>
          </a:bodyPr>
          <a:lstStyle/>
          <a:p>
            <a:pPr algn="ctr" defTabSz="932379"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10" name="TextBox 9"/>
          <p:cNvSpPr txBox="1"/>
          <p:nvPr/>
        </p:nvSpPr>
        <p:spPr>
          <a:xfrm>
            <a:off x="739533" y="1556788"/>
            <a:ext cx="3586358" cy="627784"/>
          </a:xfrm>
          <a:prstGeom prst="rect">
            <a:avLst/>
          </a:prstGeom>
          <a:noFill/>
        </p:spPr>
        <p:txBody>
          <a:bodyPr wrap="none" lIns="182857" tIns="146285" rIns="182857" bIns="146285" rtlCol="0">
            <a:spAutoFit/>
          </a:bodyPr>
          <a:lstStyle/>
          <a:p>
            <a:pPr>
              <a:lnSpc>
                <a:spcPct val="90000"/>
              </a:lnSpc>
              <a:spcAft>
                <a:spcPts val="600"/>
              </a:spcAft>
            </a:pPr>
            <a:r>
              <a:rPr lang="en-US" sz="2400" dirty="0">
                <a:gradFill>
                  <a:gsLst>
                    <a:gs pos="2917">
                      <a:schemeClr val="tx1"/>
                    </a:gs>
                    <a:gs pos="30000">
                      <a:schemeClr val="tx1"/>
                    </a:gs>
                  </a:gsLst>
                  <a:lin ang="5400000" scaled="0"/>
                </a:gradFill>
              </a:rPr>
              <a:t>Docker Machine Client:</a:t>
            </a:r>
          </a:p>
        </p:txBody>
      </p:sp>
    </p:spTree>
    <p:extLst>
      <p:ext uri="{BB962C8B-B14F-4D97-AF65-F5344CB8AC3E}">
        <p14:creationId xmlns:p14="http://schemas.microsoft.com/office/powerpoint/2010/main" val="165263868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3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66168" y="1212851"/>
            <a:ext cx="11702553" cy="6260175"/>
          </a:xfrm>
        </p:spPr>
        <p:txBody>
          <a:bodyPr/>
          <a:lstStyle/>
          <a:p>
            <a:r>
              <a:rPr lang="en-US" sz="2800" dirty="0"/>
              <a:t>What next?</a:t>
            </a:r>
          </a:p>
          <a:p>
            <a:r>
              <a:rPr lang="en-US" sz="2800" dirty="0"/>
              <a:t>Scale</a:t>
            </a:r>
          </a:p>
          <a:p>
            <a:r>
              <a:rPr lang="en-US" sz="2800" dirty="0"/>
              <a:t>Redundancy</a:t>
            </a:r>
          </a:p>
          <a:p>
            <a:r>
              <a:rPr lang="en-US" sz="2800" dirty="0"/>
              <a:t>Storage</a:t>
            </a:r>
          </a:p>
          <a:p>
            <a:r>
              <a:rPr lang="en-US" sz="2800" dirty="0"/>
              <a:t>HA</a:t>
            </a:r>
          </a:p>
          <a:p>
            <a:r>
              <a:rPr lang="en-US" sz="2800" dirty="0"/>
              <a:t>Monitoring</a:t>
            </a:r>
          </a:p>
          <a:p>
            <a:r>
              <a:rPr lang="en-US" sz="2800" dirty="0"/>
              <a:t>Resource balancing</a:t>
            </a:r>
          </a:p>
          <a:p>
            <a:r>
              <a:rPr lang="en-US" sz="2800" dirty="0"/>
              <a:t>Load balancing</a:t>
            </a:r>
          </a:p>
          <a:p>
            <a:r>
              <a:rPr lang="en-US" sz="2800" dirty="0"/>
              <a:t>Node management</a:t>
            </a:r>
          </a:p>
          <a:p>
            <a:endParaRPr lang="en-US" sz="2800" dirty="0"/>
          </a:p>
          <a:p>
            <a:r>
              <a:rPr lang="en-US" sz="2800" dirty="0"/>
              <a:t>Scheduling tools, Swarm/Marathon </a:t>
            </a:r>
          </a:p>
          <a:p>
            <a:r>
              <a:rPr lang="en-US" sz="2800" dirty="0"/>
              <a:t>Resource management (</a:t>
            </a:r>
            <a:r>
              <a:rPr lang="en-US" sz="2800" dirty="0" err="1"/>
              <a:t>Mesos</a:t>
            </a:r>
            <a:r>
              <a:rPr lang="en-US" sz="2800" dirty="0"/>
              <a:t>) for the Docker clusters, e.g. prod/staging</a:t>
            </a:r>
          </a:p>
          <a:p>
            <a:endParaRPr lang="en-US" sz="2800" dirty="0"/>
          </a:p>
        </p:txBody>
      </p:sp>
      <p:sp>
        <p:nvSpPr>
          <p:cNvPr id="2" name="Title 1"/>
          <p:cNvSpPr>
            <a:spLocks noGrp="1"/>
          </p:cNvSpPr>
          <p:nvPr>
            <p:ph type="title"/>
          </p:nvPr>
        </p:nvSpPr>
        <p:spPr/>
        <p:txBody>
          <a:bodyPr/>
          <a:lstStyle/>
          <a:p>
            <a:r>
              <a:rPr lang="en-US" dirty="0"/>
              <a:t>So, I have deployed…		</a:t>
            </a:r>
          </a:p>
        </p:txBody>
      </p:sp>
    </p:spTree>
    <p:extLst>
      <p:ext uri="{BB962C8B-B14F-4D97-AF65-F5344CB8AC3E}">
        <p14:creationId xmlns:p14="http://schemas.microsoft.com/office/powerpoint/2010/main" val="396826543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3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Title 4"/>
          <p:cNvSpPr>
            <a:spLocks noGrp="1"/>
          </p:cNvSpPr>
          <p:nvPr>
            <p:ph type="title"/>
          </p:nvPr>
        </p:nvSpPr>
        <p:spPr>
          <a:xfrm>
            <a:off x="366169" y="295278"/>
            <a:ext cx="11702551" cy="917575"/>
          </a:xfrm>
        </p:spPr>
        <p:txBody>
          <a:bodyPr/>
          <a:lstStyle/>
          <a:p>
            <a:r>
              <a:rPr lang="en-US" dirty="0"/>
              <a:t>And all together..		</a:t>
            </a:r>
          </a:p>
        </p:txBody>
      </p:sp>
      <p:pic>
        <p:nvPicPr>
          <p:cNvPr id="3" name="Picture 2"/>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102755" y="1676230"/>
            <a:ext cx="12134141" cy="5021024"/>
          </a:xfrm>
          <a:prstGeom prst="rect">
            <a:avLst/>
          </a:prstGeom>
        </p:spPr>
      </p:pic>
    </p:spTree>
    <p:extLst>
      <p:ext uri="{BB962C8B-B14F-4D97-AF65-F5344CB8AC3E}">
        <p14:creationId xmlns:p14="http://schemas.microsoft.com/office/powerpoint/2010/main" val="173978686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3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366169" y="1212851"/>
            <a:ext cx="5428576" cy="5041380"/>
          </a:xfrm>
        </p:spPr>
        <p:txBody>
          <a:bodyPr/>
          <a:lstStyle/>
          <a:p>
            <a:pPr marL="0" indent="0">
              <a:buNone/>
            </a:pPr>
            <a:r>
              <a:rPr lang="en-US" sz="2800" dirty="0"/>
              <a:t>New resource provider</a:t>
            </a:r>
            <a:endParaRPr lang="en-US" sz="900" dirty="0">
              <a:solidFill>
                <a:schemeClr val="tx1"/>
              </a:solidFill>
            </a:endParaRPr>
          </a:p>
          <a:p>
            <a:pPr marL="342900" lvl="1" indent="-342900"/>
            <a:r>
              <a:rPr lang="en-US" dirty="0"/>
              <a:t>Defines required resources</a:t>
            </a:r>
          </a:p>
          <a:p>
            <a:pPr marL="0" indent="0">
              <a:buNone/>
            </a:pPr>
            <a:r>
              <a:rPr lang="en-US" sz="2800" dirty="0"/>
              <a:t>Layered approach</a:t>
            </a:r>
            <a:endParaRPr lang="en-US" sz="900" dirty="0">
              <a:solidFill>
                <a:schemeClr val="tx1"/>
              </a:solidFill>
            </a:endParaRPr>
          </a:p>
          <a:p>
            <a:pPr marL="342900" lvl="1" indent="-342900"/>
            <a:r>
              <a:rPr lang="en-US" dirty="0"/>
              <a:t>Agility to track innovation</a:t>
            </a:r>
          </a:p>
          <a:p>
            <a:pPr marL="0" indent="0">
              <a:buNone/>
            </a:pPr>
            <a:r>
              <a:rPr lang="en-US" sz="2800" dirty="0"/>
              <a:t>Community defined</a:t>
            </a:r>
            <a:endParaRPr lang="en-US" sz="900" dirty="0">
              <a:solidFill>
                <a:schemeClr val="tx1"/>
              </a:solidFill>
            </a:endParaRPr>
          </a:p>
          <a:p>
            <a:pPr marL="342900" lvl="1" indent="-342900"/>
            <a:r>
              <a:rPr lang="en-US" dirty="0"/>
              <a:t>Open Source and Open APIs</a:t>
            </a:r>
          </a:p>
          <a:p>
            <a:pPr marL="342900" lvl="1" indent="-342900"/>
            <a:r>
              <a:rPr lang="en-US" dirty="0"/>
              <a:t>Portability</a:t>
            </a:r>
          </a:p>
          <a:p>
            <a:pPr marL="0" indent="0">
              <a:buNone/>
            </a:pPr>
            <a:r>
              <a:rPr lang="en-US" sz="2800" dirty="0"/>
              <a:t>Hosts become cattle</a:t>
            </a:r>
            <a:endParaRPr lang="en-US" sz="900" dirty="0">
              <a:solidFill>
                <a:schemeClr val="tx1"/>
              </a:solidFill>
            </a:endParaRPr>
          </a:p>
          <a:p>
            <a:pPr marL="342900" lvl="1" indent="-342900"/>
            <a:r>
              <a:rPr lang="en-US" dirty="0"/>
              <a:t>No need to manage them</a:t>
            </a:r>
          </a:p>
          <a:p>
            <a:pPr marL="0" indent="0">
              <a:buNone/>
            </a:pPr>
            <a:r>
              <a:rPr lang="en-US" sz="2800" dirty="0"/>
              <a:t>Containers are pets or cattle</a:t>
            </a:r>
            <a:endParaRPr lang="en-US" sz="900" dirty="0">
              <a:solidFill>
                <a:schemeClr val="tx1"/>
              </a:solidFill>
            </a:endParaRPr>
          </a:p>
          <a:p>
            <a:pPr marL="342900" lvl="1" indent="-342900"/>
            <a:r>
              <a:rPr lang="en-US" dirty="0"/>
              <a:t>Depending on application</a:t>
            </a:r>
          </a:p>
          <a:p>
            <a:pPr marL="0" indent="0">
              <a:buNone/>
            </a:pPr>
            <a:endParaRPr lang="en-US" sz="2400" dirty="0">
              <a:solidFill>
                <a:schemeClr val="tx1"/>
              </a:solidFill>
            </a:endParaRPr>
          </a:p>
        </p:txBody>
      </p:sp>
      <p:sp>
        <p:nvSpPr>
          <p:cNvPr id="2" name="Title 1"/>
          <p:cNvSpPr>
            <a:spLocks noGrp="1"/>
          </p:cNvSpPr>
          <p:nvPr>
            <p:ph type="title"/>
          </p:nvPr>
        </p:nvSpPr>
        <p:spPr/>
        <p:txBody>
          <a:bodyPr/>
          <a:lstStyle/>
          <a:p>
            <a:r>
              <a:rPr lang="en-US" dirty="0"/>
              <a:t>Containers as a first class resource in ARM</a:t>
            </a:r>
          </a:p>
        </p:txBody>
      </p:sp>
      <p:graphicFrame>
        <p:nvGraphicFramePr>
          <p:cNvPr id="4" name="Table 3"/>
          <p:cNvGraphicFramePr>
            <a:graphicFrameLocks noGrp="1"/>
          </p:cNvGraphicFramePr>
          <p:nvPr>
            <p:extLst/>
          </p:nvPr>
        </p:nvGraphicFramePr>
        <p:xfrm>
          <a:off x="5794745" y="1384811"/>
          <a:ext cx="5933767" cy="2977439"/>
        </p:xfrm>
        <a:graphic>
          <a:graphicData uri="http://schemas.openxmlformats.org/drawingml/2006/table">
            <a:tbl>
              <a:tblPr firstRow="1" firstCol="1" bandRow="1">
                <a:tableStyleId>{5C22544A-7EE6-4342-B048-85BDC9FD1C3A}</a:tableStyleId>
              </a:tblPr>
              <a:tblGrid>
                <a:gridCol w="2406320">
                  <a:extLst>
                    <a:ext uri="{9D8B030D-6E8A-4147-A177-3AD203B41FA5}">
                      <a16:colId xmlns:a16="http://schemas.microsoft.com/office/drawing/2014/main" val="20000"/>
                    </a:ext>
                  </a:extLst>
                </a:gridCol>
                <a:gridCol w="3527447">
                  <a:extLst>
                    <a:ext uri="{9D8B030D-6E8A-4147-A177-3AD203B41FA5}">
                      <a16:colId xmlns:a16="http://schemas.microsoft.com/office/drawing/2014/main" val="20001"/>
                    </a:ext>
                  </a:extLst>
                </a:gridCol>
              </a:tblGrid>
              <a:tr h="643414">
                <a:tc>
                  <a:txBody>
                    <a:bodyPr/>
                    <a:lstStyle/>
                    <a:p>
                      <a:pPr marL="0" marR="0">
                        <a:lnSpc>
                          <a:spcPct val="115000"/>
                        </a:lnSpc>
                        <a:spcBef>
                          <a:spcPts val="0"/>
                        </a:spcBef>
                        <a:spcAft>
                          <a:spcPts val="0"/>
                        </a:spcAft>
                      </a:pPr>
                      <a:r>
                        <a:rPr lang="en-US" sz="1800" b="0" dirty="0">
                          <a:effectLst/>
                          <a:latin typeface="Segoe UI Semibold" panose="020B0702040204020203" pitchFamily="34" charset="0"/>
                          <a:cs typeface="Segoe UI Semibold" panose="020B0702040204020203" pitchFamily="34" charset="0"/>
                        </a:rPr>
                        <a:t>Layer</a:t>
                      </a:r>
                      <a:endParaRPr lang="en-US" sz="1800" b="0" dirty="0">
                        <a:effectLst/>
                        <a:latin typeface="Segoe UI Semibold" panose="020B0702040204020203" pitchFamily="34" charset="0"/>
                        <a:ea typeface="Times New Roman" panose="02020603050405020304" pitchFamily="18" charset="0"/>
                        <a:cs typeface="Segoe UI Semibold" panose="020B0702040204020203" pitchFamily="34" charset="0"/>
                      </a:endParaRPr>
                    </a:p>
                  </a:txBody>
                  <a:tcPr marL="69936" marR="69936" marT="0" marB="0"/>
                </a:tc>
                <a:tc>
                  <a:txBody>
                    <a:bodyPr/>
                    <a:lstStyle/>
                    <a:p>
                      <a:pPr marL="0" marR="0">
                        <a:lnSpc>
                          <a:spcPct val="115000"/>
                        </a:lnSpc>
                        <a:spcBef>
                          <a:spcPts val="0"/>
                        </a:spcBef>
                        <a:spcAft>
                          <a:spcPts val="0"/>
                        </a:spcAft>
                      </a:pPr>
                      <a:r>
                        <a:rPr lang="en-US" sz="1800" b="0" dirty="0">
                          <a:effectLst/>
                          <a:latin typeface="Segoe UI Semibold" panose="020B0702040204020203" pitchFamily="34" charset="0"/>
                          <a:cs typeface="Segoe UI Semibold" panose="020B0702040204020203" pitchFamily="34" charset="0"/>
                        </a:rPr>
                        <a:t>Supported technologies (2015)</a:t>
                      </a:r>
                      <a:endParaRPr lang="en-US" sz="1800" b="0" dirty="0">
                        <a:effectLst/>
                        <a:latin typeface="Segoe UI Semibold" panose="020B0702040204020203" pitchFamily="34" charset="0"/>
                        <a:ea typeface="Times New Roman" panose="02020603050405020304" pitchFamily="18" charset="0"/>
                        <a:cs typeface="Segoe UI Semibold" panose="020B0702040204020203" pitchFamily="34" charset="0"/>
                      </a:endParaRPr>
                    </a:p>
                  </a:txBody>
                  <a:tcPr marL="69936" marR="69936" marT="0" marB="0"/>
                </a:tc>
                <a:extLst>
                  <a:ext uri="{0D108BD9-81ED-4DB2-BD59-A6C34878D82A}">
                    <a16:rowId xmlns:a16="http://schemas.microsoft.com/office/drawing/2014/main" val="10000"/>
                  </a:ext>
                </a:extLst>
              </a:tr>
              <a:tr h="643414">
                <a:tc>
                  <a:txBody>
                    <a:bodyPr/>
                    <a:lstStyle/>
                    <a:p>
                      <a:pPr marL="0" marR="0">
                        <a:lnSpc>
                          <a:spcPct val="115000"/>
                        </a:lnSpc>
                        <a:spcBef>
                          <a:spcPts val="0"/>
                        </a:spcBef>
                        <a:spcAft>
                          <a:spcPts val="0"/>
                        </a:spcAft>
                      </a:pPr>
                      <a:r>
                        <a:rPr lang="en-US" sz="1800" b="0">
                          <a:effectLst/>
                          <a:latin typeface="Segoe UI Semibold" panose="020B0702040204020203" pitchFamily="34" charset="0"/>
                          <a:cs typeface="Segoe UI Semibold" panose="020B0702040204020203" pitchFamily="34" charset="0"/>
                        </a:rPr>
                        <a:t>Configuration as Code</a:t>
                      </a:r>
                      <a:endParaRPr lang="en-US" sz="1800" b="0">
                        <a:effectLst/>
                        <a:latin typeface="Segoe UI Semibold" panose="020B0702040204020203" pitchFamily="34" charset="0"/>
                        <a:ea typeface="Times New Roman" panose="02020603050405020304" pitchFamily="18" charset="0"/>
                        <a:cs typeface="Segoe UI Semibold" panose="020B0702040204020203" pitchFamily="34" charset="0"/>
                      </a:endParaRPr>
                    </a:p>
                  </a:txBody>
                  <a:tcPr marL="69936" marR="69936" marT="0" marB="0"/>
                </a:tc>
                <a:tc>
                  <a:txBody>
                    <a:bodyPr/>
                    <a:lstStyle/>
                    <a:p>
                      <a:pPr marL="0" marR="0">
                        <a:lnSpc>
                          <a:spcPct val="115000"/>
                        </a:lnSpc>
                        <a:spcBef>
                          <a:spcPts val="0"/>
                        </a:spcBef>
                        <a:spcAft>
                          <a:spcPts val="0"/>
                        </a:spcAft>
                      </a:pPr>
                      <a:r>
                        <a:rPr lang="en-US" sz="1800" dirty="0">
                          <a:effectLst/>
                        </a:rPr>
                        <a:t>ARM, Dockerfile, Docker Compose</a:t>
                      </a:r>
                      <a:endParaRPr lang="en-US" sz="18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9936" marR="69936" marT="0" marB="0"/>
                </a:tc>
                <a:extLst>
                  <a:ext uri="{0D108BD9-81ED-4DB2-BD59-A6C34878D82A}">
                    <a16:rowId xmlns:a16="http://schemas.microsoft.com/office/drawing/2014/main" val="10001"/>
                  </a:ext>
                </a:extLst>
              </a:tr>
              <a:tr h="643414">
                <a:tc>
                  <a:txBody>
                    <a:bodyPr/>
                    <a:lstStyle/>
                    <a:p>
                      <a:pPr marL="0" marR="0">
                        <a:lnSpc>
                          <a:spcPct val="115000"/>
                        </a:lnSpc>
                        <a:spcBef>
                          <a:spcPts val="0"/>
                        </a:spcBef>
                        <a:spcAft>
                          <a:spcPts val="0"/>
                        </a:spcAft>
                      </a:pPr>
                      <a:r>
                        <a:rPr lang="en-US" sz="1800" b="0" dirty="0">
                          <a:effectLst/>
                          <a:latin typeface="Segoe UI Semibold" panose="020B0702040204020203" pitchFamily="34" charset="0"/>
                          <a:cs typeface="Segoe UI Semibold" panose="020B0702040204020203" pitchFamily="34" charset="0"/>
                        </a:rPr>
                        <a:t>Host cluster management</a:t>
                      </a:r>
                      <a:endParaRPr lang="en-US" sz="1800" b="0" dirty="0">
                        <a:effectLst/>
                        <a:latin typeface="Segoe UI Semibold" panose="020B0702040204020203" pitchFamily="34" charset="0"/>
                        <a:ea typeface="Times New Roman" panose="02020603050405020304" pitchFamily="18" charset="0"/>
                        <a:cs typeface="Segoe UI Semibold" panose="020B0702040204020203" pitchFamily="34" charset="0"/>
                      </a:endParaRPr>
                    </a:p>
                  </a:txBody>
                  <a:tcPr marL="69936" marR="69936" marT="0" marB="0"/>
                </a:tc>
                <a:tc>
                  <a:txBody>
                    <a:bodyPr/>
                    <a:lstStyle/>
                    <a:p>
                      <a:pPr marL="0" marR="0">
                        <a:lnSpc>
                          <a:spcPct val="115000"/>
                        </a:lnSpc>
                        <a:spcBef>
                          <a:spcPts val="0"/>
                        </a:spcBef>
                        <a:spcAft>
                          <a:spcPts val="0"/>
                        </a:spcAft>
                      </a:pPr>
                      <a:r>
                        <a:rPr lang="en-US" sz="1800" dirty="0">
                          <a:effectLst/>
                        </a:rPr>
                        <a:t>VM Scale Sets</a:t>
                      </a:r>
                      <a:endParaRPr lang="en-US" sz="18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9936" marR="69936" marT="0" marB="0"/>
                </a:tc>
                <a:extLst>
                  <a:ext uri="{0D108BD9-81ED-4DB2-BD59-A6C34878D82A}">
                    <a16:rowId xmlns:a16="http://schemas.microsoft.com/office/drawing/2014/main" val="10002"/>
                  </a:ext>
                </a:extLst>
              </a:tr>
              <a:tr h="643414">
                <a:tc>
                  <a:txBody>
                    <a:bodyPr/>
                    <a:lstStyle/>
                    <a:p>
                      <a:pPr marL="0" marR="0">
                        <a:lnSpc>
                          <a:spcPct val="115000"/>
                        </a:lnSpc>
                        <a:spcBef>
                          <a:spcPts val="0"/>
                        </a:spcBef>
                        <a:spcAft>
                          <a:spcPts val="0"/>
                        </a:spcAft>
                      </a:pPr>
                      <a:r>
                        <a:rPr lang="en-US" sz="1800" b="0" dirty="0">
                          <a:effectLst/>
                          <a:latin typeface="Segoe UI Semibold" panose="020B0702040204020203" pitchFamily="34" charset="0"/>
                          <a:cs typeface="Segoe UI Semibold" panose="020B0702040204020203" pitchFamily="34" charset="0"/>
                        </a:rPr>
                        <a:t>Container orchestration</a:t>
                      </a:r>
                      <a:endParaRPr lang="en-US" sz="1800" b="0" dirty="0">
                        <a:effectLst/>
                        <a:latin typeface="Segoe UI Semibold" panose="020B0702040204020203" pitchFamily="34" charset="0"/>
                        <a:ea typeface="Times New Roman" panose="02020603050405020304" pitchFamily="18" charset="0"/>
                        <a:cs typeface="Segoe UI Semibold" panose="020B0702040204020203" pitchFamily="34" charset="0"/>
                      </a:endParaRPr>
                    </a:p>
                  </a:txBody>
                  <a:tcPr marL="69936" marR="69936" marT="0" marB="0"/>
                </a:tc>
                <a:tc>
                  <a:txBody>
                    <a:bodyPr/>
                    <a:lstStyle/>
                    <a:p>
                      <a:pPr marL="0" marR="0">
                        <a:lnSpc>
                          <a:spcPct val="115000"/>
                        </a:lnSpc>
                        <a:spcBef>
                          <a:spcPts val="0"/>
                        </a:spcBef>
                        <a:spcAft>
                          <a:spcPts val="0"/>
                        </a:spcAft>
                      </a:pPr>
                      <a:r>
                        <a:rPr lang="en-US" sz="1800" dirty="0">
                          <a:effectLst/>
                        </a:rPr>
                        <a:t>Docker Swarm, </a:t>
                      </a:r>
                      <a:r>
                        <a:rPr lang="en-US" sz="1800" dirty="0" err="1">
                          <a:effectLst/>
                        </a:rPr>
                        <a:t>Chronos</a:t>
                      </a:r>
                      <a:r>
                        <a:rPr lang="en-US" sz="1800" dirty="0">
                          <a:effectLst/>
                        </a:rPr>
                        <a:t>,</a:t>
                      </a:r>
                      <a:r>
                        <a:rPr lang="en-US" sz="1800" baseline="0" dirty="0">
                          <a:effectLst/>
                        </a:rPr>
                        <a:t> </a:t>
                      </a:r>
                      <a:r>
                        <a:rPr lang="en-US" sz="1800" dirty="0">
                          <a:effectLst/>
                        </a:rPr>
                        <a:t>Marathon,</a:t>
                      </a:r>
                      <a:r>
                        <a:rPr lang="en-US" sz="1800" baseline="0" dirty="0">
                          <a:effectLst/>
                        </a:rPr>
                        <a:t> </a:t>
                      </a:r>
                      <a:r>
                        <a:rPr lang="en-US" sz="1800" dirty="0">
                          <a:effectLst/>
                        </a:rPr>
                        <a:t>Apache Mesos</a:t>
                      </a:r>
                      <a:endParaRPr lang="en-US" sz="18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9936" marR="69936" marT="0" marB="0"/>
                </a:tc>
                <a:extLst>
                  <a:ext uri="{0D108BD9-81ED-4DB2-BD59-A6C34878D82A}">
                    <a16:rowId xmlns:a16="http://schemas.microsoft.com/office/drawing/2014/main" val="10003"/>
                  </a:ext>
                </a:extLst>
              </a:tr>
              <a:tr h="403783">
                <a:tc>
                  <a:txBody>
                    <a:bodyPr/>
                    <a:lstStyle/>
                    <a:p>
                      <a:pPr marL="0" marR="0">
                        <a:lnSpc>
                          <a:spcPct val="115000"/>
                        </a:lnSpc>
                        <a:spcBef>
                          <a:spcPts val="0"/>
                        </a:spcBef>
                        <a:spcAft>
                          <a:spcPts val="0"/>
                        </a:spcAft>
                      </a:pPr>
                      <a:r>
                        <a:rPr lang="en-US" sz="1800" b="0" dirty="0">
                          <a:effectLst/>
                          <a:latin typeface="Segoe UI Semibold" panose="020B0702040204020203" pitchFamily="34" charset="0"/>
                          <a:cs typeface="Segoe UI Semibold" panose="020B0702040204020203" pitchFamily="34" charset="0"/>
                        </a:rPr>
                        <a:t>Monitoring</a:t>
                      </a:r>
                      <a:endParaRPr lang="en-US" sz="1800" b="0" dirty="0">
                        <a:effectLst/>
                        <a:latin typeface="Segoe UI Semibold" panose="020B0702040204020203" pitchFamily="34" charset="0"/>
                        <a:ea typeface="Times New Roman" panose="02020603050405020304" pitchFamily="18" charset="0"/>
                        <a:cs typeface="Segoe UI Semibold" panose="020B0702040204020203" pitchFamily="34" charset="0"/>
                      </a:endParaRPr>
                    </a:p>
                  </a:txBody>
                  <a:tcPr marL="69936" marR="69936" marT="0" marB="0"/>
                </a:tc>
                <a:tc>
                  <a:txBody>
                    <a:bodyPr/>
                    <a:lstStyle/>
                    <a:p>
                      <a:pPr marL="0" marR="0">
                        <a:lnSpc>
                          <a:spcPct val="115000"/>
                        </a:lnSpc>
                        <a:spcBef>
                          <a:spcPts val="0"/>
                        </a:spcBef>
                        <a:spcAft>
                          <a:spcPts val="0"/>
                        </a:spcAft>
                      </a:pPr>
                      <a:r>
                        <a:rPr lang="en-US" sz="1800" dirty="0">
                          <a:effectLst/>
                        </a:rPr>
                        <a:t>OMS, App Insights</a:t>
                      </a:r>
                      <a:endParaRPr lang="en-US" sz="18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9936" marR="69936" marT="0" marB="0"/>
                </a:tc>
                <a:extLst>
                  <a:ext uri="{0D108BD9-81ED-4DB2-BD59-A6C34878D82A}">
                    <a16:rowId xmlns:a16="http://schemas.microsoft.com/office/drawing/2014/main" val="10004"/>
                  </a:ext>
                </a:extLst>
              </a:tr>
            </a:tbl>
          </a:graphicData>
        </a:graphic>
      </p:graphicFrame>
    </p:spTree>
    <p:extLst>
      <p:ext uri="{BB962C8B-B14F-4D97-AF65-F5344CB8AC3E}">
        <p14:creationId xmlns:p14="http://schemas.microsoft.com/office/powerpoint/2010/main" val="109713865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after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Title 4"/>
          <p:cNvSpPr>
            <a:spLocks noGrp="1"/>
          </p:cNvSpPr>
          <p:nvPr>
            <p:ph type="title"/>
          </p:nvPr>
        </p:nvSpPr>
        <p:spPr>
          <a:xfrm>
            <a:off x="366169" y="295278"/>
            <a:ext cx="11702551" cy="917575"/>
          </a:xfrm>
        </p:spPr>
        <p:txBody>
          <a:bodyPr/>
          <a:lstStyle/>
          <a:p>
            <a:r>
              <a:rPr lang="en-US" dirty="0"/>
              <a:t>Deploy using portal or ARM</a:t>
            </a:r>
          </a:p>
        </p:txBody>
      </p:sp>
      <p:pic>
        <p:nvPicPr>
          <p:cNvPr id="3" name="Picture 2" descr="Screen Clipping"/>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529943" y="1564924"/>
            <a:ext cx="5503696" cy="5000588"/>
          </a:xfrm>
          <a:prstGeom prst="rect">
            <a:avLst/>
          </a:prstGeom>
        </p:spPr>
      </p:pic>
      <p:pic>
        <p:nvPicPr>
          <p:cNvPr id="4" name="Picture 3"/>
          <p:cNvPicPr>
            <a:picLocks noChangeAspect="1"/>
          </p:cNvPicPr>
          <p:nvPr/>
        </p:nvPicPr>
        <p:blipFill>
          <a:blip r:embed="rId4"/>
          <a:stretch>
            <a:fillRect/>
          </a:stretch>
        </p:blipFill>
        <p:spPr>
          <a:xfrm>
            <a:off x="6698511" y="1569233"/>
            <a:ext cx="4376703" cy="5078252"/>
          </a:xfrm>
          <a:prstGeom prst="rect">
            <a:avLst/>
          </a:prstGeom>
        </p:spPr>
      </p:pic>
    </p:spTree>
    <p:extLst>
      <p:ext uri="{BB962C8B-B14F-4D97-AF65-F5344CB8AC3E}">
        <p14:creationId xmlns:p14="http://schemas.microsoft.com/office/powerpoint/2010/main" val="361716255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3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66168" y="1212851"/>
            <a:ext cx="11702553" cy="5158335"/>
          </a:xfrm>
        </p:spPr>
        <p:txBody>
          <a:bodyPr/>
          <a:lstStyle/>
          <a:p>
            <a:r>
              <a:rPr lang="en-US" sz="2800" dirty="0"/>
              <a:t>Are not an API to write your code against</a:t>
            </a:r>
          </a:p>
          <a:p>
            <a:r>
              <a:rPr lang="en-US" sz="2800" dirty="0"/>
              <a:t>This is for Open Source Stack currently</a:t>
            </a:r>
          </a:p>
          <a:p>
            <a:r>
              <a:rPr lang="en-US" sz="2800" dirty="0"/>
              <a:t>Docker containers provide repeatable app package format</a:t>
            </a:r>
          </a:p>
          <a:p>
            <a:r>
              <a:rPr lang="en-US" sz="2800" dirty="0"/>
              <a:t>You have to select/configure a container images you want your code to run against, </a:t>
            </a:r>
            <a:r>
              <a:rPr lang="en-US" sz="2800" dirty="0" err="1"/>
              <a:t>e.g</a:t>
            </a:r>
            <a:r>
              <a:rPr lang="en-US" sz="2800" dirty="0"/>
              <a:t>:</a:t>
            </a:r>
          </a:p>
          <a:p>
            <a:pPr marL="567261" lvl="2" indent="-342900"/>
            <a:r>
              <a:rPr lang="en-US" dirty="0"/>
              <a:t>Ubuntu</a:t>
            </a:r>
          </a:p>
          <a:p>
            <a:pPr marL="567261" lvl="2" indent="-342900"/>
            <a:r>
              <a:rPr lang="en-US" dirty="0"/>
              <a:t>NGINX</a:t>
            </a:r>
          </a:p>
          <a:p>
            <a:pPr marL="567261" lvl="2" indent="-342900"/>
            <a:r>
              <a:rPr lang="en-US" dirty="0"/>
              <a:t>ASPNET 5</a:t>
            </a:r>
          </a:p>
          <a:p>
            <a:pPr marL="567261" lvl="2" indent="-342900"/>
            <a:r>
              <a:rPr lang="en-US" dirty="0"/>
              <a:t>MYSQL</a:t>
            </a:r>
          </a:p>
          <a:p>
            <a:r>
              <a:rPr lang="en-US" sz="2800" dirty="0"/>
              <a:t>These containers can talk over DNS/IP</a:t>
            </a:r>
          </a:p>
          <a:p>
            <a:r>
              <a:rPr lang="en-US" sz="2800" dirty="0"/>
              <a:t>Containers may support a microservice(s)</a:t>
            </a:r>
          </a:p>
          <a:p>
            <a:r>
              <a:rPr lang="en-US" sz="2800" dirty="0"/>
              <a:t>You need to consider persistence</a:t>
            </a:r>
          </a:p>
        </p:txBody>
      </p:sp>
      <p:sp>
        <p:nvSpPr>
          <p:cNvPr id="2" name="Title 1"/>
          <p:cNvSpPr>
            <a:spLocks noGrp="1"/>
          </p:cNvSpPr>
          <p:nvPr>
            <p:ph type="title"/>
          </p:nvPr>
        </p:nvSpPr>
        <p:spPr/>
        <p:txBody>
          <a:bodyPr/>
          <a:lstStyle/>
          <a:p>
            <a:r>
              <a:rPr lang="en-US" dirty="0"/>
              <a:t>Docker containers</a:t>
            </a:r>
          </a:p>
        </p:txBody>
      </p:sp>
    </p:spTree>
    <p:extLst>
      <p:ext uri="{BB962C8B-B14F-4D97-AF65-F5344CB8AC3E}">
        <p14:creationId xmlns:p14="http://schemas.microsoft.com/office/powerpoint/2010/main" val="248149212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3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Segoe UI Light" panose="020B0502040204020203" pitchFamily="34" charset="0"/>
                <a:cs typeface="Segoe UI Light" panose="020B0502040204020203" pitchFamily="34" charset="0"/>
              </a:rPr>
              <a:t>API management decisions</a:t>
            </a:r>
            <a:endParaRPr lang="en-US" dirty="0"/>
          </a:p>
        </p:txBody>
      </p:sp>
      <p:graphicFrame>
        <p:nvGraphicFramePr>
          <p:cNvPr id="3" name="Diagram 2"/>
          <p:cNvGraphicFramePr/>
          <p:nvPr>
            <p:extLst/>
          </p:nvPr>
        </p:nvGraphicFramePr>
        <p:xfrm>
          <a:off x="1161826" y="1212853"/>
          <a:ext cx="7847495" cy="525621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 name="Octagon 3"/>
          <p:cNvSpPr/>
          <p:nvPr/>
        </p:nvSpPr>
        <p:spPr>
          <a:xfrm>
            <a:off x="1107200" y="2430463"/>
            <a:ext cx="443098" cy="439889"/>
          </a:xfrm>
          <a:prstGeom prst="octagon">
            <a:avLst/>
          </a:prstGeom>
          <a:solidFill>
            <a:srgbClr val="CC0000"/>
          </a:solidFill>
        </p:spPr>
        <p:style>
          <a:lnRef idx="1">
            <a:schemeClr val="accent2"/>
          </a:lnRef>
          <a:fillRef idx="3">
            <a:schemeClr val="accent2"/>
          </a:fillRef>
          <a:effectRef idx="2">
            <a:schemeClr val="accent2"/>
          </a:effectRef>
          <a:fontRef idx="minor">
            <a:schemeClr val="lt1"/>
          </a:fontRef>
        </p:style>
        <p:txBody>
          <a:bodyPr rot="0" spcFirstLastPara="0" vert="horz" wrap="square" lIns="68583" tIns="34291" rIns="68583" bIns="34291" numCol="1" spcCol="0" rtlCol="0" fromWordArt="0" anchor="ctr" anchorCtr="0" forceAA="0" compatLnSpc="1">
            <a:prstTxWarp prst="textNoShape">
              <a:avLst/>
            </a:prstTxWarp>
            <a:noAutofit/>
          </a:bodyPr>
          <a:lstStyle/>
          <a:p>
            <a:endParaRPr lang="en-US" sz="1350"/>
          </a:p>
        </p:txBody>
      </p:sp>
      <p:sp>
        <p:nvSpPr>
          <p:cNvPr id="5" name="Isosceles Triangle 4"/>
          <p:cNvSpPr>
            <a:spLocks/>
          </p:cNvSpPr>
          <p:nvPr/>
        </p:nvSpPr>
        <p:spPr>
          <a:xfrm>
            <a:off x="1021842" y="4110985"/>
            <a:ext cx="579874" cy="457219"/>
          </a:xfrm>
          <a:prstGeom prst="triangle">
            <a:avLst/>
          </a:prstGeom>
          <a:solidFill>
            <a:srgbClr val="FFFF00"/>
          </a:solidFill>
        </p:spPr>
        <p:style>
          <a:lnRef idx="1">
            <a:schemeClr val="accent6"/>
          </a:lnRef>
          <a:fillRef idx="3">
            <a:schemeClr val="accent6"/>
          </a:fillRef>
          <a:effectRef idx="2">
            <a:schemeClr val="accent6"/>
          </a:effectRef>
          <a:fontRef idx="minor">
            <a:schemeClr val="lt1"/>
          </a:fontRef>
        </p:style>
        <p:txBody>
          <a:bodyPr rot="0" spcFirstLastPara="0" vert="horz" wrap="square" lIns="68583" tIns="34291" rIns="68583" bIns="34291" numCol="1" spcCol="0" rtlCol="0" fromWordArt="0" anchor="ctr" anchorCtr="0" forceAA="0" compatLnSpc="1">
            <a:prstTxWarp prst="textNoShape">
              <a:avLst/>
            </a:prstTxWarp>
            <a:noAutofit/>
          </a:bodyPr>
          <a:lstStyle/>
          <a:p>
            <a:endParaRPr lang="en-US" sz="1350"/>
          </a:p>
        </p:txBody>
      </p:sp>
      <p:sp>
        <p:nvSpPr>
          <p:cNvPr id="6" name="Oval 5"/>
          <p:cNvSpPr>
            <a:spLocks/>
          </p:cNvSpPr>
          <p:nvPr/>
        </p:nvSpPr>
        <p:spPr>
          <a:xfrm>
            <a:off x="1021843" y="5993586"/>
            <a:ext cx="474539" cy="475477"/>
          </a:xfrm>
          <a:prstGeom prst="ellipse">
            <a:avLst/>
          </a:prstGeom>
          <a:solidFill>
            <a:srgbClr val="00B050"/>
          </a:solidFill>
        </p:spPr>
        <p:style>
          <a:lnRef idx="1">
            <a:schemeClr val="accent3"/>
          </a:lnRef>
          <a:fillRef idx="3">
            <a:schemeClr val="accent3"/>
          </a:fillRef>
          <a:effectRef idx="2">
            <a:schemeClr val="accent3"/>
          </a:effectRef>
          <a:fontRef idx="minor">
            <a:schemeClr val="lt1"/>
          </a:fontRef>
        </p:style>
        <p:txBody>
          <a:bodyPr rot="0" spcFirstLastPara="0" vert="horz" wrap="square" lIns="68583" tIns="34291" rIns="68583" bIns="34291" numCol="1" spcCol="0" rtlCol="0" fromWordArt="0" anchor="ctr" anchorCtr="0" forceAA="0" compatLnSpc="1">
            <a:prstTxWarp prst="textNoShape">
              <a:avLst/>
            </a:prstTxWarp>
            <a:noAutofit/>
          </a:bodyPr>
          <a:lstStyle/>
          <a:p>
            <a:endParaRPr lang="en-US" sz="1350"/>
          </a:p>
        </p:txBody>
      </p:sp>
    </p:spTree>
    <p:extLst>
      <p:ext uri="{BB962C8B-B14F-4D97-AF65-F5344CB8AC3E}">
        <p14:creationId xmlns:p14="http://schemas.microsoft.com/office/powerpoint/2010/main" val="3236259142"/>
      </p:ext>
    </p:extLst>
  </p:cSld>
  <p:clrMapOvr>
    <a:masterClrMapping/>
  </p:clrMapOvr>
  <p:transition>
    <p:fade/>
  </p:transition>
</p:sld>
</file>

<file path=ppt/slides/slide13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Segoe UI Light" panose="020B0502040204020203" pitchFamily="34" charset="0"/>
                <a:cs typeface="Segoe UI Light" panose="020B0502040204020203" pitchFamily="34" charset="0"/>
              </a:rPr>
              <a:t>Notification Hubs decisions</a:t>
            </a:r>
            <a:endParaRPr lang="en-US" dirty="0"/>
          </a:p>
        </p:txBody>
      </p:sp>
      <p:sp>
        <p:nvSpPr>
          <p:cNvPr id="8" name="Freeform: Shape 7"/>
          <p:cNvSpPr/>
          <p:nvPr/>
        </p:nvSpPr>
        <p:spPr>
          <a:xfrm>
            <a:off x="4416051" y="1112873"/>
            <a:ext cx="7258498" cy="2112335"/>
          </a:xfrm>
          <a:custGeom>
            <a:avLst/>
            <a:gdLst>
              <a:gd name="connsiteX0" fmla="*/ 0 w 6937384"/>
              <a:gd name="connsiteY0" fmla="*/ 171052 h 1368412"/>
              <a:gd name="connsiteX1" fmla="*/ 6253178 w 6937384"/>
              <a:gd name="connsiteY1" fmla="*/ 171052 h 1368412"/>
              <a:gd name="connsiteX2" fmla="*/ 6253178 w 6937384"/>
              <a:gd name="connsiteY2" fmla="*/ 0 h 1368412"/>
              <a:gd name="connsiteX3" fmla="*/ 6937384 w 6937384"/>
              <a:gd name="connsiteY3" fmla="*/ 684206 h 1368412"/>
              <a:gd name="connsiteX4" fmla="*/ 6253178 w 6937384"/>
              <a:gd name="connsiteY4" fmla="*/ 1368412 h 1368412"/>
              <a:gd name="connsiteX5" fmla="*/ 6253178 w 6937384"/>
              <a:gd name="connsiteY5" fmla="*/ 1197361 h 1368412"/>
              <a:gd name="connsiteX6" fmla="*/ 0 w 6937384"/>
              <a:gd name="connsiteY6" fmla="*/ 1197361 h 1368412"/>
              <a:gd name="connsiteX7" fmla="*/ 0 w 6937384"/>
              <a:gd name="connsiteY7" fmla="*/ 171052 h 13684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937384" h="1368412">
                <a:moveTo>
                  <a:pt x="0" y="171052"/>
                </a:moveTo>
                <a:lnTo>
                  <a:pt x="6253178" y="171052"/>
                </a:lnTo>
                <a:lnTo>
                  <a:pt x="6253178" y="0"/>
                </a:lnTo>
                <a:lnTo>
                  <a:pt x="6937384" y="684206"/>
                </a:lnTo>
                <a:lnTo>
                  <a:pt x="6253178" y="1368412"/>
                </a:lnTo>
                <a:lnTo>
                  <a:pt x="6253178" y="1197361"/>
                </a:lnTo>
                <a:lnTo>
                  <a:pt x="0" y="1197361"/>
                </a:lnTo>
                <a:lnTo>
                  <a:pt x="0" y="171052"/>
                </a:lnTo>
                <a:close/>
              </a:path>
            </a:pathLst>
          </a:custGeom>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228600" tIns="457200" rIns="696034" bIns="182481" numCol="1" spcCol="1270" anchor="t" anchorCtr="0">
            <a:noAutofit/>
          </a:bodyPr>
          <a:lstStyle/>
          <a:p>
            <a:pPr marL="171450" lvl="1" indent="-171450" algn="l" defTabSz="800100">
              <a:lnSpc>
                <a:spcPct val="90000"/>
              </a:lnSpc>
              <a:spcBef>
                <a:spcPct val="0"/>
              </a:spcBef>
              <a:spcAft>
                <a:spcPct val="15000"/>
              </a:spcAft>
              <a:buChar char="•"/>
            </a:pPr>
            <a:r>
              <a:rPr lang="en-US" sz="1800" kern="1200" dirty="0"/>
              <a:t>Separate production and development environments </a:t>
            </a:r>
            <a:br>
              <a:rPr lang="en-US" sz="1800" kern="1200" dirty="0"/>
            </a:br>
            <a:r>
              <a:rPr lang="en-US" sz="1800" kern="1200" dirty="0"/>
              <a:t>into different hubs. The free tier lends itself to </a:t>
            </a:r>
            <a:br>
              <a:rPr lang="en-US" sz="1800" kern="1200" dirty="0"/>
            </a:br>
            <a:r>
              <a:rPr lang="en-US" sz="1800" kern="1200" dirty="0"/>
              <a:t>development purposes. If you require the ability </a:t>
            </a:r>
            <a:br>
              <a:rPr lang="en-US" sz="1800" kern="1200" dirty="0"/>
            </a:br>
            <a:r>
              <a:rPr lang="en-US" sz="1800" kern="1200" dirty="0"/>
              <a:t>to export telemetry/registration information or </a:t>
            </a:r>
            <a:br>
              <a:rPr lang="en-US" sz="1800" kern="1200" dirty="0"/>
            </a:br>
            <a:r>
              <a:rPr lang="en-US" sz="1800" kern="1200" dirty="0"/>
              <a:t>have multi-tenancy, use the standard tier.</a:t>
            </a:r>
          </a:p>
        </p:txBody>
      </p:sp>
      <p:sp>
        <p:nvSpPr>
          <p:cNvPr id="9" name="Freeform: Shape 8"/>
          <p:cNvSpPr/>
          <p:nvPr/>
        </p:nvSpPr>
        <p:spPr>
          <a:xfrm>
            <a:off x="1328722" y="1363453"/>
            <a:ext cx="3221976" cy="1615891"/>
          </a:xfrm>
          <a:custGeom>
            <a:avLst/>
            <a:gdLst>
              <a:gd name="connsiteX0" fmla="*/ 0 w 3221976"/>
              <a:gd name="connsiteY0" fmla="*/ 188426 h 1130532"/>
              <a:gd name="connsiteX1" fmla="*/ 188426 w 3221976"/>
              <a:gd name="connsiteY1" fmla="*/ 0 h 1130532"/>
              <a:gd name="connsiteX2" fmla="*/ 3033550 w 3221976"/>
              <a:gd name="connsiteY2" fmla="*/ 0 h 1130532"/>
              <a:gd name="connsiteX3" fmla="*/ 3221976 w 3221976"/>
              <a:gd name="connsiteY3" fmla="*/ 188426 h 1130532"/>
              <a:gd name="connsiteX4" fmla="*/ 3221976 w 3221976"/>
              <a:gd name="connsiteY4" fmla="*/ 942106 h 1130532"/>
              <a:gd name="connsiteX5" fmla="*/ 3033550 w 3221976"/>
              <a:gd name="connsiteY5" fmla="*/ 1130532 h 1130532"/>
              <a:gd name="connsiteX6" fmla="*/ 188426 w 3221976"/>
              <a:gd name="connsiteY6" fmla="*/ 1130532 h 1130532"/>
              <a:gd name="connsiteX7" fmla="*/ 0 w 3221976"/>
              <a:gd name="connsiteY7" fmla="*/ 942106 h 1130532"/>
              <a:gd name="connsiteX8" fmla="*/ 0 w 3221976"/>
              <a:gd name="connsiteY8" fmla="*/ 188426 h 11305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21976" h="1130532">
                <a:moveTo>
                  <a:pt x="0" y="188426"/>
                </a:moveTo>
                <a:cubicBezTo>
                  <a:pt x="0" y="84361"/>
                  <a:pt x="84361" y="0"/>
                  <a:pt x="188426" y="0"/>
                </a:cubicBezTo>
                <a:lnTo>
                  <a:pt x="3033550" y="0"/>
                </a:lnTo>
                <a:cubicBezTo>
                  <a:pt x="3137615" y="0"/>
                  <a:pt x="3221976" y="84361"/>
                  <a:pt x="3221976" y="188426"/>
                </a:cubicBezTo>
                <a:lnTo>
                  <a:pt x="3221976" y="942106"/>
                </a:lnTo>
                <a:cubicBezTo>
                  <a:pt x="3221976" y="1046171"/>
                  <a:pt x="3137615" y="1130532"/>
                  <a:pt x="3033550" y="1130532"/>
                </a:cubicBezTo>
                <a:lnTo>
                  <a:pt x="188426" y="1130532"/>
                </a:lnTo>
                <a:cubicBezTo>
                  <a:pt x="84361" y="1130532"/>
                  <a:pt x="0" y="1046171"/>
                  <a:pt x="0" y="942106"/>
                </a:cubicBezTo>
                <a:lnTo>
                  <a:pt x="0" y="188426"/>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77108" tIns="116148" rIns="177108" bIns="116148" numCol="1" spcCol="1270" anchor="ctr" anchorCtr="0">
            <a:noAutofit/>
          </a:bodyPr>
          <a:lstStyle/>
          <a:p>
            <a:pPr marL="0" lvl="0" indent="0" algn="ctr" defTabSz="1422400">
              <a:lnSpc>
                <a:spcPct val="90000"/>
              </a:lnSpc>
              <a:spcBef>
                <a:spcPct val="0"/>
              </a:spcBef>
              <a:spcAft>
                <a:spcPct val="35000"/>
              </a:spcAft>
              <a:buNone/>
            </a:pPr>
            <a:r>
              <a:rPr lang="en-US" sz="3200" b="0" kern="1200" dirty="0">
                <a:latin typeface="Segoe UI Semibold" panose="020B0702040204020203" pitchFamily="34" charset="0"/>
                <a:cs typeface="Segoe UI Semibold" panose="020B0702040204020203" pitchFamily="34" charset="0"/>
              </a:rPr>
              <a:t>Mandatory</a:t>
            </a:r>
          </a:p>
        </p:txBody>
      </p:sp>
      <p:sp>
        <p:nvSpPr>
          <p:cNvPr id="10" name="Freeform: Shape 9"/>
          <p:cNvSpPr/>
          <p:nvPr/>
        </p:nvSpPr>
        <p:spPr>
          <a:xfrm>
            <a:off x="4174858" y="3197706"/>
            <a:ext cx="7811579" cy="2061726"/>
          </a:xfrm>
          <a:custGeom>
            <a:avLst/>
            <a:gdLst>
              <a:gd name="connsiteX0" fmla="*/ 0 w 7091479"/>
              <a:gd name="connsiteY0" fmla="*/ 293845 h 2350760"/>
              <a:gd name="connsiteX1" fmla="*/ 5916099 w 7091479"/>
              <a:gd name="connsiteY1" fmla="*/ 293845 h 2350760"/>
              <a:gd name="connsiteX2" fmla="*/ 5916099 w 7091479"/>
              <a:gd name="connsiteY2" fmla="*/ 0 h 2350760"/>
              <a:gd name="connsiteX3" fmla="*/ 7091479 w 7091479"/>
              <a:gd name="connsiteY3" fmla="*/ 1175380 h 2350760"/>
              <a:gd name="connsiteX4" fmla="*/ 5916099 w 7091479"/>
              <a:gd name="connsiteY4" fmla="*/ 2350760 h 2350760"/>
              <a:gd name="connsiteX5" fmla="*/ 5916099 w 7091479"/>
              <a:gd name="connsiteY5" fmla="*/ 2056915 h 2350760"/>
              <a:gd name="connsiteX6" fmla="*/ 0 w 7091479"/>
              <a:gd name="connsiteY6" fmla="*/ 2056915 h 2350760"/>
              <a:gd name="connsiteX7" fmla="*/ 0 w 7091479"/>
              <a:gd name="connsiteY7" fmla="*/ 293845 h 2350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091479" h="2350760">
                <a:moveTo>
                  <a:pt x="0" y="293845"/>
                </a:moveTo>
                <a:lnTo>
                  <a:pt x="5916099" y="293845"/>
                </a:lnTo>
                <a:lnTo>
                  <a:pt x="5916099" y="0"/>
                </a:lnTo>
                <a:lnTo>
                  <a:pt x="7091479" y="1175380"/>
                </a:lnTo>
                <a:lnTo>
                  <a:pt x="5916099" y="2350760"/>
                </a:lnTo>
                <a:lnTo>
                  <a:pt x="5916099" y="2056915"/>
                </a:lnTo>
                <a:lnTo>
                  <a:pt x="0" y="2056915"/>
                </a:lnTo>
                <a:lnTo>
                  <a:pt x="0" y="293845"/>
                </a:lnTo>
                <a:close/>
              </a:path>
            </a:pathLst>
          </a:custGeom>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457200" tIns="385285" rIns="1064415" bIns="305275" numCol="1" spcCol="1270" anchor="t" anchorCtr="0">
            <a:noAutofit/>
          </a:bodyPr>
          <a:lstStyle/>
          <a:p>
            <a:pPr marL="171450" lvl="1" indent="-171450" algn="l" defTabSz="800100">
              <a:lnSpc>
                <a:spcPct val="90000"/>
              </a:lnSpc>
              <a:spcBef>
                <a:spcPct val="0"/>
              </a:spcBef>
              <a:spcAft>
                <a:spcPct val="15000"/>
              </a:spcAft>
              <a:buChar char="•"/>
            </a:pPr>
            <a:r>
              <a:rPr lang="en-US" sz="1800" kern="1200" dirty="0"/>
              <a:t>Separate production and development environments </a:t>
            </a:r>
            <a:br>
              <a:rPr lang="en-US" sz="1800" kern="1200" dirty="0"/>
            </a:br>
            <a:r>
              <a:rPr lang="en-US" sz="1800" kern="1200" dirty="0"/>
              <a:t>into different hubs. The free tier lends itself to </a:t>
            </a:r>
            <a:br>
              <a:rPr lang="en-US" sz="1800" kern="1200" dirty="0"/>
            </a:br>
            <a:r>
              <a:rPr lang="en-US" sz="1800" kern="1200" dirty="0"/>
              <a:t>development purposes. If you require the ability </a:t>
            </a:r>
            <a:br>
              <a:rPr lang="en-US" sz="1800" kern="1200" dirty="0"/>
            </a:br>
            <a:r>
              <a:rPr lang="en-US" sz="1800" kern="1200" dirty="0"/>
              <a:t>to export telemetry/registration information or </a:t>
            </a:r>
            <a:br>
              <a:rPr lang="en-US" sz="1800" kern="1200" dirty="0"/>
            </a:br>
            <a:r>
              <a:rPr lang="en-US" sz="1800" kern="1200" dirty="0"/>
              <a:t>have multi-tenancy, use the standard tier.</a:t>
            </a:r>
          </a:p>
        </p:txBody>
      </p:sp>
      <p:sp>
        <p:nvSpPr>
          <p:cNvPr id="11" name="Freeform: Shape 10"/>
          <p:cNvSpPr/>
          <p:nvPr/>
        </p:nvSpPr>
        <p:spPr>
          <a:xfrm>
            <a:off x="1311806" y="3440810"/>
            <a:ext cx="3213523" cy="1576659"/>
          </a:xfrm>
          <a:custGeom>
            <a:avLst/>
            <a:gdLst>
              <a:gd name="connsiteX0" fmla="*/ 0 w 3213523"/>
              <a:gd name="connsiteY0" fmla="*/ 295356 h 1772099"/>
              <a:gd name="connsiteX1" fmla="*/ 295356 w 3213523"/>
              <a:gd name="connsiteY1" fmla="*/ 0 h 1772099"/>
              <a:gd name="connsiteX2" fmla="*/ 2918167 w 3213523"/>
              <a:gd name="connsiteY2" fmla="*/ 0 h 1772099"/>
              <a:gd name="connsiteX3" fmla="*/ 3213523 w 3213523"/>
              <a:gd name="connsiteY3" fmla="*/ 295356 h 1772099"/>
              <a:gd name="connsiteX4" fmla="*/ 3213523 w 3213523"/>
              <a:gd name="connsiteY4" fmla="*/ 1476743 h 1772099"/>
              <a:gd name="connsiteX5" fmla="*/ 2918167 w 3213523"/>
              <a:gd name="connsiteY5" fmla="*/ 1772099 h 1772099"/>
              <a:gd name="connsiteX6" fmla="*/ 295356 w 3213523"/>
              <a:gd name="connsiteY6" fmla="*/ 1772099 h 1772099"/>
              <a:gd name="connsiteX7" fmla="*/ 0 w 3213523"/>
              <a:gd name="connsiteY7" fmla="*/ 1476743 h 1772099"/>
              <a:gd name="connsiteX8" fmla="*/ 0 w 3213523"/>
              <a:gd name="connsiteY8" fmla="*/ 295356 h 17720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13523" h="1772099">
                <a:moveTo>
                  <a:pt x="0" y="295356"/>
                </a:moveTo>
                <a:cubicBezTo>
                  <a:pt x="0" y="132235"/>
                  <a:pt x="132235" y="0"/>
                  <a:pt x="295356" y="0"/>
                </a:cubicBezTo>
                <a:lnTo>
                  <a:pt x="2918167" y="0"/>
                </a:lnTo>
                <a:cubicBezTo>
                  <a:pt x="3081288" y="0"/>
                  <a:pt x="3213523" y="132235"/>
                  <a:pt x="3213523" y="295356"/>
                </a:cubicBezTo>
                <a:lnTo>
                  <a:pt x="3213523" y="1476743"/>
                </a:lnTo>
                <a:cubicBezTo>
                  <a:pt x="3213523" y="1639864"/>
                  <a:pt x="3081288" y="1772099"/>
                  <a:pt x="2918167" y="1772099"/>
                </a:cubicBezTo>
                <a:lnTo>
                  <a:pt x="295356" y="1772099"/>
                </a:lnTo>
                <a:cubicBezTo>
                  <a:pt x="132235" y="1772099"/>
                  <a:pt x="0" y="1639864"/>
                  <a:pt x="0" y="1476743"/>
                </a:cubicBezTo>
                <a:lnTo>
                  <a:pt x="0" y="295356"/>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08427" tIns="147467" rIns="208427" bIns="147467" numCol="1" spcCol="1270" anchor="ctr" anchorCtr="0">
            <a:noAutofit/>
          </a:bodyPr>
          <a:lstStyle/>
          <a:p>
            <a:pPr marL="0" lvl="0" indent="0" algn="ctr" defTabSz="1422400">
              <a:lnSpc>
                <a:spcPct val="90000"/>
              </a:lnSpc>
              <a:spcBef>
                <a:spcPct val="0"/>
              </a:spcBef>
              <a:spcAft>
                <a:spcPct val="35000"/>
              </a:spcAft>
              <a:buNone/>
            </a:pPr>
            <a:r>
              <a:rPr lang="en-US" sz="3200" b="0" kern="1200" dirty="0">
                <a:solidFill>
                  <a:srgbClr val="FFFFFF"/>
                </a:solidFill>
                <a:latin typeface="Segoe UI Semibold" panose="020B0702040204020203" pitchFamily="34" charset="0"/>
                <a:ea typeface="+mn-ea"/>
                <a:cs typeface="Segoe UI Semibold" panose="020B0702040204020203" pitchFamily="34" charset="0"/>
              </a:rPr>
              <a:t>Recommended</a:t>
            </a:r>
          </a:p>
        </p:txBody>
      </p:sp>
      <p:sp>
        <p:nvSpPr>
          <p:cNvPr id="12" name="Freeform: Shape 11"/>
          <p:cNvSpPr/>
          <p:nvPr/>
        </p:nvSpPr>
        <p:spPr>
          <a:xfrm>
            <a:off x="4281381" y="5323367"/>
            <a:ext cx="7506581" cy="1346791"/>
          </a:xfrm>
          <a:custGeom>
            <a:avLst/>
            <a:gdLst>
              <a:gd name="connsiteX0" fmla="*/ 0 w 7125896"/>
              <a:gd name="connsiteY0" fmla="*/ 180910 h 1447281"/>
              <a:gd name="connsiteX1" fmla="*/ 6402256 w 7125896"/>
              <a:gd name="connsiteY1" fmla="*/ 180910 h 1447281"/>
              <a:gd name="connsiteX2" fmla="*/ 6402256 w 7125896"/>
              <a:gd name="connsiteY2" fmla="*/ 0 h 1447281"/>
              <a:gd name="connsiteX3" fmla="*/ 7125896 w 7125896"/>
              <a:gd name="connsiteY3" fmla="*/ 723641 h 1447281"/>
              <a:gd name="connsiteX4" fmla="*/ 6402256 w 7125896"/>
              <a:gd name="connsiteY4" fmla="*/ 1447281 h 1447281"/>
              <a:gd name="connsiteX5" fmla="*/ 6402256 w 7125896"/>
              <a:gd name="connsiteY5" fmla="*/ 1266371 h 1447281"/>
              <a:gd name="connsiteX6" fmla="*/ 0 w 7125896"/>
              <a:gd name="connsiteY6" fmla="*/ 1266371 h 1447281"/>
              <a:gd name="connsiteX7" fmla="*/ 0 w 7125896"/>
              <a:gd name="connsiteY7" fmla="*/ 180910 h 14472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125896" h="1447281">
                <a:moveTo>
                  <a:pt x="0" y="180910"/>
                </a:moveTo>
                <a:lnTo>
                  <a:pt x="6402256" y="180910"/>
                </a:lnTo>
                <a:lnTo>
                  <a:pt x="6402256" y="0"/>
                </a:lnTo>
                <a:lnTo>
                  <a:pt x="7125896" y="723641"/>
                </a:lnTo>
                <a:lnTo>
                  <a:pt x="6402256" y="1447281"/>
                </a:lnTo>
                <a:lnTo>
                  <a:pt x="6402256" y="1266371"/>
                </a:lnTo>
                <a:lnTo>
                  <a:pt x="0" y="1266371"/>
                </a:lnTo>
                <a:lnTo>
                  <a:pt x="0" y="180910"/>
                </a:lnTo>
                <a:close/>
              </a:path>
            </a:pathLst>
          </a:custGeom>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365760" tIns="272350" rIns="640080" bIns="192340" numCol="1" spcCol="1270" anchor="ctr" anchorCtr="0">
            <a:noAutofit/>
          </a:bodyPr>
          <a:lstStyle/>
          <a:p>
            <a:pPr marL="171450" lvl="1" indent="-171450" algn="l" defTabSz="800100">
              <a:lnSpc>
                <a:spcPct val="90000"/>
              </a:lnSpc>
              <a:spcBef>
                <a:spcPct val="0"/>
              </a:spcBef>
              <a:spcAft>
                <a:spcPct val="15000"/>
              </a:spcAft>
              <a:buChar char="•"/>
            </a:pPr>
            <a:r>
              <a:rPr lang="en-US" sz="1800" kern="1200" dirty="0"/>
              <a:t>Use tags to target specific registrations </a:t>
            </a:r>
            <a:br>
              <a:rPr lang="en-US" sz="1800" kern="1200" dirty="0"/>
            </a:br>
            <a:r>
              <a:rPr lang="en-US" sz="1800" kern="1200" dirty="0"/>
              <a:t>(i.e. devices, users, etc.)</a:t>
            </a:r>
          </a:p>
        </p:txBody>
      </p:sp>
      <p:sp>
        <p:nvSpPr>
          <p:cNvPr id="13" name="Freeform: Shape 12"/>
          <p:cNvSpPr/>
          <p:nvPr/>
        </p:nvSpPr>
        <p:spPr>
          <a:xfrm>
            <a:off x="1259112" y="5475034"/>
            <a:ext cx="3210524" cy="1048915"/>
          </a:xfrm>
          <a:custGeom>
            <a:avLst/>
            <a:gdLst>
              <a:gd name="connsiteX0" fmla="*/ 0 w 3210524"/>
              <a:gd name="connsiteY0" fmla="*/ 191185 h 1147089"/>
              <a:gd name="connsiteX1" fmla="*/ 191185 w 3210524"/>
              <a:gd name="connsiteY1" fmla="*/ 0 h 1147089"/>
              <a:gd name="connsiteX2" fmla="*/ 3019339 w 3210524"/>
              <a:gd name="connsiteY2" fmla="*/ 0 h 1147089"/>
              <a:gd name="connsiteX3" fmla="*/ 3210524 w 3210524"/>
              <a:gd name="connsiteY3" fmla="*/ 191185 h 1147089"/>
              <a:gd name="connsiteX4" fmla="*/ 3210524 w 3210524"/>
              <a:gd name="connsiteY4" fmla="*/ 955904 h 1147089"/>
              <a:gd name="connsiteX5" fmla="*/ 3019339 w 3210524"/>
              <a:gd name="connsiteY5" fmla="*/ 1147089 h 1147089"/>
              <a:gd name="connsiteX6" fmla="*/ 191185 w 3210524"/>
              <a:gd name="connsiteY6" fmla="*/ 1147089 h 1147089"/>
              <a:gd name="connsiteX7" fmla="*/ 0 w 3210524"/>
              <a:gd name="connsiteY7" fmla="*/ 955904 h 1147089"/>
              <a:gd name="connsiteX8" fmla="*/ 0 w 3210524"/>
              <a:gd name="connsiteY8" fmla="*/ 191185 h 1147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10524" h="1147089">
                <a:moveTo>
                  <a:pt x="0" y="191185"/>
                </a:moveTo>
                <a:cubicBezTo>
                  <a:pt x="0" y="85596"/>
                  <a:pt x="85596" y="0"/>
                  <a:pt x="191185" y="0"/>
                </a:cubicBezTo>
                <a:lnTo>
                  <a:pt x="3019339" y="0"/>
                </a:lnTo>
                <a:cubicBezTo>
                  <a:pt x="3124928" y="0"/>
                  <a:pt x="3210524" y="85596"/>
                  <a:pt x="3210524" y="191185"/>
                </a:cubicBezTo>
                <a:lnTo>
                  <a:pt x="3210524" y="955904"/>
                </a:lnTo>
                <a:cubicBezTo>
                  <a:pt x="3210524" y="1061493"/>
                  <a:pt x="3124928" y="1147089"/>
                  <a:pt x="3019339" y="1147089"/>
                </a:cubicBezTo>
                <a:lnTo>
                  <a:pt x="191185" y="1147089"/>
                </a:lnTo>
                <a:cubicBezTo>
                  <a:pt x="85596" y="1147089"/>
                  <a:pt x="0" y="1061493"/>
                  <a:pt x="0" y="955904"/>
                </a:cubicBezTo>
                <a:lnTo>
                  <a:pt x="0" y="191185"/>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77916" tIns="116956" rIns="177916" bIns="116956" numCol="1" spcCol="1270" anchor="ctr" anchorCtr="0">
            <a:noAutofit/>
          </a:bodyPr>
          <a:lstStyle/>
          <a:p>
            <a:pPr marL="0" lvl="0" indent="0" algn="ctr" defTabSz="1422400">
              <a:lnSpc>
                <a:spcPct val="90000"/>
              </a:lnSpc>
              <a:spcBef>
                <a:spcPct val="0"/>
              </a:spcBef>
              <a:spcAft>
                <a:spcPct val="35000"/>
              </a:spcAft>
              <a:buNone/>
            </a:pPr>
            <a:r>
              <a:rPr lang="en-US" sz="3200" b="0" kern="1200" dirty="0">
                <a:solidFill>
                  <a:srgbClr val="FFFFFF"/>
                </a:solidFill>
                <a:latin typeface="Segoe UI Semibold" panose="020B0702040204020203" pitchFamily="34" charset="0"/>
                <a:ea typeface="+mn-ea"/>
                <a:cs typeface="Segoe UI Semibold" panose="020B0702040204020203" pitchFamily="34" charset="0"/>
              </a:rPr>
              <a:t>Optional</a:t>
            </a:r>
          </a:p>
        </p:txBody>
      </p:sp>
      <p:sp>
        <p:nvSpPr>
          <p:cNvPr id="4" name="Octagon 3"/>
          <p:cNvSpPr/>
          <p:nvPr/>
        </p:nvSpPr>
        <p:spPr>
          <a:xfrm>
            <a:off x="1107200" y="2749961"/>
            <a:ext cx="443098" cy="439889"/>
          </a:xfrm>
          <a:prstGeom prst="octagon">
            <a:avLst/>
          </a:prstGeom>
          <a:solidFill>
            <a:srgbClr val="CC0000"/>
          </a:solidFill>
        </p:spPr>
        <p:style>
          <a:lnRef idx="1">
            <a:schemeClr val="accent2"/>
          </a:lnRef>
          <a:fillRef idx="3">
            <a:schemeClr val="accent2"/>
          </a:fillRef>
          <a:effectRef idx="2">
            <a:schemeClr val="accent2"/>
          </a:effectRef>
          <a:fontRef idx="minor">
            <a:schemeClr val="lt1"/>
          </a:fontRef>
        </p:style>
        <p:txBody>
          <a:bodyPr rot="0" spcFirstLastPara="0" vert="horz" wrap="square" lIns="68583" tIns="34291" rIns="68583" bIns="34291" numCol="1" spcCol="0" rtlCol="0" fromWordArt="0" anchor="ctr" anchorCtr="0" forceAA="0" compatLnSpc="1">
            <a:prstTxWarp prst="textNoShape">
              <a:avLst/>
            </a:prstTxWarp>
            <a:noAutofit/>
          </a:bodyPr>
          <a:lstStyle/>
          <a:p>
            <a:endParaRPr lang="en-US" sz="1350"/>
          </a:p>
        </p:txBody>
      </p:sp>
      <p:sp>
        <p:nvSpPr>
          <p:cNvPr id="5" name="Isosceles Triangle 4"/>
          <p:cNvSpPr>
            <a:spLocks/>
          </p:cNvSpPr>
          <p:nvPr/>
        </p:nvSpPr>
        <p:spPr>
          <a:xfrm>
            <a:off x="1038785" y="4705328"/>
            <a:ext cx="579874" cy="457219"/>
          </a:xfrm>
          <a:prstGeom prst="triangle">
            <a:avLst/>
          </a:prstGeom>
          <a:solidFill>
            <a:srgbClr val="FFFF00"/>
          </a:solidFill>
        </p:spPr>
        <p:style>
          <a:lnRef idx="1">
            <a:schemeClr val="accent6"/>
          </a:lnRef>
          <a:fillRef idx="3">
            <a:schemeClr val="accent6"/>
          </a:fillRef>
          <a:effectRef idx="2">
            <a:schemeClr val="accent6"/>
          </a:effectRef>
          <a:fontRef idx="minor">
            <a:schemeClr val="lt1"/>
          </a:fontRef>
        </p:style>
        <p:txBody>
          <a:bodyPr rot="0" spcFirstLastPara="0" vert="horz" wrap="square" lIns="68583" tIns="34291" rIns="68583" bIns="34291" numCol="1" spcCol="0" rtlCol="0" fromWordArt="0" anchor="ctr" anchorCtr="0" forceAA="0" compatLnSpc="1">
            <a:prstTxWarp prst="textNoShape">
              <a:avLst/>
            </a:prstTxWarp>
            <a:noAutofit/>
          </a:bodyPr>
          <a:lstStyle/>
          <a:p>
            <a:endParaRPr lang="en-US" sz="1350"/>
          </a:p>
        </p:txBody>
      </p:sp>
      <p:sp>
        <p:nvSpPr>
          <p:cNvPr id="6" name="Oval 5"/>
          <p:cNvSpPr>
            <a:spLocks/>
          </p:cNvSpPr>
          <p:nvPr/>
        </p:nvSpPr>
        <p:spPr>
          <a:xfrm>
            <a:off x="1038785" y="6264074"/>
            <a:ext cx="474539" cy="475477"/>
          </a:xfrm>
          <a:prstGeom prst="ellipse">
            <a:avLst/>
          </a:prstGeom>
          <a:solidFill>
            <a:srgbClr val="00B050"/>
          </a:solidFill>
        </p:spPr>
        <p:style>
          <a:lnRef idx="1">
            <a:schemeClr val="accent3"/>
          </a:lnRef>
          <a:fillRef idx="3">
            <a:schemeClr val="accent3"/>
          </a:fillRef>
          <a:effectRef idx="2">
            <a:schemeClr val="accent3"/>
          </a:effectRef>
          <a:fontRef idx="minor">
            <a:schemeClr val="lt1"/>
          </a:fontRef>
        </p:style>
        <p:txBody>
          <a:bodyPr rot="0" spcFirstLastPara="0" vert="horz" wrap="square" lIns="68583" tIns="34291" rIns="68583" bIns="34291" numCol="1" spcCol="0" rtlCol="0" fromWordArt="0" anchor="ctr" anchorCtr="0" forceAA="0" compatLnSpc="1">
            <a:prstTxWarp prst="textNoShape">
              <a:avLst/>
            </a:prstTxWarp>
            <a:noAutofit/>
          </a:bodyPr>
          <a:lstStyle/>
          <a:p>
            <a:endParaRPr lang="en-US" sz="1350"/>
          </a:p>
        </p:txBody>
      </p:sp>
    </p:spTree>
    <p:extLst>
      <p:ext uri="{BB962C8B-B14F-4D97-AF65-F5344CB8AC3E}">
        <p14:creationId xmlns:p14="http://schemas.microsoft.com/office/powerpoint/2010/main" val="2879742028"/>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 name="Right Arrow 70"/>
          <p:cNvSpPr/>
          <p:nvPr/>
        </p:nvSpPr>
        <p:spPr>
          <a:xfrm rot="10800000">
            <a:off x="3425449" y="5438435"/>
            <a:ext cx="5493261" cy="358180"/>
          </a:xfrm>
          <a:prstGeom prst="rightArrow">
            <a:avLst>
              <a:gd name="adj1" fmla="val 50000"/>
              <a:gd name="adj2" fmla="val 73537"/>
            </a:avLst>
          </a:prstGeom>
          <a:solidFill>
            <a:srgbClr val="B1B1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35" tIns="93235" rIns="93235" bIns="93235" numCol="1" spcCol="0" rtlCol="0" fromWordArt="0" anchor="b" anchorCtr="0" forceAA="0" compatLnSpc="1">
            <a:prstTxWarp prst="textNoShape">
              <a:avLst/>
            </a:prstTxWarp>
            <a:noAutofit/>
          </a:bodyPr>
          <a:lstStyle/>
          <a:p>
            <a:pPr marL="0" marR="0" lvl="0" indent="0" algn="r" defTabSz="932470" rtl="0" eaLnBrk="1" fontAlgn="auto" latinLnBrk="0" hangingPunct="1">
              <a:lnSpc>
                <a:spcPct val="100000"/>
              </a:lnSpc>
              <a:spcBef>
                <a:spcPts val="0"/>
              </a:spcBef>
              <a:spcAft>
                <a:spcPts val="0"/>
              </a:spcAft>
              <a:buClrTx/>
              <a:buSzTx/>
              <a:buFontTx/>
              <a:buNone/>
              <a:tabLst/>
              <a:defRPr/>
            </a:pPr>
            <a:endParaRPr kumimoji="0" lang="en-US" sz="1224" b="0" i="0" u="none" strike="noStrike" kern="1200" cap="none" spc="0" normalizeH="0" baseline="0" noProof="0">
              <a:ln>
                <a:noFill/>
              </a:ln>
              <a:gradFill>
                <a:gsLst>
                  <a:gs pos="98571">
                    <a:srgbClr val="353535"/>
                  </a:gs>
                  <a:gs pos="72857">
                    <a:srgbClr val="353535"/>
                  </a:gs>
                </a:gsLst>
                <a:lin ang="5400000" scaled="1"/>
              </a:gradFill>
              <a:effectLst/>
              <a:uLnTx/>
              <a:uFillTx/>
              <a:latin typeface="Segoe UI"/>
              <a:ea typeface="+mn-ea"/>
              <a:cs typeface="+mn-cs"/>
            </a:endParaRPr>
          </a:p>
        </p:txBody>
      </p:sp>
      <p:sp>
        <p:nvSpPr>
          <p:cNvPr id="68" name="Right Arrow 67"/>
          <p:cNvSpPr/>
          <p:nvPr/>
        </p:nvSpPr>
        <p:spPr>
          <a:xfrm>
            <a:off x="2829442" y="2167440"/>
            <a:ext cx="7057079" cy="630503"/>
          </a:xfrm>
          <a:prstGeom prst="rightArrow">
            <a:avLst>
              <a:gd name="adj1" fmla="val 50000"/>
              <a:gd name="adj2" fmla="val 53583"/>
            </a:avLst>
          </a:prstGeom>
          <a:solidFill>
            <a:srgbClr val="B1B1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35" tIns="93235" rIns="93235" bIns="93235" numCol="1" spcCol="0" rtlCol="0" fromWordArt="0" anchor="b" anchorCtr="0" forceAA="0" compatLnSpc="1">
            <a:prstTxWarp prst="textNoShape">
              <a:avLst/>
            </a:prstTxWarp>
            <a:noAutofit/>
          </a:bodyPr>
          <a:lstStyle/>
          <a:p>
            <a:pPr marL="0" marR="0" lvl="0" indent="0" algn="r" defTabSz="932470" rtl="0" eaLnBrk="1" fontAlgn="auto" latinLnBrk="0" hangingPunct="1">
              <a:lnSpc>
                <a:spcPct val="100000"/>
              </a:lnSpc>
              <a:spcBef>
                <a:spcPts val="0"/>
              </a:spcBef>
              <a:spcAft>
                <a:spcPts val="0"/>
              </a:spcAft>
              <a:buClrTx/>
              <a:buSzTx/>
              <a:buFontTx/>
              <a:buNone/>
              <a:tabLst/>
              <a:defRPr/>
            </a:pPr>
            <a:endParaRPr kumimoji="0" lang="en-US" sz="1224" b="0" i="0" u="none" strike="noStrike" kern="1200" cap="none" spc="0" normalizeH="0" baseline="0" noProof="0">
              <a:ln>
                <a:noFill/>
              </a:ln>
              <a:gradFill>
                <a:gsLst>
                  <a:gs pos="98571">
                    <a:srgbClr val="353535"/>
                  </a:gs>
                  <a:gs pos="72857">
                    <a:srgbClr val="353535"/>
                  </a:gs>
                </a:gsLst>
                <a:lin ang="5400000" scaled="1"/>
              </a:gradFill>
              <a:effectLst/>
              <a:uLnTx/>
              <a:uFillTx/>
              <a:latin typeface="Segoe UI"/>
              <a:ea typeface="+mn-ea"/>
              <a:cs typeface="+mn-cs"/>
            </a:endParaRPr>
          </a:p>
        </p:txBody>
      </p:sp>
      <p:grpSp>
        <p:nvGrpSpPr>
          <p:cNvPr id="14" name="Group 13"/>
          <p:cNvGrpSpPr/>
          <p:nvPr/>
        </p:nvGrpSpPr>
        <p:grpSpPr>
          <a:xfrm>
            <a:off x="950178" y="1297554"/>
            <a:ext cx="2038563" cy="1975158"/>
            <a:chOff x="930885" y="1271952"/>
            <a:chExt cx="1999028" cy="1936852"/>
          </a:xfrm>
        </p:grpSpPr>
        <p:sp>
          <p:nvSpPr>
            <p:cNvPr id="66" name="Rounded Rectangle 65"/>
            <p:cNvSpPr/>
            <p:nvPr/>
          </p:nvSpPr>
          <p:spPr>
            <a:xfrm>
              <a:off x="1163124" y="1700637"/>
              <a:ext cx="1614600" cy="1508167"/>
            </a:xfrm>
            <a:prstGeom prst="roundRect">
              <a:avLst>
                <a:gd name="adj" fmla="val 5783"/>
              </a:avLst>
            </a:prstGeom>
            <a:solidFill>
              <a:schemeClr val="accent3"/>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35" tIns="93235" rIns="93235" bIns="93235" numCol="1" spcCol="0" rtlCol="0" fromWordArt="0" anchor="b" anchorCtr="0" forceAA="0" compatLnSpc="1">
              <a:prstTxWarp prst="textNoShape">
                <a:avLst/>
              </a:prstTxWarp>
              <a:noAutofit/>
            </a:bodyPr>
            <a:lstStyle/>
            <a:p>
              <a:pPr marL="0" marR="0" lvl="0" indent="0" algn="r" defTabSz="932470" rtl="0" eaLnBrk="1" fontAlgn="auto" latinLnBrk="0" hangingPunct="1">
                <a:lnSpc>
                  <a:spcPct val="100000"/>
                </a:lnSpc>
                <a:spcBef>
                  <a:spcPts val="0"/>
                </a:spcBef>
                <a:spcAft>
                  <a:spcPts val="0"/>
                </a:spcAft>
                <a:buClrTx/>
                <a:buSzTx/>
                <a:buFontTx/>
                <a:buNone/>
                <a:tabLst/>
                <a:defRPr/>
              </a:pPr>
              <a:endParaRPr kumimoji="0" lang="en-US" sz="1224" b="0" i="0" u="none" strike="noStrike" kern="1200" cap="none" spc="0" normalizeH="0" baseline="0" noProof="0" err="1">
                <a:ln>
                  <a:noFill/>
                </a:ln>
                <a:gradFill>
                  <a:gsLst>
                    <a:gs pos="98571">
                      <a:srgbClr val="353535"/>
                    </a:gs>
                    <a:gs pos="72857">
                      <a:srgbClr val="353535"/>
                    </a:gs>
                  </a:gsLst>
                  <a:lin ang="5400000" scaled="1"/>
                </a:gradFill>
                <a:effectLst/>
                <a:uLnTx/>
                <a:uFillTx/>
                <a:latin typeface="Segoe UI"/>
                <a:ea typeface="+mn-ea"/>
                <a:cs typeface="+mn-cs"/>
              </a:endParaRPr>
            </a:p>
          </p:txBody>
        </p:sp>
        <p:sp>
          <p:nvSpPr>
            <p:cNvPr id="4" name="TextBox 12"/>
            <p:cNvSpPr txBox="1"/>
            <p:nvPr/>
          </p:nvSpPr>
          <p:spPr>
            <a:xfrm>
              <a:off x="930885" y="1271952"/>
              <a:ext cx="1999028" cy="359087"/>
            </a:xfrm>
            <a:prstGeom prst="rect">
              <a:avLst/>
            </a:prstGeom>
          </p:spPr>
          <p:txBody>
            <a:bodyPr vert="horz" wrap="square" lIns="93235" tIns="93235" rIns="93235" bIns="93235" rtlCol="0" anchor="t">
              <a:noAutofit/>
            </a:bodyPr>
            <a:lstStyle/>
            <a:p>
              <a:pPr marL="237937" marR="0" lvl="0" indent="-237937" algn="ctr" defTabSz="932470"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a:ln>
                    <a:noFill/>
                  </a:ln>
                  <a:gradFill>
                    <a:gsLst>
                      <a:gs pos="98571">
                        <a:srgbClr val="353535"/>
                      </a:gs>
                      <a:gs pos="72857">
                        <a:srgbClr val="353535"/>
                      </a:gs>
                    </a:gsLst>
                    <a:lin ang="5400000" scaled="1"/>
                  </a:gradFill>
                  <a:effectLst/>
                  <a:uLnTx/>
                  <a:uFillTx/>
                  <a:latin typeface="Segoe UI"/>
                  <a:ea typeface="Segoe UI" pitchFamily="34" charset="0"/>
                  <a:cs typeface="Segoe UI" pitchFamily="34" charset="0"/>
                </a:rPr>
                <a:t>2) Code repository</a:t>
              </a:r>
            </a:p>
          </p:txBody>
        </p:sp>
        <p:pic>
          <p:nvPicPr>
            <p:cNvPr id="26" name="Picture 25"/>
            <p:cNvPicPr>
              <a:picLocks noChangeAspect="1"/>
            </p:cNvPicPr>
            <p:nvPr/>
          </p:nvPicPr>
          <p:blipFill>
            <a:blip r:embed="rId3">
              <a:clrChange>
                <a:clrFrom>
                  <a:srgbClr val="FFFFFF"/>
                </a:clrFrom>
                <a:clrTo>
                  <a:srgbClr val="FFFFFF">
                    <a:alpha val="0"/>
                  </a:srgbClr>
                </a:clrTo>
              </a:clrChange>
            </a:blip>
            <a:stretch>
              <a:fillRect/>
            </a:stretch>
          </p:blipFill>
          <p:spPr>
            <a:xfrm>
              <a:off x="1437414" y="2095964"/>
              <a:ext cx="1044949" cy="681651"/>
            </a:xfrm>
            <a:prstGeom prst="rect">
              <a:avLst/>
            </a:prstGeom>
          </p:spPr>
        </p:pic>
      </p:grpSp>
      <p:grpSp>
        <p:nvGrpSpPr>
          <p:cNvPr id="15" name="Group 14"/>
          <p:cNvGrpSpPr/>
          <p:nvPr/>
        </p:nvGrpSpPr>
        <p:grpSpPr>
          <a:xfrm>
            <a:off x="3274579" y="1298113"/>
            <a:ext cx="1646533" cy="1974600"/>
            <a:chOff x="3210208" y="1272500"/>
            <a:chExt cx="1614600" cy="1936305"/>
          </a:xfrm>
        </p:grpSpPr>
        <p:sp>
          <p:nvSpPr>
            <p:cNvPr id="45" name="Rounded Rectangle 44"/>
            <p:cNvSpPr/>
            <p:nvPr/>
          </p:nvSpPr>
          <p:spPr>
            <a:xfrm>
              <a:off x="3210208" y="1700638"/>
              <a:ext cx="1614600" cy="1508167"/>
            </a:xfrm>
            <a:prstGeom prst="roundRect">
              <a:avLst>
                <a:gd name="adj" fmla="val 5783"/>
              </a:avLst>
            </a:prstGeom>
            <a:solidFill>
              <a:schemeClr val="accent3"/>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35" tIns="93235" rIns="93235" bIns="93235" numCol="1" spcCol="0" rtlCol="0" fromWordArt="0" anchor="b" anchorCtr="0" forceAA="0" compatLnSpc="1">
              <a:prstTxWarp prst="textNoShape">
                <a:avLst/>
              </a:prstTxWarp>
              <a:noAutofit/>
            </a:bodyPr>
            <a:lstStyle/>
            <a:p>
              <a:pPr marL="0" marR="0" lvl="0" indent="0" algn="r" defTabSz="932470" rtl="0" eaLnBrk="1" fontAlgn="auto" latinLnBrk="0" hangingPunct="1">
                <a:lnSpc>
                  <a:spcPct val="100000"/>
                </a:lnSpc>
                <a:spcBef>
                  <a:spcPts val="0"/>
                </a:spcBef>
                <a:spcAft>
                  <a:spcPts val="0"/>
                </a:spcAft>
                <a:buClrTx/>
                <a:buSzTx/>
                <a:buFontTx/>
                <a:buNone/>
                <a:tabLst/>
                <a:defRPr/>
              </a:pPr>
              <a:endParaRPr kumimoji="0" lang="en-US" sz="1224" b="0" i="0" u="none" strike="noStrike" kern="1200" cap="none" spc="0" normalizeH="0" baseline="0" noProof="0" err="1">
                <a:ln>
                  <a:noFill/>
                </a:ln>
                <a:gradFill>
                  <a:gsLst>
                    <a:gs pos="98571">
                      <a:srgbClr val="353535"/>
                    </a:gs>
                    <a:gs pos="72857">
                      <a:srgbClr val="353535"/>
                    </a:gs>
                  </a:gsLst>
                  <a:lin ang="5400000" scaled="1"/>
                </a:gradFill>
                <a:effectLst/>
                <a:uLnTx/>
                <a:uFillTx/>
                <a:latin typeface="Segoe UI"/>
                <a:ea typeface="+mn-ea"/>
                <a:cs typeface="+mn-cs"/>
              </a:endParaRPr>
            </a:p>
          </p:txBody>
        </p:sp>
        <p:sp>
          <p:nvSpPr>
            <p:cNvPr id="56" name="TextBox 55"/>
            <p:cNvSpPr txBox="1"/>
            <p:nvPr/>
          </p:nvSpPr>
          <p:spPr>
            <a:xfrm>
              <a:off x="3210208" y="1272500"/>
              <a:ext cx="1614600" cy="359087"/>
            </a:xfrm>
            <a:prstGeom prst="rect">
              <a:avLst/>
            </a:prstGeom>
          </p:spPr>
          <p:txBody>
            <a:bodyPr vert="horz" wrap="square" lIns="93235" tIns="93235" rIns="93235" bIns="93235" rtlCol="0" anchor="t">
              <a:noAutofit/>
            </a:bodyPr>
            <a:lstStyle/>
            <a:p>
              <a:pPr marL="237937" marR="0" lvl="0" indent="-237937" algn="ctr" defTabSz="932470"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a:ln>
                    <a:noFill/>
                  </a:ln>
                  <a:gradFill>
                    <a:gsLst>
                      <a:gs pos="98571">
                        <a:srgbClr val="353535"/>
                      </a:gs>
                      <a:gs pos="72857">
                        <a:srgbClr val="353535"/>
                      </a:gs>
                    </a:gsLst>
                    <a:lin ang="5400000" scaled="1"/>
                  </a:gradFill>
                  <a:effectLst/>
                  <a:uLnTx/>
                  <a:uFillTx/>
                  <a:latin typeface="Segoe UI"/>
                  <a:ea typeface="Segoe UI" pitchFamily="34" charset="0"/>
                  <a:cs typeface="Segoe UI" pitchFamily="34" charset="0"/>
                </a:rPr>
                <a:t>3) Build</a:t>
              </a:r>
            </a:p>
          </p:txBody>
        </p:sp>
        <p:pic>
          <p:nvPicPr>
            <p:cNvPr id="53" name="Picture 52"/>
            <p:cNvPicPr>
              <a:picLocks noChangeAspect="1"/>
            </p:cNvPicPr>
            <p:nvPr/>
          </p:nvPicPr>
          <p:blipFill>
            <a:blip r:embed="rId4">
              <a:duotone>
                <a:prstClr val="black"/>
                <a:schemeClr val="tx2">
                  <a:tint val="45000"/>
                  <a:satMod val="400000"/>
                </a:schemeClr>
              </a:duotone>
            </a:blip>
            <a:stretch>
              <a:fillRect/>
            </a:stretch>
          </p:blipFill>
          <p:spPr>
            <a:xfrm>
              <a:off x="3397918" y="1997093"/>
              <a:ext cx="1230171" cy="963067"/>
            </a:xfrm>
            <a:prstGeom prst="rect">
              <a:avLst/>
            </a:prstGeom>
            <a:noFill/>
          </p:spPr>
        </p:pic>
        <p:pic>
          <p:nvPicPr>
            <p:cNvPr id="52" name="Picture 51"/>
            <p:cNvPicPr>
              <a:picLocks noChangeAspect="1"/>
            </p:cNvPicPr>
            <p:nvPr/>
          </p:nvPicPr>
          <p:blipFill>
            <a:blip r:embed="rId3">
              <a:clrChange>
                <a:clrFrom>
                  <a:srgbClr val="FFFFFF"/>
                </a:clrFrom>
                <a:clrTo>
                  <a:srgbClr val="FFFFFF">
                    <a:alpha val="0"/>
                  </a:srgbClr>
                </a:clrTo>
              </a:clrChange>
            </a:blip>
            <a:stretch>
              <a:fillRect/>
            </a:stretch>
          </p:blipFill>
          <p:spPr>
            <a:xfrm>
              <a:off x="4244975" y="1799243"/>
              <a:ext cx="511657" cy="333857"/>
            </a:xfrm>
            <a:prstGeom prst="rect">
              <a:avLst/>
            </a:prstGeom>
          </p:spPr>
        </p:pic>
      </p:grpSp>
      <p:grpSp>
        <p:nvGrpSpPr>
          <p:cNvPr id="33" name="Group 32"/>
          <p:cNvGrpSpPr/>
          <p:nvPr/>
        </p:nvGrpSpPr>
        <p:grpSpPr>
          <a:xfrm>
            <a:off x="9643605" y="1302768"/>
            <a:ext cx="2038563" cy="1971111"/>
            <a:chOff x="9455715" y="1277065"/>
            <a:chExt cx="1999028" cy="1932884"/>
          </a:xfrm>
        </p:grpSpPr>
        <p:sp>
          <p:nvSpPr>
            <p:cNvPr id="58" name="TextBox 57"/>
            <p:cNvSpPr txBox="1"/>
            <p:nvPr/>
          </p:nvSpPr>
          <p:spPr>
            <a:xfrm>
              <a:off x="9455715" y="1277065"/>
              <a:ext cx="1999028" cy="359087"/>
            </a:xfrm>
            <a:prstGeom prst="rect">
              <a:avLst/>
            </a:prstGeom>
          </p:spPr>
          <p:txBody>
            <a:bodyPr vert="horz" wrap="square" lIns="93235" tIns="93235" rIns="93235" bIns="93235" rtlCol="0" anchor="t">
              <a:noAutofit/>
            </a:bodyPr>
            <a:lstStyle/>
            <a:p>
              <a:pPr marL="237937" marR="0" lvl="0" indent="-237937" algn="ctr" defTabSz="932470"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a:ln>
                    <a:noFill/>
                  </a:ln>
                  <a:gradFill>
                    <a:gsLst>
                      <a:gs pos="98571">
                        <a:srgbClr val="353535"/>
                      </a:gs>
                      <a:gs pos="72857">
                        <a:srgbClr val="353535"/>
                      </a:gs>
                    </a:gsLst>
                    <a:lin ang="5400000" scaled="1"/>
                  </a:gradFill>
                  <a:effectLst/>
                  <a:uLnTx/>
                  <a:uFillTx/>
                  <a:latin typeface="Segoe UI"/>
                  <a:ea typeface="Segoe UI" pitchFamily="34" charset="0"/>
                  <a:cs typeface="Segoe UI" pitchFamily="34" charset="0"/>
                </a:rPr>
                <a:t>6) Publish</a:t>
              </a:r>
            </a:p>
          </p:txBody>
        </p:sp>
        <p:grpSp>
          <p:nvGrpSpPr>
            <p:cNvPr id="27" name="Group 26"/>
            <p:cNvGrpSpPr/>
            <p:nvPr/>
          </p:nvGrpSpPr>
          <p:grpSpPr>
            <a:xfrm>
              <a:off x="9705560" y="1701782"/>
              <a:ext cx="1614600" cy="1508167"/>
              <a:chOff x="9705560" y="1701782"/>
              <a:chExt cx="1614600" cy="1508167"/>
            </a:xfrm>
          </p:grpSpPr>
          <p:sp>
            <p:nvSpPr>
              <p:cNvPr id="57" name="Rounded Rectangle 56"/>
              <p:cNvSpPr/>
              <p:nvPr/>
            </p:nvSpPr>
            <p:spPr>
              <a:xfrm>
                <a:off x="9705560" y="1701782"/>
                <a:ext cx="1614600" cy="1508167"/>
              </a:xfrm>
              <a:prstGeom prst="roundRect">
                <a:avLst>
                  <a:gd name="adj" fmla="val 5783"/>
                </a:avLst>
              </a:prstGeom>
              <a:solidFill>
                <a:schemeClr val="accent3"/>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35" tIns="93235" rIns="93235" bIns="93235" numCol="1" spcCol="0" rtlCol="0" fromWordArt="0" anchor="b" anchorCtr="0" forceAA="0" compatLnSpc="1">
                <a:prstTxWarp prst="textNoShape">
                  <a:avLst/>
                </a:prstTxWarp>
                <a:noAutofit/>
              </a:bodyPr>
              <a:lstStyle/>
              <a:p>
                <a:pPr marL="0" marR="0" lvl="0" indent="0" algn="r" defTabSz="932470" rtl="0" eaLnBrk="1" fontAlgn="auto" latinLnBrk="0" hangingPunct="1">
                  <a:lnSpc>
                    <a:spcPct val="100000"/>
                  </a:lnSpc>
                  <a:spcBef>
                    <a:spcPts val="0"/>
                  </a:spcBef>
                  <a:spcAft>
                    <a:spcPts val="0"/>
                  </a:spcAft>
                  <a:buClrTx/>
                  <a:buSzTx/>
                  <a:buFontTx/>
                  <a:buNone/>
                  <a:tabLst/>
                  <a:defRPr/>
                </a:pPr>
                <a:endParaRPr kumimoji="0" lang="en-US" sz="1224" b="0" i="0" u="none" strike="noStrike" kern="1200" cap="none" spc="0" normalizeH="0" baseline="0" noProof="0" err="1">
                  <a:ln>
                    <a:noFill/>
                  </a:ln>
                  <a:gradFill>
                    <a:gsLst>
                      <a:gs pos="98571">
                        <a:srgbClr val="353535"/>
                      </a:gs>
                      <a:gs pos="72857">
                        <a:srgbClr val="353535"/>
                      </a:gs>
                    </a:gsLst>
                    <a:lin ang="5400000" scaled="1"/>
                  </a:gradFill>
                  <a:effectLst/>
                  <a:uLnTx/>
                  <a:uFillTx/>
                  <a:latin typeface="Segoe UI"/>
                  <a:ea typeface="+mn-ea"/>
                  <a:cs typeface="+mn-cs"/>
                </a:endParaRPr>
              </a:p>
            </p:txBody>
          </p:sp>
          <p:pic>
            <p:nvPicPr>
              <p:cNvPr id="23" name="Picture 22"/>
              <p:cNvPicPr>
                <a:picLocks noChangeAspect="1"/>
              </p:cNvPicPr>
              <p:nvPr/>
            </p:nvPicPr>
            <p:blipFill>
              <a:blip r:embed="rId5">
                <a:duotone>
                  <a:prstClr val="black"/>
                  <a:schemeClr val="tx2">
                    <a:tint val="45000"/>
                    <a:satMod val="400000"/>
                  </a:schemeClr>
                </a:duotone>
              </a:blip>
              <a:stretch>
                <a:fillRect/>
              </a:stretch>
            </p:blipFill>
            <p:spPr>
              <a:xfrm>
                <a:off x="10052026" y="2020914"/>
                <a:ext cx="910026" cy="915425"/>
              </a:xfrm>
              <a:prstGeom prst="rect">
                <a:avLst/>
              </a:prstGeom>
              <a:noFill/>
            </p:spPr>
          </p:pic>
          <p:pic>
            <p:nvPicPr>
              <p:cNvPr id="61" name="Picture 60"/>
              <p:cNvPicPr>
                <a:picLocks noChangeAspect="1"/>
              </p:cNvPicPr>
              <p:nvPr/>
            </p:nvPicPr>
            <p:blipFill>
              <a:blip r:embed="rId6"/>
              <a:stretch>
                <a:fillRect/>
              </a:stretch>
            </p:blipFill>
            <p:spPr>
              <a:xfrm>
                <a:off x="10820400" y="1833425"/>
                <a:ext cx="375934" cy="377844"/>
              </a:xfrm>
              <a:prstGeom prst="rect">
                <a:avLst/>
              </a:prstGeom>
            </p:spPr>
          </p:pic>
        </p:grpSp>
      </p:grpSp>
      <p:grpSp>
        <p:nvGrpSpPr>
          <p:cNvPr id="30" name="Group 29"/>
          <p:cNvGrpSpPr/>
          <p:nvPr/>
        </p:nvGrpSpPr>
        <p:grpSpPr>
          <a:xfrm>
            <a:off x="5101848" y="4871982"/>
            <a:ext cx="2518226" cy="1855591"/>
            <a:chOff x="5002039" y="4777059"/>
            <a:chExt cx="2469388" cy="1819604"/>
          </a:xfrm>
        </p:grpSpPr>
        <p:sp>
          <p:nvSpPr>
            <p:cNvPr id="11" name="TextBox 10"/>
            <p:cNvSpPr txBox="1"/>
            <p:nvPr/>
          </p:nvSpPr>
          <p:spPr>
            <a:xfrm>
              <a:off x="5002039" y="6237576"/>
              <a:ext cx="2469388" cy="359087"/>
            </a:xfrm>
            <a:prstGeom prst="rect">
              <a:avLst/>
            </a:prstGeom>
          </p:spPr>
          <p:txBody>
            <a:bodyPr vert="horz" wrap="square" lIns="93235" tIns="93235" rIns="93235" bIns="93235" rtlCol="0" anchor="t">
              <a:noAutofit/>
            </a:bodyPr>
            <a:lstStyle/>
            <a:p>
              <a:pPr marL="0" marR="0" lvl="0" indent="0" algn="l" defTabSz="932470"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a:ln>
                    <a:noFill/>
                  </a:ln>
                  <a:gradFill>
                    <a:gsLst>
                      <a:gs pos="98571">
                        <a:srgbClr val="353535"/>
                      </a:gs>
                      <a:gs pos="72857">
                        <a:srgbClr val="353535"/>
                      </a:gs>
                    </a:gsLst>
                    <a:lin ang="5400000" scaled="1"/>
                  </a:gradFill>
                  <a:effectLst/>
                  <a:uLnTx/>
                  <a:uFillTx/>
                  <a:latin typeface="Segoe UI"/>
                  <a:ea typeface="Segoe UI" pitchFamily="34" charset="0"/>
                  <a:cs typeface="Segoe UI" pitchFamily="34" charset="0"/>
                </a:rPr>
                <a:t>8) Monitor and improve</a:t>
              </a:r>
            </a:p>
          </p:txBody>
        </p:sp>
        <p:sp>
          <p:nvSpPr>
            <p:cNvPr id="12" name="Rounded Rectangle 11"/>
            <p:cNvSpPr/>
            <p:nvPr/>
          </p:nvSpPr>
          <p:spPr>
            <a:xfrm>
              <a:off x="5045844" y="4777059"/>
              <a:ext cx="2199403" cy="1508167"/>
            </a:xfrm>
            <a:prstGeom prst="roundRect">
              <a:avLst>
                <a:gd name="adj" fmla="val 5783"/>
              </a:avLst>
            </a:prstGeom>
            <a:solidFill>
              <a:schemeClr val="tx1"/>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35" tIns="93235" rIns="93235" bIns="93235" numCol="1" spcCol="0" rtlCol="0" fromWordArt="0" anchor="b" anchorCtr="0" forceAA="0" compatLnSpc="1">
              <a:prstTxWarp prst="textNoShape">
                <a:avLst/>
              </a:prstTxWarp>
              <a:noAutofit/>
            </a:bodyPr>
            <a:lstStyle/>
            <a:p>
              <a:pPr marL="0" marR="0" lvl="0" indent="0" algn="r" defTabSz="932470" rtl="0" eaLnBrk="1" fontAlgn="auto" latinLnBrk="0" hangingPunct="1">
                <a:lnSpc>
                  <a:spcPct val="100000"/>
                </a:lnSpc>
                <a:spcBef>
                  <a:spcPts val="0"/>
                </a:spcBef>
                <a:spcAft>
                  <a:spcPts val="0"/>
                </a:spcAft>
                <a:buClrTx/>
                <a:buSzTx/>
                <a:buFontTx/>
                <a:buNone/>
                <a:tabLst/>
                <a:defRPr/>
              </a:pPr>
              <a:endParaRPr kumimoji="0" lang="en-US" sz="1224" b="0" i="0" u="none" strike="noStrike" kern="1200" cap="none" spc="0" normalizeH="0" baseline="0" noProof="0" err="1">
                <a:ln>
                  <a:noFill/>
                </a:ln>
                <a:gradFill>
                  <a:gsLst>
                    <a:gs pos="98571">
                      <a:srgbClr val="353535"/>
                    </a:gs>
                    <a:gs pos="72857">
                      <a:srgbClr val="353535"/>
                    </a:gs>
                  </a:gsLst>
                  <a:lin ang="5400000" scaled="1"/>
                </a:gradFill>
                <a:effectLst/>
                <a:uLnTx/>
                <a:uFillTx/>
                <a:latin typeface="Segoe UI"/>
                <a:ea typeface="+mn-ea"/>
                <a:cs typeface="+mn-cs"/>
              </a:endParaRPr>
            </a:p>
          </p:txBody>
        </p:sp>
        <p:pic>
          <p:nvPicPr>
            <p:cNvPr id="28" name="Picture 27"/>
            <p:cNvPicPr>
              <a:picLocks noChangeAspect="1"/>
            </p:cNvPicPr>
            <p:nvPr/>
          </p:nvPicPr>
          <p:blipFill>
            <a:blip r:embed="rId7"/>
            <a:stretch>
              <a:fillRect/>
            </a:stretch>
          </p:blipFill>
          <p:spPr>
            <a:xfrm>
              <a:off x="5173167" y="4869185"/>
              <a:ext cx="1956549" cy="1334808"/>
            </a:xfrm>
            <a:prstGeom prst="rect">
              <a:avLst/>
            </a:prstGeom>
            <a:ln>
              <a:solidFill>
                <a:schemeClr val="tx2">
                  <a:lumMod val="50000"/>
                </a:schemeClr>
              </a:solidFill>
            </a:ln>
          </p:spPr>
        </p:pic>
        <p:pic>
          <p:nvPicPr>
            <p:cNvPr id="31" name="Picture 30"/>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5227898" y="5144832"/>
              <a:ext cx="1829824" cy="964612"/>
            </a:xfrm>
            <a:prstGeom prst="rect">
              <a:avLst/>
            </a:prstGeom>
          </p:spPr>
        </p:pic>
        <p:pic>
          <p:nvPicPr>
            <p:cNvPr id="64" name="Picture 63"/>
            <p:cNvPicPr>
              <a:picLocks noChangeAspect="1"/>
            </p:cNvPicPr>
            <p:nvPr/>
          </p:nvPicPr>
          <p:blipFill>
            <a:blip r:embed="rId9"/>
            <a:stretch>
              <a:fillRect/>
            </a:stretch>
          </p:blipFill>
          <p:spPr>
            <a:xfrm>
              <a:off x="6702075" y="5147073"/>
              <a:ext cx="355647" cy="314246"/>
            </a:xfrm>
            <a:prstGeom prst="rect">
              <a:avLst/>
            </a:prstGeom>
          </p:spPr>
        </p:pic>
      </p:grpSp>
      <p:grpSp>
        <p:nvGrpSpPr>
          <p:cNvPr id="10" name="Group 9"/>
          <p:cNvGrpSpPr/>
          <p:nvPr/>
        </p:nvGrpSpPr>
        <p:grpSpPr>
          <a:xfrm>
            <a:off x="1485768" y="3272710"/>
            <a:ext cx="1091395" cy="2849759"/>
            <a:chOff x="1456088" y="3208803"/>
            <a:chExt cx="1070229" cy="2794492"/>
          </a:xfrm>
        </p:grpSpPr>
        <p:sp>
          <p:nvSpPr>
            <p:cNvPr id="19" name="Right Arrow 18"/>
            <p:cNvSpPr/>
            <p:nvPr/>
          </p:nvSpPr>
          <p:spPr>
            <a:xfrm rot="16200000">
              <a:off x="929910" y="4406887"/>
              <a:ext cx="2794492" cy="398323"/>
            </a:xfrm>
            <a:prstGeom prst="rightArrow">
              <a:avLst>
                <a:gd name="adj1" fmla="val 50000"/>
                <a:gd name="adj2" fmla="val 73537"/>
              </a:avLst>
            </a:prstGeom>
            <a:solidFill>
              <a:srgbClr val="B1B1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35" tIns="93235" rIns="93235" bIns="93235" numCol="1" spcCol="0" rtlCol="0" fromWordArt="0" anchor="b" anchorCtr="0" forceAA="0" compatLnSpc="1">
              <a:prstTxWarp prst="textNoShape">
                <a:avLst/>
              </a:prstTxWarp>
              <a:noAutofit/>
            </a:bodyPr>
            <a:lstStyle/>
            <a:p>
              <a:pPr marL="0" marR="0" lvl="0" indent="0" algn="r" defTabSz="932470" rtl="0" eaLnBrk="1" fontAlgn="auto" latinLnBrk="0" hangingPunct="1">
                <a:lnSpc>
                  <a:spcPct val="100000"/>
                </a:lnSpc>
                <a:spcBef>
                  <a:spcPts val="0"/>
                </a:spcBef>
                <a:spcAft>
                  <a:spcPts val="0"/>
                </a:spcAft>
                <a:buClrTx/>
                <a:buSzTx/>
                <a:buFontTx/>
                <a:buNone/>
                <a:tabLst/>
                <a:defRPr/>
              </a:pPr>
              <a:endParaRPr kumimoji="0" lang="en-US" sz="1224" b="0" i="0" u="none" strike="noStrike" kern="1200" cap="none" spc="0" normalizeH="0" baseline="0" noProof="0" err="1">
                <a:ln>
                  <a:noFill/>
                </a:ln>
                <a:gradFill>
                  <a:gsLst>
                    <a:gs pos="98571">
                      <a:srgbClr val="353535"/>
                    </a:gs>
                    <a:gs pos="72857">
                      <a:srgbClr val="353535"/>
                    </a:gs>
                  </a:gsLst>
                  <a:lin ang="5400000" scaled="1"/>
                </a:gradFill>
                <a:effectLst/>
                <a:uLnTx/>
                <a:uFillTx/>
                <a:latin typeface="Segoe UI"/>
                <a:ea typeface="+mn-ea"/>
                <a:cs typeface="+mn-cs"/>
              </a:endParaRPr>
            </a:p>
          </p:txBody>
        </p:sp>
        <p:sp>
          <p:nvSpPr>
            <p:cNvPr id="20" name="Right Arrow 19"/>
            <p:cNvSpPr/>
            <p:nvPr/>
          </p:nvSpPr>
          <p:spPr>
            <a:xfrm rot="16200000">
              <a:off x="258004" y="4406887"/>
              <a:ext cx="2794491" cy="398323"/>
            </a:xfrm>
            <a:prstGeom prst="rightArrow">
              <a:avLst>
                <a:gd name="adj1" fmla="val 50000"/>
                <a:gd name="adj2" fmla="val 73537"/>
              </a:avLst>
            </a:prstGeom>
            <a:solidFill>
              <a:srgbClr val="B1B1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35" tIns="93235" rIns="93235" bIns="93235" numCol="1" spcCol="0" rtlCol="0" fromWordArt="0" anchor="b" anchorCtr="0" forceAA="0" compatLnSpc="1">
              <a:prstTxWarp prst="textNoShape">
                <a:avLst/>
              </a:prstTxWarp>
              <a:noAutofit/>
            </a:bodyPr>
            <a:lstStyle/>
            <a:p>
              <a:pPr marL="0" marR="0" lvl="0" indent="0" algn="r" defTabSz="932470" rtl="0" eaLnBrk="1" fontAlgn="auto" latinLnBrk="0" hangingPunct="1">
                <a:lnSpc>
                  <a:spcPct val="100000"/>
                </a:lnSpc>
                <a:spcBef>
                  <a:spcPts val="0"/>
                </a:spcBef>
                <a:spcAft>
                  <a:spcPts val="0"/>
                </a:spcAft>
                <a:buClrTx/>
                <a:buSzTx/>
                <a:buFontTx/>
                <a:buNone/>
                <a:tabLst/>
                <a:defRPr/>
              </a:pPr>
              <a:endParaRPr kumimoji="0" lang="en-US" sz="1224" b="0" i="0" u="none" strike="noStrike" kern="1200" cap="none" spc="0" normalizeH="0" baseline="0" noProof="0" err="1">
                <a:ln>
                  <a:noFill/>
                </a:ln>
                <a:gradFill>
                  <a:gsLst>
                    <a:gs pos="98571">
                      <a:srgbClr val="353535"/>
                    </a:gs>
                    <a:gs pos="72857">
                      <a:srgbClr val="353535"/>
                    </a:gs>
                  </a:gsLst>
                  <a:lin ang="5400000" scaled="1"/>
                </a:gradFill>
                <a:effectLst/>
                <a:uLnTx/>
                <a:uFillTx/>
                <a:latin typeface="Segoe UI"/>
                <a:ea typeface="+mn-ea"/>
                <a:cs typeface="+mn-cs"/>
              </a:endParaRPr>
            </a:p>
          </p:txBody>
        </p:sp>
      </p:grpSp>
      <p:grpSp>
        <p:nvGrpSpPr>
          <p:cNvPr id="3" name="Group 2"/>
          <p:cNvGrpSpPr/>
          <p:nvPr/>
        </p:nvGrpSpPr>
        <p:grpSpPr>
          <a:xfrm>
            <a:off x="658327" y="5017628"/>
            <a:ext cx="2750970" cy="1719950"/>
            <a:chOff x="644695" y="4919881"/>
            <a:chExt cx="2697618" cy="1686594"/>
          </a:xfrm>
        </p:grpSpPr>
        <p:sp>
          <p:nvSpPr>
            <p:cNvPr id="5" name="TextBox 24"/>
            <p:cNvSpPr txBox="1"/>
            <p:nvPr/>
          </p:nvSpPr>
          <p:spPr>
            <a:xfrm>
              <a:off x="1260419" y="6247388"/>
              <a:ext cx="1691485" cy="359087"/>
            </a:xfrm>
            <a:prstGeom prst="rect">
              <a:avLst/>
            </a:prstGeom>
          </p:spPr>
          <p:txBody>
            <a:bodyPr vert="horz" wrap="square" lIns="93235" tIns="93235" rIns="93235" bIns="93235" rtlCol="0" anchor="t">
              <a:noAutofit/>
            </a:bodyPr>
            <a:lstStyle/>
            <a:p>
              <a:pPr marL="0" marR="0" lvl="0" indent="0" algn="l" defTabSz="932470"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a:ln>
                    <a:noFill/>
                  </a:ln>
                  <a:gradFill>
                    <a:gsLst>
                      <a:gs pos="98571">
                        <a:srgbClr val="353535"/>
                      </a:gs>
                      <a:gs pos="72857">
                        <a:srgbClr val="353535"/>
                      </a:gs>
                    </a:gsLst>
                    <a:lin ang="5400000" scaled="1"/>
                  </a:gradFill>
                  <a:effectLst/>
                  <a:uLnTx/>
                  <a:uFillTx/>
                  <a:latin typeface="Segoe UI"/>
                  <a:ea typeface="Segoe UI" pitchFamily="34" charset="0"/>
                  <a:cs typeface="Segoe UI" pitchFamily="34" charset="0"/>
                </a:rPr>
                <a:t>1) Develop</a:t>
              </a:r>
            </a:p>
          </p:txBody>
        </p:sp>
        <p:sp>
          <p:nvSpPr>
            <p:cNvPr id="65" name="Rounded Rectangle 64"/>
            <p:cNvSpPr/>
            <p:nvPr/>
          </p:nvSpPr>
          <p:spPr>
            <a:xfrm>
              <a:off x="644695" y="5184207"/>
              <a:ext cx="2697618" cy="1092463"/>
            </a:xfrm>
            <a:prstGeom prst="roundRect">
              <a:avLst>
                <a:gd name="adj" fmla="val 5783"/>
              </a:avLst>
            </a:prstGeom>
            <a:solidFill>
              <a:schemeClr val="tx1"/>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35" tIns="93235" rIns="93235" bIns="93235" numCol="1" spcCol="0" rtlCol="0" fromWordArt="0" anchor="b" anchorCtr="0" forceAA="0" compatLnSpc="1">
              <a:prstTxWarp prst="textNoShape">
                <a:avLst/>
              </a:prstTxWarp>
              <a:noAutofit/>
            </a:bodyPr>
            <a:lstStyle/>
            <a:p>
              <a:pPr marL="0" marR="0" lvl="0" indent="0" algn="r" defTabSz="932470" rtl="0" eaLnBrk="1" fontAlgn="auto" latinLnBrk="0" hangingPunct="1">
                <a:lnSpc>
                  <a:spcPct val="100000"/>
                </a:lnSpc>
                <a:spcBef>
                  <a:spcPts val="0"/>
                </a:spcBef>
                <a:spcAft>
                  <a:spcPts val="0"/>
                </a:spcAft>
                <a:buClrTx/>
                <a:buSzTx/>
                <a:buFontTx/>
                <a:buNone/>
                <a:tabLst/>
                <a:defRPr/>
              </a:pPr>
              <a:endParaRPr kumimoji="0" lang="en-US" sz="1224" b="0" i="0" u="none" strike="noStrike" kern="1200" cap="none" spc="0" normalizeH="0" baseline="0" noProof="0" err="1">
                <a:ln>
                  <a:noFill/>
                </a:ln>
                <a:gradFill>
                  <a:gsLst>
                    <a:gs pos="98571">
                      <a:srgbClr val="353535"/>
                    </a:gs>
                    <a:gs pos="72857">
                      <a:srgbClr val="353535"/>
                    </a:gs>
                  </a:gsLst>
                  <a:lin ang="5400000" scaled="1"/>
                </a:gradFill>
                <a:effectLst/>
                <a:uLnTx/>
                <a:uFillTx/>
                <a:latin typeface="Segoe UI"/>
                <a:ea typeface="+mn-ea"/>
                <a:cs typeface="+mn-cs"/>
              </a:endParaRPr>
            </a:p>
          </p:txBody>
        </p:sp>
        <p:pic>
          <p:nvPicPr>
            <p:cNvPr id="22" name="Picture 21"/>
            <p:cNvPicPr>
              <a:picLocks noChangeAspect="1"/>
            </p:cNvPicPr>
            <p:nvPr/>
          </p:nvPicPr>
          <p:blipFill>
            <a:blip r:embed="rId10">
              <a:grayscl/>
            </a:blip>
            <a:stretch>
              <a:fillRect/>
            </a:stretch>
          </p:blipFill>
          <p:spPr>
            <a:xfrm>
              <a:off x="724318" y="5282660"/>
              <a:ext cx="2538371" cy="891312"/>
            </a:xfrm>
            <a:prstGeom prst="rect">
              <a:avLst/>
            </a:prstGeom>
            <a:solidFill>
              <a:schemeClr val="tx2"/>
            </a:solidFill>
          </p:spPr>
        </p:pic>
        <p:pic>
          <p:nvPicPr>
            <p:cNvPr id="42" name="Picture 41"/>
            <p:cNvPicPr>
              <a:picLocks noChangeAspect="1"/>
            </p:cNvPicPr>
            <p:nvPr/>
          </p:nvPicPr>
          <p:blipFill>
            <a:blip r:embed="rId11"/>
            <a:stretch>
              <a:fillRect/>
            </a:stretch>
          </p:blipFill>
          <p:spPr>
            <a:xfrm>
              <a:off x="2083980" y="4919881"/>
              <a:ext cx="497068" cy="485897"/>
            </a:xfrm>
            <a:prstGeom prst="rect">
              <a:avLst/>
            </a:prstGeom>
            <a:ln>
              <a:noFill/>
            </a:ln>
          </p:spPr>
        </p:pic>
        <p:pic>
          <p:nvPicPr>
            <p:cNvPr id="13" name="Picture 12"/>
            <p:cNvPicPr>
              <a:picLocks noChangeAspect="1"/>
            </p:cNvPicPr>
            <p:nvPr/>
          </p:nvPicPr>
          <p:blipFill>
            <a:blip r:embed="rId12">
              <a:clrChange>
                <a:clrFrom>
                  <a:srgbClr val="000307"/>
                </a:clrFrom>
                <a:clrTo>
                  <a:srgbClr val="000307">
                    <a:alpha val="0"/>
                  </a:srgbClr>
                </a:clrTo>
              </a:clrChange>
            </a:blip>
            <a:stretch>
              <a:fillRect/>
            </a:stretch>
          </p:blipFill>
          <p:spPr>
            <a:xfrm>
              <a:off x="2605941" y="5606310"/>
              <a:ext cx="359192" cy="244010"/>
            </a:xfrm>
            <a:prstGeom prst="rect">
              <a:avLst/>
            </a:prstGeom>
          </p:spPr>
        </p:pic>
        <p:pic>
          <p:nvPicPr>
            <p:cNvPr id="25" name="Picture 24"/>
            <p:cNvPicPr>
              <a:picLocks noChangeAspect="1"/>
            </p:cNvPicPr>
            <p:nvPr/>
          </p:nvPicPr>
          <p:blipFill>
            <a:blip r:embed="rId9">
              <a:clrChange>
                <a:clrFrom>
                  <a:srgbClr val="000307"/>
                </a:clrFrom>
                <a:clrTo>
                  <a:srgbClr val="000307">
                    <a:alpha val="0"/>
                  </a:srgbClr>
                </a:clrTo>
              </a:clrChange>
            </a:blip>
            <a:stretch>
              <a:fillRect/>
            </a:stretch>
          </p:blipFill>
          <p:spPr>
            <a:xfrm>
              <a:off x="1596169" y="5594872"/>
              <a:ext cx="302047" cy="266886"/>
            </a:xfrm>
            <a:prstGeom prst="rect">
              <a:avLst/>
            </a:prstGeom>
          </p:spPr>
        </p:pic>
        <p:pic>
          <p:nvPicPr>
            <p:cNvPr id="21" name="Picture 20"/>
            <p:cNvPicPr>
              <a:picLocks noChangeAspect="1"/>
            </p:cNvPicPr>
            <p:nvPr/>
          </p:nvPicPr>
          <p:blipFill>
            <a:blip r:embed="rId11"/>
            <a:stretch>
              <a:fillRect/>
            </a:stretch>
          </p:blipFill>
          <p:spPr>
            <a:xfrm>
              <a:off x="1406715" y="4919881"/>
              <a:ext cx="497068" cy="485897"/>
            </a:xfrm>
            <a:prstGeom prst="rect">
              <a:avLst/>
            </a:prstGeom>
            <a:ln>
              <a:noFill/>
            </a:ln>
          </p:spPr>
        </p:pic>
      </p:grpSp>
      <p:grpSp>
        <p:nvGrpSpPr>
          <p:cNvPr id="29" name="Group 28"/>
          <p:cNvGrpSpPr/>
          <p:nvPr/>
        </p:nvGrpSpPr>
        <p:grpSpPr>
          <a:xfrm>
            <a:off x="8947526" y="3272712"/>
            <a:ext cx="2864824" cy="3523571"/>
            <a:chOff x="8773135" y="3208805"/>
            <a:chExt cx="2809265" cy="3455236"/>
          </a:xfrm>
        </p:grpSpPr>
        <p:sp>
          <p:nvSpPr>
            <p:cNvPr id="69" name="Right Arrow 68"/>
            <p:cNvSpPr/>
            <p:nvPr/>
          </p:nvSpPr>
          <p:spPr>
            <a:xfrm rot="5400000">
              <a:off x="10149729" y="3288061"/>
              <a:ext cx="534534" cy="376021"/>
            </a:xfrm>
            <a:prstGeom prst="rightArrow">
              <a:avLst>
                <a:gd name="adj1" fmla="val 50000"/>
                <a:gd name="adj2" fmla="val 73537"/>
              </a:avLst>
            </a:prstGeom>
            <a:solidFill>
              <a:srgbClr val="B1B1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35" tIns="93235" rIns="93235" bIns="93235" numCol="1" spcCol="0" rtlCol="0" fromWordArt="0" anchor="b" anchorCtr="0" forceAA="0" compatLnSpc="1">
              <a:prstTxWarp prst="textNoShape">
                <a:avLst/>
              </a:prstTxWarp>
              <a:noAutofit/>
            </a:bodyPr>
            <a:lstStyle/>
            <a:p>
              <a:pPr marL="0" marR="0" lvl="0" indent="0" algn="r" defTabSz="932470" rtl="0" eaLnBrk="1" fontAlgn="auto" latinLnBrk="0" hangingPunct="1">
                <a:lnSpc>
                  <a:spcPct val="100000"/>
                </a:lnSpc>
                <a:spcBef>
                  <a:spcPts val="0"/>
                </a:spcBef>
                <a:spcAft>
                  <a:spcPts val="0"/>
                </a:spcAft>
                <a:buClrTx/>
                <a:buSzTx/>
                <a:buFontTx/>
                <a:buNone/>
                <a:tabLst/>
                <a:defRPr/>
              </a:pPr>
              <a:endParaRPr kumimoji="0" lang="en-US" sz="1224" b="0" i="0" u="none" strike="noStrike" kern="1200" cap="none" spc="0" normalizeH="0" baseline="0" noProof="0">
                <a:ln>
                  <a:noFill/>
                </a:ln>
                <a:gradFill>
                  <a:gsLst>
                    <a:gs pos="98571">
                      <a:srgbClr val="353535"/>
                    </a:gs>
                    <a:gs pos="72857">
                      <a:srgbClr val="353535"/>
                    </a:gs>
                  </a:gsLst>
                  <a:lin ang="5400000" scaled="1"/>
                </a:gradFill>
                <a:effectLst/>
                <a:uLnTx/>
                <a:uFillTx/>
                <a:latin typeface="Segoe UI"/>
                <a:ea typeface="+mn-ea"/>
                <a:cs typeface="+mn-cs"/>
              </a:endParaRPr>
            </a:p>
          </p:txBody>
        </p:sp>
        <p:sp>
          <p:nvSpPr>
            <p:cNvPr id="8" name="TextBox 32"/>
            <p:cNvSpPr txBox="1"/>
            <p:nvPr/>
          </p:nvSpPr>
          <p:spPr>
            <a:xfrm>
              <a:off x="9246040" y="6304954"/>
              <a:ext cx="1999028" cy="359087"/>
            </a:xfrm>
            <a:prstGeom prst="rect">
              <a:avLst/>
            </a:prstGeom>
          </p:spPr>
          <p:txBody>
            <a:bodyPr vert="horz" wrap="square" lIns="93235" tIns="93235" rIns="93235" bIns="93235" rtlCol="0" anchor="t">
              <a:noAutofit/>
            </a:bodyPr>
            <a:lstStyle/>
            <a:p>
              <a:pPr marL="237937" marR="0" lvl="0" indent="-237937" algn="l" defTabSz="932470"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a:ln>
                    <a:noFill/>
                  </a:ln>
                  <a:gradFill>
                    <a:gsLst>
                      <a:gs pos="98571">
                        <a:srgbClr val="353535"/>
                      </a:gs>
                      <a:gs pos="72857">
                        <a:srgbClr val="353535"/>
                      </a:gs>
                    </a:gsLst>
                    <a:lin ang="5400000" scaled="1"/>
                  </a:gradFill>
                  <a:effectLst/>
                  <a:uLnTx/>
                  <a:uFillTx/>
                  <a:latin typeface="Segoe UI"/>
                  <a:ea typeface="Segoe UI" pitchFamily="34" charset="0"/>
                  <a:cs typeface="Segoe UI" pitchFamily="34" charset="0"/>
                </a:rPr>
                <a:t>7) Deploy to cloud</a:t>
              </a:r>
            </a:p>
          </p:txBody>
        </p:sp>
        <p:grpSp>
          <p:nvGrpSpPr>
            <p:cNvPr id="9" name="Group 8"/>
            <p:cNvGrpSpPr/>
            <p:nvPr/>
          </p:nvGrpSpPr>
          <p:grpSpPr>
            <a:xfrm>
              <a:off x="9225449" y="3874105"/>
              <a:ext cx="2297718" cy="2145065"/>
              <a:chOff x="8899667" y="3417773"/>
              <a:chExt cx="2688805" cy="2518064"/>
            </a:xfrm>
          </p:grpSpPr>
          <p:sp>
            <p:nvSpPr>
              <p:cNvPr id="32" name="Oval 31"/>
              <p:cNvSpPr/>
              <p:nvPr/>
            </p:nvSpPr>
            <p:spPr>
              <a:xfrm>
                <a:off x="8940447" y="3954918"/>
                <a:ext cx="1980919" cy="1980919"/>
              </a:xfrm>
              <a:prstGeom prst="ellipse">
                <a:avLst/>
              </a:prstGeom>
              <a:noFill/>
              <a:ln w="4445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35" tIns="93235" rIns="93235" bIns="93235" numCol="1" spcCol="0" rtlCol="0" fromWordArt="0" anchor="b" anchorCtr="0" forceAA="0" compatLnSpc="1">
                <a:prstTxWarp prst="textNoShape">
                  <a:avLst/>
                </a:prstTxWarp>
                <a:noAutofit/>
              </a:bodyPr>
              <a:lstStyle/>
              <a:p>
                <a:pPr marL="0" marR="0" lvl="0" indent="0" algn="r" defTabSz="932470" rtl="0" eaLnBrk="1" fontAlgn="auto" latinLnBrk="0" hangingPunct="1">
                  <a:lnSpc>
                    <a:spcPct val="100000"/>
                  </a:lnSpc>
                  <a:spcBef>
                    <a:spcPts val="0"/>
                  </a:spcBef>
                  <a:spcAft>
                    <a:spcPts val="0"/>
                  </a:spcAft>
                  <a:buClrTx/>
                  <a:buSzTx/>
                  <a:buFontTx/>
                  <a:buNone/>
                  <a:tabLst/>
                  <a:defRPr/>
                </a:pPr>
                <a:endParaRPr kumimoji="0" lang="en-US" sz="1224" b="0" i="0" u="none" strike="noStrike" kern="1200" cap="none" spc="0" normalizeH="0" baseline="0" noProof="0">
                  <a:ln>
                    <a:noFill/>
                  </a:ln>
                  <a:gradFill>
                    <a:gsLst>
                      <a:gs pos="98571">
                        <a:srgbClr val="353535"/>
                      </a:gs>
                      <a:gs pos="72857">
                        <a:srgbClr val="353535"/>
                      </a:gs>
                    </a:gsLst>
                    <a:lin ang="5400000" scaled="1"/>
                  </a:gradFill>
                  <a:effectLst/>
                  <a:uLnTx/>
                  <a:uFillTx/>
                  <a:latin typeface="Segoe UI"/>
                  <a:ea typeface="+mn-ea"/>
                  <a:cs typeface="+mn-cs"/>
                </a:endParaRPr>
              </a:p>
            </p:txBody>
          </p:sp>
          <p:pic>
            <p:nvPicPr>
              <p:cNvPr id="34" name="Picture 33"/>
              <p:cNvPicPr>
                <a:picLocks noChangeAspect="1"/>
              </p:cNvPicPr>
              <p:nvPr/>
            </p:nvPicPr>
            <p:blipFill>
              <a:blip r:embed="rId6"/>
              <a:stretch>
                <a:fillRect/>
              </a:stretch>
            </p:blipFill>
            <p:spPr>
              <a:xfrm>
                <a:off x="8899667" y="4445343"/>
                <a:ext cx="834998" cy="834997"/>
              </a:xfrm>
              <a:prstGeom prst="rect">
                <a:avLst/>
              </a:prstGeom>
            </p:spPr>
          </p:pic>
          <p:grpSp>
            <p:nvGrpSpPr>
              <p:cNvPr id="38" name="Group 37"/>
              <p:cNvGrpSpPr/>
              <p:nvPr/>
            </p:nvGrpSpPr>
            <p:grpSpPr>
              <a:xfrm>
                <a:off x="9788640" y="4736183"/>
                <a:ext cx="280551" cy="280551"/>
                <a:chOff x="8563291" y="2244010"/>
                <a:chExt cx="2020388" cy="2020388"/>
              </a:xfrm>
              <a:solidFill>
                <a:schemeClr val="accent1">
                  <a:lumMod val="60000"/>
                  <a:lumOff val="40000"/>
                </a:schemeClr>
              </a:solidFill>
            </p:grpSpPr>
            <p:sp>
              <p:nvSpPr>
                <p:cNvPr id="36" name="Rectangle 35"/>
                <p:cNvSpPr/>
                <p:nvPr/>
              </p:nvSpPr>
              <p:spPr>
                <a:xfrm>
                  <a:off x="9335801" y="2244010"/>
                  <a:ext cx="475368" cy="202038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35" tIns="93235" rIns="93235" bIns="93235" numCol="1" spcCol="0" rtlCol="0" fromWordArt="0" anchor="b" anchorCtr="0" forceAA="0" compatLnSpc="1">
                  <a:prstTxWarp prst="textNoShape">
                    <a:avLst/>
                  </a:prstTxWarp>
                  <a:noAutofit/>
                </a:bodyPr>
                <a:lstStyle/>
                <a:p>
                  <a:pPr marL="0" marR="0" lvl="0" indent="0" algn="r" defTabSz="932470" rtl="0" eaLnBrk="1" fontAlgn="auto" latinLnBrk="0" hangingPunct="1">
                    <a:lnSpc>
                      <a:spcPct val="100000"/>
                    </a:lnSpc>
                    <a:spcBef>
                      <a:spcPts val="0"/>
                    </a:spcBef>
                    <a:spcAft>
                      <a:spcPts val="0"/>
                    </a:spcAft>
                    <a:buClrTx/>
                    <a:buSzTx/>
                    <a:buFontTx/>
                    <a:buNone/>
                    <a:tabLst/>
                    <a:defRPr/>
                  </a:pPr>
                  <a:endParaRPr kumimoji="0" lang="en-US" sz="1224" b="0" i="0" u="none" strike="noStrike" kern="1200" cap="none" spc="0" normalizeH="0" baseline="0" noProof="0" err="1">
                    <a:ln>
                      <a:noFill/>
                    </a:ln>
                    <a:gradFill>
                      <a:gsLst>
                        <a:gs pos="98571">
                          <a:srgbClr val="353535"/>
                        </a:gs>
                        <a:gs pos="72857">
                          <a:srgbClr val="353535"/>
                        </a:gs>
                      </a:gsLst>
                      <a:lin ang="5400000" scaled="1"/>
                    </a:gradFill>
                    <a:effectLst/>
                    <a:uLnTx/>
                    <a:uFillTx/>
                    <a:latin typeface="Segoe UI"/>
                    <a:ea typeface="+mn-ea"/>
                    <a:cs typeface="+mn-cs"/>
                  </a:endParaRPr>
                </a:p>
              </p:txBody>
            </p:sp>
            <p:sp>
              <p:nvSpPr>
                <p:cNvPr id="37" name="Rectangle 36"/>
                <p:cNvSpPr/>
                <p:nvPr/>
              </p:nvSpPr>
              <p:spPr>
                <a:xfrm rot="5400000">
                  <a:off x="9335801" y="2244010"/>
                  <a:ext cx="475368" cy="202038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35" tIns="93235" rIns="93235" bIns="93235" numCol="1" spcCol="0" rtlCol="0" fromWordArt="0" anchor="b" anchorCtr="0" forceAA="0" compatLnSpc="1">
                  <a:prstTxWarp prst="textNoShape">
                    <a:avLst/>
                  </a:prstTxWarp>
                  <a:noAutofit/>
                </a:bodyPr>
                <a:lstStyle/>
                <a:p>
                  <a:pPr marL="0" marR="0" lvl="0" indent="0" algn="r" defTabSz="932470" rtl="0" eaLnBrk="1" fontAlgn="auto" latinLnBrk="0" hangingPunct="1">
                    <a:lnSpc>
                      <a:spcPct val="100000"/>
                    </a:lnSpc>
                    <a:spcBef>
                      <a:spcPts val="0"/>
                    </a:spcBef>
                    <a:spcAft>
                      <a:spcPts val="0"/>
                    </a:spcAft>
                    <a:buClrTx/>
                    <a:buSzTx/>
                    <a:buFontTx/>
                    <a:buNone/>
                    <a:tabLst/>
                    <a:defRPr/>
                  </a:pPr>
                  <a:endParaRPr kumimoji="0" lang="en-US" sz="1224" b="0" i="0" u="none" strike="noStrike" kern="1200" cap="none" spc="0" normalizeH="0" baseline="0" noProof="0" err="1">
                    <a:ln>
                      <a:noFill/>
                    </a:ln>
                    <a:gradFill>
                      <a:gsLst>
                        <a:gs pos="98571">
                          <a:srgbClr val="353535"/>
                        </a:gs>
                        <a:gs pos="72857">
                          <a:srgbClr val="353535"/>
                        </a:gs>
                      </a:gsLst>
                      <a:lin ang="5400000" scaled="1"/>
                    </a:gradFill>
                    <a:effectLst/>
                    <a:uLnTx/>
                    <a:uFillTx/>
                    <a:latin typeface="Segoe UI"/>
                    <a:ea typeface="+mn-ea"/>
                    <a:cs typeface="+mn-cs"/>
                  </a:endParaRPr>
                </a:p>
              </p:txBody>
            </p:sp>
          </p:grpSp>
          <p:pic>
            <p:nvPicPr>
              <p:cNvPr id="24" name="Picture 23"/>
              <p:cNvPicPr>
                <a:picLocks noChangeAspect="1"/>
              </p:cNvPicPr>
              <p:nvPr/>
            </p:nvPicPr>
            <p:blipFill>
              <a:blip r:embed="rId13">
                <a:duotone>
                  <a:prstClr val="black"/>
                  <a:schemeClr val="tx2">
                    <a:tint val="45000"/>
                    <a:satMod val="400000"/>
                  </a:schemeClr>
                </a:duotone>
              </a:blip>
              <a:stretch>
                <a:fillRect/>
              </a:stretch>
            </p:blipFill>
            <p:spPr>
              <a:xfrm>
                <a:off x="10144498" y="3417773"/>
                <a:ext cx="1226203" cy="794246"/>
              </a:xfrm>
              <a:prstGeom prst="rect">
                <a:avLst/>
              </a:prstGeom>
              <a:noFill/>
            </p:spPr>
          </p:pic>
          <p:pic>
            <p:nvPicPr>
              <p:cNvPr id="35" name="Picture 34"/>
              <p:cNvPicPr>
                <a:picLocks noChangeAspect="1"/>
              </p:cNvPicPr>
              <p:nvPr/>
            </p:nvPicPr>
            <p:blipFill>
              <a:blip r:embed="rId14"/>
              <a:stretch>
                <a:fillRect/>
              </a:stretch>
            </p:blipFill>
            <p:spPr>
              <a:xfrm>
                <a:off x="10151702" y="4375412"/>
                <a:ext cx="731692" cy="964503"/>
              </a:xfrm>
              <a:prstGeom prst="rect">
                <a:avLst/>
              </a:prstGeom>
            </p:spPr>
          </p:pic>
          <p:pic>
            <p:nvPicPr>
              <p:cNvPr id="46" name="Picture 45"/>
              <p:cNvPicPr>
                <a:picLocks noChangeAspect="1"/>
              </p:cNvPicPr>
              <p:nvPr/>
            </p:nvPicPr>
            <p:blipFill rotWithShape="1">
              <a:blip r:embed="rId15" cstate="print">
                <a:extLst>
                  <a:ext uri="{28A0092B-C50C-407E-A947-70E740481C1C}">
                    <a14:useLocalDpi xmlns:a14="http://schemas.microsoft.com/office/drawing/2010/main" val="0"/>
                  </a:ext>
                </a:extLst>
              </a:blip>
              <a:srcRect/>
              <a:stretch/>
            </p:blipFill>
            <p:spPr>
              <a:xfrm>
                <a:off x="10733094" y="4455658"/>
                <a:ext cx="855378" cy="1120742"/>
              </a:xfrm>
              <a:prstGeom prst="rect">
                <a:avLst/>
              </a:prstGeom>
            </p:spPr>
          </p:pic>
        </p:grpSp>
        <p:sp>
          <p:nvSpPr>
            <p:cNvPr id="70" name="Rounded Rectangle 69"/>
            <p:cNvSpPr/>
            <p:nvPr/>
          </p:nvSpPr>
          <p:spPr>
            <a:xfrm>
              <a:off x="8773135" y="3769261"/>
              <a:ext cx="2809265" cy="2569627"/>
            </a:xfrm>
            <a:prstGeom prst="roundRect">
              <a:avLst>
                <a:gd name="adj" fmla="val 5783"/>
              </a:avLst>
            </a:prstGeom>
            <a:noFill/>
            <a:ln w="22225">
              <a:solidFill>
                <a:srgbClr val="B1B1B1"/>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35" tIns="93235" rIns="93235" bIns="93235" numCol="1" spcCol="0" rtlCol="0" fromWordArt="0" anchor="b" anchorCtr="0" forceAA="0" compatLnSpc="1">
              <a:prstTxWarp prst="textNoShape">
                <a:avLst/>
              </a:prstTxWarp>
              <a:noAutofit/>
            </a:bodyPr>
            <a:lstStyle/>
            <a:p>
              <a:pPr marL="0" marR="0" lvl="0" indent="0" algn="r" defTabSz="932470" rtl="0" eaLnBrk="1" fontAlgn="auto" latinLnBrk="0" hangingPunct="1">
                <a:lnSpc>
                  <a:spcPct val="100000"/>
                </a:lnSpc>
                <a:spcBef>
                  <a:spcPts val="0"/>
                </a:spcBef>
                <a:spcAft>
                  <a:spcPts val="0"/>
                </a:spcAft>
                <a:buClrTx/>
                <a:buSzTx/>
                <a:buFontTx/>
                <a:buNone/>
                <a:tabLst/>
                <a:defRPr/>
              </a:pPr>
              <a:endParaRPr kumimoji="0" lang="en-US" sz="1224" b="0" i="0" u="none" strike="noStrike" kern="1200" cap="none" spc="0" normalizeH="0" baseline="0" noProof="0" err="1">
                <a:ln>
                  <a:noFill/>
                </a:ln>
                <a:gradFill>
                  <a:gsLst>
                    <a:gs pos="98571">
                      <a:srgbClr val="353535"/>
                    </a:gs>
                    <a:gs pos="72857">
                      <a:srgbClr val="353535"/>
                    </a:gs>
                  </a:gsLst>
                  <a:lin ang="5400000" scaled="1"/>
                </a:gradFill>
                <a:effectLst/>
                <a:uLnTx/>
                <a:uFillTx/>
                <a:latin typeface="Segoe UI"/>
                <a:ea typeface="+mn-ea"/>
                <a:cs typeface="+mn-cs"/>
              </a:endParaRPr>
            </a:p>
          </p:txBody>
        </p:sp>
      </p:grpSp>
      <p:grpSp>
        <p:nvGrpSpPr>
          <p:cNvPr id="18" name="Group 17"/>
          <p:cNvGrpSpPr/>
          <p:nvPr/>
        </p:nvGrpSpPr>
        <p:grpSpPr>
          <a:xfrm>
            <a:off x="7454381" y="1297554"/>
            <a:ext cx="2038563" cy="1977979"/>
            <a:chOff x="7308948" y="1271952"/>
            <a:chExt cx="1999028" cy="1939619"/>
          </a:xfrm>
        </p:grpSpPr>
        <p:sp>
          <p:nvSpPr>
            <p:cNvPr id="7" name="TextBox 30"/>
            <p:cNvSpPr txBox="1"/>
            <p:nvPr/>
          </p:nvSpPr>
          <p:spPr>
            <a:xfrm>
              <a:off x="7308948" y="1271952"/>
              <a:ext cx="1999028" cy="359087"/>
            </a:xfrm>
            <a:prstGeom prst="rect">
              <a:avLst/>
            </a:prstGeom>
          </p:spPr>
          <p:txBody>
            <a:bodyPr vert="horz" wrap="square" lIns="93235" tIns="93235" rIns="93235" bIns="93235" rtlCol="0" anchor="t">
              <a:noAutofit/>
            </a:bodyPr>
            <a:lstStyle/>
            <a:p>
              <a:pPr marL="237937" marR="0" lvl="0" indent="-237937" algn="ctr" defTabSz="932470"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a:ln>
                    <a:noFill/>
                  </a:ln>
                  <a:gradFill>
                    <a:gsLst>
                      <a:gs pos="98571">
                        <a:srgbClr val="353535"/>
                      </a:gs>
                      <a:gs pos="72857">
                        <a:srgbClr val="353535"/>
                      </a:gs>
                    </a:gsLst>
                    <a:lin ang="5400000" scaled="1"/>
                  </a:gradFill>
                  <a:effectLst/>
                  <a:uLnTx/>
                  <a:uFillTx/>
                  <a:latin typeface="Segoe UI"/>
                  <a:ea typeface="Segoe UI" pitchFamily="34" charset="0"/>
                  <a:cs typeface="Segoe UI" pitchFamily="34" charset="0"/>
                </a:rPr>
                <a:t>5) Validate</a:t>
              </a:r>
            </a:p>
          </p:txBody>
        </p:sp>
        <p:sp>
          <p:nvSpPr>
            <p:cNvPr id="41" name="Rounded Rectangle 40"/>
            <p:cNvSpPr/>
            <p:nvPr/>
          </p:nvSpPr>
          <p:spPr>
            <a:xfrm>
              <a:off x="7534686" y="1703404"/>
              <a:ext cx="1614600" cy="1508167"/>
            </a:xfrm>
            <a:prstGeom prst="roundRect">
              <a:avLst>
                <a:gd name="adj" fmla="val 5783"/>
              </a:avLst>
            </a:prstGeom>
            <a:solidFill>
              <a:schemeClr val="accent3"/>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35" tIns="93235" rIns="93235" bIns="93235" numCol="1" spcCol="0" rtlCol="0" fromWordArt="0" anchor="b" anchorCtr="0" forceAA="0" compatLnSpc="1">
              <a:prstTxWarp prst="textNoShape">
                <a:avLst/>
              </a:prstTxWarp>
              <a:noAutofit/>
            </a:bodyPr>
            <a:lstStyle/>
            <a:p>
              <a:pPr marL="0" marR="0" lvl="0" indent="0" algn="r" defTabSz="932470" rtl="0" eaLnBrk="1" fontAlgn="auto" latinLnBrk="0" hangingPunct="1">
                <a:lnSpc>
                  <a:spcPct val="100000"/>
                </a:lnSpc>
                <a:spcBef>
                  <a:spcPts val="0"/>
                </a:spcBef>
                <a:spcAft>
                  <a:spcPts val="0"/>
                </a:spcAft>
                <a:buClrTx/>
                <a:buSzTx/>
                <a:buFontTx/>
                <a:buNone/>
                <a:tabLst/>
                <a:defRPr/>
              </a:pPr>
              <a:endParaRPr kumimoji="0" lang="en-US" sz="1224" b="0" i="0" u="none" strike="noStrike" kern="1200" cap="none" spc="0" normalizeH="0" baseline="0" noProof="0" err="1">
                <a:ln>
                  <a:noFill/>
                </a:ln>
                <a:gradFill>
                  <a:gsLst>
                    <a:gs pos="98571">
                      <a:srgbClr val="353535"/>
                    </a:gs>
                    <a:gs pos="72857">
                      <a:srgbClr val="353535"/>
                    </a:gs>
                  </a:gsLst>
                  <a:lin ang="5400000" scaled="1"/>
                </a:gradFill>
                <a:effectLst/>
                <a:uLnTx/>
                <a:uFillTx/>
                <a:latin typeface="Segoe UI"/>
                <a:ea typeface="+mn-ea"/>
                <a:cs typeface="+mn-cs"/>
              </a:endParaRPr>
            </a:p>
          </p:txBody>
        </p:sp>
        <p:pic>
          <p:nvPicPr>
            <p:cNvPr id="54" name="Picture 53"/>
            <p:cNvPicPr>
              <a:picLocks noChangeAspect="1"/>
            </p:cNvPicPr>
            <p:nvPr/>
          </p:nvPicPr>
          <p:blipFill>
            <a:blip r:embed="rId16"/>
            <a:stretch>
              <a:fillRect/>
            </a:stretch>
          </p:blipFill>
          <p:spPr>
            <a:xfrm>
              <a:off x="7733828" y="1987918"/>
              <a:ext cx="1185392" cy="864567"/>
            </a:xfrm>
            <a:prstGeom prst="rect">
              <a:avLst/>
            </a:prstGeom>
          </p:spPr>
        </p:pic>
        <p:pic>
          <p:nvPicPr>
            <p:cNvPr id="75" name="Picture 74"/>
            <p:cNvPicPr>
              <a:picLocks noChangeAspect="1"/>
            </p:cNvPicPr>
            <p:nvPr/>
          </p:nvPicPr>
          <p:blipFill>
            <a:blip r:embed="rId3">
              <a:clrChange>
                <a:clrFrom>
                  <a:srgbClr val="FFFFFF"/>
                </a:clrFrom>
                <a:clrTo>
                  <a:srgbClr val="FFFFFF">
                    <a:alpha val="0"/>
                  </a:srgbClr>
                </a:clrTo>
              </a:clrChange>
            </a:blip>
            <a:stretch>
              <a:fillRect/>
            </a:stretch>
          </p:blipFill>
          <p:spPr>
            <a:xfrm>
              <a:off x="8517305" y="1799243"/>
              <a:ext cx="511657" cy="333857"/>
            </a:xfrm>
            <a:prstGeom prst="rect">
              <a:avLst/>
            </a:prstGeom>
          </p:spPr>
        </p:pic>
      </p:grpSp>
      <p:grpSp>
        <p:nvGrpSpPr>
          <p:cNvPr id="17" name="Group 16"/>
          <p:cNvGrpSpPr/>
          <p:nvPr/>
        </p:nvGrpSpPr>
        <p:grpSpPr>
          <a:xfrm>
            <a:off x="5253787" y="1297554"/>
            <a:ext cx="2038563" cy="2055795"/>
            <a:chOff x="5151032" y="1271952"/>
            <a:chExt cx="1999028" cy="2015925"/>
          </a:xfrm>
        </p:grpSpPr>
        <p:sp>
          <p:nvSpPr>
            <p:cNvPr id="6" name="TextBox 25"/>
            <p:cNvSpPr txBox="1"/>
            <p:nvPr/>
          </p:nvSpPr>
          <p:spPr>
            <a:xfrm>
              <a:off x="5151032" y="1271952"/>
              <a:ext cx="1999028" cy="359087"/>
            </a:xfrm>
            <a:prstGeom prst="rect">
              <a:avLst/>
            </a:prstGeom>
          </p:spPr>
          <p:txBody>
            <a:bodyPr vert="horz" wrap="square" lIns="93235" tIns="93235" rIns="93235" bIns="93235" rtlCol="0" anchor="t">
              <a:noAutofit/>
            </a:bodyPr>
            <a:lstStyle/>
            <a:p>
              <a:pPr marL="237937" marR="0" lvl="0" indent="-237937" algn="ctr" defTabSz="932470"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a:ln>
                    <a:noFill/>
                  </a:ln>
                  <a:gradFill>
                    <a:gsLst>
                      <a:gs pos="98571">
                        <a:srgbClr val="353535"/>
                      </a:gs>
                      <a:gs pos="72857">
                        <a:srgbClr val="353535"/>
                      </a:gs>
                    </a:gsLst>
                    <a:lin ang="5400000" scaled="1"/>
                  </a:gradFill>
                  <a:effectLst/>
                  <a:uLnTx/>
                  <a:uFillTx/>
                  <a:latin typeface="Segoe UI"/>
                  <a:ea typeface="Segoe UI" pitchFamily="34" charset="0"/>
                  <a:cs typeface="Segoe UI" pitchFamily="34" charset="0"/>
                </a:rPr>
                <a:t>4) Deploy to stage</a:t>
              </a:r>
            </a:p>
          </p:txBody>
        </p:sp>
        <p:sp>
          <p:nvSpPr>
            <p:cNvPr id="40" name="Rounded Rectangle 39"/>
            <p:cNvSpPr/>
            <p:nvPr/>
          </p:nvSpPr>
          <p:spPr>
            <a:xfrm>
              <a:off x="5379025" y="1703404"/>
              <a:ext cx="1614600" cy="1508167"/>
            </a:xfrm>
            <a:prstGeom prst="roundRect">
              <a:avLst>
                <a:gd name="adj" fmla="val 5783"/>
              </a:avLst>
            </a:prstGeom>
            <a:solidFill>
              <a:schemeClr val="accent3"/>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35" tIns="93235" rIns="93235" bIns="93235" numCol="1" spcCol="0" rtlCol="0" fromWordArt="0" anchor="b" anchorCtr="0" forceAA="0" compatLnSpc="1">
              <a:prstTxWarp prst="textNoShape">
                <a:avLst/>
              </a:prstTxWarp>
              <a:noAutofit/>
            </a:bodyPr>
            <a:lstStyle/>
            <a:p>
              <a:pPr marL="0" marR="0" lvl="0" indent="0" algn="r" defTabSz="932470" rtl="0" eaLnBrk="1" fontAlgn="auto" latinLnBrk="0" hangingPunct="1">
                <a:lnSpc>
                  <a:spcPct val="100000"/>
                </a:lnSpc>
                <a:spcBef>
                  <a:spcPts val="0"/>
                </a:spcBef>
                <a:spcAft>
                  <a:spcPts val="0"/>
                </a:spcAft>
                <a:buClrTx/>
                <a:buSzTx/>
                <a:buFontTx/>
                <a:buNone/>
                <a:tabLst/>
                <a:defRPr/>
              </a:pPr>
              <a:endParaRPr kumimoji="0" lang="en-US" sz="1224" b="0" i="0" u="none" strike="noStrike" kern="1200" cap="none" spc="0" normalizeH="0" baseline="0" noProof="0" err="1">
                <a:ln>
                  <a:noFill/>
                </a:ln>
                <a:gradFill>
                  <a:gsLst>
                    <a:gs pos="98571">
                      <a:srgbClr val="353535"/>
                    </a:gs>
                    <a:gs pos="72857">
                      <a:srgbClr val="353535"/>
                    </a:gs>
                  </a:gsLst>
                  <a:lin ang="5400000" scaled="1"/>
                </a:gradFill>
                <a:effectLst/>
                <a:uLnTx/>
                <a:uFillTx/>
                <a:latin typeface="Segoe UI"/>
                <a:ea typeface="+mn-ea"/>
                <a:cs typeface="+mn-cs"/>
              </a:endParaRPr>
            </a:p>
          </p:txBody>
        </p:sp>
        <p:pic>
          <p:nvPicPr>
            <p:cNvPr id="16" name="Picture 15"/>
            <p:cNvPicPr>
              <a:picLocks noChangeAspect="1"/>
            </p:cNvPicPr>
            <p:nvPr/>
          </p:nvPicPr>
          <p:blipFill>
            <a:blip r:embed="rId17"/>
            <a:stretch>
              <a:fillRect/>
            </a:stretch>
          </p:blipFill>
          <p:spPr>
            <a:xfrm>
              <a:off x="5587445" y="2060479"/>
              <a:ext cx="984394" cy="966655"/>
            </a:xfrm>
            <a:prstGeom prst="rect">
              <a:avLst/>
            </a:prstGeom>
          </p:spPr>
        </p:pic>
        <p:pic>
          <p:nvPicPr>
            <p:cNvPr id="39" name="Picture 38"/>
            <p:cNvPicPr>
              <a:picLocks noChangeAspect="1"/>
            </p:cNvPicPr>
            <p:nvPr/>
          </p:nvPicPr>
          <p:blipFill>
            <a:blip r:embed="rId18"/>
            <a:stretch>
              <a:fillRect/>
            </a:stretch>
          </p:blipFill>
          <p:spPr>
            <a:xfrm>
              <a:off x="6297223" y="3278899"/>
              <a:ext cx="9612" cy="8978"/>
            </a:xfrm>
            <a:prstGeom prst="rect">
              <a:avLst/>
            </a:prstGeom>
          </p:spPr>
        </p:pic>
        <p:pic>
          <p:nvPicPr>
            <p:cNvPr id="76" name="Picture 75"/>
            <p:cNvPicPr>
              <a:picLocks noChangeAspect="1"/>
            </p:cNvPicPr>
            <p:nvPr/>
          </p:nvPicPr>
          <p:blipFill>
            <a:blip r:embed="rId6"/>
            <a:stretch>
              <a:fillRect/>
            </a:stretch>
          </p:blipFill>
          <p:spPr>
            <a:xfrm>
              <a:off x="6495010" y="1833425"/>
              <a:ext cx="375934" cy="377844"/>
            </a:xfrm>
            <a:prstGeom prst="rect">
              <a:avLst/>
            </a:prstGeom>
          </p:spPr>
        </p:pic>
      </p:grpSp>
      <p:sp>
        <p:nvSpPr>
          <p:cNvPr id="60" name="Title 3"/>
          <p:cNvSpPr txBox="1">
            <a:spLocks/>
          </p:cNvSpPr>
          <p:nvPr/>
        </p:nvSpPr>
        <p:spPr>
          <a:xfrm>
            <a:off x="274605" y="295683"/>
            <a:ext cx="11888046" cy="917458"/>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649"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102" normalizeH="0" baseline="0" noProof="0">
                <a:ln w="3175">
                  <a:noFill/>
                </a:ln>
                <a:gradFill>
                  <a:gsLst>
                    <a:gs pos="1250">
                      <a:srgbClr val="353535"/>
                    </a:gs>
                    <a:gs pos="100000">
                      <a:srgbClr val="353535"/>
                    </a:gs>
                  </a:gsLst>
                  <a:lin ang="5400000" scaled="0"/>
                </a:gradFill>
                <a:effectLst/>
                <a:uLnTx/>
                <a:uFillTx/>
                <a:latin typeface="Segoe UI Light"/>
                <a:ea typeface="+mn-ea"/>
                <a:cs typeface="Segoe UI" pitchFamily="34" charset="0"/>
              </a:rPr>
              <a:t>Agile Development on App Service</a:t>
            </a:r>
          </a:p>
        </p:txBody>
      </p:sp>
    </p:spTree>
    <p:extLst>
      <p:ext uri="{BB962C8B-B14F-4D97-AF65-F5344CB8AC3E}">
        <p14:creationId xmlns:p14="http://schemas.microsoft.com/office/powerpoint/2010/main" val="1374260963"/>
      </p:ext>
    </p:extLst>
  </p:cSld>
  <p:clrMapOvr>
    <a:masterClrMapping/>
  </p:clrMapOvr>
  <p:transition spd="med">
    <p:fade/>
  </p:transition>
</p:sld>
</file>

<file path=ppt/slides/slide14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Segoe UI Light" panose="020B0502040204020203" pitchFamily="34" charset="0"/>
                <a:cs typeface="Segoe UI Light" panose="020B0502040204020203" pitchFamily="34" charset="0"/>
              </a:rPr>
              <a:t>Azure Batch decisions</a:t>
            </a:r>
            <a:endParaRPr lang="en-US" dirty="0"/>
          </a:p>
        </p:txBody>
      </p:sp>
      <p:graphicFrame>
        <p:nvGraphicFramePr>
          <p:cNvPr id="3" name="Diagram 2"/>
          <p:cNvGraphicFramePr/>
          <p:nvPr>
            <p:extLst/>
          </p:nvPr>
        </p:nvGraphicFramePr>
        <p:xfrm>
          <a:off x="1161825" y="1212853"/>
          <a:ext cx="7842325" cy="525621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 name="Octagon 3"/>
          <p:cNvSpPr/>
          <p:nvPr/>
        </p:nvSpPr>
        <p:spPr>
          <a:xfrm>
            <a:off x="1107200" y="2430463"/>
            <a:ext cx="443098" cy="439889"/>
          </a:xfrm>
          <a:prstGeom prst="octagon">
            <a:avLst/>
          </a:prstGeom>
          <a:solidFill>
            <a:srgbClr val="CC0000"/>
          </a:solidFill>
        </p:spPr>
        <p:style>
          <a:lnRef idx="1">
            <a:schemeClr val="accent2"/>
          </a:lnRef>
          <a:fillRef idx="3">
            <a:schemeClr val="accent2"/>
          </a:fillRef>
          <a:effectRef idx="2">
            <a:schemeClr val="accent2"/>
          </a:effectRef>
          <a:fontRef idx="minor">
            <a:schemeClr val="lt1"/>
          </a:fontRef>
        </p:style>
        <p:txBody>
          <a:bodyPr rot="0" spcFirstLastPara="0" vert="horz" wrap="square" lIns="68583" tIns="34291" rIns="68583" bIns="34291" numCol="1" spcCol="0" rtlCol="0" fromWordArt="0" anchor="ctr" anchorCtr="0" forceAA="0" compatLnSpc="1">
            <a:prstTxWarp prst="textNoShape">
              <a:avLst/>
            </a:prstTxWarp>
            <a:noAutofit/>
          </a:bodyPr>
          <a:lstStyle/>
          <a:p>
            <a:endParaRPr lang="en-US" sz="1350"/>
          </a:p>
        </p:txBody>
      </p:sp>
      <p:sp>
        <p:nvSpPr>
          <p:cNvPr id="5" name="Isosceles Triangle 4"/>
          <p:cNvSpPr>
            <a:spLocks/>
          </p:cNvSpPr>
          <p:nvPr/>
        </p:nvSpPr>
        <p:spPr>
          <a:xfrm>
            <a:off x="1021842" y="4110985"/>
            <a:ext cx="579874" cy="457219"/>
          </a:xfrm>
          <a:prstGeom prst="triangle">
            <a:avLst/>
          </a:prstGeom>
          <a:solidFill>
            <a:srgbClr val="FFFF00"/>
          </a:solidFill>
        </p:spPr>
        <p:style>
          <a:lnRef idx="1">
            <a:schemeClr val="accent6"/>
          </a:lnRef>
          <a:fillRef idx="3">
            <a:schemeClr val="accent6"/>
          </a:fillRef>
          <a:effectRef idx="2">
            <a:schemeClr val="accent6"/>
          </a:effectRef>
          <a:fontRef idx="minor">
            <a:schemeClr val="lt1"/>
          </a:fontRef>
        </p:style>
        <p:txBody>
          <a:bodyPr rot="0" spcFirstLastPara="0" vert="horz" wrap="square" lIns="68583" tIns="34291" rIns="68583" bIns="34291" numCol="1" spcCol="0" rtlCol="0" fromWordArt="0" anchor="ctr" anchorCtr="0" forceAA="0" compatLnSpc="1">
            <a:prstTxWarp prst="textNoShape">
              <a:avLst/>
            </a:prstTxWarp>
            <a:noAutofit/>
          </a:bodyPr>
          <a:lstStyle/>
          <a:p>
            <a:endParaRPr lang="en-US" sz="1350"/>
          </a:p>
        </p:txBody>
      </p:sp>
      <p:sp>
        <p:nvSpPr>
          <p:cNvPr id="6" name="Oval 5"/>
          <p:cNvSpPr>
            <a:spLocks/>
          </p:cNvSpPr>
          <p:nvPr/>
        </p:nvSpPr>
        <p:spPr>
          <a:xfrm>
            <a:off x="1021843" y="5993586"/>
            <a:ext cx="474539" cy="475477"/>
          </a:xfrm>
          <a:prstGeom prst="ellipse">
            <a:avLst/>
          </a:prstGeom>
          <a:solidFill>
            <a:srgbClr val="00B050"/>
          </a:solidFill>
        </p:spPr>
        <p:style>
          <a:lnRef idx="1">
            <a:schemeClr val="accent3"/>
          </a:lnRef>
          <a:fillRef idx="3">
            <a:schemeClr val="accent3"/>
          </a:fillRef>
          <a:effectRef idx="2">
            <a:schemeClr val="accent3"/>
          </a:effectRef>
          <a:fontRef idx="minor">
            <a:schemeClr val="lt1"/>
          </a:fontRef>
        </p:style>
        <p:txBody>
          <a:bodyPr rot="0" spcFirstLastPara="0" vert="horz" wrap="square" lIns="68583" tIns="34291" rIns="68583" bIns="34291" numCol="1" spcCol="0" rtlCol="0" fromWordArt="0" anchor="ctr" anchorCtr="0" forceAA="0" compatLnSpc="1">
            <a:prstTxWarp prst="textNoShape">
              <a:avLst/>
            </a:prstTxWarp>
            <a:noAutofit/>
          </a:bodyPr>
          <a:lstStyle/>
          <a:p>
            <a:endParaRPr lang="en-US" sz="1350"/>
          </a:p>
        </p:txBody>
      </p:sp>
    </p:spTree>
    <p:extLst>
      <p:ext uri="{BB962C8B-B14F-4D97-AF65-F5344CB8AC3E}">
        <p14:creationId xmlns:p14="http://schemas.microsoft.com/office/powerpoint/2010/main" val="2456014548"/>
      </p:ext>
    </p:extLst>
  </p:cSld>
  <p:clrMapOvr>
    <a:masterClrMapping/>
  </p:clrMapOvr>
  <p:transition>
    <p:fade/>
  </p:transition>
</p:sld>
</file>

<file path=ppt/slides/slide14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Title 4"/>
          <p:cNvSpPr>
            <a:spLocks noGrp="1"/>
          </p:cNvSpPr>
          <p:nvPr>
            <p:ph type="title"/>
          </p:nvPr>
        </p:nvSpPr>
        <p:spPr>
          <a:xfrm>
            <a:off x="366169" y="295278"/>
            <a:ext cx="11702551" cy="917575"/>
          </a:xfrm>
        </p:spPr>
        <p:txBody>
          <a:bodyPr/>
          <a:lstStyle/>
          <a:p>
            <a:r>
              <a:rPr lang="en-US" dirty="0"/>
              <a:t>Web and Mobile – Key decision points</a:t>
            </a:r>
          </a:p>
        </p:txBody>
      </p:sp>
      <p:graphicFrame>
        <p:nvGraphicFramePr>
          <p:cNvPr id="3" name="Table 2"/>
          <p:cNvGraphicFramePr>
            <a:graphicFrameLocks noGrp="1"/>
          </p:cNvGraphicFramePr>
          <p:nvPr>
            <p:extLst/>
          </p:nvPr>
        </p:nvGraphicFramePr>
        <p:xfrm>
          <a:off x="534266" y="1389322"/>
          <a:ext cx="10984339" cy="5342674"/>
        </p:xfrm>
        <a:graphic>
          <a:graphicData uri="http://schemas.openxmlformats.org/drawingml/2006/table">
            <a:tbl>
              <a:tblPr firstRow="1" bandRow="1">
                <a:tableStyleId>{F2DE63D5-997A-4646-A377-4702673A728D}</a:tableStyleId>
              </a:tblPr>
              <a:tblGrid>
                <a:gridCol w="2746084">
                  <a:extLst>
                    <a:ext uri="{9D8B030D-6E8A-4147-A177-3AD203B41FA5}">
                      <a16:colId xmlns:a16="http://schemas.microsoft.com/office/drawing/2014/main" val="3323723136"/>
                    </a:ext>
                  </a:extLst>
                </a:gridCol>
                <a:gridCol w="1982500">
                  <a:extLst>
                    <a:ext uri="{9D8B030D-6E8A-4147-A177-3AD203B41FA5}">
                      <a16:colId xmlns:a16="http://schemas.microsoft.com/office/drawing/2014/main" val="3937888222"/>
                    </a:ext>
                  </a:extLst>
                </a:gridCol>
                <a:gridCol w="2318812">
                  <a:extLst>
                    <a:ext uri="{9D8B030D-6E8A-4147-A177-3AD203B41FA5}">
                      <a16:colId xmlns:a16="http://schemas.microsoft.com/office/drawing/2014/main" val="1410519535"/>
                    </a:ext>
                  </a:extLst>
                </a:gridCol>
                <a:gridCol w="3936943">
                  <a:extLst>
                    <a:ext uri="{9D8B030D-6E8A-4147-A177-3AD203B41FA5}">
                      <a16:colId xmlns:a16="http://schemas.microsoft.com/office/drawing/2014/main" val="3764866363"/>
                    </a:ext>
                  </a:extLst>
                </a:gridCol>
              </a:tblGrid>
              <a:tr h="775549">
                <a:tc>
                  <a:txBody>
                    <a:bodyPr/>
                    <a:lstStyle/>
                    <a:p>
                      <a:r>
                        <a:rPr lang="en-US" sz="2200" b="0" i="0" dirty="0">
                          <a:latin typeface="Segoe UI Semibold" panose="020B0702040204020203" pitchFamily="34" charset="0"/>
                          <a:cs typeface="Segoe UI Semibold" panose="020B0702040204020203" pitchFamily="34" charset="0"/>
                        </a:rPr>
                        <a:t>Service name</a:t>
                      </a:r>
                    </a:p>
                  </a:txBody>
                  <a:tcPr marL="86171" marR="86171" marT="43086" marB="43086">
                    <a:solidFill>
                      <a:schemeClr val="accent1"/>
                    </a:solidFill>
                  </a:tcPr>
                </a:tc>
                <a:tc>
                  <a:txBody>
                    <a:bodyPr/>
                    <a:lstStyle/>
                    <a:p>
                      <a:r>
                        <a:rPr lang="en-US" sz="2200" b="0" i="0" dirty="0">
                          <a:latin typeface="Segoe UI Semibold" panose="020B0702040204020203" pitchFamily="34" charset="0"/>
                          <a:cs typeface="Segoe UI Semibold" panose="020B0702040204020203" pitchFamily="34" charset="0"/>
                        </a:rPr>
                        <a:t>Management</a:t>
                      </a:r>
                    </a:p>
                  </a:txBody>
                  <a:tcPr marL="86171" marR="86171" marT="43086" marB="43086">
                    <a:solidFill>
                      <a:schemeClr val="accent1"/>
                    </a:solidFill>
                  </a:tcPr>
                </a:tc>
                <a:tc>
                  <a:txBody>
                    <a:bodyPr/>
                    <a:lstStyle/>
                    <a:p>
                      <a:r>
                        <a:rPr lang="en-US" sz="2200" b="0" i="0" dirty="0">
                          <a:latin typeface="Segoe UI Semibold" panose="020B0702040204020203" pitchFamily="34" charset="0"/>
                          <a:cs typeface="Segoe UI Semibold" panose="020B0702040204020203" pitchFamily="34" charset="0"/>
                        </a:rPr>
                        <a:t>Peering (public, private, both)</a:t>
                      </a:r>
                    </a:p>
                  </a:txBody>
                  <a:tcPr marL="86171" marR="86171" marT="43086" marB="43086">
                    <a:solidFill>
                      <a:schemeClr val="accent1"/>
                    </a:solidFill>
                  </a:tcPr>
                </a:tc>
                <a:tc>
                  <a:txBody>
                    <a:bodyPr/>
                    <a:lstStyle/>
                    <a:p>
                      <a:r>
                        <a:rPr lang="en-US" sz="2200" b="0" i="0" dirty="0">
                          <a:latin typeface="Segoe UI Semibold" panose="020B0702040204020203" pitchFamily="34" charset="0"/>
                          <a:cs typeface="Segoe UI Semibold" panose="020B0702040204020203" pitchFamily="34" charset="0"/>
                        </a:rPr>
                        <a:t>Connectivity options</a:t>
                      </a:r>
                    </a:p>
                    <a:p>
                      <a:r>
                        <a:rPr lang="en-US" sz="2200" b="0" i="0" dirty="0">
                          <a:latin typeface="Segoe UI Semibold" panose="020B0702040204020203" pitchFamily="34" charset="0"/>
                          <a:cs typeface="Segoe UI Semibold" panose="020B0702040204020203" pitchFamily="34" charset="0"/>
                        </a:rPr>
                        <a:t>(To on-</a:t>
                      </a:r>
                      <a:r>
                        <a:rPr lang="en-US" sz="2200" b="0" i="0" dirty="0" err="1">
                          <a:latin typeface="Segoe UI Semibold" panose="020B0702040204020203" pitchFamily="34" charset="0"/>
                          <a:cs typeface="Segoe UI Semibold" panose="020B0702040204020203" pitchFamily="34" charset="0"/>
                        </a:rPr>
                        <a:t>prem</a:t>
                      </a:r>
                      <a:r>
                        <a:rPr lang="en-US" sz="2200" b="0" i="0" dirty="0">
                          <a:latin typeface="Segoe UI Semibold" panose="020B0702040204020203" pitchFamily="34" charset="0"/>
                          <a:cs typeface="Segoe UI Semibold" panose="020B0702040204020203" pitchFamily="34" charset="0"/>
                        </a:rPr>
                        <a:t> resources)</a:t>
                      </a:r>
                    </a:p>
                  </a:txBody>
                  <a:tcPr marL="86171" marR="86171" marT="43086" marB="43086">
                    <a:solidFill>
                      <a:schemeClr val="accent1"/>
                    </a:solidFill>
                  </a:tcPr>
                </a:tc>
                <a:extLst>
                  <a:ext uri="{0D108BD9-81ED-4DB2-BD59-A6C34878D82A}">
                    <a16:rowId xmlns:a16="http://schemas.microsoft.com/office/drawing/2014/main" val="3157971493"/>
                  </a:ext>
                </a:extLst>
              </a:tr>
              <a:tr h="430861">
                <a:tc>
                  <a:txBody>
                    <a:bodyPr/>
                    <a:lstStyle/>
                    <a:p>
                      <a:r>
                        <a:rPr lang="en-US" sz="2200" b="0" i="0" dirty="0">
                          <a:latin typeface="Segoe UI Semibold" panose="020B0702040204020203" pitchFamily="34" charset="0"/>
                          <a:cs typeface="Segoe UI Semibold" panose="020B0702040204020203" pitchFamily="34" charset="0"/>
                        </a:rPr>
                        <a:t>App Services</a:t>
                      </a:r>
                    </a:p>
                  </a:txBody>
                  <a:tcPr marL="86171" marR="86171" marT="43086" marB="43086"/>
                </a:tc>
                <a:tc>
                  <a:txBody>
                    <a:bodyPr/>
                    <a:lstStyle/>
                    <a:p>
                      <a:endParaRPr lang="en-US" sz="2200" dirty="0"/>
                    </a:p>
                  </a:txBody>
                  <a:tcPr marL="86171" marR="86171" marT="43086" marB="43086"/>
                </a:tc>
                <a:tc>
                  <a:txBody>
                    <a:bodyPr/>
                    <a:lstStyle/>
                    <a:p>
                      <a:endParaRPr lang="en-US" sz="2200" dirty="0"/>
                    </a:p>
                  </a:txBody>
                  <a:tcPr marL="86171" marR="86171" marT="43086" marB="43086"/>
                </a:tc>
                <a:tc>
                  <a:txBody>
                    <a:bodyPr/>
                    <a:lstStyle/>
                    <a:p>
                      <a:pPr marL="0" marR="0" lvl="0" indent="0" algn="l" defTabSz="768113" rtl="0" eaLnBrk="1" fontAlgn="auto" latinLnBrk="0" hangingPunct="1">
                        <a:lnSpc>
                          <a:spcPct val="100000"/>
                        </a:lnSpc>
                        <a:spcBef>
                          <a:spcPts val="0"/>
                        </a:spcBef>
                        <a:spcAft>
                          <a:spcPts val="0"/>
                        </a:spcAft>
                        <a:buClrTx/>
                        <a:buSzTx/>
                        <a:buFontTx/>
                        <a:buNone/>
                        <a:tabLst/>
                        <a:defRPr/>
                      </a:pPr>
                      <a:endParaRPr lang="en-US" sz="2200" dirty="0"/>
                    </a:p>
                  </a:txBody>
                  <a:tcPr marL="86171" marR="86171" marT="43086" marB="43086"/>
                </a:tc>
                <a:extLst>
                  <a:ext uri="{0D108BD9-81ED-4DB2-BD59-A6C34878D82A}">
                    <a16:rowId xmlns:a16="http://schemas.microsoft.com/office/drawing/2014/main" val="4133688658"/>
                  </a:ext>
                </a:extLst>
              </a:tr>
              <a:tr h="775549">
                <a:tc>
                  <a:txBody>
                    <a:bodyPr/>
                    <a:lstStyle/>
                    <a:p>
                      <a:pPr lvl="1"/>
                      <a:r>
                        <a:rPr lang="en-US" sz="2200" b="0" i="0" dirty="0">
                          <a:latin typeface="Segoe UI Semibold" panose="020B0702040204020203" pitchFamily="34" charset="0"/>
                          <a:cs typeface="Segoe UI Semibold" panose="020B0702040204020203" pitchFamily="34" charset="0"/>
                        </a:rPr>
                        <a:t>Web</a:t>
                      </a:r>
                    </a:p>
                  </a:txBody>
                  <a:tcPr marL="86171" marR="86171" marT="43086" marB="43086"/>
                </a:tc>
                <a:tc>
                  <a:txBody>
                    <a:bodyPr/>
                    <a:lstStyle/>
                    <a:p>
                      <a:r>
                        <a:rPr lang="en-US" sz="2200" dirty="0"/>
                        <a:t>ARM</a:t>
                      </a:r>
                    </a:p>
                  </a:txBody>
                  <a:tcPr marL="86171" marR="86171" marT="43086" marB="43086"/>
                </a:tc>
                <a:tc>
                  <a:txBody>
                    <a:bodyPr/>
                    <a:lstStyle/>
                    <a:p>
                      <a:r>
                        <a:rPr lang="en-US" sz="2200" dirty="0"/>
                        <a:t>Public</a:t>
                      </a:r>
                    </a:p>
                  </a:txBody>
                  <a:tcPr marL="86171" marR="86171" marT="43086" marB="43086"/>
                </a:tc>
                <a:tc>
                  <a:txBody>
                    <a:bodyPr/>
                    <a:lstStyle/>
                    <a:p>
                      <a:r>
                        <a:rPr lang="en-US" sz="2200" dirty="0" err="1"/>
                        <a:t>VNet</a:t>
                      </a:r>
                      <a:r>
                        <a:rPr lang="en-US" sz="2200" dirty="0"/>
                        <a:t>(P2S), Relay</a:t>
                      </a:r>
                    </a:p>
                  </a:txBody>
                  <a:tcPr marL="86171" marR="86171" marT="43086" marB="43086"/>
                </a:tc>
                <a:extLst>
                  <a:ext uri="{0D108BD9-81ED-4DB2-BD59-A6C34878D82A}">
                    <a16:rowId xmlns:a16="http://schemas.microsoft.com/office/drawing/2014/main" val="1987288546"/>
                  </a:ext>
                </a:extLst>
              </a:tr>
              <a:tr h="430861">
                <a:tc>
                  <a:txBody>
                    <a:bodyPr/>
                    <a:lstStyle/>
                    <a:p>
                      <a:pPr lvl="1"/>
                      <a:r>
                        <a:rPr lang="en-US" sz="2200" b="0" i="0" dirty="0">
                          <a:latin typeface="Segoe UI Semibold" panose="020B0702040204020203" pitchFamily="34" charset="0"/>
                          <a:cs typeface="Segoe UI Semibold" panose="020B0702040204020203" pitchFamily="34" charset="0"/>
                        </a:rPr>
                        <a:t>API (v2)</a:t>
                      </a:r>
                    </a:p>
                  </a:txBody>
                  <a:tcPr marL="86171" marR="86171" marT="43086" marB="43086"/>
                </a:tc>
                <a:tc>
                  <a:txBody>
                    <a:bodyPr/>
                    <a:lstStyle/>
                    <a:p>
                      <a:r>
                        <a:rPr lang="en-US" sz="2200" dirty="0"/>
                        <a:t>ARM</a:t>
                      </a:r>
                    </a:p>
                  </a:txBody>
                  <a:tcPr marL="86171" marR="86171" marT="43086" marB="43086"/>
                </a:tc>
                <a:tc>
                  <a:txBody>
                    <a:bodyPr/>
                    <a:lstStyle/>
                    <a:p>
                      <a:r>
                        <a:rPr lang="en-US" sz="2200" dirty="0"/>
                        <a:t>Public</a:t>
                      </a:r>
                    </a:p>
                  </a:txBody>
                  <a:tcPr marL="86171" marR="86171" marT="43086" marB="43086"/>
                </a:tc>
                <a:tc>
                  <a:txBody>
                    <a:bodyPr/>
                    <a:lstStyle/>
                    <a:p>
                      <a:r>
                        <a:rPr lang="en-US" sz="2200" dirty="0"/>
                        <a:t>Relay</a:t>
                      </a:r>
                    </a:p>
                  </a:txBody>
                  <a:tcPr marL="86171" marR="86171" marT="43086" marB="43086"/>
                </a:tc>
                <a:extLst>
                  <a:ext uri="{0D108BD9-81ED-4DB2-BD59-A6C34878D82A}">
                    <a16:rowId xmlns:a16="http://schemas.microsoft.com/office/drawing/2014/main" val="3123354572"/>
                  </a:ext>
                </a:extLst>
              </a:tr>
              <a:tr h="775549">
                <a:tc>
                  <a:txBody>
                    <a:bodyPr/>
                    <a:lstStyle/>
                    <a:p>
                      <a:pPr lvl="1"/>
                      <a:r>
                        <a:rPr lang="en-US" sz="2200" b="0" i="0" dirty="0">
                          <a:latin typeface="Segoe UI Semibold" panose="020B0702040204020203" pitchFamily="34" charset="0"/>
                          <a:cs typeface="Segoe UI Semibold" panose="020B0702040204020203" pitchFamily="34" charset="0"/>
                        </a:rPr>
                        <a:t>Mobile</a:t>
                      </a:r>
                    </a:p>
                  </a:txBody>
                  <a:tcPr marL="86171" marR="86171" marT="43086" marB="43086"/>
                </a:tc>
                <a:tc>
                  <a:txBody>
                    <a:bodyPr/>
                    <a:lstStyle/>
                    <a:p>
                      <a:r>
                        <a:rPr lang="en-US" sz="2200" dirty="0"/>
                        <a:t>ARM</a:t>
                      </a:r>
                    </a:p>
                  </a:txBody>
                  <a:tcPr marL="86171" marR="86171" marT="43086" marB="43086"/>
                </a:tc>
                <a:tc>
                  <a:txBody>
                    <a:bodyPr/>
                    <a:lstStyle/>
                    <a:p>
                      <a:r>
                        <a:rPr lang="en-US" sz="2200" dirty="0"/>
                        <a:t>Public</a:t>
                      </a:r>
                    </a:p>
                  </a:txBody>
                  <a:tcPr marL="86171" marR="86171" marT="43086" marB="43086"/>
                </a:tc>
                <a:tc>
                  <a:txBody>
                    <a:bodyPr/>
                    <a:lstStyle/>
                    <a:p>
                      <a:r>
                        <a:rPr lang="en-US" sz="2200" dirty="0" err="1"/>
                        <a:t>VNet</a:t>
                      </a:r>
                      <a:r>
                        <a:rPr lang="en-US" sz="2200" dirty="0"/>
                        <a:t>(P2S), Relay</a:t>
                      </a:r>
                    </a:p>
                  </a:txBody>
                  <a:tcPr marL="86171" marR="86171" marT="43086" marB="43086"/>
                </a:tc>
                <a:extLst>
                  <a:ext uri="{0D108BD9-81ED-4DB2-BD59-A6C34878D82A}">
                    <a16:rowId xmlns:a16="http://schemas.microsoft.com/office/drawing/2014/main" val="2747725307"/>
                  </a:ext>
                </a:extLst>
              </a:tr>
              <a:tr h="430861">
                <a:tc>
                  <a:txBody>
                    <a:bodyPr/>
                    <a:lstStyle/>
                    <a:p>
                      <a:pPr lvl="1"/>
                      <a:r>
                        <a:rPr lang="en-US" sz="2200" b="0" i="0" dirty="0">
                          <a:latin typeface="Segoe UI Semibold" panose="020B0702040204020203" pitchFamily="34" charset="0"/>
                          <a:cs typeface="Segoe UI Semibold" panose="020B0702040204020203" pitchFamily="34" charset="0"/>
                        </a:rPr>
                        <a:t>Logic</a:t>
                      </a:r>
                    </a:p>
                  </a:txBody>
                  <a:tcPr marL="86171" marR="86171" marT="43086" marB="43086"/>
                </a:tc>
                <a:tc>
                  <a:txBody>
                    <a:bodyPr/>
                    <a:lstStyle/>
                    <a:p>
                      <a:r>
                        <a:rPr lang="en-US" sz="2200" dirty="0"/>
                        <a:t>ARM</a:t>
                      </a:r>
                    </a:p>
                  </a:txBody>
                  <a:tcPr marL="86171" marR="86171" marT="43086" marB="43086"/>
                </a:tc>
                <a:tc>
                  <a:txBody>
                    <a:bodyPr/>
                    <a:lstStyle/>
                    <a:p>
                      <a:r>
                        <a:rPr lang="en-US" sz="2200" dirty="0"/>
                        <a:t>Public</a:t>
                      </a:r>
                    </a:p>
                  </a:txBody>
                  <a:tcPr marL="86171" marR="86171" marT="43086" marB="43086"/>
                </a:tc>
                <a:tc>
                  <a:txBody>
                    <a:bodyPr/>
                    <a:lstStyle/>
                    <a:p>
                      <a:r>
                        <a:rPr lang="en-US" sz="2200" dirty="0"/>
                        <a:t>Relay</a:t>
                      </a:r>
                    </a:p>
                  </a:txBody>
                  <a:tcPr marL="86171" marR="86171" marT="43086" marB="43086"/>
                </a:tc>
                <a:extLst>
                  <a:ext uri="{0D108BD9-81ED-4DB2-BD59-A6C34878D82A}">
                    <a16:rowId xmlns:a16="http://schemas.microsoft.com/office/drawing/2014/main" val="4183746000"/>
                  </a:ext>
                </a:extLst>
              </a:tr>
              <a:tr h="430861">
                <a:tc>
                  <a:txBody>
                    <a:bodyPr/>
                    <a:lstStyle/>
                    <a:p>
                      <a:r>
                        <a:rPr lang="en-US" sz="2200" b="0" i="0" dirty="0">
                          <a:latin typeface="Segoe UI Semibold" panose="020B0702040204020203" pitchFamily="34" charset="0"/>
                          <a:cs typeface="Segoe UI Semibold" panose="020B0702040204020203" pitchFamily="34" charset="0"/>
                        </a:rPr>
                        <a:t>ASE</a:t>
                      </a:r>
                    </a:p>
                  </a:txBody>
                  <a:tcPr marL="86171" marR="86171" marT="43086" marB="43086"/>
                </a:tc>
                <a:tc>
                  <a:txBody>
                    <a:bodyPr/>
                    <a:lstStyle/>
                    <a:p>
                      <a:endParaRPr lang="en-US" sz="2200" dirty="0"/>
                    </a:p>
                  </a:txBody>
                  <a:tcPr marL="86171" marR="86171" marT="43086" marB="43086"/>
                </a:tc>
                <a:tc>
                  <a:txBody>
                    <a:bodyPr/>
                    <a:lstStyle/>
                    <a:p>
                      <a:endParaRPr lang="en-US" sz="2200" dirty="0"/>
                    </a:p>
                  </a:txBody>
                  <a:tcPr marL="86171" marR="86171" marT="43086" marB="43086"/>
                </a:tc>
                <a:tc>
                  <a:txBody>
                    <a:bodyPr/>
                    <a:lstStyle/>
                    <a:p>
                      <a:endParaRPr lang="en-US" sz="2200" dirty="0"/>
                    </a:p>
                  </a:txBody>
                  <a:tcPr marL="86171" marR="86171" marT="43086" marB="43086"/>
                </a:tc>
                <a:extLst>
                  <a:ext uri="{0D108BD9-81ED-4DB2-BD59-A6C34878D82A}">
                    <a16:rowId xmlns:a16="http://schemas.microsoft.com/office/drawing/2014/main" val="1616361047"/>
                  </a:ext>
                </a:extLst>
              </a:tr>
              <a:tr h="430861">
                <a:tc>
                  <a:txBody>
                    <a:bodyPr/>
                    <a:lstStyle/>
                    <a:p>
                      <a:pPr lvl="1"/>
                      <a:r>
                        <a:rPr lang="en-US" sz="2200" b="0" i="0" dirty="0">
                          <a:latin typeface="Segoe UI Semibold" panose="020B0702040204020203" pitchFamily="34" charset="0"/>
                          <a:cs typeface="Segoe UI Semibold" panose="020B0702040204020203" pitchFamily="34" charset="0"/>
                        </a:rPr>
                        <a:t>Web</a:t>
                      </a:r>
                    </a:p>
                  </a:txBody>
                  <a:tcPr marL="86171" marR="86171" marT="43086" marB="43086"/>
                </a:tc>
                <a:tc>
                  <a:txBody>
                    <a:bodyPr/>
                    <a:lstStyle/>
                    <a:p>
                      <a:r>
                        <a:rPr lang="en-US" sz="2200" dirty="0"/>
                        <a:t>ARM</a:t>
                      </a:r>
                    </a:p>
                  </a:txBody>
                  <a:tcPr marL="86171" marR="86171" marT="43086" marB="43086"/>
                </a:tc>
                <a:tc>
                  <a:txBody>
                    <a:bodyPr/>
                    <a:lstStyle/>
                    <a:p>
                      <a:r>
                        <a:rPr lang="en-US" sz="2200" dirty="0"/>
                        <a:t>Private</a:t>
                      </a:r>
                    </a:p>
                  </a:txBody>
                  <a:tcPr marL="86171" marR="86171" marT="43086" marB="43086"/>
                </a:tc>
                <a:tc>
                  <a:txBody>
                    <a:bodyPr/>
                    <a:lstStyle/>
                    <a:p>
                      <a:r>
                        <a:rPr lang="en-US" sz="2200" dirty="0" err="1"/>
                        <a:t>VNet</a:t>
                      </a:r>
                      <a:r>
                        <a:rPr lang="en-US" sz="2200" dirty="0"/>
                        <a:t>(S2S, ER), Relay</a:t>
                      </a:r>
                    </a:p>
                  </a:txBody>
                  <a:tcPr marL="86171" marR="86171" marT="43086" marB="43086"/>
                </a:tc>
                <a:extLst>
                  <a:ext uri="{0D108BD9-81ED-4DB2-BD59-A6C34878D82A}">
                    <a16:rowId xmlns:a16="http://schemas.microsoft.com/office/drawing/2014/main" val="2541156677"/>
                  </a:ext>
                </a:extLst>
              </a:tr>
              <a:tr h="430861">
                <a:tc>
                  <a:txBody>
                    <a:bodyPr/>
                    <a:lstStyle/>
                    <a:p>
                      <a:pPr lvl="1"/>
                      <a:r>
                        <a:rPr lang="en-US" sz="2200" b="0" i="0" dirty="0">
                          <a:latin typeface="Segoe UI Semibold" panose="020B0702040204020203" pitchFamily="34" charset="0"/>
                          <a:cs typeface="Segoe UI Semibold" panose="020B0702040204020203" pitchFamily="34" charset="0"/>
                        </a:rPr>
                        <a:t>API (v2)</a:t>
                      </a:r>
                    </a:p>
                  </a:txBody>
                  <a:tcPr marL="86171" marR="86171" marT="43086" marB="43086"/>
                </a:tc>
                <a:tc>
                  <a:txBody>
                    <a:bodyPr/>
                    <a:lstStyle/>
                    <a:p>
                      <a:r>
                        <a:rPr lang="en-US" sz="2200" dirty="0"/>
                        <a:t>ARM</a:t>
                      </a:r>
                    </a:p>
                  </a:txBody>
                  <a:tcPr marL="86171" marR="86171" marT="43086" marB="43086"/>
                </a:tc>
                <a:tc>
                  <a:txBody>
                    <a:bodyPr/>
                    <a:lstStyle/>
                    <a:p>
                      <a:r>
                        <a:rPr lang="en-US" sz="2200" dirty="0"/>
                        <a:t>Private</a:t>
                      </a:r>
                    </a:p>
                  </a:txBody>
                  <a:tcPr marL="86171" marR="86171" marT="43086" marB="43086"/>
                </a:tc>
                <a:tc>
                  <a:txBody>
                    <a:bodyPr/>
                    <a:lstStyle/>
                    <a:p>
                      <a:r>
                        <a:rPr lang="en-US" sz="2200" dirty="0" err="1"/>
                        <a:t>VNet</a:t>
                      </a:r>
                      <a:r>
                        <a:rPr lang="en-US" sz="2200" dirty="0"/>
                        <a:t>(S2S, ER), Relay</a:t>
                      </a:r>
                    </a:p>
                  </a:txBody>
                  <a:tcPr marL="86171" marR="86171" marT="43086" marB="43086"/>
                </a:tc>
                <a:extLst>
                  <a:ext uri="{0D108BD9-81ED-4DB2-BD59-A6C34878D82A}">
                    <a16:rowId xmlns:a16="http://schemas.microsoft.com/office/drawing/2014/main" val="789102901"/>
                  </a:ext>
                </a:extLst>
              </a:tr>
              <a:tr h="430861">
                <a:tc>
                  <a:txBody>
                    <a:bodyPr/>
                    <a:lstStyle/>
                    <a:p>
                      <a:pPr lvl="1"/>
                      <a:r>
                        <a:rPr lang="en-US" sz="2200" b="0" i="0" dirty="0">
                          <a:latin typeface="Segoe UI Semibold" panose="020B0702040204020203" pitchFamily="34" charset="0"/>
                          <a:cs typeface="Segoe UI Semibold" panose="020B0702040204020203" pitchFamily="34" charset="0"/>
                        </a:rPr>
                        <a:t>Mobile</a:t>
                      </a:r>
                    </a:p>
                  </a:txBody>
                  <a:tcPr marL="86171" marR="86171" marT="43086" marB="43086"/>
                </a:tc>
                <a:tc>
                  <a:txBody>
                    <a:bodyPr/>
                    <a:lstStyle/>
                    <a:p>
                      <a:r>
                        <a:rPr lang="en-US" sz="2200" dirty="0"/>
                        <a:t>ARM</a:t>
                      </a:r>
                    </a:p>
                  </a:txBody>
                  <a:tcPr marL="86171" marR="86171" marT="43086" marB="43086"/>
                </a:tc>
                <a:tc>
                  <a:txBody>
                    <a:bodyPr/>
                    <a:lstStyle/>
                    <a:p>
                      <a:r>
                        <a:rPr lang="en-US" sz="2200" dirty="0"/>
                        <a:t>Private</a:t>
                      </a:r>
                    </a:p>
                  </a:txBody>
                  <a:tcPr marL="86171" marR="86171" marT="43086" marB="43086"/>
                </a:tc>
                <a:tc>
                  <a:txBody>
                    <a:bodyPr/>
                    <a:lstStyle/>
                    <a:p>
                      <a:r>
                        <a:rPr lang="en-US" sz="2200" dirty="0" err="1"/>
                        <a:t>VNet</a:t>
                      </a:r>
                      <a:r>
                        <a:rPr lang="en-US" sz="2200" dirty="0"/>
                        <a:t>(S2S, ER), Relay</a:t>
                      </a:r>
                    </a:p>
                  </a:txBody>
                  <a:tcPr marL="86171" marR="86171" marT="43086" marB="43086"/>
                </a:tc>
                <a:extLst>
                  <a:ext uri="{0D108BD9-81ED-4DB2-BD59-A6C34878D82A}">
                    <a16:rowId xmlns:a16="http://schemas.microsoft.com/office/drawing/2014/main" val="1931185223"/>
                  </a:ext>
                </a:extLst>
              </a:tr>
            </a:tbl>
          </a:graphicData>
        </a:graphic>
      </p:graphicFrame>
    </p:spTree>
    <p:extLst>
      <p:ext uri="{BB962C8B-B14F-4D97-AF65-F5344CB8AC3E}">
        <p14:creationId xmlns:p14="http://schemas.microsoft.com/office/powerpoint/2010/main" val="426713009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4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Title 4"/>
          <p:cNvSpPr>
            <a:spLocks noGrp="1"/>
          </p:cNvSpPr>
          <p:nvPr>
            <p:ph type="title"/>
          </p:nvPr>
        </p:nvSpPr>
        <p:spPr>
          <a:xfrm>
            <a:off x="366169" y="295278"/>
            <a:ext cx="11702551" cy="917575"/>
          </a:xfrm>
        </p:spPr>
        <p:txBody>
          <a:bodyPr/>
          <a:lstStyle/>
          <a:p>
            <a:r>
              <a:rPr lang="en-US" dirty="0"/>
              <a:t>Web and Mobile – Key decision points</a:t>
            </a:r>
          </a:p>
        </p:txBody>
      </p:sp>
      <p:graphicFrame>
        <p:nvGraphicFramePr>
          <p:cNvPr id="4" name="Table 3"/>
          <p:cNvGraphicFramePr>
            <a:graphicFrameLocks noGrp="1"/>
          </p:cNvGraphicFramePr>
          <p:nvPr>
            <p:extLst/>
          </p:nvPr>
        </p:nvGraphicFramePr>
        <p:xfrm>
          <a:off x="534266" y="1389322"/>
          <a:ext cx="10984338" cy="3161457"/>
        </p:xfrm>
        <a:graphic>
          <a:graphicData uri="http://schemas.openxmlformats.org/drawingml/2006/table">
            <a:tbl>
              <a:tblPr firstRow="1" bandRow="1">
                <a:tableStyleId>{F2DE63D5-997A-4646-A377-4702673A728D}</a:tableStyleId>
              </a:tblPr>
              <a:tblGrid>
                <a:gridCol w="2746084">
                  <a:extLst>
                    <a:ext uri="{9D8B030D-6E8A-4147-A177-3AD203B41FA5}">
                      <a16:colId xmlns:a16="http://schemas.microsoft.com/office/drawing/2014/main" val="3323723136"/>
                    </a:ext>
                  </a:extLst>
                </a:gridCol>
                <a:gridCol w="1982499">
                  <a:extLst>
                    <a:ext uri="{9D8B030D-6E8A-4147-A177-3AD203B41FA5}">
                      <a16:colId xmlns:a16="http://schemas.microsoft.com/office/drawing/2014/main" val="3937888222"/>
                    </a:ext>
                  </a:extLst>
                </a:gridCol>
                <a:gridCol w="2318812">
                  <a:extLst>
                    <a:ext uri="{9D8B030D-6E8A-4147-A177-3AD203B41FA5}">
                      <a16:colId xmlns:a16="http://schemas.microsoft.com/office/drawing/2014/main" val="1410519535"/>
                    </a:ext>
                  </a:extLst>
                </a:gridCol>
                <a:gridCol w="3936943">
                  <a:extLst>
                    <a:ext uri="{9D8B030D-6E8A-4147-A177-3AD203B41FA5}">
                      <a16:colId xmlns:a16="http://schemas.microsoft.com/office/drawing/2014/main" val="3764866363"/>
                    </a:ext>
                  </a:extLst>
                </a:gridCol>
              </a:tblGrid>
              <a:tr h="775549">
                <a:tc>
                  <a:txBody>
                    <a:bodyPr/>
                    <a:lstStyle/>
                    <a:p>
                      <a:r>
                        <a:rPr lang="en-US" sz="2200" b="0" i="0" dirty="0">
                          <a:latin typeface="Segoe UI Semibold" panose="020B0702040204020203" pitchFamily="34" charset="0"/>
                          <a:cs typeface="Segoe UI Semibold" panose="020B0702040204020203" pitchFamily="34" charset="0"/>
                        </a:rPr>
                        <a:t>Service name</a:t>
                      </a:r>
                    </a:p>
                  </a:txBody>
                  <a:tcPr marL="86172" marR="86172" marT="43086" marB="43086">
                    <a:solidFill>
                      <a:schemeClr val="accent1"/>
                    </a:solidFill>
                  </a:tcPr>
                </a:tc>
                <a:tc>
                  <a:txBody>
                    <a:bodyPr/>
                    <a:lstStyle/>
                    <a:p>
                      <a:r>
                        <a:rPr lang="en-US" sz="2200" b="0" i="0" dirty="0">
                          <a:latin typeface="Segoe UI Semibold" panose="020B0702040204020203" pitchFamily="34" charset="0"/>
                          <a:cs typeface="Segoe UI Semibold" panose="020B0702040204020203" pitchFamily="34" charset="0"/>
                        </a:rPr>
                        <a:t>Management</a:t>
                      </a:r>
                    </a:p>
                  </a:txBody>
                  <a:tcPr marL="86172" marR="86172" marT="43086" marB="43086">
                    <a:solidFill>
                      <a:schemeClr val="accent1"/>
                    </a:solidFill>
                  </a:tcPr>
                </a:tc>
                <a:tc>
                  <a:txBody>
                    <a:bodyPr/>
                    <a:lstStyle/>
                    <a:p>
                      <a:r>
                        <a:rPr lang="en-US" sz="2200" b="0" i="0" dirty="0">
                          <a:latin typeface="Segoe UI Semibold" panose="020B0702040204020203" pitchFamily="34" charset="0"/>
                          <a:cs typeface="Segoe UI Semibold" panose="020B0702040204020203" pitchFamily="34" charset="0"/>
                        </a:rPr>
                        <a:t>Peering (public, private, both)</a:t>
                      </a:r>
                    </a:p>
                  </a:txBody>
                  <a:tcPr marL="86172" marR="86172" marT="43086" marB="43086">
                    <a:solidFill>
                      <a:schemeClr val="accent1"/>
                    </a:solidFill>
                  </a:tcPr>
                </a:tc>
                <a:tc>
                  <a:txBody>
                    <a:bodyPr/>
                    <a:lstStyle/>
                    <a:p>
                      <a:r>
                        <a:rPr lang="en-US" sz="2200" b="0" i="0" dirty="0">
                          <a:latin typeface="Segoe UI Semibold" panose="020B0702040204020203" pitchFamily="34" charset="0"/>
                          <a:cs typeface="Segoe UI Semibold" panose="020B0702040204020203" pitchFamily="34" charset="0"/>
                        </a:rPr>
                        <a:t>Connectivity options</a:t>
                      </a:r>
                    </a:p>
                    <a:p>
                      <a:r>
                        <a:rPr lang="en-US" sz="2200" b="0" i="0" dirty="0">
                          <a:latin typeface="Segoe UI Semibold" panose="020B0702040204020203" pitchFamily="34" charset="0"/>
                          <a:cs typeface="Segoe UI Semibold" panose="020B0702040204020203" pitchFamily="34" charset="0"/>
                        </a:rPr>
                        <a:t>(To on-</a:t>
                      </a:r>
                      <a:r>
                        <a:rPr lang="en-US" sz="2200" b="0" i="0" dirty="0" err="1">
                          <a:latin typeface="Segoe UI Semibold" panose="020B0702040204020203" pitchFamily="34" charset="0"/>
                          <a:cs typeface="Segoe UI Semibold" panose="020B0702040204020203" pitchFamily="34" charset="0"/>
                        </a:rPr>
                        <a:t>prem</a:t>
                      </a:r>
                      <a:r>
                        <a:rPr lang="en-US" sz="2200" b="0" i="0" dirty="0">
                          <a:latin typeface="Segoe UI Semibold" panose="020B0702040204020203" pitchFamily="34" charset="0"/>
                          <a:cs typeface="Segoe UI Semibold" panose="020B0702040204020203" pitchFamily="34" charset="0"/>
                        </a:rPr>
                        <a:t> resources)</a:t>
                      </a:r>
                    </a:p>
                  </a:txBody>
                  <a:tcPr marL="86172" marR="86172" marT="43086" marB="43086">
                    <a:solidFill>
                      <a:schemeClr val="accent1"/>
                    </a:solidFill>
                  </a:tcPr>
                </a:tc>
                <a:extLst>
                  <a:ext uri="{0D108BD9-81ED-4DB2-BD59-A6C34878D82A}">
                    <a16:rowId xmlns:a16="http://schemas.microsoft.com/office/drawing/2014/main" val="3157971493"/>
                  </a:ext>
                </a:extLst>
              </a:tr>
              <a:tr h="762093">
                <a:tc>
                  <a:txBody>
                    <a:bodyPr/>
                    <a:lstStyle/>
                    <a:p>
                      <a:r>
                        <a:rPr lang="en-US" sz="2200" b="0" i="0" dirty="0">
                          <a:latin typeface="Segoe UI Semibold" panose="020B0702040204020203" pitchFamily="34" charset="0"/>
                          <a:cs typeface="Segoe UI Semibold" panose="020B0702040204020203" pitchFamily="34" charset="0"/>
                        </a:rPr>
                        <a:t>Functions</a:t>
                      </a:r>
                    </a:p>
                  </a:txBody>
                  <a:tcPr marL="86172" marR="86172" marT="43086" marB="43086"/>
                </a:tc>
                <a:tc>
                  <a:txBody>
                    <a:bodyPr/>
                    <a:lstStyle/>
                    <a:p>
                      <a:r>
                        <a:rPr lang="en-US" sz="2200" dirty="0"/>
                        <a:t>ARM (template)</a:t>
                      </a:r>
                    </a:p>
                  </a:txBody>
                  <a:tcPr marL="86172" marR="86172" marT="43086" marB="43086"/>
                </a:tc>
                <a:tc>
                  <a:txBody>
                    <a:bodyPr/>
                    <a:lstStyle/>
                    <a:p>
                      <a:r>
                        <a:rPr lang="en-US" sz="2200" dirty="0"/>
                        <a:t>Public</a:t>
                      </a:r>
                    </a:p>
                  </a:txBody>
                  <a:tcPr marL="86172" marR="86172" marT="43086" marB="43086"/>
                </a:tc>
                <a:tc>
                  <a:txBody>
                    <a:bodyPr/>
                    <a:lstStyle/>
                    <a:p>
                      <a:pPr marL="0" marR="0" lvl="0" indent="0" algn="l" defTabSz="768113" rtl="0" eaLnBrk="1" fontAlgn="auto" latinLnBrk="0" hangingPunct="1">
                        <a:lnSpc>
                          <a:spcPct val="100000"/>
                        </a:lnSpc>
                        <a:spcBef>
                          <a:spcPts val="0"/>
                        </a:spcBef>
                        <a:spcAft>
                          <a:spcPts val="0"/>
                        </a:spcAft>
                        <a:buClrTx/>
                        <a:buSzTx/>
                        <a:buFontTx/>
                        <a:buNone/>
                        <a:tabLst/>
                        <a:defRPr/>
                      </a:pPr>
                      <a:r>
                        <a:rPr lang="en-US" sz="2200" dirty="0"/>
                        <a:t>-</a:t>
                      </a:r>
                    </a:p>
                  </a:txBody>
                  <a:tcPr marL="86172" marR="86172" marT="43086" marB="43086"/>
                </a:tc>
                <a:extLst>
                  <a:ext uri="{0D108BD9-81ED-4DB2-BD59-A6C34878D82A}">
                    <a16:rowId xmlns:a16="http://schemas.microsoft.com/office/drawing/2014/main" val="699877848"/>
                  </a:ext>
                </a:extLst>
              </a:tr>
              <a:tr h="762093">
                <a:tc>
                  <a:txBody>
                    <a:bodyPr/>
                    <a:lstStyle/>
                    <a:p>
                      <a:r>
                        <a:rPr lang="en-US" sz="2200" b="0" i="0" dirty="0">
                          <a:latin typeface="Segoe UI Semibold" panose="020B0702040204020203" pitchFamily="34" charset="0"/>
                          <a:cs typeface="Segoe UI Semibold" panose="020B0702040204020203" pitchFamily="34" charset="0"/>
                        </a:rPr>
                        <a:t>Mobile Engagement</a:t>
                      </a:r>
                    </a:p>
                  </a:txBody>
                  <a:tcPr marL="86172" marR="86172" marT="43086" marB="43086"/>
                </a:tc>
                <a:tc>
                  <a:txBody>
                    <a:bodyPr/>
                    <a:lstStyle/>
                    <a:p>
                      <a:r>
                        <a:rPr lang="en-US" sz="2200" dirty="0"/>
                        <a:t>-</a:t>
                      </a:r>
                    </a:p>
                  </a:txBody>
                  <a:tcPr marL="86172" marR="86172" marT="43086" marB="43086"/>
                </a:tc>
                <a:tc>
                  <a:txBody>
                    <a:bodyPr/>
                    <a:lstStyle/>
                    <a:p>
                      <a:r>
                        <a:rPr lang="en-US" sz="2200" dirty="0"/>
                        <a:t>Public</a:t>
                      </a:r>
                    </a:p>
                  </a:txBody>
                  <a:tcPr marL="86172" marR="86172" marT="43086" marB="43086"/>
                </a:tc>
                <a:tc>
                  <a:txBody>
                    <a:bodyPr/>
                    <a:lstStyle/>
                    <a:p>
                      <a:r>
                        <a:rPr lang="en-US" sz="2200" dirty="0"/>
                        <a:t>-</a:t>
                      </a:r>
                    </a:p>
                  </a:txBody>
                  <a:tcPr marL="86172" marR="86172" marT="43086" marB="43086"/>
                </a:tc>
                <a:extLst>
                  <a:ext uri="{0D108BD9-81ED-4DB2-BD59-A6C34878D82A}">
                    <a16:rowId xmlns:a16="http://schemas.microsoft.com/office/drawing/2014/main" val="787244131"/>
                  </a:ext>
                </a:extLst>
              </a:tr>
              <a:tr h="430861">
                <a:tc>
                  <a:txBody>
                    <a:bodyPr/>
                    <a:lstStyle/>
                    <a:p>
                      <a:r>
                        <a:rPr lang="en-US" sz="2200" b="0" i="0" dirty="0">
                          <a:latin typeface="Segoe UI Semibold" panose="020B0702040204020203" pitchFamily="34" charset="0"/>
                          <a:cs typeface="Segoe UI Semibold" panose="020B0702040204020203" pitchFamily="34" charset="0"/>
                        </a:rPr>
                        <a:t>API Management</a:t>
                      </a:r>
                    </a:p>
                  </a:txBody>
                  <a:tcPr marL="86172" marR="86172" marT="43086" marB="43086"/>
                </a:tc>
                <a:tc>
                  <a:txBody>
                    <a:bodyPr/>
                    <a:lstStyle/>
                    <a:p>
                      <a:r>
                        <a:rPr lang="en-US" sz="2200" dirty="0"/>
                        <a:t>ASM/ARM</a:t>
                      </a:r>
                    </a:p>
                  </a:txBody>
                  <a:tcPr marL="86172" marR="86172" marT="43086" marB="43086"/>
                </a:tc>
                <a:tc>
                  <a:txBody>
                    <a:bodyPr/>
                    <a:lstStyle/>
                    <a:p>
                      <a:r>
                        <a:rPr lang="en-US" sz="2200" dirty="0"/>
                        <a:t>Public</a:t>
                      </a:r>
                    </a:p>
                  </a:txBody>
                  <a:tcPr marL="86172" marR="86172" marT="43086" marB="43086"/>
                </a:tc>
                <a:tc>
                  <a:txBody>
                    <a:bodyPr/>
                    <a:lstStyle/>
                    <a:p>
                      <a:pPr marL="0" marR="0" lvl="0" indent="0" algn="l" defTabSz="768113" rtl="0" eaLnBrk="1" fontAlgn="auto" latinLnBrk="0" hangingPunct="1">
                        <a:lnSpc>
                          <a:spcPct val="100000"/>
                        </a:lnSpc>
                        <a:spcBef>
                          <a:spcPts val="0"/>
                        </a:spcBef>
                        <a:spcAft>
                          <a:spcPts val="0"/>
                        </a:spcAft>
                        <a:buClrTx/>
                        <a:buSzTx/>
                        <a:buFontTx/>
                        <a:buNone/>
                        <a:tabLst/>
                        <a:defRPr/>
                      </a:pPr>
                      <a:r>
                        <a:rPr lang="en-US" sz="2200" dirty="0" err="1"/>
                        <a:t>VNet</a:t>
                      </a:r>
                      <a:r>
                        <a:rPr lang="en-US" sz="2200" dirty="0"/>
                        <a:t> (v1/classic only), ER</a:t>
                      </a:r>
                    </a:p>
                  </a:txBody>
                  <a:tcPr marL="86172" marR="86172" marT="43086" marB="43086"/>
                </a:tc>
                <a:extLst>
                  <a:ext uri="{0D108BD9-81ED-4DB2-BD59-A6C34878D82A}">
                    <a16:rowId xmlns:a16="http://schemas.microsoft.com/office/drawing/2014/main" val="4133688658"/>
                  </a:ext>
                </a:extLst>
              </a:tr>
              <a:tr h="430861">
                <a:tc>
                  <a:txBody>
                    <a:bodyPr/>
                    <a:lstStyle/>
                    <a:p>
                      <a:r>
                        <a:rPr lang="en-US" sz="2200" b="0" i="0" dirty="0">
                          <a:latin typeface="Segoe UI Semibold" panose="020B0702040204020203" pitchFamily="34" charset="0"/>
                          <a:cs typeface="Segoe UI Semibold" panose="020B0702040204020203" pitchFamily="34" charset="0"/>
                        </a:rPr>
                        <a:t>Notification Hubs</a:t>
                      </a:r>
                    </a:p>
                  </a:txBody>
                  <a:tcPr marL="86172" marR="86172" marT="43086" marB="43086"/>
                </a:tc>
                <a:tc>
                  <a:txBody>
                    <a:bodyPr/>
                    <a:lstStyle/>
                    <a:p>
                      <a:r>
                        <a:rPr lang="en-US" sz="2200" dirty="0"/>
                        <a:t>ARM</a:t>
                      </a:r>
                    </a:p>
                  </a:txBody>
                  <a:tcPr marL="86172" marR="86172" marT="43086" marB="43086"/>
                </a:tc>
                <a:tc>
                  <a:txBody>
                    <a:bodyPr/>
                    <a:lstStyle/>
                    <a:p>
                      <a:r>
                        <a:rPr lang="en-US" sz="2200" dirty="0"/>
                        <a:t>Public</a:t>
                      </a:r>
                    </a:p>
                  </a:txBody>
                  <a:tcPr marL="86172" marR="86172" marT="43086" marB="43086"/>
                </a:tc>
                <a:tc>
                  <a:txBody>
                    <a:bodyPr/>
                    <a:lstStyle/>
                    <a:p>
                      <a:r>
                        <a:rPr lang="en-US" sz="2200" dirty="0"/>
                        <a:t>-</a:t>
                      </a:r>
                    </a:p>
                  </a:txBody>
                  <a:tcPr marL="86172" marR="86172" marT="43086" marB="43086"/>
                </a:tc>
                <a:extLst>
                  <a:ext uri="{0D108BD9-81ED-4DB2-BD59-A6C34878D82A}">
                    <a16:rowId xmlns:a16="http://schemas.microsoft.com/office/drawing/2014/main" val="1987288546"/>
                  </a:ext>
                </a:extLst>
              </a:tr>
            </a:tbl>
          </a:graphicData>
        </a:graphic>
      </p:graphicFrame>
    </p:spTree>
    <p:extLst>
      <p:ext uri="{BB962C8B-B14F-4D97-AF65-F5344CB8AC3E}">
        <p14:creationId xmlns:p14="http://schemas.microsoft.com/office/powerpoint/2010/main" val="39696887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4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8" name="Table 7"/>
          <p:cNvGraphicFramePr>
            <a:graphicFrameLocks noGrp="1"/>
          </p:cNvGraphicFramePr>
          <p:nvPr>
            <p:extLst/>
          </p:nvPr>
        </p:nvGraphicFramePr>
        <p:xfrm>
          <a:off x="547010" y="1389323"/>
          <a:ext cx="10971595" cy="4523741"/>
        </p:xfrm>
        <a:graphic>
          <a:graphicData uri="http://schemas.openxmlformats.org/drawingml/2006/table">
            <a:tbl>
              <a:tblPr firstRow="1" bandRow="1">
                <a:tableStyleId>{F2DE63D5-997A-4646-A377-4702673A728D}</a:tableStyleId>
              </a:tblPr>
              <a:tblGrid>
                <a:gridCol w="3068221">
                  <a:extLst>
                    <a:ext uri="{9D8B030D-6E8A-4147-A177-3AD203B41FA5}">
                      <a16:colId xmlns:a16="http://schemas.microsoft.com/office/drawing/2014/main" val="3323723136"/>
                    </a:ext>
                  </a:extLst>
                </a:gridCol>
                <a:gridCol w="3709586">
                  <a:extLst>
                    <a:ext uri="{9D8B030D-6E8A-4147-A177-3AD203B41FA5}">
                      <a16:colId xmlns:a16="http://schemas.microsoft.com/office/drawing/2014/main" val="3937888222"/>
                    </a:ext>
                  </a:extLst>
                </a:gridCol>
                <a:gridCol w="4193788">
                  <a:extLst>
                    <a:ext uri="{9D8B030D-6E8A-4147-A177-3AD203B41FA5}">
                      <a16:colId xmlns:a16="http://schemas.microsoft.com/office/drawing/2014/main" val="1410519535"/>
                    </a:ext>
                  </a:extLst>
                </a:gridCol>
              </a:tblGrid>
              <a:tr h="650492">
                <a:tc>
                  <a:txBody>
                    <a:bodyPr/>
                    <a:lstStyle/>
                    <a:p>
                      <a:r>
                        <a:rPr lang="en-US" sz="2200" b="0" i="0" dirty="0">
                          <a:latin typeface="Segoe UI Semibold" panose="020B0702040204020203" pitchFamily="34" charset="0"/>
                          <a:cs typeface="Segoe UI Semibold" panose="020B0702040204020203" pitchFamily="34" charset="0"/>
                        </a:rPr>
                        <a:t>Service name</a:t>
                      </a:r>
                    </a:p>
                  </a:txBody>
                  <a:tcPr marL="86072" marR="86072" marT="43036" marB="43036">
                    <a:solidFill>
                      <a:schemeClr val="accent1"/>
                    </a:solidFill>
                  </a:tcPr>
                </a:tc>
                <a:tc>
                  <a:txBody>
                    <a:bodyPr/>
                    <a:lstStyle/>
                    <a:p>
                      <a:r>
                        <a:rPr lang="en-US" sz="2200" b="0" i="0" dirty="0">
                          <a:latin typeface="Segoe UI Semibold" panose="020B0702040204020203" pitchFamily="34" charset="0"/>
                          <a:cs typeface="Segoe UI Semibold" panose="020B0702040204020203" pitchFamily="34" charset="0"/>
                        </a:rPr>
                        <a:t>Service level</a:t>
                      </a:r>
                    </a:p>
                  </a:txBody>
                  <a:tcPr marL="86072" marR="86072" marT="43036" marB="43036">
                    <a:solidFill>
                      <a:schemeClr val="accent1"/>
                    </a:solidFill>
                  </a:tcPr>
                </a:tc>
                <a:tc>
                  <a:txBody>
                    <a:bodyPr/>
                    <a:lstStyle/>
                    <a:p>
                      <a:r>
                        <a:rPr lang="en-US" sz="2200" b="0" i="0" dirty="0">
                          <a:latin typeface="Segoe UI Semibold" panose="020B0702040204020203" pitchFamily="34" charset="0"/>
                          <a:cs typeface="Segoe UI Semibold" panose="020B0702040204020203" pitchFamily="34" charset="0"/>
                        </a:rPr>
                        <a:t>Subscription</a:t>
                      </a:r>
                      <a:r>
                        <a:rPr lang="en-US" sz="2200" b="0" i="0" baseline="0" dirty="0">
                          <a:latin typeface="Segoe UI Semibold" panose="020B0702040204020203" pitchFamily="34" charset="0"/>
                          <a:cs typeface="Segoe UI Semibold" panose="020B0702040204020203" pitchFamily="34" charset="0"/>
                        </a:rPr>
                        <a:t> level</a:t>
                      </a:r>
                      <a:endParaRPr lang="en-US" sz="2200" b="0" i="0" dirty="0">
                        <a:latin typeface="Segoe UI Semibold" panose="020B0702040204020203" pitchFamily="34" charset="0"/>
                        <a:cs typeface="Segoe UI Semibold" panose="020B0702040204020203" pitchFamily="34" charset="0"/>
                      </a:endParaRPr>
                    </a:p>
                  </a:txBody>
                  <a:tcPr marL="86072" marR="86072" marT="43036" marB="43036">
                    <a:solidFill>
                      <a:schemeClr val="accent1"/>
                    </a:solidFill>
                  </a:tcPr>
                </a:tc>
                <a:extLst>
                  <a:ext uri="{0D108BD9-81ED-4DB2-BD59-A6C34878D82A}">
                    <a16:rowId xmlns:a16="http://schemas.microsoft.com/office/drawing/2014/main" val="3157971493"/>
                  </a:ext>
                </a:extLst>
              </a:tr>
              <a:tr h="430361">
                <a:tc>
                  <a:txBody>
                    <a:bodyPr/>
                    <a:lstStyle/>
                    <a:p>
                      <a:r>
                        <a:rPr lang="en-US" sz="2200" b="0" i="0" dirty="0">
                          <a:latin typeface="Segoe UI Semibold" panose="020B0702040204020203" pitchFamily="34" charset="0"/>
                          <a:cs typeface="Segoe UI Semibold" panose="020B0702040204020203" pitchFamily="34" charset="0"/>
                        </a:rPr>
                        <a:t>App Services</a:t>
                      </a:r>
                    </a:p>
                  </a:txBody>
                  <a:tcPr marL="86072" marR="86072" marT="43036" marB="43036"/>
                </a:tc>
                <a:tc>
                  <a:txBody>
                    <a:bodyPr/>
                    <a:lstStyle/>
                    <a:p>
                      <a:endParaRPr lang="en-US" sz="2200" dirty="0"/>
                    </a:p>
                  </a:txBody>
                  <a:tcPr marL="86072" marR="86072" marT="43036" marB="43036"/>
                </a:tc>
                <a:tc>
                  <a:txBody>
                    <a:bodyPr/>
                    <a:lstStyle/>
                    <a:p>
                      <a:endParaRPr lang="en-US" sz="2200" dirty="0"/>
                    </a:p>
                  </a:txBody>
                  <a:tcPr marL="86072" marR="86072" marT="43036" marB="43036"/>
                </a:tc>
                <a:extLst>
                  <a:ext uri="{0D108BD9-81ED-4DB2-BD59-A6C34878D82A}">
                    <a16:rowId xmlns:a16="http://schemas.microsoft.com/office/drawing/2014/main" val="4133688658"/>
                  </a:ext>
                </a:extLst>
              </a:tr>
              <a:tr h="430361">
                <a:tc>
                  <a:txBody>
                    <a:bodyPr/>
                    <a:lstStyle/>
                    <a:p>
                      <a:pPr lvl="1"/>
                      <a:r>
                        <a:rPr lang="en-US" sz="2200" b="0" i="0" dirty="0">
                          <a:latin typeface="Segoe UI Semibold" panose="020B0702040204020203" pitchFamily="34" charset="0"/>
                          <a:cs typeface="Segoe UI Semibold" panose="020B0702040204020203" pitchFamily="34" charset="0"/>
                        </a:rPr>
                        <a:t>Web</a:t>
                      </a:r>
                    </a:p>
                  </a:txBody>
                  <a:tcPr marL="86072" marR="86072" marT="43036" marB="43036"/>
                </a:tc>
                <a:tc>
                  <a:txBody>
                    <a:bodyPr/>
                    <a:lstStyle/>
                    <a:p>
                      <a:r>
                        <a:rPr lang="en-US" sz="2200" dirty="0"/>
                        <a:t>Varies by </a:t>
                      </a:r>
                      <a:r>
                        <a:rPr lang="en-US" sz="2200" dirty="0" err="1"/>
                        <a:t>sku</a:t>
                      </a:r>
                      <a:r>
                        <a:rPr lang="en-US" sz="2200" dirty="0"/>
                        <a:t>/edition</a:t>
                      </a:r>
                    </a:p>
                  </a:txBody>
                  <a:tcPr marL="86072" marR="86072" marT="43036" marB="43036"/>
                </a:tc>
                <a:tc>
                  <a:txBody>
                    <a:bodyPr/>
                    <a:lstStyle/>
                    <a:p>
                      <a:r>
                        <a:rPr lang="en-US" sz="2200" dirty="0"/>
                        <a:t>-</a:t>
                      </a:r>
                    </a:p>
                  </a:txBody>
                  <a:tcPr marL="86072" marR="86072" marT="43036" marB="43036"/>
                </a:tc>
                <a:extLst>
                  <a:ext uri="{0D108BD9-81ED-4DB2-BD59-A6C34878D82A}">
                    <a16:rowId xmlns:a16="http://schemas.microsoft.com/office/drawing/2014/main" val="1987288546"/>
                  </a:ext>
                </a:extLst>
              </a:tr>
              <a:tr h="430361">
                <a:tc>
                  <a:txBody>
                    <a:bodyPr/>
                    <a:lstStyle/>
                    <a:p>
                      <a:pPr lvl="1"/>
                      <a:r>
                        <a:rPr lang="en-US" sz="2200" b="0" i="0" dirty="0">
                          <a:latin typeface="Segoe UI Semibold" panose="020B0702040204020203" pitchFamily="34" charset="0"/>
                          <a:cs typeface="Segoe UI Semibold" panose="020B0702040204020203" pitchFamily="34" charset="0"/>
                        </a:rPr>
                        <a:t>API (v2)</a:t>
                      </a:r>
                    </a:p>
                  </a:txBody>
                  <a:tcPr marL="86072" marR="86072" marT="43036" marB="43036"/>
                </a:tc>
                <a:tc>
                  <a:txBody>
                    <a:bodyPr/>
                    <a:lstStyle/>
                    <a:p>
                      <a:r>
                        <a:rPr lang="en-US" sz="2200" dirty="0"/>
                        <a:t>Varies by </a:t>
                      </a:r>
                      <a:r>
                        <a:rPr lang="en-US" sz="2200" dirty="0" err="1"/>
                        <a:t>sku</a:t>
                      </a:r>
                      <a:r>
                        <a:rPr lang="en-US" sz="2200" dirty="0"/>
                        <a:t>/edition</a:t>
                      </a:r>
                      <a:endParaRPr lang="en-US" sz="2200" b="1" dirty="0">
                        <a:solidFill>
                          <a:srgbClr val="FF0000"/>
                        </a:solidFill>
                      </a:endParaRPr>
                    </a:p>
                  </a:txBody>
                  <a:tcPr marL="86072" marR="86072" marT="43036" marB="43036"/>
                </a:tc>
                <a:tc>
                  <a:txBody>
                    <a:bodyPr/>
                    <a:lstStyle/>
                    <a:p>
                      <a:r>
                        <a:rPr lang="en-US" sz="2200" dirty="0"/>
                        <a:t>-</a:t>
                      </a:r>
                    </a:p>
                  </a:txBody>
                  <a:tcPr marL="86072" marR="86072" marT="43036" marB="43036"/>
                </a:tc>
                <a:extLst>
                  <a:ext uri="{0D108BD9-81ED-4DB2-BD59-A6C34878D82A}">
                    <a16:rowId xmlns:a16="http://schemas.microsoft.com/office/drawing/2014/main" val="1094197510"/>
                  </a:ext>
                </a:extLst>
              </a:tr>
              <a:tr h="430361">
                <a:tc>
                  <a:txBody>
                    <a:bodyPr/>
                    <a:lstStyle/>
                    <a:p>
                      <a:pPr lvl="1"/>
                      <a:r>
                        <a:rPr lang="en-US" sz="2200" b="0" i="0" dirty="0">
                          <a:latin typeface="Segoe UI Semibold" panose="020B0702040204020203" pitchFamily="34" charset="0"/>
                          <a:cs typeface="Segoe UI Semibold" panose="020B0702040204020203" pitchFamily="34" charset="0"/>
                        </a:rPr>
                        <a:t>Mobile</a:t>
                      </a:r>
                    </a:p>
                  </a:txBody>
                  <a:tcPr marL="86072" marR="86072" marT="43036" marB="43036"/>
                </a:tc>
                <a:tc>
                  <a:txBody>
                    <a:bodyPr/>
                    <a:lstStyle/>
                    <a:p>
                      <a:r>
                        <a:rPr lang="en-US" sz="2200" dirty="0"/>
                        <a:t>Varies by </a:t>
                      </a:r>
                      <a:r>
                        <a:rPr lang="en-US" sz="2200" dirty="0" err="1"/>
                        <a:t>sku</a:t>
                      </a:r>
                      <a:r>
                        <a:rPr lang="en-US" sz="2200" dirty="0"/>
                        <a:t>/edition</a:t>
                      </a:r>
                    </a:p>
                  </a:txBody>
                  <a:tcPr marL="86072" marR="86072" marT="43036" marB="43036"/>
                </a:tc>
                <a:tc>
                  <a:txBody>
                    <a:bodyPr/>
                    <a:lstStyle/>
                    <a:p>
                      <a:r>
                        <a:rPr lang="en-US" sz="2200" dirty="0"/>
                        <a:t>-</a:t>
                      </a:r>
                    </a:p>
                  </a:txBody>
                  <a:tcPr marL="86072" marR="86072" marT="43036" marB="43036"/>
                </a:tc>
                <a:extLst>
                  <a:ext uri="{0D108BD9-81ED-4DB2-BD59-A6C34878D82A}">
                    <a16:rowId xmlns:a16="http://schemas.microsoft.com/office/drawing/2014/main" val="2747725307"/>
                  </a:ext>
                </a:extLst>
              </a:tr>
              <a:tr h="430361">
                <a:tc>
                  <a:txBody>
                    <a:bodyPr/>
                    <a:lstStyle/>
                    <a:p>
                      <a:pPr lvl="1"/>
                      <a:r>
                        <a:rPr lang="en-US" sz="2200" b="0" i="0" dirty="0">
                          <a:latin typeface="Segoe UI Semibold" panose="020B0702040204020203" pitchFamily="34" charset="0"/>
                          <a:cs typeface="Segoe UI Semibold" panose="020B0702040204020203" pitchFamily="34" charset="0"/>
                        </a:rPr>
                        <a:t>Logic</a:t>
                      </a:r>
                    </a:p>
                  </a:txBody>
                  <a:tcPr marL="86072" marR="86072" marT="43036" marB="43036"/>
                </a:tc>
                <a:tc>
                  <a:txBody>
                    <a:bodyPr/>
                    <a:lstStyle/>
                    <a:p>
                      <a:r>
                        <a:rPr lang="en-US" sz="2200" dirty="0"/>
                        <a:t>Varies by </a:t>
                      </a:r>
                      <a:r>
                        <a:rPr lang="en-US" sz="2200" dirty="0" err="1"/>
                        <a:t>sku</a:t>
                      </a:r>
                      <a:r>
                        <a:rPr lang="en-US" sz="2200" dirty="0"/>
                        <a:t>/edition</a:t>
                      </a:r>
                    </a:p>
                  </a:txBody>
                  <a:tcPr marL="86072" marR="86072" marT="43036" marB="43036"/>
                </a:tc>
                <a:tc>
                  <a:txBody>
                    <a:bodyPr/>
                    <a:lstStyle/>
                    <a:p>
                      <a:r>
                        <a:rPr lang="en-US" sz="2200" dirty="0"/>
                        <a:t>-</a:t>
                      </a:r>
                    </a:p>
                  </a:txBody>
                  <a:tcPr marL="86072" marR="86072" marT="43036" marB="43036"/>
                </a:tc>
                <a:extLst>
                  <a:ext uri="{0D108BD9-81ED-4DB2-BD59-A6C34878D82A}">
                    <a16:rowId xmlns:a16="http://schemas.microsoft.com/office/drawing/2014/main" val="4183746000"/>
                  </a:ext>
                </a:extLst>
              </a:tr>
              <a:tr h="430361">
                <a:tc>
                  <a:txBody>
                    <a:bodyPr/>
                    <a:lstStyle/>
                    <a:p>
                      <a:r>
                        <a:rPr lang="en-US" sz="2200" b="0" i="0" dirty="0">
                          <a:latin typeface="Segoe UI Semibold" panose="020B0702040204020203" pitchFamily="34" charset="0"/>
                          <a:cs typeface="Segoe UI Semibold" panose="020B0702040204020203" pitchFamily="34" charset="0"/>
                        </a:rPr>
                        <a:t>ASE</a:t>
                      </a:r>
                    </a:p>
                  </a:txBody>
                  <a:tcPr marL="86072" marR="86072" marT="43036" marB="43036"/>
                </a:tc>
                <a:tc>
                  <a:txBody>
                    <a:bodyPr/>
                    <a:lstStyle/>
                    <a:p>
                      <a:endParaRPr lang="en-US" sz="2200" dirty="0"/>
                    </a:p>
                  </a:txBody>
                  <a:tcPr marL="86072" marR="86072" marT="43036" marB="43036"/>
                </a:tc>
                <a:tc>
                  <a:txBody>
                    <a:bodyPr/>
                    <a:lstStyle/>
                    <a:p>
                      <a:endParaRPr lang="en-US" sz="2200" dirty="0"/>
                    </a:p>
                  </a:txBody>
                  <a:tcPr marL="86072" marR="86072" marT="43036" marB="43036"/>
                </a:tc>
                <a:extLst>
                  <a:ext uri="{0D108BD9-81ED-4DB2-BD59-A6C34878D82A}">
                    <a16:rowId xmlns:a16="http://schemas.microsoft.com/office/drawing/2014/main" val="1616361047"/>
                  </a:ext>
                </a:extLst>
              </a:tr>
              <a:tr h="430361">
                <a:tc>
                  <a:txBody>
                    <a:bodyPr/>
                    <a:lstStyle/>
                    <a:p>
                      <a:pPr lvl="1"/>
                      <a:r>
                        <a:rPr lang="en-US" sz="2200" b="0" i="0" dirty="0">
                          <a:latin typeface="Segoe UI Semibold" panose="020B0702040204020203" pitchFamily="34" charset="0"/>
                          <a:cs typeface="Segoe UI Semibold" panose="020B0702040204020203" pitchFamily="34" charset="0"/>
                        </a:rPr>
                        <a:t>Web</a:t>
                      </a:r>
                    </a:p>
                  </a:txBody>
                  <a:tcPr marL="86072" marR="86072" marT="43036" marB="43036"/>
                </a:tc>
                <a:tc>
                  <a:txBody>
                    <a:bodyPr/>
                    <a:lstStyle/>
                    <a:p>
                      <a:r>
                        <a:rPr lang="en-US" sz="2200" dirty="0"/>
                        <a:t>-</a:t>
                      </a:r>
                    </a:p>
                  </a:txBody>
                  <a:tcPr marL="86072" marR="86072" marT="43036" marB="43036"/>
                </a:tc>
                <a:tc>
                  <a:txBody>
                    <a:bodyPr/>
                    <a:lstStyle/>
                    <a:p>
                      <a:r>
                        <a:rPr lang="en-US" sz="2200" dirty="0"/>
                        <a:t>-</a:t>
                      </a:r>
                    </a:p>
                  </a:txBody>
                  <a:tcPr marL="86072" marR="86072" marT="43036" marB="43036"/>
                </a:tc>
                <a:extLst>
                  <a:ext uri="{0D108BD9-81ED-4DB2-BD59-A6C34878D82A}">
                    <a16:rowId xmlns:a16="http://schemas.microsoft.com/office/drawing/2014/main" val="2541156677"/>
                  </a:ext>
                </a:extLst>
              </a:tr>
              <a:tr h="430361">
                <a:tc>
                  <a:txBody>
                    <a:bodyPr/>
                    <a:lstStyle/>
                    <a:p>
                      <a:pPr lvl="1"/>
                      <a:r>
                        <a:rPr lang="en-US" sz="2200" b="0" i="0" dirty="0">
                          <a:latin typeface="Segoe UI Semibold" panose="020B0702040204020203" pitchFamily="34" charset="0"/>
                          <a:cs typeface="Segoe UI Semibold" panose="020B0702040204020203" pitchFamily="34" charset="0"/>
                        </a:rPr>
                        <a:t>API (v2)</a:t>
                      </a:r>
                    </a:p>
                  </a:txBody>
                  <a:tcPr marL="86072" marR="86072" marT="43036" marB="43036"/>
                </a:tc>
                <a:tc>
                  <a:txBody>
                    <a:bodyPr/>
                    <a:lstStyle/>
                    <a:p>
                      <a:r>
                        <a:rPr lang="en-US" sz="2200" dirty="0"/>
                        <a:t>-</a:t>
                      </a:r>
                    </a:p>
                  </a:txBody>
                  <a:tcPr marL="86072" marR="86072" marT="43036" marB="43036"/>
                </a:tc>
                <a:tc>
                  <a:txBody>
                    <a:bodyPr/>
                    <a:lstStyle/>
                    <a:p>
                      <a:r>
                        <a:rPr lang="en-US" sz="2200" dirty="0"/>
                        <a:t>-</a:t>
                      </a:r>
                    </a:p>
                  </a:txBody>
                  <a:tcPr marL="86072" marR="86072" marT="43036" marB="43036"/>
                </a:tc>
                <a:extLst>
                  <a:ext uri="{0D108BD9-81ED-4DB2-BD59-A6C34878D82A}">
                    <a16:rowId xmlns:a16="http://schemas.microsoft.com/office/drawing/2014/main" val="431929767"/>
                  </a:ext>
                </a:extLst>
              </a:tr>
              <a:tr h="430361">
                <a:tc>
                  <a:txBody>
                    <a:bodyPr/>
                    <a:lstStyle/>
                    <a:p>
                      <a:pPr lvl="1"/>
                      <a:r>
                        <a:rPr lang="en-US" sz="2200" b="0" i="0" dirty="0">
                          <a:latin typeface="Segoe UI Semibold" panose="020B0702040204020203" pitchFamily="34" charset="0"/>
                          <a:cs typeface="Segoe UI Semibold" panose="020B0702040204020203" pitchFamily="34" charset="0"/>
                        </a:rPr>
                        <a:t>Mobile</a:t>
                      </a:r>
                    </a:p>
                  </a:txBody>
                  <a:tcPr marL="86072" marR="86072" marT="43036" marB="43036"/>
                </a:tc>
                <a:tc>
                  <a:txBody>
                    <a:bodyPr/>
                    <a:lstStyle/>
                    <a:p>
                      <a:r>
                        <a:rPr lang="en-US" sz="2200" dirty="0"/>
                        <a:t>-</a:t>
                      </a:r>
                    </a:p>
                  </a:txBody>
                  <a:tcPr marL="86072" marR="86072" marT="43036" marB="43036"/>
                </a:tc>
                <a:tc>
                  <a:txBody>
                    <a:bodyPr/>
                    <a:lstStyle/>
                    <a:p>
                      <a:r>
                        <a:rPr lang="en-US" sz="2200" dirty="0"/>
                        <a:t>-	</a:t>
                      </a:r>
                    </a:p>
                  </a:txBody>
                  <a:tcPr marL="86072" marR="86072" marT="43036" marB="43036"/>
                </a:tc>
                <a:extLst>
                  <a:ext uri="{0D108BD9-81ED-4DB2-BD59-A6C34878D82A}">
                    <a16:rowId xmlns:a16="http://schemas.microsoft.com/office/drawing/2014/main" val="2960394970"/>
                  </a:ext>
                </a:extLst>
              </a:tr>
            </a:tbl>
          </a:graphicData>
        </a:graphic>
      </p:graphicFrame>
      <p:sp>
        <p:nvSpPr>
          <p:cNvPr id="5" name="Title 4"/>
          <p:cNvSpPr>
            <a:spLocks noGrp="1"/>
          </p:cNvSpPr>
          <p:nvPr>
            <p:ph type="title"/>
          </p:nvPr>
        </p:nvSpPr>
        <p:spPr>
          <a:xfrm>
            <a:off x="366169" y="295278"/>
            <a:ext cx="11702551" cy="917575"/>
          </a:xfrm>
        </p:spPr>
        <p:txBody>
          <a:bodyPr/>
          <a:lstStyle/>
          <a:p>
            <a:r>
              <a:rPr lang="en-US" dirty="0"/>
              <a:t>Web and Mobile – Key quotas, limits</a:t>
            </a:r>
          </a:p>
        </p:txBody>
      </p:sp>
    </p:spTree>
    <p:extLst>
      <p:ext uri="{BB962C8B-B14F-4D97-AF65-F5344CB8AC3E}">
        <p14:creationId xmlns:p14="http://schemas.microsoft.com/office/powerpoint/2010/main" val="54459616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4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Title 4"/>
          <p:cNvSpPr>
            <a:spLocks noGrp="1"/>
          </p:cNvSpPr>
          <p:nvPr>
            <p:ph type="title"/>
          </p:nvPr>
        </p:nvSpPr>
        <p:spPr>
          <a:xfrm>
            <a:off x="366169" y="295278"/>
            <a:ext cx="11702551" cy="917575"/>
          </a:xfrm>
        </p:spPr>
        <p:txBody>
          <a:bodyPr/>
          <a:lstStyle/>
          <a:p>
            <a:r>
              <a:rPr lang="en-US" dirty="0"/>
              <a:t>Web and Mobile – Key quotas, limits</a:t>
            </a:r>
          </a:p>
        </p:txBody>
      </p:sp>
      <p:graphicFrame>
        <p:nvGraphicFramePr>
          <p:cNvPr id="7" name="Table 6"/>
          <p:cNvGraphicFramePr>
            <a:graphicFrameLocks noGrp="1"/>
          </p:cNvGraphicFramePr>
          <p:nvPr>
            <p:extLst/>
          </p:nvPr>
        </p:nvGraphicFramePr>
        <p:xfrm>
          <a:off x="547010" y="1389323"/>
          <a:ext cx="10971595" cy="3404800"/>
        </p:xfrm>
        <a:graphic>
          <a:graphicData uri="http://schemas.openxmlformats.org/drawingml/2006/table">
            <a:tbl>
              <a:tblPr firstRow="1" bandRow="1">
                <a:tableStyleId>{F2DE63D5-997A-4646-A377-4702673A728D}</a:tableStyleId>
              </a:tblPr>
              <a:tblGrid>
                <a:gridCol w="3068221">
                  <a:extLst>
                    <a:ext uri="{9D8B030D-6E8A-4147-A177-3AD203B41FA5}">
                      <a16:colId xmlns:a16="http://schemas.microsoft.com/office/drawing/2014/main" val="3323723136"/>
                    </a:ext>
                  </a:extLst>
                </a:gridCol>
                <a:gridCol w="3709586">
                  <a:extLst>
                    <a:ext uri="{9D8B030D-6E8A-4147-A177-3AD203B41FA5}">
                      <a16:colId xmlns:a16="http://schemas.microsoft.com/office/drawing/2014/main" val="3937888222"/>
                    </a:ext>
                  </a:extLst>
                </a:gridCol>
                <a:gridCol w="4193788">
                  <a:extLst>
                    <a:ext uri="{9D8B030D-6E8A-4147-A177-3AD203B41FA5}">
                      <a16:colId xmlns:a16="http://schemas.microsoft.com/office/drawing/2014/main" val="1410519535"/>
                    </a:ext>
                  </a:extLst>
                </a:gridCol>
              </a:tblGrid>
              <a:tr h="650492">
                <a:tc>
                  <a:txBody>
                    <a:bodyPr/>
                    <a:lstStyle/>
                    <a:p>
                      <a:r>
                        <a:rPr lang="en-US" sz="2200" b="0" i="0" dirty="0">
                          <a:latin typeface="Segoe UI Semibold" panose="020B0702040204020203" pitchFamily="34" charset="0"/>
                          <a:cs typeface="Segoe UI Semibold" panose="020B0702040204020203" pitchFamily="34" charset="0"/>
                        </a:rPr>
                        <a:t>Service name</a:t>
                      </a:r>
                    </a:p>
                  </a:txBody>
                  <a:tcPr marL="86072" marR="86072" marT="43036" marB="43036">
                    <a:solidFill>
                      <a:schemeClr val="accent1"/>
                    </a:solidFill>
                  </a:tcPr>
                </a:tc>
                <a:tc>
                  <a:txBody>
                    <a:bodyPr/>
                    <a:lstStyle/>
                    <a:p>
                      <a:r>
                        <a:rPr lang="en-US" sz="2200" b="0" i="0" dirty="0">
                          <a:latin typeface="Segoe UI Semibold" panose="020B0702040204020203" pitchFamily="34" charset="0"/>
                          <a:cs typeface="Segoe UI Semibold" panose="020B0702040204020203" pitchFamily="34" charset="0"/>
                        </a:rPr>
                        <a:t>Service level</a:t>
                      </a:r>
                    </a:p>
                  </a:txBody>
                  <a:tcPr marL="86072" marR="86072" marT="43036" marB="43036">
                    <a:solidFill>
                      <a:schemeClr val="accent1"/>
                    </a:solidFill>
                  </a:tcPr>
                </a:tc>
                <a:tc>
                  <a:txBody>
                    <a:bodyPr/>
                    <a:lstStyle/>
                    <a:p>
                      <a:r>
                        <a:rPr lang="en-US" sz="2200" b="0" i="0" dirty="0">
                          <a:latin typeface="Segoe UI Semibold" panose="020B0702040204020203" pitchFamily="34" charset="0"/>
                          <a:cs typeface="Segoe UI Semibold" panose="020B0702040204020203" pitchFamily="34" charset="0"/>
                        </a:rPr>
                        <a:t>Subscription</a:t>
                      </a:r>
                      <a:r>
                        <a:rPr lang="en-US" sz="2200" b="0" i="0" baseline="0" dirty="0">
                          <a:latin typeface="Segoe UI Semibold" panose="020B0702040204020203" pitchFamily="34" charset="0"/>
                          <a:cs typeface="Segoe UI Semibold" panose="020B0702040204020203" pitchFamily="34" charset="0"/>
                        </a:rPr>
                        <a:t> level</a:t>
                      </a:r>
                      <a:endParaRPr lang="en-US" sz="2200" b="0" i="0" dirty="0">
                        <a:latin typeface="Segoe UI Semibold" panose="020B0702040204020203" pitchFamily="34" charset="0"/>
                        <a:cs typeface="Segoe UI Semibold" panose="020B0702040204020203" pitchFamily="34" charset="0"/>
                      </a:endParaRPr>
                    </a:p>
                  </a:txBody>
                  <a:tcPr marL="86072" marR="86072" marT="43036" marB="43036">
                    <a:solidFill>
                      <a:schemeClr val="accent1"/>
                    </a:solidFill>
                  </a:tcPr>
                </a:tc>
                <a:extLst>
                  <a:ext uri="{0D108BD9-81ED-4DB2-BD59-A6C34878D82A}">
                    <a16:rowId xmlns:a16="http://schemas.microsoft.com/office/drawing/2014/main" val="3157971493"/>
                  </a:ext>
                </a:extLst>
              </a:tr>
              <a:tr h="774649">
                <a:tc>
                  <a:txBody>
                    <a:bodyPr/>
                    <a:lstStyle/>
                    <a:p>
                      <a:r>
                        <a:rPr lang="en-US" sz="2200" b="0" i="0" dirty="0">
                          <a:latin typeface="Segoe UI Semibold" panose="020B0702040204020203" pitchFamily="34" charset="0"/>
                          <a:cs typeface="Segoe UI Semibold" panose="020B0702040204020203" pitchFamily="34" charset="0"/>
                        </a:rPr>
                        <a:t>Functions</a:t>
                      </a:r>
                    </a:p>
                  </a:txBody>
                  <a:tcPr marL="86072" marR="86072" marT="43036" marB="43036"/>
                </a:tc>
                <a:tc>
                  <a:txBody>
                    <a:bodyPr/>
                    <a:lstStyle/>
                    <a:p>
                      <a:r>
                        <a:rPr lang="en-US" sz="2200" dirty="0"/>
                        <a:t>-</a:t>
                      </a:r>
                    </a:p>
                  </a:txBody>
                  <a:tcPr marL="86072" marR="86072" marT="43036" marB="43036"/>
                </a:tc>
                <a:tc>
                  <a:txBody>
                    <a:bodyPr/>
                    <a:lstStyle/>
                    <a:p>
                      <a:r>
                        <a:rPr lang="en-US" sz="2200" dirty="0"/>
                        <a:t>-</a:t>
                      </a:r>
                    </a:p>
                  </a:txBody>
                  <a:tcPr marL="86072" marR="86072" marT="43036" marB="43036"/>
                </a:tc>
                <a:extLst>
                  <a:ext uri="{0D108BD9-81ED-4DB2-BD59-A6C34878D82A}">
                    <a16:rowId xmlns:a16="http://schemas.microsoft.com/office/drawing/2014/main" val="3055841432"/>
                  </a:ext>
                </a:extLst>
              </a:tr>
              <a:tr h="774649">
                <a:tc>
                  <a:txBody>
                    <a:bodyPr/>
                    <a:lstStyle/>
                    <a:p>
                      <a:r>
                        <a:rPr lang="en-US" sz="2200" b="0" i="0" dirty="0">
                          <a:latin typeface="Segoe UI Semibold" panose="020B0702040204020203" pitchFamily="34" charset="0"/>
                          <a:cs typeface="Segoe UI Semibold" panose="020B0702040204020203" pitchFamily="34" charset="0"/>
                        </a:rPr>
                        <a:t>Mobile Engagement</a:t>
                      </a:r>
                    </a:p>
                  </a:txBody>
                  <a:tcPr marL="86072" marR="86072" marT="43036" marB="43036"/>
                </a:tc>
                <a:tc>
                  <a:txBody>
                    <a:bodyPr/>
                    <a:lstStyle/>
                    <a:p>
                      <a:r>
                        <a:rPr lang="en-US" sz="2200" dirty="0"/>
                        <a:t>Active push Campaigns = 5</a:t>
                      </a:r>
                      <a:r>
                        <a:rPr lang="en-US" sz="2200" baseline="0" dirty="0"/>
                        <a:t> per </a:t>
                      </a:r>
                      <a:r>
                        <a:rPr lang="en-US" sz="2200" dirty="0"/>
                        <a:t>App</a:t>
                      </a:r>
                    </a:p>
                  </a:txBody>
                  <a:tcPr marL="86072" marR="86072" marT="43036" marB="43036"/>
                </a:tc>
                <a:tc>
                  <a:txBody>
                    <a:bodyPr/>
                    <a:lstStyle/>
                    <a:p>
                      <a:r>
                        <a:rPr lang="en-US" sz="2200" dirty="0"/>
                        <a:t>-</a:t>
                      </a:r>
                    </a:p>
                  </a:txBody>
                  <a:tcPr marL="86072" marR="86072" marT="43036" marB="43036"/>
                </a:tc>
                <a:extLst>
                  <a:ext uri="{0D108BD9-81ED-4DB2-BD59-A6C34878D82A}">
                    <a16:rowId xmlns:a16="http://schemas.microsoft.com/office/drawing/2014/main" val="2563035896"/>
                  </a:ext>
                </a:extLst>
              </a:tr>
              <a:tr h="774649">
                <a:tc>
                  <a:txBody>
                    <a:bodyPr/>
                    <a:lstStyle/>
                    <a:p>
                      <a:r>
                        <a:rPr lang="en-US" sz="2200" b="0" i="0" dirty="0">
                          <a:latin typeface="Segoe UI Semibold" panose="020B0702040204020203" pitchFamily="34" charset="0"/>
                          <a:cs typeface="Segoe UI Semibold" panose="020B0702040204020203" pitchFamily="34" charset="0"/>
                        </a:rPr>
                        <a:t>API Management</a:t>
                      </a:r>
                    </a:p>
                  </a:txBody>
                  <a:tcPr marL="86072" marR="86072" marT="43036" marB="43036"/>
                </a:tc>
                <a:tc>
                  <a:txBody>
                    <a:bodyPr/>
                    <a:lstStyle/>
                    <a:p>
                      <a:r>
                        <a:rPr lang="en-US" sz="2200" dirty="0"/>
                        <a:t>Calls/scale</a:t>
                      </a:r>
                      <a:r>
                        <a:rPr lang="en-US" sz="2200" baseline="0" dirty="0"/>
                        <a:t> unit:</a:t>
                      </a:r>
                    </a:p>
                    <a:p>
                      <a:r>
                        <a:rPr lang="en-US" sz="2200" baseline="0" dirty="0"/>
                        <a:t>32 million/day</a:t>
                      </a:r>
                      <a:endParaRPr lang="en-US" sz="2200" dirty="0"/>
                    </a:p>
                  </a:txBody>
                  <a:tcPr marL="86072" marR="86072" marT="43036" marB="43036"/>
                </a:tc>
                <a:tc>
                  <a:txBody>
                    <a:bodyPr/>
                    <a:lstStyle/>
                    <a:p>
                      <a:r>
                        <a:rPr lang="en-US" sz="2200" dirty="0"/>
                        <a:t>Scale Units – Unlimited</a:t>
                      </a:r>
                    </a:p>
                  </a:txBody>
                  <a:tcPr marL="86072" marR="86072" marT="43036" marB="43036"/>
                </a:tc>
                <a:extLst>
                  <a:ext uri="{0D108BD9-81ED-4DB2-BD59-A6C34878D82A}">
                    <a16:rowId xmlns:a16="http://schemas.microsoft.com/office/drawing/2014/main" val="1616361047"/>
                  </a:ext>
                </a:extLst>
              </a:tr>
              <a:tr h="430361">
                <a:tc>
                  <a:txBody>
                    <a:bodyPr/>
                    <a:lstStyle/>
                    <a:p>
                      <a:r>
                        <a:rPr lang="en-US" sz="2200" b="0" i="0" dirty="0">
                          <a:latin typeface="Segoe UI Semibold" panose="020B0702040204020203" pitchFamily="34" charset="0"/>
                          <a:cs typeface="Segoe UI Semibold" panose="020B0702040204020203" pitchFamily="34" charset="0"/>
                        </a:rPr>
                        <a:t>Notification Hubs</a:t>
                      </a:r>
                    </a:p>
                  </a:txBody>
                  <a:tcPr marL="86072" marR="86072" marT="43036" marB="43036"/>
                </a:tc>
                <a:tc>
                  <a:txBody>
                    <a:bodyPr/>
                    <a:lstStyle/>
                    <a:p>
                      <a:r>
                        <a:rPr lang="en-US" sz="2200" dirty="0"/>
                        <a:t>Varies by SKU/edition</a:t>
                      </a:r>
                    </a:p>
                  </a:txBody>
                  <a:tcPr marL="86072" marR="86072" marT="43036" marB="43036"/>
                </a:tc>
                <a:tc>
                  <a:txBody>
                    <a:bodyPr/>
                    <a:lstStyle/>
                    <a:p>
                      <a:r>
                        <a:rPr lang="en-US" sz="2200" dirty="0"/>
                        <a:t>-</a:t>
                      </a:r>
                    </a:p>
                  </a:txBody>
                  <a:tcPr marL="86072" marR="86072" marT="43036" marB="43036"/>
                </a:tc>
                <a:extLst>
                  <a:ext uri="{0D108BD9-81ED-4DB2-BD59-A6C34878D82A}">
                    <a16:rowId xmlns:a16="http://schemas.microsoft.com/office/drawing/2014/main" val="2541156677"/>
                  </a:ext>
                </a:extLst>
              </a:tr>
            </a:tbl>
          </a:graphicData>
        </a:graphic>
      </p:graphicFrame>
    </p:spTree>
    <p:extLst>
      <p:ext uri="{BB962C8B-B14F-4D97-AF65-F5344CB8AC3E}">
        <p14:creationId xmlns:p14="http://schemas.microsoft.com/office/powerpoint/2010/main" val="416921585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4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ata protection</a:t>
            </a:r>
          </a:p>
        </p:txBody>
      </p:sp>
      <p:graphicFrame>
        <p:nvGraphicFramePr>
          <p:cNvPr id="29" name="Table 28"/>
          <p:cNvGraphicFramePr>
            <a:graphicFrameLocks noGrp="1"/>
          </p:cNvGraphicFramePr>
          <p:nvPr>
            <p:extLst/>
          </p:nvPr>
        </p:nvGraphicFramePr>
        <p:xfrm>
          <a:off x="566236" y="1462164"/>
          <a:ext cx="11129576" cy="3005782"/>
        </p:xfrm>
        <a:graphic>
          <a:graphicData uri="http://schemas.openxmlformats.org/drawingml/2006/table">
            <a:tbl>
              <a:tblPr firstRow="1" bandRow="1">
                <a:tableStyleId>{D7AC3CCA-C797-4891-BE02-D94E43425B78}</a:tableStyleId>
              </a:tblPr>
              <a:tblGrid>
                <a:gridCol w="2782394">
                  <a:extLst>
                    <a:ext uri="{9D8B030D-6E8A-4147-A177-3AD203B41FA5}">
                      <a16:colId xmlns:a16="http://schemas.microsoft.com/office/drawing/2014/main" val="20000"/>
                    </a:ext>
                  </a:extLst>
                </a:gridCol>
                <a:gridCol w="2782394">
                  <a:extLst>
                    <a:ext uri="{9D8B030D-6E8A-4147-A177-3AD203B41FA5}">
                      <a16:colId xmlns:a16="http://schemas.microsoft.com/office/drawing/2014/main" val="20001"/>
                    </a:ext>
                  </a:extLst>
                </a:gridCol>
                <a:gridCol w="2782394">
                  <a:extLst>
                    <a:ext uri="{9D8B030D-6E8A-4147-A177-3AD203B41FA5}">
                      <a16:colId xmlns:a16="http://schemas.microsoft.com/office/drawing/2014/main" val="20002"/>
                    </a:ext>
                  </a:extLst>
                </a:gridCol>
                <a:gridCol w="2782394">
                  <a:extLst>
                    <a:ext uri="{9D8B030D-6E8A-4147-A177-3AD203B41FA5}">
                      <a16:colId xmlns:a16="http://schemas.microsoft.com/office/drawing/2014/main" val="20003"/>
                    </a:ext>
                  </a:extLst>
                </a:gridCol>
              </a:tblGrid>
              <a:tr h="377796">
                <a:tc gridSpan="4">
                  <a:txBody>
                    <a:bodyPr/>
                    <a:lstStyle/>
                    <a:p>
                      <a:r>
                        <a:rPr lang="en-US" sz="1300" b="0" i="0" dirty="0">
                          <a:solidFill>
                            <a:schemeClr val="bg1"/>
                          </a:solidFill>
                          <a:latin typeface="Segoe UI Semibold" panose="020B0702040204020203" pitchFamily="34" charset="0"/>
                          <a:ea typeface="Segoe UI" pitchFamily="34" charset="0"/>
                          <a:cs typeface="Segoe UI Semibold" panose="020B0702040204020203" pitchFamily="34" charset="0"/>
                        </a:rPr>
                        <a:t>Regional disaster protection</a:t>
                      </a:r>
                      <a:endParaRPr lang="en-US" sz="1000" b="0" i="0" dirty="0">
                        <a:solidFill>
                          <a:schemeClr val="bg1"/>
                        </a:solidFill>
                        <a:latin typeface="Segoe UI Semibold" panose="020B0702040204020203" pitchFamily="34" charset="0"/>
                        <a:cs typeface="Segoe UI Semibold" panose="020B0702040204020203" pitchFamily="34" charset="0"/>
                      </a:endParaRPr>
                    </a:p>
                  </a:txBody>
                  <a:tcPr marL="68574" marR="68574" marT="34287" marB="34287">
                    <a:lnL w="12700" cmpd="sng">
                      <a:noFill/>
                    </a:lnL>
                    <a:lnR w="38100" cap="flat" cmpd="sng" algn="ctr">
                      <a:solidFill>
                        <a:srgbClr val="45226D"/>
                      </a:solidFill>
                      <a:prstDash val="solid"/>
                      <a:round/>
                      <a:headEnd type="none" w="med" len="med"/>
                      <a:tailEnd type="none" w="med" len="med"/>
                    </a:lnR>
                    <a:lnT w="12700" cmpd="sng">
                      <a:noFill/>
                    </a:lnT>
                    <a:lnB w="38100" cap="flat" cmpd="sng" algn="ctr">
                      <a:solidFill>
                        <a:srgbClr val="45226D"/>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endParaRPr lang="en-US" dirty="0"/>
                    </a:p>
                  </a:txBody>
                  <a:tcPr/>
                </a:tc>
                <a:tc hMerge="1">
                  <a:txBody>
                    <a:bodyPr/>
                    <a:lstStyle/>
                    <a:p>
                      <a:endParaRPr lang="en-US" dirty="0"/>
                    </a:p>
                  </a:txBody>
                  <a:tcPr/>
                </a:tc>
                <a:tc hMerge="1">
                  <a:txBody>
                    <a:bodyPr/>
                    <a:lstStyle/>
                    <a:p>
                      <a:endParaRPr lang="en-US" dirty="0"/>
                    </a:p>
                  </a:txBody>
                  <a:tcPr/>
                </a:tc>
                <a:extLst>
                  <a:ext uri="{0D108BD9-81ED-4DB2-BD59-A6C34878D82A}">
                    <a16:rowId xmlns:a16="http://schemas.microsoft.com/office/drawing/2014/main" val="10000"/>
                  </a:ext>
                </a:extLst>
              </a:tr>
              <a:tr h="571391">
                <a:tc>
                  <a:txBody>
                    <a:bodyPr/>
                    <a:lstStyle/>
                    <a:p>
                      <a:pPr marL="0" marR="0" indent="0" algn="ctr" defTabSz="932667" rtl="0" eaLnBrk="1" fontAlgn="auto" latinLnBrk="0" hangingPunct="1">
                        <a:lnSpc>
                          <a:spcPct val="100000"/>
                        </a:lnSpc>
                        <a:spcBef>
                          <a:spcPts val="0"/>
                        </a:spcBef>
                        <a:spcAft>
                          <a:spcPts val="0"/>
                        </a:spcAft>
                        <a:buClrTx/>
                        <a:buSzTx/>
                        <a:buFontTx/>
                        <a:buNone/>
                        <a:tabLst/>
                        <a:defRPr/>
                      </a:pPr>
                      <a:r>
                        <a:rPr lang="en-US" sz="1300" b="0" i="0" kern="1200" dirty="0">
                          <a:solidFill>
                            <a:schemeClr val="bg1"/>
                          </a:solidFill>
                          <a:latin typeface="Segoe UI Semibold" panose="020B0702040204020203" pitchFamily="34" charset="0"/>
                          <a:ea typeface="+mn-ea"/>
                          <a:cs typeface="Segoe UI Semibold" panose="020B0702040204020203" pitchFamily="34" charset="0"/>
                        </a:rPr>
                        <a:t>Geo-restore</a:t>
                      </a:r>
                    </a:p>
                  </a:txBody>
                  <a:tcPr marL="68574" marR="68574" marT="34287" marB="34287" anchor="ctr">
                    <a:lnL w="12700" cmpd="sng">
                      <a:noFill/>
                    </a:lnL>
                    <a:lnR w="38100" cap="flat" cmpd="sng" algn="ctr">
                      <a:solidFill>
                        <a:srgbClr val="45226D"/>
                      </a:solidFill>
                      <a:prstDash val="solid"/>
                      <a:round/>
                      <a:headEnd type="none" w="med" len="med"/>
                      <a:tailEnd type="none" w="med" len="med"/>
                    </a:lnR>
                    <a:lnT w="38100" cap="flat" cmpd="sng" algn="ctr">
                      <a:solidFill>
                        <a:srgbClr val="45226D"/>
                      </a:solidFill>
                      <a:prstDash val="solid"/>
                      <a:round/>
                      <a:headEnd type="none" w="med" len="med"/>
                      <a:tailEnd type="none" w="med" len="med"/>
                    </a:lnT>
                    <a:lnB w="38100" cap="flat" cmpd="sng" algn="ctr">
                      <a:solidFill>
                        <a:srgbClr val="45226D"/>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lang="en-US" sz="1300" b="0" i="0" dirty="0">
                          <a:solidFill>
                            <a:schemeClr val="bg1"/>
                          </a:solidFill>
                          <a:latin typeface="Segoe UI Semibold" panose="020B0702040204020203" pitchFamily="34" charset="0"/>
                          <a:cs typeface="Segoe UI Semibold" panose="020B0702040204020203" pitchFamily="34" charset="0"/>
                        </a:rPr>
                        <a:t>Geo-redundant backups</a:t>
                      </a:r>
                    </a:p>
                  </a:txBody>
                  <a:tcPr marL="68574" marR="68574" marT="34287" marB="34287" anchor="ctr">
                    <a:lnL w="38100" cap="flat" cmpd="sng" algn="ctr">
                      <a:solidFill>
                        <a:srgbClr val="45226D"/>
                      </a:solidFill>
                      <a:prstDash val="solid"/>
                      <a:round/>
                      <a:headEnd type="none" w="med" len="med"/>
                      <a:tailEnd type="none" w="med" len="med"/>
                    </a:lnL>
                    <a:lnR w="38100" cap="flat" cmpd="sng" algn="ctr">
                      <a:solidFill>
                        <a:srgbClr val="45226D"/>
                      </a:solidFill>
                      <a:prstDash val="solid"/>
                      <a:round/>
                      <a:headEnd type="none" w="med" len="med"/>
                      <a:tailEnd type="none" w="med" len="med"/>
                    </a:lnR>
                    <a:lnT w="38100" cap="flat" cmpd="sng" algn="ctr">
                      <a:solidFill>
                        <a:srgbClr val="45226D"/>
                      </a:solidFill>
                      <a:prstDash val="solid"/>
                      <a:round/>
                      <a:headEnd type="none" w="med" len="med"/>
                      <a:tailEnd type="none" w="med" len="med"/>
                    </a:lnT>
                    <a:lnB w="38100" cap="flat" cmpd="sng" algn="ctr">
                      <a:solidFill>
                        <a:srgbClr val="45226D"/>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marL="0" algn="ctr" defTabSz="932667" rtl="0" eaLnBrk="1" latinLnBrk="0" hangingPunct="1"/>
                      <a:r>
                        <a:rPr lang="en-US" sz="1300" b="0" i="0" kern="1200" dirty="0">
                          <a:solidFill>
                            <a:schemeClr val="bg1"/>
                          </a:solidFill>
                          <a:latin typeface="Segoe UI Semibold" panose="020B0702040204020203" pitchFamily="34" charset="0"/>
                          <a:ea typeface="+mn-ea"/>
                          <a:cs typeface="Segoe UI Semibold" panose="020B0702040204020203" pitchFamily="34" charset="0"/>
                        </a:rPr>
                        <a:t>RPO &lt; 1 hour</a:t>
                      </a:r>
                    </a:p>
                  </a:txBody>
                  <a:tcPr marL="68574" marR="68574" marT="34287" marB="34287" anchor="ctr">
                    <a:lnL w="38100" cap="flat" cmpd="sng" algn="ctr">
                      <a:solidFill>
                        <a:srgbClr val="45226D"/>
                      </a:solidFill>
                      <a:prstDash val="solid"/>
                      <a:round/>
                      <a:headEnd type="none" w="med" len="med"/>
                      <a:tailEnd type="none" w="med" len="med"/>
                    </a:lnL>
                    <a:lnR w="38100" cap="flat" cmpd="sng" algn="ctr">
                      <a:solidFill>
                        <a:srgbClr val="45226D"/>
                      </a:solidFill>
                      <a:prstDash val="solid"/>
                      <a:round/>
                      <a:headEnd type="none" w="med" len="med"/>
                      <a:tailEnd type="none" w="med" len="med"/>
                    </a:lnR>
                    <a:lnT w="38100" cap="flat" cmpd="sng" algn="ctr">
                      <a:solidFill>
                        <a:srgbClr val="45226D"/>
                      </a:solidFill>
                      <a:prstDash val="solid"/>
                      <a:round/>
                      <a:headEnd type="none" w="med" len="med"/>
                      <a:tailEnd type="none" w="med" len="med"/>
                    </a:lnT>
                    <a:lnB w="38100" cap="flat" cmpd="sng" algn="ctr">
                      <a:solidFill>
                        <a:srgbClr val="45226D"/>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ctr"/>
                      <a:r>
                        <a:rPr lang="en-US" sz="1300" b="0" i="0" dirty="0">
                          <a:solidFill>
                            <a:schemeClr val="bg1"/>
                          </a:solidFill>
                          <a:latin typeface="Segoe UI Semibold" panose="020B0702040204020203" pitchFamily="34" charset="0"/>
                          <a:cs typeface="Segoe UI Semibold" panose="020B0702040204020203" pitchFamily="34" charset="0"/>
                        </a:rPr>
                        <a:t>Recovery time</a:t>
                      </a:r>
                    </a:p>
                    <a:p>
                      <a:pPr algn="ctr"/>
                      <a:r>
                        <a:rPr lang="en-US" sz="1300" b="0" i="0" dirty="0">
                          <a:solidFill>
                            <a:schemeClr val="bg1"/>
                          </a:solidFill>
                          <a:latin typeface="Segoe UI Semibold" panose="020B0702040204020203" pitchFamily="34" charset="0"/>
                          <a:cs typeface="Segoe UI Semibold" panose="020B0702040204020203" pitchFamily="34" charset="0"/>
                        </a:rPr>
                        <a:t>Minutes</a:t>
                      </a:r>
                      <a:r>
                        <a:rPr lang="en-US" sz="1300" b="0" i="0" baseline="0" dirty="0">
                          <a:solidFill>
                            <a:schemeClr val="bg1"/>
                          </a:solidFill>
                          <a:latin typeface="Segoe UI Semibold" panose="020B0702040204020203" pitchFamily="34" charset="0"/>
                          <a:cs typeface="Segoe UI Semibold" panose="020B0702040204020203" pitchFamily="34" charset="0"/>
                        </a:rPr>
                        <a:t> to hours</a:t>
                      </a:r>
                      <a:endParaRPr lang="en-US" sz="1300" b="0" i="0" dirty="0">
                        <a:solidFill>
                          <a:schemeClr val="bg1"/>
                        </a:solidFill>
                        <a:latin typeface="Segoe UI Semibold" panose="020B0702040204020203" pitchFamily="34" charset="0"/>
                        <a:cs typeface="Segoe UI Semibold" panose="020B0702040204020203" pitchFamily="34" charset="0"/>
                      </a:endParaRPr>
                    </a:p>
                  </a:txBody>
                  <a:tcPr marL="68574" marR="68574" marT="34287" marB="34287" anchor="ctr">
                    <a:lnL w="38100" cap="flat" cmpd="sng" algn="ctr">
                      <a:solidFill>
                        <a:srgbClr val="45226D"/>
                      </a:solidFill>
                      <a:prstDash val="solid"/>
                      <a:round/>
                      <a:headEnd type="none" w="med" len="med"/>
                      <a:tailEnd type="none" w="med" len="med"/>
                    </a:lnL>
                    <a:lnR w="38100" cap="flat" cmpd="sng" algn="ctr">
                      <a:solidFill>
                        <a:srgbClr val="45226D"/>
                      </a:solidFill>
                      <a:prstDash val="solid"/>
                      <a:round/>
                      <a:headEnd type="none" w="med" len="med"/>
                      <a:tailEnd type="none" w="med" len="med"/>
                    </a:lnR>
                    <a:lnT w="38100" cap="flat" cmpd="sng" algn="ctr">
                      <a:solidFill>
                        <a:srgbClr val="45226D"/>
                      </a:solidFill>
                      <a:prstDash val="solid"/>
                      <a:round/>
                      <a:headEnd type="none" w="med" len="med"/>
                      <a:tailEnd type="none" w="med" len="med"/>
                    </a:lnT>
                    <a:lnB w="38100" cap="flat" cmpd="sng" algn="ctr">
                      <a:solidFill>
                        <a:srgbClr val="45226D"/>
                      </a:solidFill>
                      <a:prstDash val="solid"/>
                      <a:round/>
                      <a:headEnd type="none" w="med" len="med"/>
                      <a:tailEnd type="none" w="med" len="med"/>
                    </a:lnB>
                    <a:lnTlToBr w="12700" cmpd="sng">
                      <a:noFill/>
                      <a:prstDash val="solid"/>
                    </a:lnTlToBr>
                    <a:lnBlToTr w="12700" cmpd="sng">
                      <a:noFill/>
                      <a:prstDash val="solid"/>
                    </a:lnBlToTr>
                    <a:solidFill>
                      <a:schemeClr val="tx1"/>
                    </a:solidFill>
                  </a:tcPr>
                </a:tc>
                <a:extLst>
                  <a:ext uri="{0D108BD9-81ED-4DB2-BD59-A6C34878D82A}">
                    <a16:rowId xmlns:a16="http://schemas.microsoft.com/office/drawing/2014/main" val="10001"/>
                  </a:ext>
                </a:extLst>
              </a:tr>
              <a:tr h="571391">
                <a:tc>
                  <a:txBody>
                    <a:bodyPr/>
                    <a:lstStyle/>
                    <a:p>
                      <a:pPr algn="ctr"/>
                      <a:r>
                        <a:rPr lang="en-US" sz="1300" b="0" i="0" dirty="0">
                          <a:solidFill>
                            <a:schemeClr val="bg1"/>
                          </a:solidFill>
                          <a:latin typeface="Segoe UI Semibold" panose="020B0702040204020203" pitchFamily="34" charset="0"/>
                          <a:cs typeface="Segoe UI Semibold" panose="020B0702040204020203" pitchFamily="34" charset="0"/>
                        </a:rPr>
                        <a:t>Geo-replication</a:t>
                      </a:r>
                    </a:p>
                  </a:txBody>
                  <a:tcPr marL="68574" marR="68574" marT="34287" marB="34287" anchor="ctr">
                    <a:lnL w="12700" cmpd="sng">
                      <a:noFill/>
                    </a:lnL>
                    <a:lnR w="38100" cap="flat" cmpd="sng" algn="ctr">
                      <a:solidFill>
                        <a:srgbClr val="45226D"/>
                      </a:solidFill>
                      <a:prstDash val="solid"/>
                      <a:round/>
                      <a:headEnd type="none" w="med" len="med"/>
                      <a:tailEnd type="none" w="med" len="med"/>
                    </a:lnR>
                    <a:lnT w="38100" cap="flat" cmpd="sng" algn="ctr">
                      <a:solidFill>
                        <a:srgbClr val="45226D"/>
                      </a:solidFill>
                      <a:prstDash val="solid"/>
                      <a:round/>
                      <a:headEnd type="none" w="med" len="med"/>
                      <a:tailEnd type="none" w="med" len="med"/>
                    </a:lnT>
                    <a:lnB w="38100" cap="flat" cmpd="sng" algn="ctr">
                      <a:solidFill>
                        <a:srgbClr val="45226D"/>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algn="ctr"/>
                      <a:r>
                        <a:rPr lang="en-US" sz="1300" b="0" i="0" dirty="0">
                          <a:solidFill>
                            <a:schemeClr val="bg1"/>
                          </a:solidFill>
                          <a:latin typeface="Segoe UI Semibold" panose="020B0702040204020203" pitchFamily="34" charset="0"/>
                          <a:cs typeface="Segoe UI Semibold" panose="020B0702040204020203" pitchFamily="34" charset="0"/>
                        </a:rPr>
                        <a:t>Asynchronous replication</a:t>
                      </a:r>
                    </a:p>
                  </a:txBody>
                  <a:tcPr marL="68574" marR="68574" marT="34287" marB="34287" anchor="ctr">
                    <a:lnL w="38100" cap="flat" cmpd="sng" algn="ctr">
                      <a:solidFill>
                        <a:srgbClr val="45226D"/>
                      </a:solidFill>
                      <a:prstDash val="solid"/>
                      <a:round/>
                      <a:headEnd type="none" w="med" len="med"/>
                      <a:tailEnd type="none" w="med" len="med"/>
                    </a:lnL>
                    <a:lnR w="38100" cap="flat" cmpd="sng" algn="ctr">
                      <a:solidFill>
                        <a:srgbClr val="45226D"/>
                      </a:solidFill>
                      <a:prstDash val="solid"/>
                      <a:round/>
                      <a:headEnd type="none" w="med" len="med"/>
                      <a:tailEnd type="none" w="med" len="med"/>
                    </a:lnR>
                    <a:lnT w="38100" cap="flat" cmpd="sng" algn="ctr">
                      <a:solidFill>
                        <a:srgbClr val="45226D"/>
                      </a:solidFill>
                      <a:prstDash val="solid"/>
                      <a:round/>
                      <a:headEnd type="none" w="med" len="med"/>
                      <a:tailEnd type="none" w="med" len="med"/>
                    </a:lnT>
                    <a:lnB w="38100" cap="flat" cmpd="sng" algn="ctr">
                      <a:solidFill>
                        <a:srgbClr val="45226D"/>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marL="0" algn="ctr" defTabSz="932667" rtl="0" eaLnBrk="1" latinLnBrk="0" hangingPunct="1"/>
                      <a:r>
                        <a:rPr lang="en-US" sz="1300" b="0" i="0" kern="1200" dirty="0">
                          <a:solidFill>
                            <a:schemeClr val="bg1"/>
                          </a:solidFill>
                          <a:latin typeface="Segoe UI Semibold" panose="020B0702040204020203" pitchFamily="34" charset="0"/>
                          <a:ea typeface="+mn-ea"/>
                          <a:cs typeface="Segoe UI Semibold" panose="020B0702040204020203" pitchFamily="34" charset="0"/>
                        </a:rPr>
                        <a:t>RPO &lt; 5 seconds</a:t>
                      </a:r>
                    </a:p>
                  </a:txBody>
                  <a:tcPr marL="68574" marR="68574" marT="34287" marB="34287" anchor="ctr">
                    <a:lnL w="38100" cap="flat" cmpd="sng" algn="ctr">
                      <a:solidFill>
                        <a:srgbClr val="45226D"/>
                      </a:solidFill>
                      <a:prstDash val="solid"/>
                      <a:round/>
                      <a:headEnd type="none" w="med" len="med"/>
                      <a:tailEnd type="none" w="med" len="med"/>
                    </a:lnL>
                    <a:lnR w="38100" cap="flat" cmpd="sng" algn="ctr">
                      <a:solidFill>
                        <a:srgbClr val="45226D"/>
                      </a:solidFill>
                      <a:prstDash val="solid"/>
                      <a:round/>
                      <a:headEnd type="none" w="med" len="med"/>
                      <a:tailEnd type="none" w="med" len="med"/>
                    </a:lnR>
                    <a:lnT w="38100" cap="flat" cmpd="sng" algn="ctr">
                      <a:solidFill>
                        <a:srgbClr val="45226D"/>
                      </a:solidFill>
                      <a:prstDash val="solid"/>
                      <a:round/>
                      <a:headEnd type="none" w="med" len="med"/>
                      <a:tailEnd type="none" w="med" len="med"/>
                    </a:lnT>
                    <a:lnB w="38100" cap="flat" cmpd="sng" algn="ctr">
                      <a:solidFill>
                        <a:srgbClr val="45226D"/>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ctr"/>
                      <a:r>
                        <a:rPr lang="en-US" sz="1300" b="0" i="0" dirty="0">
                          <a:solidFill>
                            <a:schemeClr val="bg1"/>
                          </a:solidFill>
                          <a:latin typeface="Segoe UI Semibold" panose="020B0702040204020203" pitchFamily="34" charset="0"/>
                          <a:cs typeface="Segoe UI Semibold" panose="020B0702040204020203" pitchFamily="34" charset="0"/>
                        </a:rPr>
                        <a:t>Recovery time</a:t>
                      </a:r>
                    </a:p>
                    <a:p>
                      <a:pPr algn="ctr"/>
                      <a:r>
                        <a:rPr lang="en-US" sz="1300" b="0" i="0" kern="1200" dirty="0">
                          <a:solidFill>
                            <a:schemeClr val="bg1"/>
                          </a:solidFill>
                          <a:latin typeface="Segoe UI Semibold" panose="020B0702040204020203" pitchFamily="34" charset="0"/>
                          <a:ea typeface="+mn-ea"/>
                          <a:cs typeface="Segoe UI Semibold" panose="020B0702040204020203" pitchFamily="34" charset="0"/>
                        </a:rPr>
                        <a:t>&lt; 30 seconds</a:t>
                      </a:r>
                    </a:p>
                  </a:txBody>
                  <a:tcPr marL="68574" marR="68574" marT="34287" marB="34287" anchor="ctr">
                    <a:lnL w="38100" cap="flat" cmpd="sng" algn="ctr">
                      <a:solidFill>
                        <a:srgbClr val="45226D"/>
                      </a:solidFill>
                      <a:prstDash val="solid"/>
                      <a:round/>
                      <a:headEnd type="none" w="med" len="med"/>
                      <a:tailEnd type="none" w="med" len="med"/>
                    </a:lnL>
                    <a:lnR w="38100" cap="flat" cmpd="sng" algn="ctr">
                      <a:solidFill>
                        <a:srgbClr val="45226D"/>
                      </a:solidFill>
                      <a:prstDash val="solid"/>
                      <a:round/>
                      <a:headEnd type="none" w="med" len="med"/>
                      <a:tailEnd type="none" w="med" len="med"/>
                    </a:lnR>
                    <a:lnT w="38100" cap="flat" cmpd="sng" algn="ctr">
                      <a:solidFill>
                        <a:srgbClr val="45226D"/>
                      </a:solidFill>
                      <a:prstDash val="solid"/>
                      <a:round/>
                      <a:headEnd type="none" w="med" len="med"/>
                      <a:tailEnd type="none" w="med" len="med"/>
                    </a:lnT>
                    <a:lnB w="38100" cap="flat" cmpd="sng" algn="ctr">
                      <a:solidFill>
                        <a:srgbClr val="45226D"/>
                      </a:solidFill>
                      <a:prstDash val="solid"/>
                      <a:round/>
                      <a:headEnd type="none" w="med" len="med"/>
                      <a:tailEnd type="none" w="med" len="med"/>
                    </a:lnB>
                    <a:lnTlToBr w="12700" cmpd="sng">
                      <a:noFill/>
                      <a:prstDash val="solid"/>
                    </a:lnTlToBr>
                    <a:lnBlToTr w="12700" cmpd="sng">
                      <a:noFill/>
                      <a:prstDash val="solid"/>
                    </a:lnBlToTr>
                    <a:solidFill>
                      <a:schemeClr val="tx1"/>
                    </a:solidFill>
                  </a:tcPr>
                </a:tc>
                <a:extLst>
                  <a:ext uri="{0D108BD9-81ED-4DB2-BD59-A6C34878D82A}">
                    <a16:rowId xmlns:a16="http://schemas.microsoft.com/office/drawing/2014/main" val="10002"/>
                  </a:ext>
                </a:extLst>
              </a:tr>
              <a:tr h="342422">
                <a:tc gridSpan="4">
                  <a:txBody>
                    <a:bodyPr/>
                    <a:lstStyle/>
                    <a:p>
                      <a:pPr marL="0" algn="l" defTabSz="932667" rtl="0" eaLnBrk="1" latinLnBrk="0" hangingPunct="1"/>
                      <a:r>
                        <a:rPr lang="en-US" sz="1300" b="0" i="0" kern="1200" dirty="0">
                          <a:solidFill>
                            <a:schemeClr val="bg1"/>
                          </a:solidFill>
                          <a:latin typeface="Segoe UI Semibold" panose="020B0702040204020203" pitchFamily="34" charset="0"/>
                          <a:ea typeface="Segoe UI" pitchFamily="34" charset="0"/>
                          <a:cs typeface="Segoe UI Semibold" panose="020B0702040204020203" pitchFamily="34" charset="0"/>
                        </a:rPr>
                        <a:t>Recovery</a:t>
                      </a:r>
                    </a:p>
                  </a:txBody>
                  <a:tcPr marL="68574" marR="68574" marT="34287" marB="34287" anchor="ctr">
                    <a:lnL w="12700" cmpd="sng">
                      <a:noFill/>
                    </a:lnL>
                    <a:lnR w="38100" cap="flat" cmpd="sng" algn="ctr">
                      <a:solidFill>
                        <a:srgbClr val="45226D"/>
                      </a:solidFill>
                      <a:prstDash val="solid"/>
                      <a:round/>
                      <a:headEnd type="none" w="med" len="med"/>
                      <a:tailEnd type="none" w="med" len="med"/>
                    </a:lnR>
                    <a:lnT w="38100" cap="flat" cmpd="sng" algn="ctr">
                      <a:solidFill>
                        <a:srgbClr val="45226D"/>
                      </a:solidFill>
                      <a:prstDash val="solid"/>
                      <a:round/>
                      <a:headEnd type="none" w="med" len="med"/>
                      <a:tailEnd type="none" w="med" len="med"/>
                    </a:lnT>
                    <a:lnB w="38100" cap="flat" cmpd="sng" algn="ctr">
                      <a:solidFill>
                        <a:srgbClr val="45226D"/>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endParaRPr lang="en-US" dirty="0"/>
                    </a:p>
                  </a:txBody>
                  <a:tcPr anchor="ctr">
                    <a:lnL w="38100" cap="flat" cmpd="sng" algn="ctr">
                      <a:solidFill>
                        <a:srgbClr val="45226D"/>
                      </a:solidFill>
                      <a:prstDash val="solid"/>
                      <a:round/>
                      <a:headEnd type="none" w="med" len="med"/>
                      <a:tailEnd type="none" w="med" len="med"/>
                    </a:lnL>
                    <a:lnR w="38100" cap="flat" cmpd="sng" algn="ctr">
                      <a:solidFill>
                        <a:srgbClr val="45226D"/>
                      </a:solidFill>
                      <a:prstDash val="solid"/>
                      <a:round/>
                      <a:headEnd type="none" w="med" len="med"/>
                      <a:tailEnd type="none" w="med" len="med"/>
                    </a:lnR>
                    <a:lnT w="38100" cap="flat" cmpd="sng" algn="ctr">
                      <a:solidFill>
                        <a:srgbClr val="45226D"/>
                      </a:solidFill>
                      <a:prstDash val="solid"/>
                      <a:round/>
                      <a:headEnd type="none" w="med" len="med"/>
                      <a:tailEnd type="none" w="med" len="med"/>
                    </a:lnT>
                    <a:lnB w="38100" cap="flat" cmpd="sng" algn="ctr">
                      <a:solidFill>
                        <a:srgbClr val="45226D"/>
                      </a:solidFill>
                      <a:prstDash val="solid"/>
                      <a:round/>
                      <a:headEnd type="none" w="med" len="med"/>
                      <a:tailEnd type="none" w="med" len="med"/>
                    </a:lnB>
                    <a:lnTlToBr w="12700" cmpd="sng">
                      <a:noFill/>
                      <a:prstDash val="solid"/>
                    </a:lnTlToBr>
                    <a:lnBlToTr w="12700" cmpd="sng">
                      <a:noFill/>
                      <a:prstDash val="solid"/>
                    </a:lnBlToTr>
                  </a:tcPr>
                </a:tc>
                <a:tc hMerge="1">
                  <a:txBody>
                    <a:bodyPr/>
                    <a:lstStyle/>
                    <a:p>
                      <a:pPr algn="ctr"/>
                      <a:endParaRPr lang="en-US" dirty="0"/>
                    </a:p>
                  </a:txBody>
                  <a:tcPr anchor="ctr">
                    <a:lnL w="38100" cap="flat" cmpd="sng" algn="ctr">
                      <a:solidFill>
                        <a:srgbClr val="45226D"/>
                      </a:solidFill>
                      <a:prstDash val="solid"/>
                      <a:round/>
                      <a:headEnd type="none" w="med" len="med"/>
                      <a:tailEnd type="none" w="med" len="med"/>
                    </a:lnL>
                    <a:lnR w="38100" cap="flat" cmpd="sng" algn="ctr">
                      <a:solidFill>
                        <a:srgbClr val="45226D"/>
                      </a:solidFill>
                      <a:prstDash val="solid"/>
                      <a:round/>
                      <a:headEnd type="none" w="med" len="med"/>
                      <a:tailEnd type="none" w="med" len="med"/>
                    </a:lnR>
                    <a:lnT w="38100" cap="flat" cmpd="sng" algn="ctr">
                      <a:solidFill>
                        <a:srgbClr val="45226D"/>
                      </a:solidFill>
                      <a:prstDash val="solid"/>
                      <a:round/>
                      <a:headEnd type="none" w="med" len="med"/>
                      <a:tailEnd type="none" w="med" len="med"/>
                    </a:lnT>
                    <a:lnB w="38100" cap="flat" cmpd="sng" algn="ctr">
                      <a:solidFill>
                        <a:srgbClr val="45226D"/>
                      </a:solidFill>
                      <a:prstDash val="solid"/>
                      <a:round/>
                      <a:headEnd type="none" w="med" len="med"/>
                      <a:tailEnd type="none" w="med" len="med"/>
                    </a:lnB>
                    <a:lnTlToBr w="12700" cmpd="sng">
                      <a:noFill/>
                      <a:prstDash val="solid"/>
                    </a:lnTlToBr>
                    <a:lnBlToTr w="12700" cmpd="sng">
                      <a:noFill/>
                      <a:prstDash val="solid"/>
                    </a:lnBlToTr>
                  </a:tcPr>
                </a:tc>
                <a:tc hMerge="1">
                  <a:txBody>
                    <a:bodyPr/>
                    <a:lstStyle/>
                    <a:p>
                      <a:pPr algn="ctr"/>
                      <a:endParaRPr lang="en-US" dirty="0"/>
                    </a:p>
                  </a:txBody>
                  <a:tcPr anchor="ctr">
                    <a:lnL w="38100" cap="flat" cmpd="sng" algn="ctr">
                      <a:solidFill>
                        <a:srgbClr val="45226D"/>
                      </a:solidFill>
                      <a:prstDash val="solid"/>
                      <a:round/>
                      <a:headEnd type="none" w="med" len="med"/>
                      <a:tailEnd type="none" w="med" len="med"/>
                    </a:lnL>
                    <a:lnR w="38100" cap="flat" cmpd="sng" algn="ctr">
                      <a:solidFill>
                        <a:srgbClr val="45226D"/>
                      </a:solidFill>
                      <a:prstDash val="solid"/>
                      <a:round/>
                      <a:headEnd type="none" w="med" len="med"/>
                      <a:tailEnd type="none" w="med" len="med"/>
                    </a:lnR>
                    <a:lnT w="38100" cap="flat" cmpd="sng" algn="ctr">
                      <a:solidFill>
                        <a:srgbClr val="45226D"/>
                      </a:solidFill>
                      <a:prstDash val="solid"/>
                      <a:round/>
                      <a:headEnd type="none" w="med" len="med"/>
                      <a:tailEnd type="none" w="med" len="med"/>
                    </a:lnT>
                    <a:lnB w="38100" cap="flat" cmpd="sng" algn="ctr">
                      <a:solidFill>
                        <a:srgbClr val="45226D"/>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571391">
                <a:tc>
                  <a:txBody>
                    <a:bodyPr/>
                    <a:lstStyle/>
                    <a:p>
                      <a:pPr algn="ctr"/>
                      <a:r>
                        <a:rPr lang="en-US" sz="1300" b="0" i="0" kern="1200" dirty="0">
                          <a:solidFill>
                            <a:schemeClr val="bg1"/>
                          </a:solidFill>
                          <a:latin typeface="Segoe UI Semibold" panose="020B0702040204020203" pitchFamily="34" charset="0"/>
                          <a:ea typeface="+mn-ea"/>
                          <a:cs typeface="Segoe UI Semibold" panose="020B0702040204020203" pitchFamily="34" charset="0"/>
                        </a:rPr>
                        <a:t>Point in time restore</a:t>
                      </a:r>
                    </a:p>
                  </a:txBody>
                  <a:tcPr marL="68574" marR="68574" marT="34287" marB="34287" anchor="ctr">
                    <a:lnL w="12700" cmpd="sng">
                      <a:noFill/>
                    </a:lnL>
                    <a:lnR w="38100" cap="flat" cmpd="sng" algn="ctr">
                      <a:solidFill>
                        <a:srgbClr val="45226D"/>
                      </a:solidFill>
                      <a:prstDash val="solid"/>
                      <a:round/>
                      <a:headEnd type="none" w="med" len="med"/>
                      <a:tailEnd type="none" w="med" len="med"/>
                    </a:lnR>
                    <a:lnT w="38100" cap="flat" cmpd="sng" algn="ctr">
                      <a:solidFill>
                        <a:srgbClr val="45226D"/>
                      </a:solidFill>
                      <a:prstDash val="solid"/>
                      <a:round/>
                      <a:headEnd type="none" w="med" len="med"/>
                      <a:tailEnd type="none" w="med" len="med"/>
                    </a:lnT>
                    <a:lnB w="38100" cap="flat" cmpd="sng" algn="ctr">
                      <a:solidFill>
                        <a:srgbClr val="45226D"/>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marL="0" marR="0" indent="0" algn="ctr" defTabSz="932667" rtl="0" eaLnBrk="1" fontAlgn="auto" latinLnBrk="0" hangingPunct="1">
                        <a:lnSpc>
                          <a:spcPct val="100000"/>
                        </a:lnSpc>
                        <a:spcBef>
                          <a:spcPts val="0"/>
                        </a:spcBef>
                        <a:spcAft>
                          <a:spcPts val="0"/>
                        </a:spcAft>
                        <a:buClrTx/>
                        <a:buSzTx/>
                        <a:buFontTx/>
                        <a:buNone/>
                        <a:tabLst/>
                        <a:defRPr/>
                      </a:pPr>
                      <a:r>
                        <a:rPr lang="en-US" sz="1300" b="0" i="0" kern="1200" dirty="0">
                          <a:solidFill>
                            <a:schemeClr val="bg1"/>
                          </a:solidFill>
                          <a:latin typeface="Segoe UI Semibold" panose="020B0702040204020203" pitchFamily="34" charset="0"/>
                          <a:ea typeface="+mn-ea"/>
                          <a:cs typeface="Segoe UI Semibold" panose="020B0702040204020203" pitchFamily="34" charset="0"/>
                        </a:rPr>
                        <a:t>Continuous backup</a:t>
                      </a:r>
                    </a:p>
                  </a:txBody>
                  <a:tcPr marL="68574" marR="68574" marT="34287" marB="34287" anchor="ctr">
                    <a:lnL w="38100" cap="flat" cmpd="sng" algn="ctr">
                      <a:solidFill>
                        <a:srgbClr val="45226D"/>
                      </a:solidFill>
                      <a:prstDash val="solid"/>
                      <a:round/>
                      <a:headEnd type="none" w="med" len="med"/>
                      <a:tailEnd type="none" w="med" len="med"/>
                    </a:lnL>
                    <a:lnR w="38100" cap="flat" cmpd="sng" algn="ctr">
                      <a:solidFill>
                        <a:srgbClr val="45226D"/>
                      </a:solidFill>
                      <a:prstDash val="solid"/>
                      <a:round/>
                      <a:headEnd type="none" w="med" len="med"/>
                      <a:tailEnd type="none" w="med" len="med"/>
                    </a:lnR>
                    <a:lnT w="38100" cap="flat" cmpd="sng" algn="ctr">
                      <a:solidFill>
                        <a:srgbClr val="45226D"/>
                      </a:solidFill>
                      <a:prstDash val="solid"/>
                      <a:round/>
                      <a:headEnd type="none" w="med" len="med"/>
                      <a:tailEnd type="none" w="med" len="med"/>
                    </a:lnT>
                    <a:lnB w="38100" cap="flat" cmpd="sng" algn="ctr">
                      <a:solidFill>
                        <a:srgbClr val="45226D"/>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marL="0" marR="0" indent="0" algn="ctr" defTabSz="932667" rtl="0" eaLnBrk="1" fontAlgn="auto" latinLnBrk="0" hangingPunct="1">
                        <a:lnSpc>
                          <a:spcPct val="100000"/>
                        </a:lnSpc>
                        <a:spcBef>
                          <a:spcPts val="0"/>
                        </a:spcBef>
                        <a:spcAft>
                          <a:spcPts val="0"/>
                        </a:spcAft>
                        <a:buClrTx/>
                        <a:buSzTx/>
                        <a:buFontTx/>
                        <a:buNone/>
                        <a:tabLst/>
                        <a:defRPr/>
                      </a:pPr>
                      <a:r>
                        <a:rPr lang="en-US" sz="1300" b="0" i="0" kern="1200" dirty="0">
                          <a:solidFill>
                            <a:schemeClr val="bg1"/>
                          </a:solidFill>
                          <a:latin typeface="Segoe UI Semibold" panose="020B0702040204020203" pitchFamily="34" charset="0"/>
                          <a:ea typeface="+mn-ea"/>
                          <a:cs typeface="Segoe UI Semibold" panose="020B0702040204020203" pitchFamily="34" charset="0"/>
                        </a:rPr>
                        <a:t>Restore to any point</a:t>
                      </a:r>
                    </a:p>
                  </a:txBody>
                  <a:tcPr marL="68574" marR="68574" marT="34287" marB="34287" anchor="ctr">
                    <a:lnL w="38100" cap="flat" cmpd="sng" algn="ctr">
                      <a:solidFill>
                        <a:srgbClr val="45226D"/>
                      </a:solidFill>
                      <a:prstDash val="solid"/>
                      <a:round/>
                      <a:headEnd type="none" w="med" len="med"/>
                      <a:tailEnd type="none" w="med" len="med"/>
                    </a:lnL>
                    <a:lnR w="38100" cap="flat" cmpd="sng" algn="ctr">
                      <a:solidFill>
                        <a:srgbClr val="45226D"/>
                      </a:solidFill>
                      <a:prstDash val="solid"/>
                      <a:round/>
                      <a:headEnd type="none" w="med" len="med"/>
                      <a:tailEnd type="none" w="med" len="med"/>
                    </a:lnR>
                    <a:lnT w="38100" cap="flat" cmpd="sng" algn="ctr">
                      <a:solidFill>
                        <a:srgbClr val="45226D"/>
                      </a:solidFill>
                      <a:prstDash val="solid"/>
                      <a:round/>
                      <a:headEnd type="none" w="med" len="med"/>
                      <a:tailEnd type="none" w="med" len="med"/>
                    </a:lnT>
                    <a:lnB w="38100" cap="flat" cmpd="sng" algn="ctr">
                      <a:solidFill>
                        <a:srgbClr val="45226D"/>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marL="0" marR="0" indent="0" algn="ctr" defTabSz="932667" rtl="0" eaLnBrk="1" fontAlgn="auto" latinLnBrk="0" hangingPunct="1">
                        <a:lnSpc>
                          <a:spcPct val="100000"/>
                        </a:lnSpc>
                        <a:spcBef>
                          <a:spcPts val="0"/>
                        </a:spcBef>
                        <a:spcAft>
                          <a:spcPts val="0"/>
                        </a:spcAft>
                        <a:buClrTx/>
                        <a:buSzTx/>
                        <a:buFontTx/>
                        <a:buNone/>
                        <a:tabLst/>
                        <a:defRPr/>
                      </a:pPr>
                      <a:r>
                        <a:rPr lang="en-US" sz="1300" b="0" i="0" kern="1200" dirty="0">
                          <a:solidFill>
                            <a:schemeClr val="bg1"/>
                          </a:solidFill>
                          <a:latin typeface="Segoe UI Semibold" panose="020B0702040204020203" pitchFamily="34" charset="0"/>
                          <a:ea typeface="+mn-ea"/>
                          <a:cs typeface="Segoe UI Semibold" panose="020B0702040204020203" pitchFamily="34" charset="0"/>
                        </a:rPr>
                        <a:t>Recovery time</a:t>
                      </a:r>
                      <a:br>
                        <a:rPr lang="en-US" sz="1300" b="0" i="0" kern="1200" dirty="0">
                          <a:solidFill>
                            <a:schemeClr val="bg1"/>
                          </a:solidFill>
                          <a:latin typeface="Segoe UI Semibold" panose="020B0702040204020203" pitchFamily="34" charset="0"/>
                          <a:ea typeface="+mn-ea"/>
                          <a:cs typeface="Segoe UI Semibold" panose="020B0702040204020203" pitchFamily="34" charset="0"/>
                        </a:rPr>
                      </a:br>
                      <a:r>
                        <a:rPr lang="en-US" sz="1300" b="0" i="0" kern="1200" dirty="0">
                          <a:solidFill>
                            <a:schemeClr val="bg1"/>
                          </a:solidFill>
                          <a:latin typeface="Segoe UI Semibold" panose="020B0702040204020203" pitchFamily="34" charset="0"/>
                          <a:ea typeface="+mn-ea"/>
                          <a:cs typeface="Segoe UI Semibold" panose="020B0702040204020203" pitchFamily="34" charset="0"/>
                        </a:rPr>
                        <a:t> Minutes to hours</a:t>
                      </a:r>
                    </a:p>
                  </a:txBody>
                  <a:tcPr marL="68574" marR="68574" marT="34287" marB="34287" anchor="ctr">
                    <a:lnL w="38100" cap="flat" cmpd="sng" algn="ctr">
                      <a:solidFill>
                        <a:srgbClr val="45226D"/>
                      </a:solidFill>
                      <a:prstDash val="solid"/>
                      <a:round/>
                      <a:headEnd type="none" w="med" len="med"/>
                      <a:tailEnd type="none" w="med" len="med"/>
                    </a:lnL>
                    <a:lnR w="38100" cap="flat" cmpd="sng" algn="ctr">
                      <a:solidFill>
                        <a:srgbClr val="45226D"/>
                      </a:solidFill>
                      <a:prstDash val="solid"/>
                      <a:round/>
                      <a:headEnd type="none" w="med" len="med"/>
                      <a:tailEnd type="none" w="med" len="med"/>
                    </a:lnR>
                    <a:lnT w="38100" cap="flat" cmpd="sng" algn="ctr">
                      <a:solidFill>
                        <a:srgbClr val="45226D"/>
                      </a:solidFill>
                      <a:prstDash val="solid"/>
                      <a:round/>
                      <a:headEnd type="none" w="med" len="med"/>
                      <a:tailEnd type="none" w="med" len="med"/>
                    </a:lnT>
                    <a:lnB w="38100" cap="flat" cmpd="sng" algn="ctr">
                      <a:solidFill>
                        <a:srgbClr val="45226D"/>
                      </a:solidFill>
                      <a:prstDash val="solid"/>
                      <a:round/>
                      <a:headEnd type="none" w="med" len="med"/>
                      <a:tailEnd type="none" w="med" len="med"/>
                    </a:lnB>
                    <a:lnTlToBr w="12700" cmpd="sng">
                      <a:noFill/>
                      <a:prstDash val="solid"/>
                    </a:lnTlToBr>
                    <a:lnBlToTr w="12700" cmpd="sng">
                      <a:noFill/>
                      <a:prstDash val="solid"/>
                    </a:lnBlToTr>
                    <a:solidFill>
                      <a:schemeClr val="tx1"/>
                    </a:solidFill>
                  </a:tcPr>
                </a:tc>
                <a:extLst>
                  <a:ext uri="{0D108BD9-81ED-4DB2-BD59-A6C34878D82A}">
                    <a16:rowId xmlns:a16="http://schemas.microsoft.com/office/drawing/2014/main" val="10004"/>
                  </a:ext>
                </a:extLst>
              </a:tr>
              <a:tr h="571391">
                <a:tc>
                  <a:txBody>
                    <a:bodyPr/>
                    <a:lstStyle/>
                    <a:p>
                      <a:pPr marL="0" algn="ctr" defTabSz="932667" rtl="0" eaLnBrk="1" latinLnBrk="0" hangingPunct="1"/>
                      <a:r>
                        <a:rPr lang="en-US" sz="1300" b="0" i="0" kern="1200" dirty="0">
                          <a:solidFill>
                            <a:schemeClr val="bg1"/>
                          </a:solidFill>
                          <a:latin typeface="Segoe UI Semibold" panose="020B0702040204020203" pitchFamily="34" charset="0"/>
                          <a:ea typeface="+mn-ea"/>
                          <a:cs typeface="Segoe UI Semibold" panose="020B0702040204020203" pitchFamily="34" charset="0"/>
                        </a:rPr>
                        <a:t>Accidental database deletion</a:t>
                      </a:r>
                    </a:p>
                  </a:txBody>
                  <a:tcPr marL="68574" marR="68574" marT="34287" marB="34287" anchor="ctr">
                    <a:lnL w="12700" cmpd="sng">
                      <a:noFill/>
                    </a:lnL>
                    <a:lnR w="38100" cap="flat" cmpd="sng" algn="ctr">
                      <a:solidFill>
                        <a:srgbClr val="45226D"/>
                      </a:solidFill>
                      <a:prstDash val="solid"/>
                      <a:round/>
                      <a:headEnd type="none" w="med" len="med"/>
                      <a:tailEnd type="none" w="med" len="med"/>
                    </a:lnR>
                    <a:lnT w="38100" cap="flat" cmpd="sng" algn="ctr">
                      <a:solidFill>
                        <a:srgbClr val="45226D"/>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1"/>
                    </a:solidFill>
                  </a:tcPr>
                </a:tc>
                <a:tc>
                  <a:txBody>
                    <a:bodyPr/>
                    <a:lstStyle/>
                    <a:p>
                      <a:pPr marL="0" marR="0" indent="0" algn="ctr" defTabSz="932667" rtl="0" eaLnBrk="1" fontAlgn="auto" latinLnBrk="0" hangingPunct="1">
                        <a:lnSpc>
                          <a:spcPct val="100000"/>
                        </a:lnSpc>
                        <a:spcBef>
                          <a:spcPts val="0"/>
                        </a:spcBef>
                        <a:spcAft>
                          <a:spcPts val="0"/>
                        </a:spcAft>
                        <a:buClrTx/>
                        <a:buSzTx/>
                        <a:buFontTx/>
                        <a:buNone/>
                        <a:tabLst/>
                        <a:defRPr/>
                      </a:pPr>
                      <a:r>
                        <a:rPr lang="en-US" sz="1300" b="0" i="0" kern="1200" dirty="0">
                          <a:solidFill>
                            <a:schemeClr val="bg1"/>
                          </a:solidFill>
                          <a:latin typeface="Segoe UI Semibold" panose="020B0702040204020203" pitchFamily="34" charset="0"/>
                          <a:ea typeface="+mn-ea"/>
                          <a:cs typeface="Segoe UI Semibold" panose="020B0702040204020203" pitchFamily="34" charset="0"/>
                        </a:rPr>
                        <a:t>Tail-end backup</a:t>
                      </a:r>
                    </a:p>
                  </a:txBody>
                  <a:tcPr marL="68574" marR="68574" marT="34287" marB="34287" anchor="ctr">
                    <a:lnL w="38100" cap="flat" cmpd="sng" algn="ctr">
                      <a:solidFill>
                        <a:srgbClr val="45226D"/>
                      </a:solidFill>
                      <a:prstDash val="solid"/>
                      <a:round/>
                      <a:headEnd type="none" w="med" len="med"/>
                      <a:tailEnd type="none" w="med" len="med"/>
                    </a:lnL>
                    <a:lnR w="38100" cap="flat" cmpd="sng" algn="ctr">
                      <a:solidFill>
                        <a:srgbClr val="45226D"/>
                      </a:solidFill>
                      <a:prstDash val="solid"/>
                      <a:round/>
                      <a:headEnd type="none" w="med" len="med"/>
                      <a:tailEnd type="none" w="med" len="med"/>
                    </a:lnR>
                    <a:lnT w="38100" cap="flat" cmpd="sng" algn="ctr">
                      <a:solidFill>
                        <a:srgbClr val="45226D"/>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tx1"/>
                    </a:solidFill>
                  </a:tcPr>
                </a:tc>
                <a:tc>
                  <a:txBody>
                    <a:bodyPr/>
                    <a:lstStyle/>
                    <a:p>
                      <a:pPr marL="0" marR="0" indent="0" algn="ctr" defTabSz="932667" rtl="0" eaLnBrk="1" fontAlgn="auto" latinLnBrk="0" hangingPunct="1">
                        <a:lnSpc>
                          <a:spcPct val="100000"/>
                        </a:lnSpc>
                        <a:spcBef>
                          <a:spcPts val="0"/>
                        </a:spcBef>
                        <a:spcAft>
                          <a:spcPts val="0"/>
                        </a:spcAft>
                        <a:buClrTx/>
                        <a:buSzTx/>
                        <a:buFontTx/>
                        <a:buNone/>
                        <a:tabLst/>
                        <a:defRPr/>
                      </a:pPr>
                      <a:r>
                        <a:rPr lang="en-US" sz="1300" b="0" i="0" kern="1200" dirty="0">
                          <a:solidFill>
                            <a:schemeClr val="bg1"/>
                          </a:solidFill>
                          <a:latin typeface="Segoe UI Semibold" panose="020B0702040204020203" pitchFamily="34" charset="0"/>
                          <a:ea typeface="+mn-ea"/>
                          <a:cs typeface="Segoe UI Semibold" panose="020B0702040204020203" pitchFamily="34" charset="0"/>
                        </a:rPr>
                        <a:t>Restore to point of deletion</a:t>
                      </a:r>
                    </a:p>
                  </a:txBody>
                  <a:tcPr marL="68574" marR="68574" marT="34287" marB="34287" anchor="ctr">
                    <a:lnL w="38100" cap="flat" cmpd="sng" algn="ctr">
                      <a:solidFill>
                        <a:srgbClr val="45226D"/>
                      </a:solidFill>
                      <a:prstDash val="solid"/>
                      <a:round/>
                      <a:headEnd type="none" w="med" len="med"/>
                      <a:tailEnd type="none" w="med" len="med"/>
                    </a:lnL>
                    <a:lnR w="38100" cap="flat" cmpd="sng" algn="ctr">
                      <a:solidFill>
                        <a:srgbClr val="45226D"/>
                      </a:solidFill>
                      <a:prstDash val="solid"/>
                      <a:round/>
                      <a:headEnd type="none" w="med" len="med"/>
                      <a:tailEnd type="none" w="med" len="med"/>
                    </a:lnR>
                    <a:lnT w="38100" cap="flat" cmpd="sng" algn="ctr">
                      <a:solidFill>
                        <a:srgbClr val="45226D"/>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tx1"/>
                    </a:solidFill>
                  </a:tcPr>
                </a:tc>
                <a:tc>
                  <a:txBody>
                    <a:bodyPr/>
                    <a:lstStyle/>
                    <a:p>
                      <a:pPr marL="0" marR="0" indent="0" algn="ctr" defTabSz="932667" rtl="0" eaLnBrk="1" fontAlgn="auto" latinLnBrk="0" hangingPunct="1">
                        <a:lnSpc>
                          <a:spcPct val="100000"/>
                        </a:lnSpc>
                        <a:spcBef>
                          <a:spcPts val="0"/>
                        </a:spcBef>
                        <a:spcAft>
                          <a:spcPts val="0"/>
                        </a:spcAft>
                        <a:buClrTx/>
                        <a:buSzTx/>
                        <a:buFontTx/>
                        <a:buNone/>
                        <a:tabLst/>
                        <a:defRPr/>
                      </a:pPr>
                      <a:r>
                        <a:rPr lang="en-US" sz="1300" b="0" i="0" kern="1200" dirty="0">
                          <a:solidFill>
                            <a:schemeClr val="bg1"/>
                          </a:solidFill>
                          <a:latin typeface="Segoe UI Semibold" panose="020B0702040204020203" pitchFamily="34" charset="0"/>
                          <a:ea typeface="+mn-ea"/>
                          <a:cs typeface="Segoe UI Semibold" panose="020B0702040204020203" pitchFamily="34" charset="0"/>
                        </a:rPr>
                        <a:t>Recovery time </a:t>
                      </a:r>
                      <a:br>
                        <a:rPr lang="en-US" sz="1300" b="0" i="0" kern="1200" dirty="0">
                          <a:solidFill>
                            <a:schemeClr val="bg1"/>
                          </a:solidFill>
                          <a:latin typeface="Segoe UI Semibold" panose="020B0702040204020203" pitchFamily="34" charset="0"/>
                          <a:ea typeface="+mn-ea"/>
                          <a:cs typeface="Segoe UI Semibold" panose="020B0702040204020203" pitchFamily="34" charset="0"/>
                        </a:rPr>
                      </a:br>
                      <a:r>
                        <a:rPr lang="en-US" sz="1300" b="0" i="0" kern="1200" dirty="0">
                          <a:solidFill>
                            <a:schemeClr val="bg1"/>
                          </a:solidFill>
                          <a:latin typeface="Segoe UI Semibold" panose="020B0702040204020203" pitchFamily="34" charset="0"/>
                          <a:ea typeface="+mn-ea"/>
                          <a:cs typeface="Segoe UI Semibold" panose="020B0702040204020203" pitchFamily="34" charset="0"/>
                        </a:rPr>
                        <a:t>Minutes to hours</a:t>
                      </a:r>
                    </a:p>
                  </a:txBody>
                  <a:tcPr marL="68574" marR="68574" marT="34287" marB="34287" anchor="ctr">
                    <a:lnL w="38100" cap="flat" cmpd="sng" algn="ctr">
                      <a:solidFill>
                        <a:srgbClr val="45226D"/>
                      </a:solidFill>
                      <a:prstDash val="solid"/>
                      <a:round/>
                      <a:headEnd type="none" w="med" len="med"/>
                      <a:tailEnd type="none" w="med" len="med"/>
                    </a:lnL>
                    <a:lnR w="38100" cap="flat" cmpd="sng" algn="ctr">
                      <a:solidFill>
                        <a:srgbClr val="45226D"/>
                      </a:solidFill>
                      <a:prstDash val="solid"/>
                      <a:round/>
                      <a:headEnd type="none" w="med" len="med"/>
                      <a:tailEnd type="none" w="med" len="med"/>
                    </a:lnR>
                    <a:lnT w="38100" cap="flat" cmpd="sng" algn="ctr">
                      <a:solidFill>
                        <a:srgbClr val="45226D"/>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tx1"/>
                    </a:solidFill>
                  </a:tcPr>
                </a:tc>
                <a:extLst>
                  <a:ext uri="{0D108BD9-81ED-4DB2-BD59-A6C34878D82A}">
                    <a16:rowId xmlns:a16="http://schemas.microsoft.com/office/drawing/2014/main" val="10005"/>
                  </a:ext>
                </a:extLst>
              </a:tr>
            </a:tbl>
          </a:graphicData>
        </a:graphic>
      </p:graphicFrame>
    </p:spTree>
    <p:extLst>
      <p:ext uri="{BB962C8B-B14F-4D97-AF65-F5344CB8AC3E}">
        <p14:creationId xmlns:p14="http://schemas.microsoft.com/office/powerpoint/2010/main" val="308972787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4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66168" y="1212851"/>
            <a:ext cx="11702553" cy="4395049"/>
          </a:xfrm>
        </p:spPr>
        <p:txBody>
          <a:bodyPr/>
          <a:lstStyle/>
          <a:p>
            <a:r>
              <a:rPr lang="en-US" dirty="0"/>
              <a:t>It is not considered mission critical. It doesn't have a binding SLA, therefore the downtime of 24 hours or longer will not result in financial liability</a:t>
            </a:r>
          </a:p>
          <a:p>
            <a:r>
              <a:rPr lang="en-US" dirty="0"/>
              <a:t>The rate of data change is low (e.g. transactions per hour). The RPO of 1 hour will not result in a massive data loss</a:t>
            </a:r>
          </a:p>
          <a:p>
            <a:r>
              <a:rPr lang="en-US" dirty="0"/>
              <a:t>The application is cost sensitive and cannot justify the additional cost of Geo-Replication</a:t>
            </a:r>
          </a:p>
        </p:txBody>
      </p:sp>
      <p:sp>
        <p:nvSpPr>
          <p:cNvPr id="2" name="Title 1"/>
          <p:cNvSpPr>
            <a:spLocks noGrp="1"/>
          </p:cNvSpPr>
          <p:nvPr>
            <p:ph type="title"/>
          </p:nvPr>
        </p:nvSpPr>
        <p:spPr/>
        <p:txBody>
          <a:bodyPr/>
          <a:lstStyle/>
          <a:p>
            <a:r>
              <a:rPr lang="en-US" dirty="0"/>
              <a:t>When to use Geo-Restore</a:t>
            </a:r>
          </a:p>
        </p:txBody>
      </p:sp>
    </p:spTree>
    <p:extLst>
      <p:ext uri="{BB962C8B-B14F-4D97-AF65-F5344CB8AC3E}">
        <p14:creationId xmlns:p14="http://schemas.microsoft.com/office/powerpoint/2010/main" val="32300517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4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66168" y="1212851"/>
            <a:ext cx="11702553" cy="5392245"/>
          </a:xfrm>
        </p:spPr>
        <p:txBody>
          <a:bodyPr/>
          <a:lstStyle/>
          <a:p>
            <a:r>
              <a:rPr lang="en-US" dirty="0"/>
              <a:t>It is mission critical. It has a binding SLA with aggressive RPO and RTO. Loss of data and availability will result in financial liability</a:t>
            </a:r>
          </a:p>
          <a:p>
            <a:r>
              <a:rPr lang="en-US" dirty="0"/>
              <a:t>The rate of data change is high (e.g. transactions per minute or seconds). The RPO of 1 </a:t>
            </a:r>
            <a:r>
              <a:rPr lang="en-US" dirty="0" err="1"/>
              <a:t>hr</a:t>
            </a:r>
            <a:r>
              <a:rPr lang="en-US" dirty="0"/>
              <a:t> associated with the default protection will likely result in unacceptable data loss</a:t>
            </a:r>
          </a:p>
          <a:p>
            <a:r>
              <a:rPr lang="en-US" dirty="0"/>
              <a:t>The cost associated with using Geo-Replication is significantly lower than the potential financial liability and associated loss of business</a:t>
            </a:r>
          </a:p>
        </p:txBody>
      </p:sp>
      <p:sp>
        <p:nvSpPr>
          <p:cNvPr id="2" name="Title 1"/>
          <p:cNvSpPr>
            <a:spLocks noGrp="1"/>
          </p:cNvSpPr>
          <p:nvPr>
            <p:ph type="title"/>
          </p:nvPr>
        </p:nvSpPr>
        <p:spPr/>
        <p:txBody>
          <a:bodyPr/>
          <a:lstStyle/>
          <a:p>
            <a:r>
              <a:rPr lang="en-US" dirty="0"/>
              <a:t>When to use Geo-Replication</a:t>
            </a:r>
          </a:p>
        </p:txBody>
      </p:sp>
    </p:spTree>
    <p:extLst>
      <p:ext uri="{BB962C8B-B14F-4D97-AF65-F5344CB8AC3E}">
        <p14:creationId xmlns:p14="http://schemas.microsoft.com/office/powerpoint/2010/main" val="177181995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4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Segoe UI Light" panose="020B0502040204020203" pitchFamily="34" charset="0"/>
                <a:cs typeface="Segoe UI Light" panose="020B0502040204020203" pitchFamily="34" charset="0"/>
              </a:rPr>
              <a:t>Azure SQL Database decisions</a:t>
            </a:r>
            <a:endParaRPr lang="en-US" dirty="0"/>
          </a:p>
        </p:txBody>
      </p:sp>
      <p:sp>
        <p:nvSpPr>
          <p:cNvPr id="8" name="Freeform: Shape 7"/>
          <p:cNvSpPr/>
          <p:nvPr/>
        </p:nvSpPr>
        <p:spPr>
          <a:xfrm>
            <a:off x="4416051" y="1112873"/>
            <a:ext cx="4997307" cy="2112335"/>
          </a:xfrm>
          <a:custGeom>
            <a:avLst/>
            <a:gdLst>
              <a:gd name="connsiteX0" fmla="*/ 0 w 6937384"/>
              <a:gd name="connsiteY0" fmla="*/ 171052 h 1368412"/>
              <a:gd name="connsiteX1" fmla="*/ 6253178 w 6937384"/>
              <a:gd name="connsiteY1" fmla="*/ 171052 h 1368412"/>
              <a:gd name="connsiteX2" fmla="*/ 6253178 w 6937384"/>
              <a:gd name="connsiteY2" fmla="*/ 0 h 1368412"/>
              <a:gd name="connsiteX3" fmla="*/ 6937384 w 6937384"/>
              <a:gd name="connsiteY3" fmla="*/ 684206 h 1368412"/>
              <a:gd name="connsiteX4" fmla="*/ 6253178 w 6937384"/>
              <a:gd name="connsiteY4" fmla="*/ 1368412 h 1368412"/>
              <a:gd name="connsiteX5" fmla="*/ 6253178 w 6937384"/>
              <a:gd name="connsiteY5" fmla="*/ 1197361 h 1368412"/>
              <a:gd name="connsiteX6" fmla="*/ 0 w 6937384"/>
              <a:gd name="connsiteY6" fmla="*/ 1197361 h 1368412"/>
              <a:gd name="connsiteX7" fmla="*/ 0 w 6937384"/>
              <a:gd name="connsiteY7" fmla="*/ 171052 h 13684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937384" h="1368412">
                <a:moveTo>
                  <a:pt x="0" y="171052"/>
                </a:moveTo>
                <a:lnTo>
                  <a:pt x="6253178" y="171052"/>
                </a:lnTo>
                <a:lnTo>
                  <a:pt x="6253178" y="0"/>
                </a:lnTo>
                <a:lnTo>
                  <a:pt x="6937384" y="684206"/>
                </a:lnTo>
                <a:lnTo>
                  <a:pt x="6253178" y="1368412"/>
                </a:lnTo>
                <a:lnTo>
                  <a:pt x="6253178" y="1197361"/>
                </a:lnTo>
                <a:lnTo>
                  <a:pt x="0" y="1197361"/>
                </a:lnTo>
                <a:lnTo>
                  <a:pt x="0" y="171052"/>
                </a:lnTo>
                <a:close/>
              </a:path>
            </a:pathLst>
          </a:custGeom>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228600" tIns="457200" rIns="696034" bIns="182481" numCol="1" spcCol="1270" anchor="t" anchorCtr="0">
            <a:noAutofit/>
          </a:bodyPr>
          <a:lstStyle/>
          <a:p>
            <a:pPr marL="285750" lvl="1" indent="-285750" defTabSz="800100">
              <a:lnSpc>
                <a:spcPct val="90000"/>
              </a:lnSpc>
              <a:spcBef>
                <a:spcPct val="0"/>
              </a:spcBef>
              <a:spcAft>
                <a:spcPct val="15000"/>
              </a:spcAft>
              <a:buFont typeface="Arial" panose="020B0604020202020204" pitchFamily="34" charset="0"/>
              <a:buChar char="•"/>
            </a:pPr>
            <a:r>
              <a:rPr lang="en-US" dirty="0"/>
              <a:t>Understand the performance and management differences between traditional SQL database and Azure SQL database. Decide which option suits your needs the best</a:t>
            </a:r>
          </a:p>
        </p:txBody>
      </p:sp>
      <p:sp>
        <p:nvSpPr>
          <p:cNvPr id="9" name="Freeform: Shape 8"/>
          <p:cNvSpPr/>
          <p:nvPr/>
        </p:nvSpPr>
        <p:spPr>
          <a:xfrm>
            <a:off x="1328722" y="1363453"/>
            <a:ext cx="3221976" cy="1615891"/>
          </a:xfrm>
          <a:custGeom>
            <a:avLst/>
            <a:gdLst>
              <a:gd name="connsiteX0" fmla="*/ 0 w 3221976"/>
              <a:gd name="connsiteY0" fmla="*/ 188426 h 1130532"/>
              <a:gd name="connsiteX1" fmla="*/ 188426 w 3221976"/>
              <a:gd name="connsiteY1" fmla="*/ 0 h 1130532"/>
              <a:gd name="connsiteX2" fmla="*/ 3033550 w 3221976"/>
              <a:gd name="connsiteY2" fmla="*/ 0 h 1130532"/>
              <a:gd name="connsiteX3" fmla="*/ 3221976 w 3221976"/>
              <a:gd name="connsiteY3" fmla="*/ 188426 h 1130532"/>
              <a:gd name="connsiteX4" fmla="*/ 3221976 w 3221976"/>
              <a:gd name="connsiteY4" fmla="*/ 942106 h 1130532"/>
              <a:gd name="connsiteX5" fmla="*/ 3033550 w 3221976"/>
              <a:gd name="connsiteY5" fmla="*/ 1130532 h 1130532"/>
              <a:gd name="connsiteX6" fmla="*/ 188426 w 3221976"/>
              <a:gd name="connsiteY6" fmla="*/ 1130532 h 1130532"/>
              <a:gd name="connsiteX7" fmla="*/ 0 w 3221976"/>
              <a:gd name="connsiteY7" fmla="*/ 942106 h 1130532"/>
              <a:gd name="connsiteX8" fmla="*/ 0 w 3221976"/>
              <a:gd name="connsiteY8" fmla="*/ 188426 h 11305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21976" h="1130532">
                <a:moveTo>
                  <a:pt x="0" y="188426"/>
                </a:moveTo>
                <a:cubicBezTo>
                  <a:pt x="0" y="84361"/>
                  <a:pt x="84361" y="0"/>
                  <a:pt x="188426" y="0"/>
                </a:cubicBezTo>
                <a:lnTo>
                  <a:pt x="3033550" y="0"/>
                </a:lnTo>
                <a:cubicBezTo>
                  <a:pt x="3137615" y="0"/>
                  <a:pt x="3221976" y="84361"/>
                  <a:pt x="3221976" y="188426"/>
                </a:cubicBezTo>
                <a:lnTo>
                  <a:pt x="3221976" y="942106"/>
                </a:lnTo>
                <a:cubicBezTo>
                  <a:pt x="3221976" y="1046171"/>
                  <a:pt x="3137615" y="1130532"/>
                  <a:pt x="3033550" y="1130532"/>
                </a:cubicBezTo>
                <a:lnTo>
                  <a:pt x="188426" y="1130532"/>
                </a:lnTo>
                <a:cubicBezTo>
                  <a:pt x="84361" y="1130532"/>
                  <a:pt x="0" y="1046171"/>
                  <a:pt x="0" y="942106"/>
                </a:cubicBezTo>
                <a:lnTo>
                  <a:pt x="0" y="188426"/>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77108" tIns="116148" rIns="177108" bIns="116148" numCol="1" spcCol="1270" anchor="ctr" anchorCtr="0">
            <a:noAutofit/>
          </a:bodyPr>
          <a:lstStyle/>
          <a:p>
            <a:pPr marL="0" lvl="0" indent="0" algn="ctr" defTabSz="1422400">
              <a:lnSpc>
                <a:spcPct val="90000"/>
              </a:lnSpc>
              <a:spcBef>
                <a:spcPct val="0"/>
              </a:spcBef>
              <a:spcAft>
                <a:spcPct val="35000"/>
              </a:spcAft>
              <a:buNone/>
            </a:pPr>
            <a:r>
              <a:rPr lang="en-US" sz="3200" b="0" kern="1200" dirty="0">
                <a:latin typeface="Segoe UI Semibold" panose="020B0702040204020203" pitchFamily="34" charset="0"/>
                <a:cs typeface="Segoe UI Semibold" panose="020B0702040204020203" pitchFamily="34" charset="0"/>
              </a:rPr>
              <a:t>Mandatory</a:t>
            </a:r>
          </a:p>
        </p:txBody>
      </p:sp>
      <p:sp>
        <p:nvSpPr>
          <p:cNvPr id="10" name="Freeform: Shape 9"/>
          <p:cNvSpPr/>
          <p:nvPr/>
        </p:nvSpPr>
        <p:spPr>
          <a:xfrm>
            <a:off x="4174858" y="3197706"/>
            <a:ext cx="5238499" cy="2061726"/>
          </a:xfrm>
          <a:custGeom>
            <a:avLst/>
            <a:gdLst>
              <a:gd name="connsiteX0" fmla="*/ 0 w 7091479"/>
              <a:gd name="connsiteY0" fmla="*/ 293845 h 2350760"/>
              <a:gd name="connsiteX1" fmla="*/ 5916099 w 7091479"/>
              <a:gd name="connsiteY1" fmla="*/ 293845 h 2350760"/>
              <a:gd name="connsiteX2" fmla="*/ 5916099 w 7091479"/>
              <a:gd name="connsiteY2" fmla="*/ 0 h 2350760"/>
              <a:gd name="connsiteX3" fmla="*/ 7091479 w 7091479"/>
              <a:gd name="connsiteY3" fmla="*/ 1175380 h 2350760"/>
              <a:gd name="connsiteX4" fmla="*/ 5916099 w 7091479"/>
              <a:gd name="connsiteY4" fmla="*/ 2350760 h 2350760"/>
              <a:gd name="connsiteX5" fmla="*/ 5916099 w 7091479"/>
              <a:gd name="connsiteY5" fmla="*/ 2056915 h 2350760"/>
              <a:gd name="connsiteX6" fmla="*/ 0 w 7091479"/>
              <a:gd name="connsiteY6" fmla="*/ 2056915 h 2350760"/>
              <a:gd name="connsiteX7" fmla="*/ 0 w 7091479"/>
              <a:gd name="connsiteY7" fmla="*/ 293845 h 2350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091479" h="2350760">
                <a:moveTo>
                  <a:pt x="0" y="293845"/>
                </a:moveTo>
                <a:lnTo>
                  <a:pt x="5916099" y="293845"/>
                </a:lnTo>
                <a:lnTo>
                  <a:pt x="5916099" y="0"/>
                </a:lnTo>
                <a:lnTo>
                  <a:pt x="7091479" y="1175380"/>
                </a:lnTo>
                <a:lnTo>
                  <a:pt x="5916099" y="2350760"/>
                </a:lnTo>
                <a:lnTo>
                  <a:pt x="5916099" y="2056915"/>
                </a:lnTo>
                <a:lnTo>
                  <a:pt x="0" y="2056915"/>
                </a:lnTo>
                <a:lnTo>
                  <a:pt x="0" y="293845"/>
                </a:lnTo>
                <a:close/>
              </a:path>
            </a:pathLst>
          </a:custGeom>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457200" tIns="385285" rIns="1064415" bIns="305275" numCol="1" spcCol="1270" anchor="ctr" anchorCtr="0">
            <a:noAutofit/>
          </a:bodyPr>
          <a:lstStyle/>
          <a:p>
            <a:pPr marL="285750" lvl="1" indent="-285750" defTabSz="800100">
              <a:lnSpc>
                <a:spcPct val="90000"/>
              </a:lnSpc>
              <a:spcBef>
                <a:spcPct val="0"/>
              </a:spcBef>
              <a:spcAft>
                <a:spcPct val="15000"/>
              </a:spcAft>
              <a:buFont typeface="Arial" panose="020B0604020202020204" pitchFamily="34" charset="0"/>
              <a:buChar char="•"/>
            </a:pPr>
            <a:r>
              <a:rPr lang="en-US" dirty="0"/>
              <a:t>Analyze databases to be migrated to Azure SQL Database for incompatibles that might be present (E.G. FILESTREAM)</a:t>
            </a:r>
          </a:p>
        </p:txBody>
      </p:sp>
      <p:sp>
        <p:nvSpPr>
          <p:cNvPr id="11" name="Freeform: Shape 10"/>
          <p:cNvSpPr/>
          <p:nvPr/>
        </p:nvSpPr>
        <p:spPr>
          <a:xfrm>
            <a:off x="1311806" y="3440810"/>
            <a:ext cx="3213523" cy="1576659"/>
          </a:xfrm>
          <a:custGeom>
            <a:avLst/>
            <a:gdLst>
              <a:gd name="connsiteX0" fmla="*/ 0 w 3213523"/>
              <a:gd name="connsiteY0" fmla="*/ 295356 h 1772099"/>
              <a:gd name="connsiteX1" fmla="*/ 295356 w 3213523"/>
              <a:gd name="connsiteY1" fmla="*/ 0 h 1772099"/>
              <a:gd name="connsiteX2" fmla="*/ 2918167 w 3213523"/>
              <a:gd name="connsiteY2" fmla="*/ 0 h 1772099"/>
              <a:gd name="connsiteX3" fmla="*/ 3213523 w 3213523"/>
              <a:gd name="connsiteY3" fmla="*/ 295356 h 1772099"/>
              <a:gd name="connsiteX4" fmla="*/ 3213523 w 3213523"/>
              <a:gd name="connsiteY4" fmla="*/ 1476743 h 1772099"/>
              <a:gd name="connsiteX5" fmla="*/ 2918167 w 3213523"/>
              <a:gd name="connsiteY5" fmla="*/ 1772099 h 1772099"/>
              <a:gd name="connsiteX6" fmla="*/ 295356 w 3213523"/>
              <a:gd name="connsiteY6" fmla="*/ 1772099 h 1772099"/>
              <a:gd name="connsiteX7" fmla="*/ 0 w 3213523"/>
              <a:gd name="connsiteY7" fmla="*/ 1476743 h 1772099"/>
              <a:gd name="connsiteX8" fmla="*/ 0 w 3213523"/>
              <a:gd name="connsiteY8" fmla="*/ 295356 h 17720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13523" h="1772099">
                <a:moveTo>
                  <a:pt x="0" y="295356"/>
                </a:moveTo>
                <a:cubicBezTo>
                  <a:pt x="0" y="132235"/>
                  <a:pt x="132235" y="0"/>
                  <a:pt x="295356" y="0"/>
                </a:cubicBezTo>
                <a:lnTo>
                  <a:pt x="2918167" y="0"/>
                </a:lnTo>
                <a:cubicBezTo>
                  <a:pt x="3081288" y="0"/>
                  <a:pt x="3213523" y="132235"/>
                  <a:pt x="3213523" y="295356"/>
                </a:cubicBezTo>
                <a:lnTo>
                  <a:pt x="3213523" y="1476743"/>
                </a:lnTo>
                <a:cubicBezTo>
                  <a:pt x="3213523" y="1639864"/>
                  <a:pt x="3081288" y="1772099"/>
                  <a:pt x="2918167" y="1772099"/>
                </a:cubicBezTo>
                <a:lnTo>
                  <a:pt x="295356" y="1772099"/>
                </a:lnTo>
                <a:cubicBezTo>
                  <a:pt x="132235" y="1772099"/>
                  <a:pt x="0" y="1639864"/>
                  <a:pt x="0" y="1476743"/>
                </a:cubicBezTo>
                <a:lnTo>
                  <a:pt x="0" y="295356"/>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08427" tIns="147467" rIns="208427" bIns="147467" numCol="1" spcCol="1270" anchor="ctr" anchorCtr="0">
            <a:noAutofit/>
          </a:bodyPr>
          <a:lstStyle/>
          <a:p>
            <a:pPr marL="0" lvl="0" indent="0" algn="ctr" defTabSz="1422400">
              <a:lnSpc>
                <a:spcPct val="90000"/>
              </a:lnSpc>
              <a:spcBef>
                <a:spcPct val="0"/>
              </a:spcBef>
              <a:spcAft>
                <a:spcPct val="35000"/>
              </a:spcAft>
              <a:buNone/>
            </a:pPr>
            <a:r>
              <a:rPr lang="en-US" sz="3200" b="0" kern="1200" dirty="0">
                <a:solidFill>
                  <a:srgbClr val="FFFFFF"/>
                </a:solidFill>
                <a:latin typeface="Segoe UI Semibold" panose="020B0702040204020203" pitchFamily="34" charset="0"/>
                <a:ea typeface="+mn-ea"/>
                <a:cs typeface="Segoe UI Semibold" panose="020B0702040204020203" pitchFamily="34" charset="0"/>
              </a:rPr>
              <a:t>Recommended</a:t>
            </a:r>
          </a:p>
        </p:txBody>
      </p:sp>
      <p:sp>
        <p:nvSpPr>
          <p:cNvPr id="12" name="Freeform: Shape 11"/>
          <p:cNvSpPr/>
          <p:nvPr/>
        </p:nvSpPr>
        <p:spPr>
          <a:xfrm>
            <a:off x="4281381" y="5323367"/>
            <a:ext cx="5131977" cy="1346791"/>
          </a:xfrm>
          <a:custGeom>
            <a:avLst/>
            <a:gdLst>
              <a:gd name="connsiteX0" fmla="*/ 0 w 7125896"/>
              <a:gd name="connsiteY0" fmla="*/ 180910 h 1447281"/>
              <a:gd name="connsiteX1" fmla="*/ 6402256 w 7125896"/>
              <a:gd name="connsiteY1" fmla="*/ 180910 h 1447281"/>
              <a:gd name="connsiteX2" fmla="*/ 6402256 w 7125896"/>
              <a:gd name="connsiteY2" fmla="*/ 0 h 1447281"/>
              <a:gd name="connsiteX3" fmla="*/ 7125896 w 7125896"/>
              <a:gd name="connsiteY3" fmla="*/ 723641 h 1447281"/>
              <a:gd name="connsiteX4" fmla="*/ 6402256 w 7125896"/>
              <a:gd name="connsiteY4" fmla="*/ 1447281 h 1447281"/>
              <a:gd name="connsiteX5" fmla="*/ 6402256 w 7125896"/>
              <a:gd name="connsiteY5" fmla="*/ 1266371 h 1447281"/>
              <a:gd name="connsiteX6" fmla="*/ 0 w 7125896"/>
              <a:gd name="connsiteY6" fmla="*/ 1266371 h 1447281"/>
              <a:gd name="connsiteX7" fmla="*/ 0 w 7125896"/>
              <a:gd name="connsiteY7" fmla="*/ 180910 h 14472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125896" h="1447281">
                <a:moveTo>
                  <a:pt x="0" y="180910"/>
                </a:moveTo>
                <a:lnTo>
                  <a:pt x="6402256" y="180910"/>
                </a:lnTo>
                <a:lnTo>
                  <a:pt x="6402256" y="0"/>
                </a:lnTo>
                <a:lnTo>
                  <a:pt x="7125896" y="723641"/>
                </a:lnTo>
                <a:lnTo>
                  <a:pt x="6402256" y="1447281"/>
                </a:lnTo>
                <a:lnTo>
                  <a:pt x="6402256" y="1266371"/>
                </a:lnTo>
                <a:lnTo>
                  <a:pt x="0" y="1266371"/>
                </a:lnTo>
                <a:lnTo>
                  <a:pt x="0" y="180910"/>
                </a:lnTo>
                <a:close/>
              </a:path>
            </a:pathLst>
          </a:custGeom>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365760" tIns="272350" rIns="640080" bIns="192340" numCol="1" spcCol="1270" anchor="t" anchorCtr="0">
            <a:noAutofit/>
          </a:bodyPr>
          <a:lstStyle/>
          <a:p>
            <a:pPr marL="285750" lvl="0" indent="-285750">
              <a:buFont typeface="Arial" panose="020B0604020202020204" pitchFamily="34" charset="0"/>
              <a:buChar char="•"/>
            </a:pPr>
            <a:r>
              <a:rPr lang="en-US" dirty="0"/>
              <a:t>Leverage built in tooling for BACPAC </a:t>
            </a:r>
            <a:br>
              <a:rPr lang="en-US" dirty="0"/>
            </a:br>
            <a:r>
              <a:rPr lang="en-US" dirty="0"/>
              <a:t>and DACPAC to move databases to Azure SQL Databases</a:t>
            </a:r>
          </a:p>
        </p:txBody>
      </p:sp>
      <p:sp>
        <p:nvSpPr>
          <p:cNvPr id="13" name="Freeform: Shape 12"/>
          <p:cNvSpPr/>
          <p:nvPr/>
        </p:nvSpPr>
        <p:spPr>
          <a:xfrm>
            <a:off x="1259112" y="5475034"/>
            <a:ext cx="3210524" cy="1048915"/>
          </a:xfrm>
          <a:custGeom>
            <a:avLst/>
            <a:gdLst>
              <a:gd name="connsiteX0" fmla="*/ 0 w 3210524"/>
              <a:gd name="connsiteY0" fmla="*/ 191185 h 1147089"/>
              <a:gd name="connsiteX1" fmla="*/ 191185 w 3210524"/>
              <a:gd name="connsiteY1" fmla="*/ 0 h 1147089"/>
              <a:gd name="connsiteX2" fmla="*/ 3019339 w 3210524"/>
              <a:gd name="connsiteY2" fmla="*/ 0 h 1147089"/>
              <a:gd name="connsiteX3" fmla="*/ 3210524 w 3210524"/>
              <a:gd name="connsiteY3" fmla="*/ 191185 h 1147089"/>
              <a:gd name="connsiteX4" fmla="*/ 3210524 w 3210524"/>
              <a:gd name="connsiteY4" fmla="*/ 955904 h 1147089"/>
              <a:gd name="connsiteX5" fmla="*/ 3019339 w 3210524"/>
              <a:gd name="connsiteY5" fmla="*/ 1147089 h 1147089"/>
              <a:gd name="connsiteX6" fmla="*/ 191185 w 3210524"/>
              <a:gd name="connsiteY6" fmla="*/ 1147089 h 1147089"/>
              <a:gd name="connsiteX7" fmla="*/ 0 w 3210524"/>
              <a:gd name="connsiteY7" fmla="*/ 955904 h 1147089"/>
              <a:gd name="connsiteX8" fmla="*/ 0 w 3210524"/>
              <a:gd name="connsiteY8" fmla="*/ 191185 h 1147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10524" h="1147089">
                <a:moveTo>
                  <a:pt x="0" y="191185"/>
                </a:moveTo>
                <a:cubicBezTo>
                  <a:pt x="0" y="85596"/>
                  <a:pt x="85596" y="0"/>
                  <a:pt x="191185" y="0"/>
                </a:cubicBezTo>
                <a:lnTo>
                  <a:pt x="3019339" y="0"/>
                </a:lnTo>
                <a:cubicBezTo>
                  <a:pt x="3124928" y="0"/>
                  <a:pt x="3210524" y="85596"/>
                  <a:pt x="3210524" y="191185"/>
                </a:cubicBezTo>
                <a:lnTo>
                  <a:pt x="3210524" y="955904"/>
                </a:lnTo>
                <a:cubicBezTo>
                  <a:pt x="3210524" y="1061493"/>
                  <a:pt x="3124928" y="1147089"/>
                  <a:pt x="3019339" y="1147089"/>
                </a:cubicBezTo>
                <a:lnTo>
                  <a:pt x="191185" y="1147089"/>
                </a:lnTo>
                <a:cubicBezTo>
                  <a:pt x="85596" y="1147089"/>
                  <a:pt x="0" y="1061493"/>
                  <a:pt x="0" y="955904"/>
                </a:cubicBezTo>
                <a:lnTo>
                  <a:pt x="0" y="191185"/>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77916" tIns="116956" rIns="177916" bIns="116956" numCol="1" spcCol="1270" anchor="ctr" anchorCtr="0">
            <a:noAutofit/>
          </a:bodyPr>
          <a:lstStyle/>
          <a:p>
            <a:pPr marL="0" lvl="0" indent="0" algn="ctr" defTabSz="1422400">
              <a:lnSpc>
                <a:spcPct val="90000"/>
              </a:lnSpc>
              <a:spcBef>
                <a:spcPct val="0"/>
              </a:spcBef>
              <a:spcAft>
                <a:spcPct val="35000"/>
              </a:spcAft>
              <a:buNone/>
            </a:pPr>
            <a:r>
              <a:rPr lang="en-US" sz="3200" b="0" kern="1200" dirty="0">
                <a:solidFill>
                  <a:srgbClr val="FFFFFF"/>
                </a:solidFill>
                <a:latin typeface="Segoe UI Semibold" panose="020B0702040204020203" pitchFamily="34" charset="0"/>
                <a:ea typeface="+mn-ea"/>
                <a:cs typeface="Segoe UI Semibold" panose="020B0702040204020203" pitchFamily="34" charset="0"/>
              </a:rPr>
              <a:t>Optional</a:t>
            </a:r>
          </a:p>
        </p:txBody>
      </p:sp>
      <p:sp>
        <p:nvSpPr>
          <p:cNvPr id="4" name="Octagon 3"/>
          <p:cNvSpPr/>
          <p:nvPr/>
        </p:nvSpPr>
        <p:spPr>
          <a:xfrm>
            <a:off x="1107200" y="2749961"/>
            <a:ext cx="443098" cy="439889"/>
          </a:xfrm>
          <a:prstGeom prst="octagon">
            <a:avLst/>
          </a:prstGeom>
          <a:solidFill>
            <a:srgbClr val="CC0000"/>
          </a:solidFill>
        </p:spPr>
        <p:style>
          <a:lnRef idx="1">
            <a:schemeClr val="accent2"/>
          </a:lnRef>
          <a:fillRef idx="3">
            <a:schemeClr val="accent2"/>
          </a:fillRef>
          <a:effectRef idx="2">
            <a:schemeClr val="accent2"/>
          </a:effectRef>
          <a:fontRef idx="minor">
            <a:schemeClr val="lt1"/>
          </a:fontRef>
        </p:style>
        <p:txBody>
          <a:bodyPr rot="0" spcFirstLastPara="0" vert="horz" wrap="square" lIns="68583" tIns="34291" rIns="68583" bIns="34291" numCol="1" spcCol="0" rtlCol="0" fromWordArt="0" anchor="ctr" anchorCtr="0" forceAA="0" compatLnSpc="1">
            <a:prstTxWarp prst="textNoShape">
              <a:avLst/>
            </a:prstTxWarp>
            <a:noAutofit/>
          </a:bodyPr>
          <a:lstStyle/>
          <a:p>
            <a:endParaRPr lang="en-US" sz="1350"/>
          </a:p>
        </p:txBody>
      </p:sp>
      <p:sp>
        <p:nvSpPr>
          <p:cNvPr id="5" name="Isosceles Triangle 4"/>
          <p:cNvSpPr>
            <a:spLocks/>
          </p:cNvSpPr>
          <p:nvPr/>
        </p:nvSpPr>
        <p:spPr>
          <a:xfrm>
            <a:off x="1038785" y="4705328"/>
            <a:ext cx="579874" cy="457219"/>
          </a:xfrm>
          <a:prstGeom prst="triangle">
            <a:avLst/>
          </a:prstGeom>
          <a:solidFill>
            <a:srgbClr val="FFFF00"/>
          </a:solidFill>
        </p:spPr>
        <p:style>
          <a:lnRef idx="1">
            <a:schemeClr val="accent6"/>
          </a:lnRef>
          <a:fillRef idx="3">
            <a:schemeClr val="accent6"/>
          </a:fillRef>
          <a:effectRef idx="2">
            <a:schemeClr val="accent6"/>
          </a:effectRef>
          <a:fontRef idx="minor">
            <a:schemeClr val="lt1"/>
          </a:fontRef>
        </p:style>
        <p:txBody>
          <a:bodyPr rot="0" spcFirstLastPara="0" vert="horz" wrap="square" lIns="68583" tIns="34291" rIns="68583" bIns="34291" numCol="1" spcCol="0" rtlCol="0" fromWordArt="0" anchor="ctr" anchorCtr="0" forceAA="0" compatLnSpc="1">
            <a:prstTxWarp prst="textNoShape">
              <a:avLst/>
            </a:prstTxWarp>
            <a:noAutofit/>
          </a:bodyPr>
          <a:lstStyle/>
          <a:p>
            <a:endParaRPr lang="en-US" sz="1350"/>
          </a:p>
        </p:txBody>
      </p:sp>
      <p:sp>
        <p:nvSpPr>
          <p:cNvPr id="6" name="Oval 5"/>
          <p:cNvSpPr>
            <a:spLocks/>
          </p:cNvSpPr>
          <p:nvPr/>
        </p:nvSpPr>
        <p:spPr>
          <a:xfrm>
            <a:off x="1038785" y="6264074"/>
            <a:ext cx="474539" cy="475477"/>
          </a:xfrm>
          <a:prstGeom prst="ellipse">
            <a:avLst/>
          </a:prstGeom>
          <a:solidFill>
            <a:srgbClr val="00B050"/>
          </a:solidFill>
        </p:spPr>
        <p:style>
          <a:lnRef idx="1">
            <a:schemeClr val="accent3"/>
          </a:lnRef>
          <a:fillRef idx="3">
            <a:schemeClr val="accent3"/>
          </a:fillRef>
          <a:effectRef idx="2">
            <a:schemeClr val="accent3"/>
          </a:effectRef>
          <a:fontRef idx="minor">
            <a:schemeClr val="lt1"/>
          </a:fontRef>
        </p:style>
        <p:txBody>
          <a:bodyPr rot="0" spcFirstLastPara="0" vert="horz" wrap="square" lIns="68583" tIns="34291" rIns="68583" bIns="34291" numCol="1" spcCol="0" rtlCol="0" fromWordArt="0" anchor="ctr" anchorCtr="0" forceAA="0" compatLnSpc="1">
            <a:prstTxWarp prst="textNoShape">
              <a:avLst/>
            </a:prstTxWarp>
            <a:noAutofit/>
          </a:bodyPr>
          <a:lstStyle/>
          <a:p>
            <a:endParaRPr lang="en-US" sz="1350"/>
          </a:p>
        </p:txBody>
      </p:sp>
    </p:spTree>
    <p:extLst>
      <p:ext uri="{BB962C8B-B14F-4D97-AF65-F5344CB8AC3E}">
        <p14:creationId xmlns:p14="http://schemas.microsoft.com/office/powerpoint/2010/main" val="440982710"/>
      </p:ext>
    </p:extLst>
  </p:cSld>
  <p:clrMapOvr>
    <a:masterClrMapping/>
  </p:clrMapOvr>
  <p:transition>
    <p:fade/>
  </p:transition>
</p:sld>
</file>

<file path=ppt/slides/slide14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366168" y="1212851"/>
            <a:ext cx="11702553" cy="3526350"/>
          </a:xfrm>
        </p:spPr>
        <p:txBody>
          <a:bodyPr/>
          <a:lstStyle/>
          <a:p>
            <a:pPr marL="0" indent="0">
              <a:buNone/>
            </a:pPr>
            <a:r>
              <a:rPr lang="en-US" dirty="0"/>
              <a:t>The new Premium-tier is an Enterprise-ready tier, including all the Standard-tier features and more: </a:t>
            </a:r>
          </a:p>
          <a:p>
            <a:endParaRPr lang="en-US" sz="1050" dirty="0">
              <a:solidFill>
                <a:schemeClr val="tx1"/>
              </a:solidFill>
            </a:endParaRPr>
          </a:p>
          <a:p>
            <a:pPr marL="685800" indent="-685800"/>
            <a:r>
              <a:rPr lang="en-US" sz="3200" dirty="0">
                <a:solidFill>
                  <a:schemeClr val="tx1"/>
                </a:solidFill>
                <a:hlinkClick r:id="rId3"/>
              </a:rPr>
              <a:t>Better performance</a:t>
            </a:r>
            <a:endParaRPr lang="en-US" sz="3200" dirty="0">
              <a:solidFill>
                <a:schemeClr val="tx1"/>
              </a:solidFill>
            </a:endParaRPr>
          </a:p>
          <a:p>
            <a:pPr marL="685800" indent="-685800"/>
            <a:r>
              <a:rPr lang="en-US" sz="3200" dirty="0">
                <a:solidFill>
                  <a:schemeClr val="tx1"/>
                </a:solidFill>
                <a:hlinkClick r:id="rId4"/>
              </a:rPr>
              <a:t>Redis persistence </a:t>
            </a:r>
            <a:endParaRPr lang="en-US" sz="3200" dirty="0">
              <a:solidFill>
                <a:schemeClr val="tx1"/>
              </a:solidFill>
            </a:endParaRPr>
          </a:p>
          <a:p>
            <a:pPr marL="685800" indent="-685800"/>
            <a:r>
              <a:rPr lang="en-US" sz="3200" dirty="0">
                <a:solidFill>
                  <a:schemeClr val="tx1"/>
                </a:solidFill>
                <a:hlinkClick r:id="rId5"/>
              </a:rPr>
              <a:t>Redis Cluster </a:t>
            </a:r>
            <a:endParaRPr lang="en-US" sz="3200" dirty="0">
              <a:solidFill>
                <a:schemeClr val="tx1"/>
              </a:solidFill>
            </a:endParaRPr>
          </a:p>
          <a:p>
            <a:pPr marL="685800" indent="-685800"/>
            <a:r>
              <a:rPr lang="en-US" sz="3200" dirty="0">
                <a:solidFill>
                  <a:schemeClr val="tx1"/>
                </a:solidFill>
                <a:hlinkClick r:id="rId6"/>
              </a:rPr>
              <a:t>Azure Virtual Network</a:t>
            </a:r>
            <a:r>
              <a:rPr lang="en-US" sz="3200" dirty="0">
                <a:solidFill>
                  <a:schemeClr val="tx1"/>
                </a:solidFill>
              </a:rPr>
              <a:t> (</a:t>
            </a:r>
            <a:r>
              <a:rPr lang="en-US" sz="3200" dirty="0" err="1">
                <a:solidFill>
                  <a:schemeClr val="tx1"/>
                </a:solidFill>
              </a:rPr>
              <a:t>VNet</a:t>
            </a:r>
            <a:r>
              <a:rPr lang="en-US" sz="3200" dirty="0">
                <a:solidFill>
                  <a:schemeClr val="tx1"/>
                </a:solidFill>
              </a:rPr>
              <a:t>) v1 &amp;…</a:t>
            </a:r>
          </a:p>
        </p:txBody>
      </p:sp>
      <p:sp>
        <p:nvSpPr>
          <p:cNvPr id="2" name="Title 1"/>
          <p:cNvSpPr>
            <a:spLocks noGrp="1"/>
          </p:cNvSpPr>
          <p:nvPr>
            <p:ph type="title"/>
          </p:nvPr>
        </p:nvSpPr>
        <p:spPr/>
        <p:txBody>
          <a:bodyPr/>
          <a:lstStyle/>
          <a:p>
            <a:r>
              <a:rPr lang="en-US" dirty="0"/>
              <a:t>Azure Redis Cache Premium</a:t>
            </a:r>
          </a:p>
        </p:txBody>
      </p:sp>
    </p:spTree>
    <p:extLst>
      <p:ext uri="{BB962C8B-B14F-4D97-AF65-F5344CB8AC3E}">
        <p14:creationId xmlns:p14="http://schemas.microsoft.com/office/powerpoint/2010/main" val="313832654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0" name="Group 9"/>
          <p:cNvGrpSpPr/>
          <p:nvPr/>
        </p:nvGrpSpPr>
        <p:grpSpPr>
          <a:xfrm>
            <a:off x="2812713" y="4161431"/>
            <a:ext cx="3704274" cy="558828"/>
            <a:chOff x="2833488" y="4337858"/>
            <a:chExt cx="3632487" cy="547998"/>
          </a:xfrm>
        </p:grpSpPr>
        <p:sp>
          <p:nvSpPr>
            <p:cNvPr id="197" name="Rectangle 196"/>
            <p:cNvSpPr/>
            <p:nvPr/>
          </p:nvSpPr>
          <p:spPr>
            <a:xfrm>
              <a:off x="2833488" y="4655090"/>
              <a:ext cx="3632487" cy="230766"/>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812"/>
              <a:endParaRPr lang="en-US" sz="1836" kern="0">
                <a:solidFill>
                  <a:sysClr val="windowText" lastClr="000000"/>
                </a:solidFill>
                <a:latin typeface="Segoe UI"/>
              </a:endParaRPr>
            </a:p>
          </p:txBody>
        </p:sp>
        <p:sp>
          <p:nvSpPr>
            <p:cNvPr id="202" name="TextBox 201"/>
            <p:cNvSpPr txBox="1"/>
            <p:nvPr/>
          </p:nvSpPr>
          <p:spPr>
            <a:xfrm>
              <a:off x="3090920" y="4337858"/>
              <a:ext cx="3020379" cy="343492"/>
            </a:xfrm>
            <a:prstGeom prst="rect">
              <a:avLst/>
            </a:prstGeom>
            <a:noFill/>
          </p:spPr>
          <p:txBody>
            <a:bodyPr wrap="none" rtlCol="0">
              <a:spAutoFit/>
            </a:bodyPr>
            <a:lstStyle/>
            <a:p>
              <a:pPr defTabSz="913812"/>
              <a:r>
                <a:rPr lang="en-US" sz="1632" kern="0" dirty="0">
                  <a:solidFill>
                    <a:srgbClr val="161616"/>
                  </a:solidFill>
                  <a:latin typeface="Segoe UI Light" panose="020B0502040204020203" pitchFamily="34" charset="0"/>
                  <a:cs typeface="Segoe UI Light" panose="020B0502040204020203" pitchFamily="34" charset="0"/>
                </a:rPr>
                <a:t>Site to Site or ExpressRoute VPN</a:t>
              </a:r>
            </a:p>
          </p:txBody>
        </p:sp>
      </p:grpSp>
      <p:sp>
        <p:nvSpPr>
          <p:cNvPr id="3" name="Rounded Rectangle 2"/>
          <p:cNvSpPr/>
          <p:nvPr/>
        </p:nvSpPr>
        <p:spPr>
          <a:xfrm>
            <a:off x="6305630" y="2446307"/>
            <a:ext cx="4565744" cy="3066419"/>
          </a:xfrm>
          <a:prstGeom prst="roundRect">
            <a:avLst/>
          </a:prstGeom>
          <a:solidFill>
            <a:schemeClr val="bg1"/>
          </a:solidFill>
          <a:ln w="2857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812"/>
            <a:endParaRPr lang="en-US" sz="1836" kern="0" dirty="0">
              <a:solidFill>
                <a:sysClr val="windowText" lastClr="000000"/>
              </a:solidFill>
              <a:latin typeface="Segoe UI"/>
            </a:endParaRPr>
          </a:p>
        </p:txBody>
      </p:sp>
      <p:cxnSp>
        <p:nvCxnSpPr>
          <p:cNvPr id="119" name="Elbow Connector 118"/>
          <p:cNvCxnSpPr>
            <a:cxnSpLocks/>
            <a:endCxn id="120" idx="1"/>
          </p:cNvCxnSpPr>
          <p:nvPr/>
        </p:nvCxnSpPr>
        <p:spPr>
          <a:xfrm>
            <a:off x="2960182" y="2612895"/>
            <a:ext cx="3186327" cy="907620"/>
          </a:xfrm>
          <a:prstGeom prst="bentConnector3">
            <a:avLst>
              <a:gd name="adj1" fmla="val 50000"/>
            </a:avLst>
          </a:prstGeom>
          <a:ln w="28575">
            <a:solidFill>
              <a:srgbClr val="00B050"/>
            </a:solidFill>
            <a:headEnd type="arrow"/>
            <a:tailEnd type="arrow"/>
          </a:ln>
        </p:spPr>
        <p:style>
          <a:lnRef idx="1">
            <a:schemeClr val="accent1"/>
          </a:lnRef>
          <a:fillRef idx="0">
            <a:schemeClr val="accent1"/>
          </a:fillRef>
          <a:effectRef idx="0">
            <a:schemeClr val="accent1"/>
          </a:effectRef>
          <a:fontRef idx="minor">
            <a:schemeClr val="tx1"/>
          </a:fontRef>
        </p:style>
      </p:cxnSp>
      <p:sp>
        <p:nvSpPr>
          <p:cNvPr id="143" name="Title 2"/>
          <p:cNvSpPr txBox="1">
            <a:spLocks/>
          </p:cNvSpPr>
          <p:nvPr/>
        </p:nvSpPr>
        <p:spPr>
          <a:xfrm>
            <a:off x="243755" y="105829"/>
            <a:ext cx="11293983" cy="976109"/>
          </a:xfrm>
          <a:prstGeom prst="rect">
            <a:avLst/>
          </a:prstGeom>
        </p:spPr>
        <p:txBody>
          <a:bodyPr>
            <a:noAutofit/>
          </a:bodyPr>
          <a:lstStyle>
            <a:lvl1pPr algn="l" defTabSz="914367" rtl="0" eaLnBrk="1" latinLnBrk="0" hangingPunct="1">
              <a:lnSpc>
                <a:spcPct val="90000"/>
              </a:lnSpc>
              <a:spcBef>
                <a:spcPct val="0"/>
              </a:spcBef>
              <a:buNone/>
              <a:defRPr lang="en-US" sz="5294" b="0" kern="1200" cap="none" spc="-100" baseline="0" dirty="0">
                <a:ln w="3175">
                  <a:noFill/>
                </a:ln>
                <a:solidFill>
                  <a:srgbClr val="00B0F0"/>
                </a:solidFill>
                <a:effectLst/>
                <a:latin typeface="+mj-lt"/>
                <a:ea typeface="+mn-ea"/>
                <a:cs typeface="Segoe UI" pitchFamily="34" charset="0"/>
              </a:defRPr>
            </a:lvl1pPr>
          </a:lstStyle>
          <a:p>
            <a:pPr defTabSz="913781"/>
            <a:r>
              <a:rPr lang="en-US" sz="5438" spc="-102" dirty="0">
                <a:solidFill>
                  <a:srgbClr val="161616"/>
                </a:solidFill>
                <a:latin typeface="Segoe UI Light" panose="020B0502040204020203" pitchFamily="34" charset="0"/>
                <a:cs typeface="Segoe UI Light" panose="020B0502040204020203" pitchFamily="34" charset="0"/>
              </a:rPr>
              <a:t>App Service Environment (ASE)</a:t>
            </a:r>
            <a:endParaRPr lang="en-US" sz="4350" spc="-102" dirty="0">
              <a:solidFill>
                <a:srgbClr val="161616"/>
              </a:solidFill>
              <a:latin typeface="Segoe UI Light" panose="020B0502040204020203" pitchFamily="34" charset="0"/>
              <a:cs typeface="Segoe UI Light" panose="020B0502040204020203" pitchFamily="34" charset="0"/>
            </a:endParaRPr>
          </a:p>
        </p:txBody>
      </p:sp>
      <p:cxnSp>
        <p:nvCxnSpPr>
          <p:cNvPr id="68" name="Elbow Connector 67"/>
          <p:cNvCxnSpPr>
            <a:cxnSpLocks/>
            <a:stCxn id="76" idx="3"/>
            <a:endCxn id="57" idx="3"/>
          </p:cNvCxnSpPr>
          <p:nvPr/>
        </p:nvCxnSpPr>
        <p:spPr>
          <a:xfrm flipH="1" flipV="1">
            <a:off x="10199986" y="3592195"/>
            <a:ext cx="17468" cy="1013288"/>
          </a:xfrm>
          <a:prstGeom prst="bentConnector3">
            <a:avLst>
              <a:gd name="adj1" fmla="val -1779265"/>
            </a:avLst>
          </a:prstGeom>
          <a:ln w="28575">
            <a:solidFill>
              <a:srgbClr val="00B050"/>
            </a:solidFill>
            <a:tailEnd type="arrow"/>
          </a:ln>
        </p:spPr>
        <p:style>
          <a:lnRef idx="1">
            <a:schemeClr val="accent1"/>
          </a:lnRef>
          <a:fillRef idx="0">
            <a:schemeClr val="accent1"/>
          </a:fillRef>
          <a:effectRef idx="0">
            <a:schemeClr val="accent1"/>
          </a:effectRef>
          <a:fontRef idx="minor">
            <a:schemeClr val="tx1"/>
          </a:fontRef>
        </p:style>
      </p:cxnSp>
      <p:sp>
        <p:nvSpPr>
          <p:cNvPr id="120" name="Rounded Rectangle 119"/>
          <p:cNvSpPr/>
          <p:nvPr/>
        </p:nvSpPr>
        <p:spPr>
          <a:xfrm>
            <a:off x="6146508" y="3292046"/>
            <a:ext cx="627079" cy="456937"/>
          </a:xfrm>
          <a:prstGeom prst="roundRect">
            <a:avLst/>
          </a:prstGeom>
          <a:solidFill>
            <a:schemeClr val="bg1">
              <a:lumMod val="65000"/>
            </a:schemeClr>
          </a:solidFill>
          <a:ln w="2857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3812"/>
            <a:r>
              <a:rPr lang="en-US" sz="1428" kern="0" dirty="0">
                <a:solidFill>
                  <a:srgbClr val="FFFFFF"/>
                </a:solidFill>
                <a:latin typeface="Segoe UI"/>
              </a:rPr>
              <a:t> VIP</a:t>
            </a:r>
          </a:p>
        </p:txBody>
      </p:sp>
      <p:cxnSp>
        <p:nvCxnSpPr>
          <p:cNvPr id="121" name="Elbow Connector 120"/>
          <p:cNvCxnSpPr>
            <a:stCxn id="120" idx="3"/>
            <a:endCxn id="76" idx="0"/>
          </p:cNvCxnSpPr>
          <p:nvPr/>
        </p:nvCxnSpPr>
        <p:spPr>
          <a:xfrm>
            <a:off x="6773584" y="3520514"/>
            <a:ext cx="2214536" cy="432307"/>
          </a:xfrm>
          <a:prstGeom prst="bentConnector2">
            <a:avLst/>
          </a:prstGeom>
          <a:ln w="28575">
            <a:solidFill>
              <a:srgbClr val="00B050"/>
            </a:solidFill>
            <a:headEnd type="arrow"/>
            <a:tailEnd type="arrow"/>
          </a:ln>
        </p:spPr>
        <p:style>
          <a:lnRef idx="1">
            <a:schemeClr val="accent1"/>
          </a:lnRef>
          <a:fillRef idx="0">
            <a:schemeClr val="accent1"/>
          </a:fillRef>
          <a:effectRef idx="0">
            <a:schemeClr val="accent1"/>
          </a:effectRef>
          <a:fontRef idx="minor">
            <a:schemeClr val="tx1"/>
          </a:fontRef>
        </p:style>
      </p:cxnSp>
      <p:grpSp>
        <p:nvGrpSpPr>
          <p:cNvPr id="5" name="Group 4"/>
          <p:cNvGrpSpPr/>
          <p:nvPr/>
        </p:nvGrpSpPr>
        <p:grpSpPr>
          <a:xfrm>
            <a:off x="7758785" y="3952823"/>
            <a:ext cx="2458669" cy="1305321"/>
            <a:chOff x="7674144" y="4171005"/>
            <a:chExt cx="2411021" cy="1280025"/>
          </a:xfrm>
          <a:noFill/>
        </p:grpSpPr>
        <p:sp>
          <p:nvSpPr>
            <p:cNvPr id="76" name="Rounded Rectangle 75"/>
            <p:cNvSpPr/>
            <p:nvPr/>
          </p:nvSpPr>
          <p:spPr>
            <a:xfrm>
              <a:off x="7674144" y="4171005"/>
              <a:ext cx="2411021" cy="1280025"/>
            </a:xfrm>
            <a:prstGeom prst="roundRect">
              <a:avLst/>
            </a:prstGeom>
            <a:grpFill/>
            <a:ln w="2857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3812"/>
              <a:r>
                <a:rPr lang="en-US" sz="1224" kern="0" dirty="0">
                  <a:solidFill>
                    <a:srgbClr val="161616"/>
                  </a:solidFill>
                  <a:latin typeface="Segoe UI"/>
                </a:rPr>
                <a:t>       App Service Environment</a:t>
              </a:r>
            </a:p>
            <a:p>
              <a:pPr defTabSz="913812"/>
              <a:endParaRPr lang="en-US" sz="1428" kern="0" dirty="0">
                <a:solidFill>
                  <a:srgbClr val="161616"/>
                </a:solidFill>
                <a:latin typeface="Segoe UI"/>
              </a:endParaRPr>
            </a:p>
            <a:p>
              <a:pPr defTabSz="913812"/>
              <a:endParaRPr lang="en-US" sz="1428" kern="0" dirty="0">
                <a:solidFill>
                  <a:srgbClr val="161616"/>
                </a:solidFill>
                <a:latin typeface="Segoe UI"/>
              </a:endParaRPr>
            </a:p>
            <a:p>
              <a:pPr defTabSz="913812"/>
              <a:endParaRPr lang="en-US" sz="1428" kern="0" dirty="0">
                <a:solidFill>
                  <a:srgbClr val="161616"/>
                </a:solidFill>
                <a:latin typeface="Segoe UI"/>
              </a:endParaRPr>
            </a:p>
            <a:p>
              <a:pPr defTabSz="913812"/>
              <a:endParaRPr lang="en-US" sz="1428" kern="0" dirty="0">
                <a:solidFill>
                  <a:srgbClr val="161616"/>
                </a:solidFill>
                <a:latin typeface="Segoe UI"/>
              </a:endParaRPr>
            </a:p>
          </p:txBody>
        </p:sp>
        <p:pic>
          <p:nvPicPr>
            <p:cNvPr id="11" name="Picture 10"/>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765596" y="4260597"/>
              <a:ext cx="301193" cy="301193"/>
            </a:xfrm>
            <a:prstGeom prst="rect">
              <a:avLst/>
            </a:prstGeom>
            <a:grpFill/>
          </p:spPr>
        </p:pic>
      </p:grpSp>
      <p:grpSp>
        <p:nvGrpSpPr>
          <p:cNvPr id="7" name="Group 6"/>
          <p:cNvGrpSpPr/>
          <p:nvPr/>
        </p:nvGrpSpPr>
        <p:grpSpPr>
          <a:xfrm>
            <a:off x="9243918" y="2936768"/>
            <a:ext cx="956069" cy="885284"/>
            <a:chOff x="3498063" y="1019777"/>
            <a:chExt cx="871615" cy="807082"/>
          </a:xfrm>
        </p:grpSpPr>
        <p:pic>
          <p:nvPicPr>
            <p:cNvPr id="56" name="Picture 55"/>
            <p:cNvPicPr>
              <a:picLocks noChangeAspect="1"/>
            </p:cNvPicPr>
            <p:nvPr/>
          </p:nvPicPr>
          <p:blipFill>
            <a:blip r:embed="rId4"/>
            <a:stretch>
              <a:fillRect/>
            </a:stretch>
          </p:blipFill>
          <p:spPr>
            <a:xfrm>
              <a:off x="3930291" y="1019777"/>
              <a:ext cx="439387" cy="419107"/>
            </a:xfrm>
            <a:prstGeom prst="rect">
              <a:avLst/>
            </a:prstGeom>
          </p:spPr>
        </p:pic>
        <p:pic>
          <p:nvPicPr>
            <p:cNvPr id="57" name="Picture 56"/>
            <p:cNvPicPr>
              <a:picLocks noChangeAspect="1"/>
            </p:cNvPicPr>
            <p:nvPr/>
          </p:nvPicPr>
          <p:blipFill>
            <a:blip r:embed="rId4"/>
            <a:stretch>
              <a:fillRect/>
            </a:stretch>
          </p:blipFill>
          <p:spPr>
            <a:xfrm>
              <a:off x="3930291" y="1407752"/>
              <a:ext cx="439387" cy="419107"/>
            </a:xfrm>
            <a:prstGeom prst="rect">
              <a:avLst/>
            </a:prstGeom>
          </p:spPr>
        </p:pic>
        <p:pic>
          <p:nvPicPr>
            <p:cNvPr id="180" name="Picture 179"/>
            <p:cNvPicPr>
              <a:picLocks noChangeAspect="1"/>
            </p:cNvPicPr>
            <p:nvPr/>
          </p:nvPicPr>
          <p:blipFill rotWithShape="1">
            <a:blip r:embed="rId5">
              <a:duotone>
                <a:schemeClr val="accent1">
                  <a:shade val="45000"/>
                  <a:satMod val="135000"/>
                </a:schemeClr>
                <a:prstClr val="white"/>
              </a:duotone>
              <a:extLst>
                <a:ext uri="{28A0092B-C50C-407E-A947-70E740481C1C}">
                  <a14:useLocalDpi xmlns:a14="http://schemas.microsoft.com/office/drawing/2010/main" val="0"/>
                </a:ext>
              </a:extLst>
            </a:blip>
            <a:srcRect r="50080"/>
            <a:stretch/>
          </p:blipFill>
          <p:spPr>
            <a:xfrm>
              <a:off x="4049176" y="1480025"/>
              <a:ext cx="187049" cy="187348"/>
            </a:xfrm>
            <a:prstGeom prst="rect">
              <a:avLst/>
            </a:prstGeom>
            <a:solidFill>
              <a:schemeClr val="bg1"/>
            </a:solidFill>
          </p:spPr>
        </p:pic>
        <p:pic>
          <p:nvPicPr>
            <p:cNvPr id="58" name="Picture 57"/>
            <p:cNvPicPr>
              <a:picLocks noChangeAspect="1"/>
            </p:cNvPicPr>
            <p:nvPr/>
          </p:nvPicPr>
          <p:blipFill>
            <a:blip r:embed="rId4"/>
            <a:stretch>
              <a:fillRect/>
            </a:stretch>
          </p:blipFill>
          <p:spPr>
            <a:xfrm>
              <a:off x="3498063" y="1026394"/>
              <a:ext cx="439387" cy="419107"/>
            </a:xfrm>
            <a:prstGeom prst="rect">
              <a:avLst/>
            </a:prstGeom>
          </p:spPr>
        </p:pic>
        <p:pic>
          <p:nvPicPr>
            <p:cNvPr id="59" name="Picture 58"/>
            <p:cNvPicPr>
              <a:picLocks noChangeAspect="1"/>
            </p:cNvPicPr>
            <p:nvPr/>
          </p:nvPicPr>
          <p:blipFill>
            <a:blip r:embed="rId4"/>
            <a:stretch>
              <a:fillRect/>
            </a:stretch>
          </p:blipFill>
          <p:spPr>
            <a:xfrm>
              <a:off x="3506099" y="1406930"/>
              <a:ext cx="439387" cy="419107"/>
            </a:xfrm>
            <a:prstGeom prst="rect">
              <a:avLst/>
            </a:prstGeom>
          </p:spPr>
        </p:pic>
      </p:grpSp>
      <p:grpSp>
        <p:nvGrpSpPr>
          <p:cNvPr id="9" name="Group 8"/>
          <p:cNvGrpSpPr/>
          <p:nvPr/>
        </p:nvGrpSpPr>
        <p:grpSpPr>
          <a:xfrm>
            <a:off x="1444158" y="3791645"/>
            <a:ext cx="1516023" cy="1704838"/>
            <a:chOff x="1481894" y="4012953"/>
            <a:chExt cx="1486643" cy="1671799"/>
          </a:xfrm>
          <a:noFill/>
        </p:grpSpPr>
        <p:sp>
          <p:nvSpPr>
            <p:cNvPr id="176" name="Rounded Rectangle 175"/>
            <p:cNvSpPr/>
            <p:nvPr/>
          </p:nvSpPr>
          <p:spPr>
            <a:xfrm>
              <a:off x="1481894" y="4012953"/>
              <a:ext cx="1486643" cy="1671799"/>
            </a:xfrm>
            <a:prstGeom prst="roundRect">
              <a:avLst/>
            </a:prstGeom>
            <a:solidFill>
              <a:schemeClr val="bg1"/>
            </a:solidFill>
            <a:ln w="2857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812"/>
              <a:r>
                <a:rPr lang="en-US" sz="1428" kern="0" dirty="0">
                  <a:solidFill>
                    <a:srgbClr val="161616"/>
                  </a:solidFill>
                  <a:latin typeface="Segoe UI"/>
                </a:rPr>
                <a:t>On Premises</a:t>
              </a:r>
            </a:p>
            <a:p>
              <a:pPr algn="ctr" defTabSz="913812"/>
              <a:endParaRPr lang="en-US" sz="1428" kern="0" dirty="0">
                <a:solidFill>
                  <a:srgbClr val="666666"/>
                </a:solidFill>
                <a:latin typeface="Segoe UI"/>
              </a:endParaRPr>
            </a:p>
            <a:p>
              <a:pPr algn="ctr" defTabSz="913812"/>
              <a:endParaRPr lang="en-US" sz="1428" kern="0" dirty="0">
                <a:solidFill>
                  <a:srgbClr val="666666"/>
                </a:solidFill>
                <a:latin typeface="Segoe UI"/>
              </a:endParaRPr>
            </a:p>
            <a:p>
              <a:pPr algn="ctr" defTabSz="913812"/>
              <a:endParaRPr lang="en-US" sz="1428" kern="0" dirty="0">
                <a:solidFill>
                  <a:srgbClr val="666666"/>
                </a:solidFill>
                <a:latin typeface="Segoe UI"/>
              </a:endParaRPr>
            </a:p>
            <a:p>
              <a:pPr algn="ctr" defTabSz="913812"/>
              <a:endParaRPr lang="en-US" sz="1428" kern="0" dirty="0">
                <a:solidFill>
                  <a:srgbClr val="666666"/>
                </a:solidFill>
                <a:latin typeface="Segoe UI"/>
              </a:endParaRPr>
            </a:p>
            <a:p>
              <a:pPr algn="ctr" defTabSz="913812"/>
              <a:endParaRPr lang="en-US" sz="1428" kern="0" dirty="0">
                <a:solidFill>
                  <a:srgbClr val="666666"/>
                </a:solidFill>
                <a:latin typeface="Segoe UI"/>
              </a:endParaRPr>
            </a:p>
            <a:p>
              <a:pPr algn="ctr" defTabSz="913812"/>
              <a:endParaRPr lang="en-US" sz="1428" kern="0" dirty="0">
                <a:solidFill>
                  <a:srgbClr val="666666"/>
                </a:solidFill>
                <a:latin typeface="Segoe UI"/>
              </a:endParaRPr>
            </a:p>
          </p:txBody>
        </p:sp>
        <p:pic>
          <p:nvPicPr>
            <p:cNvPr id="60" name="Picture 59"/>
            <p:cNvPicPr>
              <a:picLocks noChangeAspect="1"/>
            </p:cNvPicPr>
            <p:nvPr/>
          </p:nvPicPr>
          <p:blipFill>
            <a:blip r:embed="rId4"/>
            <a:stretch>
              <a:fillRect/>
            </a:stretch>
          </p:blipFill>
          <p:spPr>
            <a:xfrm>
              <a:off x="1929269" y="4372791"/>
              <a:ext cx="585766" cy="558730"/>
            </a:xfrm>
            <a:prstGeom prst="rect">
              <a:avLst/>
            </a:prstGeom>
            <a:grpFill/>
          </p:spPr>
        </p:pic>
        <p:pic>
          <p:nvPicPr>
            <p:cNvPr id="61" name="Picture 60"/>
            <p:cNvPicPr>
              <a:picLocks noChangeAspect="1"/>
            </p:cNvPicPr>
            <p:nvPr/>
          </p:nvPicPr>
          <p:blipFill>
            <a:blip r:embed="rId4"/>
            <a:stretch>
              <a:fillRect/>
            </a:stretch>
          </p:blipFill>
          <p:spPr>
            <a:xfrm>
              <a:off x="1939982" y="4880101"/>
              <a:ext cx="585766" cy="558730"/>
            </a:xfrm>
            <a:prstGeom prst="rect">
              <a:avLst/>
            </a:prstGeom>
            <a:grpFill/>
          </p:spPr>
        </p:pic>
        <p:pic>
          <p:nvPicPr>
            <p:cNvPr id="62" name="Picture 61"/>
            <p:cNvPicPr>
              <a:picLocks noChangeAspect="1"/>
            </p:cNvPicPr>
            <p:nvPr/>
          </p:nvPicPr>
          <p:blipFill rotWithShape="1">
            <a:blip r:embed="rId5">
              <a:duotone>
                <a:schemeClr val="accent1">
                  <a:shade val="45000"/>
                  <a:satMod val="135000"/>
                </a:schemeClr>
                <a:prstClr val="white"/>
              </a:duotone>
              <a:extLst>
                <a:ext uri="{28A0092B-C50C-407E-A947-70E740481C1C}">
                  <a14:useLocalDpi xmlns:a14="http://schemas.microsoft.com/office/drawing/2010/main" val="0"/>
                </a:ext>
              </a:extLst>
            </a:blip>
            <a:srcRect r="50080"/>
            <a:stretch/>
          </p:blipFill>
          <p:spPr>
            <a:xfrm>
              <a:off x="2107912" y="4976300"/>
              <a:ext cx="228480" cy="228845"/>
            </a:xfrm>
            <a:prstGeom prst="rect">
              <a:avLst/>
            </a:prstGeom>
            <a:solidFill>
              <a:schemeClr val="bg1"/>
            </a:solidFill>
          </p:spPr>
        </p:pic>
      </p:grpSp>
      <p:sp>
        <p:nvSpPr>
          <p:cNvPr id="63" name="TextBox 62"/>
          <p:cNvSpPr txBox="1"/>
          <p:nvPr/>
        </p:nvSpPr>
        <p:spPr>
          <a:xfrm>
            <a:off x="1144694" y="1846208"/>
            <a:ext cx="7534230" cy="691405"/>
          </a:xfrm>
          <a:prstGeom prst="rect">
            <a:avLst/>
          </a:prstGeom>
          <a:noFill/>
        </p:spPr>
        <p:txBody>
          <a:bodyPr wrap="square" rtlCol="0">
            <a:spAutoFit/>
          </a:bodyPr>
          <a:lstStyle/>
          <a:p>
            <a:pPr defTabSz="951304"/>
            <a:r>
              <a:rPr lang="en-US" sz="1903" dirty="0">
                <a:solidFill>
                  <a:srgbClr val="161616"/>
                </a:solidFill>
                <a:latin typeface="Segoe UI"/>
              </a:rPr>
              <a:t>An ASE is a deployment of the Azure App Service into a subnet in a customer’s Azure Virtual Network (VNet)</a:t>
            </a:r>
          </a:p>
        </p:txBody>
      </p:sp>
      <p:sp>
        <p:nvSpPr>
          <p:cNvPr id="43" name="TextBox 42"/>
          <p:cNvSpPr txBox="1"/>
          <p:nvPr/>
        </p:nvSpPr>
        <p:spPr>
          <a:xfrm>
            <a:off x="2749871" y="1419769"/>
            <a:ext cx="7616840" cy="392783"/>
          </a:xfrm>
          <a:prstGeom prst="rect">
            <a:avLst/>
          </a:prstGeom>
          <a:noFill/>
        </p:spPr>
        <p:txBody>
          <a:bodyPr wrap="square" rtlCol="0">
            <a:spAutoFit/>
          </a:bodyPr>
          <a:lstStyle/>
          <a:p>
            <a:pPr defTabSz="951304"/>
            <a:r>
              <a:rPr lang="en-US" sz="1903" dirty="0">
                <a:solidFill>
                  <a:srgbClr val="161616"/>
                </a:solidFill>
                <a:latin typeface="Segoe UI"/>
              </a:rPr>
              <a:t>The apps in an ASE are exposed to the internet through a VIP</a:t>
            </a:r>
          </a:p>
        </p:txBody>
      </p:sp>
      <p:sp>
        <p:nvSpPr>
          <p:cNvPr id="44" name="TextBox 43"/>
          <p:cNvSpPr txBox="1"/>
          <p:nvPr/>
        </p:nvSpPr>
        <p:spPr>
          <a:xfrm>
            <a:off x="2749871" y="1419769"/>
            <a:ext cx="7616840" cy="678006"/>
          </a:xfrm>
          <a:prstGeom prst="rect">
            <a:avLst/>
          </a:prstGeom>
          <a:noFill/>
        </p:spPr>
        <p:txBody>
          <a:bodyPr wrap="square" rtlCol="0">
            <a:spAutoFit/>
          </a:bodyPr>
          <a:lstStyle/>
          <a:p>
            <a:pPr defTabSz="951304"/>
            <a:r>
              <a:rPr lang="en-US" sz="1903" dirty="0">
                <a:solidFill>
                  <a:srgbClr val="161616"/>
                </a:solidFill>
                <a:latin typeface="Segoe UI"/>
              </a:rPr>
              <a:t>Because the apps are inside your VNet, they can access resources that are  in the same virtual network without additional configuration.</a:t>
            </a:r>
          </a:p>
        </p:txBody>
      </p:sp>
      <p:sp>
        <p:nvSpPr>
          <p:cNvPr id="45" name="TextBox 44"/>
          <p:cNvSpPr txBox="1"/>
          <p:nvPr/>
        </p:nvSpPr>
        <p:spPr>
          <a:xfrm>
            <a:off x="2749871" y="1419769"/>
            <a:ext cx="7616840" cy="691405"/>
          </a:xfrm>
          <a:prstGeom prst="rect">
            <a:avLst/>
          </a:prstGeom>
          <a:noFill/>
        </p:spPr>
        <p:txBody>
          <a:bodyPr wrap="square" rtlCol="0">
            <a:spAutoFit/>
          </a:bodyPr>
          <a:lstStyle/>
          <a:p>
            <a:pPr defTabSz="951304"/>
            <a:r>
              <a:rPr lang="en-US" sz="1903" dirty="0">
                <a:solidFill>
                  <a:srgbClr val="161616"/>
                </a:solidFill>
                <a:latin typeface="Segoe UI"/>
              </a:rPr>
              <a:t>If the VNet is connected to an on premises network via a Site to Site or ExpressRoute VPN then they can access resources on premises</a:t>
            </a:r>
          </a:p>
        </p:txBody>
      </p:sp>
      <p:cxnSp>
        <p:nvCxnSpPr>
          <p:cNvPr id="200" name="Straight Arrow Connector 199"/>
          <p:cNvCxnSpPr>
            <a:stCxn id="76" idx="1"/>
          </p:cNvCxnSpPr>
          <p:nvPr/>
        </p:nvCxnSpPr>
        <p:spPr>
          <a:xfrm flipH="1">
            <a:off x="2604063" y="4605482"/>
            <a:ext cx="5154721" cy="9627"/>
          </a:xfrm>
          <a:prstGeom prst="straightConnector1">
            <a:avLst/>
          </a:prstGeom>
          <a:ln w="28575">
            <a:solidFill>
              <a:srgbClr val="00B050"/>
            </a:solidFill>
            <a:tailEnd type="triangle"/>
          </a:ln>
        </p:spPr>
        <p:style>
          <a:lnRef idx="1">
            <a:schemeClr val="accent1"/>
          </a:lnRef>
          <a:fillRef idx="0">
            <a:schemeClr val="accent1"/>
          </a:fillRef>
          <a:effectRef idx="0">
            <a:schemeClr val="accent1"/>
          </a:effectRef>
          <a:fontRef idx="minor">
            <a:schemeClr val="tx1"/>
          </a:fontRef>
        </p:style>
      </p:cxnSp>
      <p:sp>
        <p:nvSpPr>
          <p:cNvPr id="53" name="TextBox 52"/>
          <p:cNvSpPr txBox="1"/>
          <p:nvPr/>
        </p:nvSpPr>
        <p:spPr>
          <a:xfrm>
            <a:off x="2750976" y="1433760"/>
            <a:ext cx="7848106" cy="691405"/>
          </a:xfrm>
          <a:prstGeom prst="rect">
            <a:avLst/>
          </a:prstGeom>
          <a:noFill/>
        </p:spPr>
        <p:txBody>
          <a:bodyPr wrap="square" rtlCol="0">
            <a:spAutoFit/>
          </a:bodyPr>
          <a:lstStyle/>
          <a:p>
            <a:pPr defTabSz="951304"/>
            <a:r>
              <a:rPr lang="en-US" sz="1903" dirty="0">
                <a:solidFill>
                  <a:srgbClr val="161616"/>
                </a:solidFill>
                <a:latin typeface="Segoe UI"/>
              </a:rPr>
              <a:t>If you want private site access then create an ILB ASE which uses an Internal Load Balancer instead of one with an external VIP</a:t>
            </a:r>
          </a:p>
        </p:txBody>
      </p:sp>
      <p:cxnSp>
        <p:nvCxnSpPr>
          <p:cNvPr id="65" name="Straight Arrow Connector 64"/>
          <p:cNvCxnSpPr>
            <a:cxnSpLocks/>
          </p:cNvCxnSpPr>
          <p:nvPr/>
        </p:nvCxnSpPr>
        <p:spPr>
          <a:xfrm flipH="1" flipV="1">
            <a:off x="2604065" y="4602594"/>
            <a:ext cx="5154719" cy="7700"/>
          </a:xfrm>
          <a:prstGeom prst="straightConnector1">
            <a:avLst/>
          </a:prstGeom>
          <a:ln w="28575">
            <a:solidFill>
              <a:srgbClr val="00B050"/>
            </a:solidFill>
            <a:headEnd type="arrow"/>
            <a:tailEnd type="arrow"/>
          </a:ln>
        </p:spPr>
        <p:style>
          <a:lnRef idx="1">
            <a:schemeClr val="accent1"/>
          </a:lnRef>
          <a:fillRef idx="0">
            <a:schemeClr val="accent1"/>
          </a:fillRef>
          <a:effectRef idx="0">
            <a:schemeClr val="accent1"/>
          </a:effectRef>
          <a:fontRef idx="minor">
            <a:schemeClr val="tx1"/>
          </a:fontRef>
        </p:style>
      </p:cxnSp>
      <p:cxnSp>
        <p:nvCxnSpPr>
          <p:cNvPr id="50" name="Elbow Connector 118"/>
          <p:cNvCxnSpPr>
            <a:cxnSpLocks/>
          </p:cNvCxnSpPr>
          <p:nvPr/>
        </p:nvCxnSpPr>
        <p:spPr>
          <a:xfrm>
            <a:off x="2967345" y="2618695"/>
            <a:ext cx="3186327" cy="907620"/>
          </a:xfrm>
          <a:prstGeom prst="bentConnector3">
            <a:avLst>
              <a:gd name="adj1" fmla="val 50000"/>
            </a:avLst>
          </a:prstGeom>
          <a:ln w="28575">
            <a:solidFill>
              <a:srgbClr val="00B050"/>
            </a:solidFill>
            <a:headEnd type="arrow"/>
            <a:tailEnd type="none"/>
          </a:ln>
        </p:spPr>
        <p:style>
          <a:lnRef idx="1">
            <a:schemeClr val="accent1"/>
          </a:lnRef>
          <a:fillRef idx="0">
            <a:schemeClr val="accent1"/>
          </a:fillRef>
          <a:effectRef idx="0">
            <a:schemeClr val="accent1"/>
          </a:effectRef>
          <a:fontRef idx="minor">
            <a:schemeClr val="tx1"/>
          </a:fontRef>
        </p:style>
      </p:cxnSp>
      <p:sp>
        <p:nvSpPr>
          <p:cNvPr id="51" name="Cloud 50"/>
          <p:cNvSpPr/>
          <p:nvPr/>
        </p:nvSpPr>
        <p:spPr bwMode="auto">
          <a:xfrm>
            <a:off x="1110999" y="2107923"/>
            <a:ext cx="1849182" cy="991611"/>
          </a:xfrm>
          <a:prstGeom prst="cloud">
            <a:avLst/>
          </a:prstGeom>
          <a:solidFill>
            <a:schemeClr val="bg1">
              <a:lumMod val="95000"/>
            </a:schemeClr>
          </a:solidFill>
          <a:ln w="19050">
            <a:solidFill>
              <a:schemeClr val="bg1">
                <a:lumMod val="5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58" rIns="0" bIns="47558" numCol="1" rtlCol="0" anchor="ctr" anchorCtr="0" compatLnSpc="1">
            <a:prstTxWarp prst="textNoShape">
              <a:avLst/>
            </a:prstTxWarp>
          </a:bodyPr>
          <a:lstStyle/>
          <a:p>
            <a:pPr algn="ctr" defTabSz="950846" fontAlgn="base">
              <a:spcBef>
                <a:spcPct val="0"/>
              </a:spcBef>
              <a:spcAft>
                <a:spcPct val="0"/>
              </a:spcAft>
            </a:pPr>
            <a:r>
              <a:rPr lang="en-US" sz="1632" dirty="0">
                <a:solidFill>
                  <a:srgbClr val="161616"/>
                </a:solidFill>
                <a:latin typeface="Segoe UI"/>
              </a:rPr>
              <a:t>Internet</a:t>
            </a:r>
          </a:p>
        </p:txBody>
      </p:sp>
      <p:grpSp>
        <p:nvGrpSpPr>
          <p:cNvPr id="48" name="Group 47">
            <a:extLst>
              <a:ext uri="{FF2B5EF4-FFF2-40B4-BE49-F238E27FC236}">
                <a16:creationId xmlns:a16="http://schemas.microsoft.com/office/drawing/2014/main" id="{87365F46-AA1F-4AB9-B428-0FAC72C59B52}"/>
              </a:ext>
            </a:extLst>
          </p:cNvPr>
          <p:cNvGrpSpPr/>
          <p:nvPr/>
        </p:nvGrpSpPr>
        <p:grpSpPr>
          <a:xfrm>
            <a:off x="6658068" y="2600242"/>
            <a:ext cx="394034" cy="243149"/>
            <a:chOff x="5605998" y="4615023"/>
            <a:chExt cx="2957813" cy="1825191"/>
          </a:xfrm>
        </p:grpSpPr>
        <p:grpSp>
          <p:nvGrpSpPr>
            <p:cNvPr id="49" name="Group 48">
              <a:extLst>
                <a:ext uri="{FF2B5EF4-FFF2-40B4-BE49-F238E27FC236}">
                  <a16:creationId xmlns:a16="http://schemas.microsoft.com/office/drawing/2014/main" id="{A954E3ED-C67D-44EF-9EB5-1E34E2A243CC}"/>
                </a:ext>
              </a:extLst>
            </p:cNvPr>
            <p:cNvGrpSpPr/>
            <p:nvPr/>
          </p:nvGrpSpPr>
          <p:grpSpPr>
            <a:xfrm>
              <a:off x="5605998" y="4615023"/>
              <a:ext cx="2957813" cy="1825191"/>
              <a:chOff x="5605998" y="4615023"/>
              <a:chExt cx="2957813" cy="1825191"/>
            </a:xfrm>
          </p:grpSpPr>
          <p:sp>
            <p:nvSpPr>
              <p:cNvPr id="67" name="Rectangle: Rounded Corners 66">
                <a:extLst>
                  <a:ext uri="{FF2B5EF4-FFF2-40B4-BE49-F238E27FC236}">
                    <a16:creationId xmlns:a16="http://schemas.microsoft.com/office/drawing/2014/main" id="{E8358878-B76F-4968-BA4A-C6044549AC18}"/>
                  </a:ext>
                </a:extLst>
              </p:cNvPr>
              <p:cNvSpPr/>
              <p:nvPr/>
            </p:nvSpPr>
            <p:spPr bwMode="auto">
              <a:xfrm rot="2606308">
                <a:off x="6087193" y="4615023"/>
                <a:ext cx="127252" cy="1120296"/>
              </a:xfrm>
              <a:prstGeom prst="roundRect">
                <a:avLst>
                  <a:gd name="adj" fmla="val 43230"/>
                </a:avLst>
              </a:prstGeom>
              <a:solidFill>
                <a:srgbClr val="0070C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dirty="0">
                  <a:gradFill>
                    <a:gsLst>
                      <a:gs pos="5439">
                        <a:srgbClr val="F8F8F8"/>
                      </a:gs>
                      <a:gs pos="10000">
                        <a:srgbClr val="F8F8F8"/>
                      </a:gs>
                    </a:gsLst>
                    <a:lin ang="5400000" scaled="0"/>
                  </a:gradFill>
                  <a:latin typeface="Segoe UI"/>
                </a:endParaRPr>
              </a:p>
            </p:txBody>
          </p:sp>
          <p:sp>
            <p:nvSpPr>
              <p:cNvPr id="69" name="Rectangle: Rounded Corners 68">
                <a:extLst>
                  <a:ext uri="{FF2B5EF4-FFF2-40B4-BE49-F238E27FC236}">
                    <a16:creationId xmlns:a16="http://schemas.microsoft.com/office/drawing/2014/main" id="{828F9683-91E2-4482-8135-71DC4DA687BE}"/>
                  </a:ext>
                </a:extLst>
              </p:cNvPr>
              <p:cNvSpPr/>
              <p:nvPr/>
            </p:nvSpPr>
            <p:spPr bwMode="auto">
              <a:xfrm rot="2606308">
                <a:off x="7955364" y="5319918"/>
                <a:ext cx="127252" cy="1120296"/>
              </a:xfrm>
              <a:prstGeom prst="roundRect">
                <a:avLst>
                  <a:gd name="adj" fmla="val 43230"/>
                </a:avLst>
              </a:prstGeom>
              <a:solidFill>
                <a:srgbClr val="0070C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dirty="0">
                  <a:gradFill>
                    <a:gsLst>
                      <a:gs pos="5439">
                        <a:srgbClr val="F8F8F8"/>
                      </a:gs>
                      <a:gs pos="10000">
                        <a:srgbClr val="F8F8F8"/>
                      </a:gs>
                    </a:gsLst>
                    <a:lin ang="5400000" scaled="0"/>
                  </a:gradFill>
                  <a:latin typeface="Segoe UI"/>
                </a:endParaRPr>
              </a:p>
            </p:txBody>
          </p:sp>
          <p:sp>
            <p:nvSpPr>
              <p:cNvPr id="70" name="Rectangle: Rounded Corners 69">
                <a:extLst>
                  <a:ext uri="{FF2B5EF4-FFF2-40B4-BE49-F238E27FC236}">
                    <a16:creationId xmlns:a16="http://schemas.microsoft.com/office/drawing/2014/main" id="{1BD24B21-4F03-4FED-B0B5-1E35AA20C163}"/>
                  </a:ext>
                </a:extLst>
              </p:cNvPr>
              <p:cNvSpPr/>
              <p:nvPr/>
            </p:nvSpPr>
            <p:spPr bwMode="auto">
              <a:xfrm rot="18844638">
                <a:off x="7940037" y="4612971"/>
                <a:ext cx="127252" cy="1120296"/>
              </a:xfrm>
              <a:prstGeom prst="roundRect">
                <a:avLst>
                  <a:gd name="adj" fmla="val 43230"/>
                </a:avLst>
              </a:prstGeom>
              <a:solidFill>
                <a:srgbClr val="0070C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dirty="0">
                  <a:gradFill>
                    <a:gsLst>
                      <a:gs pos="5439">
                        <a:srgbClr val="F8F8F8"/>
                      </a:gs>
                      <a:gs pos="10000">
                        <a:srgbClr val="F8F8F8"/>
                      </a:gs>
                    </a:gsLst>
                    <a:lin ang="5400000" scaled="0"/>
                  </a:gradFill>
                  <a:latin typeface="Segoe UI"/>
                </a:endParaRPr>
              </a:p>
            </p:txBody>
          </p:sp>
          <p:sp>
            <p:nvSpPr>
              <p:cNvPr id="71" name="Rectangle: Rounded Corners 70">
                <a:extLst>
                  <a:ext uri="{FF2B5EF4-FFF2-40B4-BE49-F238E27FC236}">
                    <a16:creationId xmlns:a16="http://schemas.microsoft.com/office/drawing/2014/main" id="{2EC3DC89-426A-4CB9-836D-4C5024C44A2A}"/>
                  </a:ext>
                </a:extLst>
              </p:cNvPr>
              <p:cNvSpPr/>
              <p:nvPr/>
            </p:nvSpPr>
            <p:spPr bwMode="auto">
              <a:xfrm rot="18844638">
                <a:off x="6102520" y="5319918"/>
                <a:ext cx="127252" cy="1120296"/>
              </a:xfrm>
              <a:prstGeom prst="roundRect">
                <a:avLst>
                  <a:gd name="adj" fmla="val 43230"/>
                </a:avLst>
              </a:prstGeom>
              <a:solidFill>
                <a:srgbClr val="0070C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dirty="0">
                  <a:gradFill>
                    <a:gsLst>
                      <a:gs pos="5439">
                        <a:srgbClr val="F8F8F8"/>
                      </a:gs>
                      <a:gs pos="10000">
                        <a:srgbClr val="F8F8F8"/>
                      </a:gs>
                    </a:gsLst>
                    <a:lin ang="5400000" scaled="0"/>
                  </a:gradFill>
                  <a:latin typeface="Segoe UI"/>
                </a:endParaRPr>
              </a:p>
            </p:txBody>
          </p:sp>
        </p:grpSp>
        <p:grpSp>
          <p:nvGrpSpPr>
            <p:cNvPr id="52" name="Group 51">
              <a:extLst>
                <a:ext uri="{FF2B5EF4-FFF2-40B4-BE49-F238E27FC236}">
                  <a16:creationId xmlns:a16="http://schemas.microsoft.com/office/drawing/2014/main" id="{A41C4A62-1DA5-4D21-80EB-BF013252BF71}"/>
                </a:ext>
              </a:extLst>
            </p:cNvPr>
            <p:cNvGrpSpPr/>
            <p:nvPr/>
          </p:nvGrpSpPr>
          <p:grpSpPr>
            <a:xfrm>
              <a:off x="6348529" y="5338762"/>
              <a:ext cx="1472116" cy="360068"/>
              <a:chOff x="6364404" y="5364369"/>
              <a:chExt cx="1472116" cy="360068"/>
            </a:xfrm>
          </p:grpSpPr>
          <p:sp>
            <p:nvSpPr>
              <p:cNvPr id="54" name="Oval 53">
                <a:extLst>
                  <a:ext uri="{FF2B5EF4-FFF2-40B4-BE49-F238E27FC236}">
                    <a16:creationId xmlns:a16="http://schemas.microsoft.com/office/drawing/2014/main" id="{06C49237-4AF2-4B98-8A74-71B6F84D6609}"/>
                  </a:ext>
                </a:extLst>
              </p:cNvPr>
              <p:cNvSpPr/>
              <p:nvPr/>
            </p:nvSpPr>
            <p:spPr bwMode="auto">
              <a:xfrm>
                <a:off x="7476455" y="5364369"/>
                <a:ext cx="360065" cy="360068"/>
              </a:xfrm>
              <a:prstGeom prst="ellipse">
                <a:avLst/>
              </a:prstGeom>
              <a:solidFill>
                <a:srgbClr val="00B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dirty="0">
                  <a:gradFill>
                    <a:gsLst>
                      <a:gs pos="5439">
                        <a:srgbClr val="F8F8F8"/>
                      </a:gs>
                      <a:gs pos="10000">
                        <a:srgbClr val="F8F8F8"/>
                      </a:gs>
                    </a:gsLst>
                    <a:lin ang="5400000" scaled="0"/>
                  </a:gradFill>
                  <a:latin typeface="Segoe UI"/>
                </a:endParaRPr>
              </a:p>
            </p:txBody>
          </p:sp>
          <p:sp>
            <p:nvSpPr>
              <p:cNvPr id="55" name="Oval 54">
                <a:extLst>
                  <a:ext uri="{FF2B5EF4-FFF2-40B4-BE49-F238E27FC236}">
                    <a16:creationId xmlns:a16="http://schemas.microsoft.com/office/drawing/2014/main" id="{6B3C3311-1D88-4B7D-8082-9D2915E5CA82}"/>
                  </a:ext>
                </a:extLst>
              </p:cNvPr>
              <p:cNvSpPr/>
              <p:nvPr/>
            </p:nvSpPr>
            <p:spPr bwMode="auto">
              <a:xfrm>
                <a:off x="6920430" y="5364369"/>
                <a:ext cx="360065" cy="360060"/>
              </a:xfrm>
              <a:prstGeom prst="ellipse">
                <a:avLst/>
              </a:prstGeom>
              <a:solidFill>
                <a:srgbClr val="00B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dirty="0">
                  <a:gradFill>
                    <a:gsLst>
                      <a:gs pos="5439">
                        <a:srgbClr val="F8F8F8"/>
                      </a:gs>
                      <a:gs pos="10000">
                        <a:srgbClr val="F8F8F8"/>
                      </a:gs>
                    </a:gsLst>
                    <a:lin ang="5400000" scaled="0"/>
                  </a:gradFill>
                  <a:latin typeface="Segoe UI"/>
                </a:endParaRPr>
              </a:p>
            </p:txBody>
          </p:sp>
          <p:sp>
            <p:nvSpPr>
              <p:cNvPr id="66" name="Oval 65">
                <a:extLst>
                  <a:ext uri="{FF2B5EF4-FFF2-40B4-BE49-F238E27FC236}">
                    <a16:creationId xmlns:a16="http://schemas.microsoft.com/office/drawing/2014/main" id="{B7606BE0-496D-4BDB-9C6E-736B07F676FA}"/>
                  </a:ext>
                </a:extLst>
              </p:cNvPr>
              <p:cNvSpPr/>
              <p:nvPr/>
            </p:nvSpPr>
            <p:spPr bwMode="auto">
              <a:xfrm>
                <a:off x="6364404" y="5364369"/>
                <a:ext cx="360065" cy="360068"/>
              </a:xfrm>
              <a:prstGeom prst="ellipse">
                <a:avLst/>
              </a:prstGeom>
              <a:solidFill>
                <a:srgbClr val="00B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dirty="0">
                  <a:gradFill>
                    <a:gsLst>
                      <a:gs pos="5439">
                        <a:srgbClr val="F8F8F8"/>
                      </a:gs>
                      <a:gs pos="10000">
                        <a:srgbClr val="F8F8F8"/>
                      </a:gs>
                    </a:gsLst>
                    <a:lin ang="5400000" scaled="0"/>
                  </a:gradFill>
                  <a:latin typeface="Segoe UI"/>
                </a:endParaRPr>
              </a:p>
            </p:txBody>
          </p:sp>
        </p:grpSp>
      </p:grpSp>
      <p:sp>
        <p:nvSpPr>
          <p:cNvPr id="83" name="TextBox 82">
            <a:extLst>
              <a:ext uri="{FF2B5EF4-FFF2-40B4-BE49-F238E27FC236}">
                <a16:creationId xmlns:a16="http://schemas.microsoft.com/office/drawing/2014/main" id="{4B8BE157-9460-4250-9800-5524AC32CDFD}"/>
              </a:ext>
            </a:extLst>
          </p:cNvPr>
          <p:cNvSpPr txBox="1"/>
          <p:nvPr/>
        </p:nvSpPr>
        <p:spPr>
          <a:xfrm>
            <a:off x="7103428" y="2516858"/>
            <a:ext cx="2521366" cy="382308"/>
          </a:xfrm>
          <a:prstGeom prst="rect">
            <a:avLst/>
          </a:prstGeom>
          <a:noFill/>
        </p:spPr>
        <p:txBody>
          <a:bodyPr wrap="none" rtlCol="0">
            <a:spAutoFit/>
          </a:bodyPr>
          <a:lstStyle/>
          <a:p>
            <a:pPr defTabSz="951304"/>
            <a:r>
              <a:rPr lang="en-US" sz="1836" kern="0" dirty="0">
                <a:solidFill>
                  <a:srgbClr val="00188F">
                    <a:lumMod val="50000"/>
                  </a:srgbClr>
                </a:solidFill>
                <a:latin typeface="Segoe UI"/>
              </a:rPr>
              <a:t>Azure Virtual Network</a:t>
            </a:r>
            <a:endParaRPr lang="en-US" sz="1836" dirty="0">
              <a:solidFill>
                <a:srgbClr val="161616"/>
              </a:solidFill>
              <a:latin typeface="Segoe UI"/>
            </a:endParaRPr>
          </a:p>
        </p:txBody>
      </p:sp>
      <p:pic>
        <p:nvPicPr>
          <p:cNvPr id="84" name="Picture 2" descr="https://www.sumologic.com/wp-content/uploads/globe-1-e1473894017808.png">
            <a:extLst>
              <a:ext uri="{FF2B5EF4-FFF2-40B4-BE49-F238E27FC236}">
                <a16:creationId xmlns:a16="http://schemas.microsoft.com/office/drawing/2014/main" id="{29EFB100-9012-4919-ACC2-C169EEFB6801}"/>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8152893" y="4452221"/>
            <a:ext cx="593122" cy="384665"/>
          </a:xfrm>
          <a:prstGeom prst="rect">
            <a:avLst/>
          </a:prstGeom>
          <a:noFill/>
          <a:extLst>
            <a:ext uri="{909E8E84-426E-40DD-AFC4-6F175D3DCCD1}">
              <a14:hiddenFill xmlns:a14="http://schemas.microsoft.com/office/drawing/2010/main">
                <a:solidFill>
                  <a:srgbClr val="FFFFFF"/>
                </a:solidFill>
              </a14:hiddenFill>
            </a:ext>
          </a:extLst>
        </p:spPr>
      </p:pic>
      <p:pic>
        <p:nvPicPr>
          <p:cNvPr id="85" name="Picture 2" descr="https://www.sumologic.com/wp-content/uploads/globe-1-e1473894017808.png">
            <a:extLst>
              <a:ext uri="{FF2B5EF4-FFF2-40B4-BE49-F238E27FC236}">
                <a16:creationId xmlns:a16="http://schemas.microsoft.com/office/drawing/2014/main" id="{ED5E7A49-37E2-45EB-B9F3-AB4F95D6B4FA}"/>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8468639" y="4452221"/>
            <a:ext cx="593122" cy="384665"/>
          </a:xfrm>
          <a:prstGeom prst="rect">
            <a:avLst/>
          </a:prstGeom>
          <a:noFill/>
          <a:extLst>
            <a:ext uri="{909E8E84-426E-40DD-AFC4-6F175D3DCCD1}">
              <a14:hiddenFill xmlns:a14="http://schemas.microsoft.com/office/drawing/2010/main">
                <a:solidFill>
                  <a:srgbClr val="FFFFFF"/>
                </a:solidFill>
              </a14:hiddenFill>
            </a:ext>
          </a:extLst>
        </p:spPr>
      </p:pic>
      <p:pic>
        <p:nvPicPr>
          <p:cNvPr id="86" name="Picture 2" descr="https://www.sumologic.com/wp-content/uploads/globe-1-e1473894017808.png">
            <a:extLst>
              <a:ext uri="{FF2B5EF4-FFF2-40B4-BE49-F238E27FC236}">
                <a16:creationId xmlns:a16="http://schemas.microsoft.com/office/drawing/2014/main" id="{6C81969C-D034-4486-8FF2-382DD56F6DFC}"/>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8794334" y="4452221"/>
            <a:ext cx="593122" cy="384665"/>
          </a:xfrm>
          <a:prstGeom prst="rect">
            <a:avLst/>
          </a:prstGeom>
          <a:noFill/>
          <a:extLst>
            <a:ext uri="{909E8E84-426E-40DD-AFC4-6F175D3DCCD1}">
              <a14:hiddenFill xmlns:a14="http://schemas.microsoft.com/office/drawing/2010/main">
                <a:solidFill>
                  <a:srgbClr val="FFFFFF"/>
                </a:solidFill>
              </a14:hiddenFill>
            </a:ext>
          </a:extLst>
        </p:spPr>
      </p:pic>
      <p:pic>
        <p:nvPicPr>
          <p:cNvPr id="87" name="Picture 2" descr="https://www.sumologic.com/wp-content/uploads/globe-1-e1473894017808.png">
            <a:extLst>
              <a:ext uri="{FF2B5EF4-FFF2-40B4-BE49-F238E27FC236}">
                <a16:creationId xmlns:a16="http://schemas.microsoft.com/office/drawing/2014/main" id="{C17EEB74-BFE8-486D-85CB-6EE9022C9787}"/>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9124905" y="4452221"/>
            <a:ext cx="593122" cy="38466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5809800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19"/>
                                        </p:tgtEl>
                                        <p:attrNameLst>
                                          <p:attrName>style.visibility</p:attrName>
                                        </p:attrNameLst>
                                      </p:cBhvr>
                                      <p:to>
                                        <p:strVal val="visible"/>
                                      </p:to>
                                    </p:set>
                                    <p:animEffect transition="in" filter="fade">
                                      <p:cBhvr>
                                        <p:cTn id="7" dur="250"/>
                                        <p:tgtEl>
                                          <p:spTgt spid="119"/>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51"/>
                                        </p:tgtEl>
                                        <p:attrNameLst>
                                          <p:attrName>style.visibility</p:attrName>
                                        </p:attrNameLst>
                                      </p:cBhvr>
                                      <p:to>
                                        <p:strVal val="visible"/>
                                      </p:to>
                                    </p:set>
                                    <p:animEffect transition="in" filter="fade">
                                      <p:cBhvr>
                                        <p:cTn id="10" dur="250"/>
                                        <p:tgtEl>
                                          <p:spTgt spid="51"/>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120"/>
                                        </p:tgtEl>
                                        <p:attrNameLst>
                                          <p:attrName>style.visibility</p:attrName>
                                        </p:attrNameLst>
                                      </p:cBhvr>
                                      <p:to>
                                        <p:strVal val="visible"/>
                                      </p:to>
                                    </p:set>
                                    <p:animEffect transition="in" filter="fade">
                                      <p:cBhvr>
                                        <p:cTn id="13" dur="250"/>
                                        <p:tgtEl>
                                          <p:spTgt spid="120"/>
                                        </p:tgtEl>
                                      </p:cBhvr>
                                    </p:animEffect>
                                  </p:childTnLst>
                                </p:cTn>
                              </p:par>
                              <p:par>
                                <p:cTn id="14" presetID="10" presetClass="entr" presetSubtype="0" fill="hold" nodeType="withEffect">
                                  <p:stCondLst>
                                    <p:cond delay="0"/>
                                  </p:stCondLst>
                                  <p:childTnLst>
                                    <p:set>
                                      <p:cBhvr>
                                        <p:cTn id="15" dur="1" fill="hold">
                                          <p:stCondLst>
                                            <p:cond delay="0"/>
                                          </p:stCondLst>
                                        </p:cTn>
                                        <p:tgtEl>
                                          <p:spTgt spid="121"/>
                                        </p:tgtEl>
                                        <p:attrNameLst>
                                          <p:attrName>style.visibility</p:attrName>
                                        </p:attrNameLst>
                                      </p:cBhvr>
                                      <p:to>
                                        <p:strVal val="visible"/>
                                      </p:to>
                                    </p:set>
                                    <p:animEffect transition="in" filter="fade">
                                      <p:cBhvr>
                                        <p:cTn id="16" dur="250"/>
                                        <p:tgtEl>
                                          <p:spTgt spid="121"/>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43"/>
                                        </p:tgtEl>
                                        <p:attrNameLst>
                                          <p:attrName>style.visibility</p:attrName>
                                        </p:attrNameLst>
                                      </p:cBhvr>
                                      <p:to>
                                        <p:strVal val="visible"/>
                                      </p:to>
                                    </p:set>
                                    <p:animEffect transition="in" filter="fade">
                                      <p:cBhvr>
                                        <p:cTn id="19" dur="250"/>
                                        <p:tgtEl>
                                          <p:spTgt spid="43"/>
                                        </p:tgtEl>
                                      </p:cBhvr>
                                    </p:animEffect>
                                  </p:childTnLst>
                                </p:cTn>
                              </p:par>
                              <p:par>
                                <p:cTn id="20" presetID="1" presetClass="exit" presetSubtype="0" fill="hold" grpId="0" nodeType="withEffect">
                                  <p:stCondLst>
                                    <p:cond delay="0"/>
                                  </p:stCondLst>
                                  <p:childTnLst>
                                    <p:set>
                                      <p:cBhvr>
                                        <p:cTn id="21" dur="1" fill="hold">
                                          <p:stCondLst>
                                            <p:cond delay="0"/>
                                          </p:stCondLst>
                                        </p:cTn>
                                        <p:tgtEl>
                                          <p:spTgt spid="63"/>
                                        </p:tgtEl>
                                        <p:attrNameLst>
                                          <p:attrName>style.visibility</p:attrName>
                                        </p:attrNameLst>
                                      </p:cBhvr>
                                      <p:to>
                                        <p:strVal val="hidden"/>
                                      </p:to>
                                    </p:set>
                                  </p:childTnLst>
                                </p:cTn>
                              </p:par>
                            </p:childTnLst>
                          </p:cTn>
                        </p:par>
                      </p:childTnLst>
                    </p:cTn>
                  </p:par>
                  <p:par>
                    <p:cTn id="22" fill="hold">
                      <p:stCondLst>
                        <p:cond delay="indefinite"/>
                      </p:stCondLst>
                      <p:childTnLst>
                        <p:par>
                          <p:cTn id="23" fill="hold">
                            <p:stCondLst>
                              <p:cond delay="0"/>
                            </p:stCondLst>
                            <p:childTnLst>
                              <p:par>
                                <p:cTn id="24" presetID="10" presetClass="entr" presetSubtype="0" fill="hold" nodeType="clickEffect">
                                  <p:stCondLst>
                                    <p:cond delay="0"/>
                                  </p:stCondLst>
                                  <p:childTnLst>
                                    <p:set>
                                      <p:cBhvr>
                                        <p:cTn id="25" dur="1" fill="hold">
                                          <p:stCondLst>
                                            <p:cond delay="0"/>
                                          </p:stCondLst>
                                        </p:cTn>
                                        <p:tgtEl>
                                          <p:spTgt spid="7"/>
                                        </p:tgtEl>
                                        <p:attrNameLst>
                                          <p:attrName>style.visibility</p:attrName>
                                        </p:attrNameLst>
                                      </p:cBhvr>
                                      <p:to>
                                        <p:strVal val="visible"/>
                                      </p:to>
                                    </p:set>
                                    <p:animEffect transition="in" filter="fade">
                                      <p:cBhvr>
                                        <p:cTn id="26" dur="250"/>
                                        <p:tgtEl>
                                          <p:spTgt spid="7"/>
                                        </p:tgtEl>
                                      </p:cBhvr>
                                    </p:animEffect>
                                  </p:childTnLst>
                                </p:cTn>
                              </p:par>
                              <p:par>
                                <p:cTn id="27" presetID="10" presetClass="entr" presetSubtype="0" fill="hold" nodeType="withEffect">
                                  <p:stCondLst>
                                    <p:cond delay="0"/>
                                  </p:stCondLst>
                                  <p:childTnLst>
                                    <p:set>
                                      <p:cBhvr>
                                        <p:cTn id="28" dur="1" fill="hold">
                                          <p:stCondLst>
                                            <p:cond delay="0"/>
                                          </p:stCondLst>
                                        </p:cTn>
                                        <p:tgtEl>
                                          <p:spTgt spid="68"/>
                                        </p:tgtEl>
                                        <p:attrNameLst>
                                          <p:attrName>style.visibility</p:attrName>
                                        </p:attrNameLst>
                                      </p:cBhvr>
                                      <p:to>
                                        <p:strVal val="visible"/>
                                      </p:to>
                                    </p:set>
                                    <p:animEffect transition="in" filter="fade">
                                      <p:cBhvr>
                                        <p:cTn id="29" dur="250"/>
                                        <p:tgtEl>
                                          <p:spTgt spid="68"/>
                                        </p:tgtEl>
                                      </p:cBhvr>
                                    </p:animEffect>
                                  </p:childTnLst>
                                </p:cTn>
                              </p:par>
                              <p:par>
                                <p:cTn id="30" presetID="10" presetClass="entr" presetSubtype="0" fill="hold" grpId="0" nodeType="withEffect">
                                  <p:stCondLst>
                                    <p:cond delay="0"/>
                                  </p:stCondLst>
                                  <p:childTnLst>
                                    <p:set>
                                      <p:cBhvr>
                                        <p:cTn id="31" dur="1" fill="hold">
                                          <p:stCondLst>
                                            <p:cond delay="0"/>
                                          </p:stCondLst>
                                        </p:cTn>
                                        <p:tgtEl>
                                          <p:spTgt spid="44"/>
                                        </p:tgtEl>
                                        <p:attrNameLst>
                                          <p:attrName>style.visibility</p:attrName>
                                        </p:attrNameLst>
                                      </p:cBhvr>
                                      <p:to>
                                        <p:strVal val="visible"/>
                                      </p:to>
                                    </p:set>
                                    <p:animEffect transition="in" filter="fade">
                                      <p:cBhvr>
                                        <p:cTn id="32" dur="250"/>
                                        <p:tgtEl>
                                          <p:spTgt spid="44"/>
                                        </p:tgtEl>
                                      </p:cBhvr>
                                    </p:animEffect>
                                  </p:childTnLst>
                                </p:cTn>
                              </p:par>
                              <p:par>
                                <p:cTn id="33" presetID="1" presetClass="exit" presetSubtype="0" fill="hold" grpId="1" nodeType="withEffect">
                                  <p:stCondLst>
                                    <p:cond delay="0"/>
                                  </p:stCondLst>
                                  <p:childTnLst>
                                    <p:set>
                                      <p:cBhvr>
                                        <p:cTn id="34" dur="1" fill="hold">
                                          <p:stCondLst>
                                            <p:cond delay="0"/>
                                          </p:stCondLst>
                                        </p:cTn>
                                        <p:tgtEl>
                                          <p:spTgt spid="43"/>
                                        </p:tgtEl>
                                        <p:attrNameLst>
                                          <p:attrName>style.visibility</p:attrName>
                                        </p:attrNameLst>
                                      </p:cBhvr>
                                      <p:to>
                                        <p:strVal val="hidden"/>
                                      </p:to>
                                    </p:set>
                                  </p:childTnLst>
                                </p:cTn>
                              </p:par>
                            </p:childTnLst>
                          </p:cTn>
                        </p:par>
                      </p:childTnLst>
                    </p:cTn>
                  </p:par>
                  <p:par>
                    <p:cTn id="35" fill="hold">
                      <p:stCondLst>
                        <p:cond delay="indefinite"/>
                      </p:stCondLst>
                      <p:childTnLst>
                        <p:par>
                          <p:cTn id="36" fill="hold">
                            <p:stCondLst>
                              <p:cond delay="0"/>
                            </p:stCondLst>
                            <p:childTnLst>
                              <p:par>
                                <p:cTn id="37" presetID="1" presetClass="exit" presetSubtype="0" fill="hold" grpId="1" nodeType="clickEffect">
                                  <p:stCondLst>
                                    <p:cond delay="0"/>
                                  </p:stCondLst>
                                  <p:childTnLst>
                                    <p:set>
                                      <p:cBhvr>
                                        <p:cTn id="38" dur="1" fill="hold">
                                          <p:stCondLst>
                                            <p:cond delay="0"/>
                                          </p:stCondLst>
                                        </p:cTn>
                                        <p:tgtEl>
                                          <p:spTgt spid="44"/>
                                        </p:tgtEl>
                                        <p:attrNameLst>
                                          <p:attrName>style.visibility</p:attrName>
                                        </p:attrNameLst>
                                      </p:cBhvr>
                                      <p:to>
                                        <p:strVal val="hidden"/>
                                      </p:to>
                                    </p:set>
                                  </p:childTnLst>
                                </p:cTn>
                              </p:par>
                              <p:par>
                                <p:cTn id="39" presetID="10" presetClass="entr" presetSubtype="0" fill="hold" grpId="0" nodeType="withEffect">
                                  <p:stCondLst>
                                    <p:cond delay="0"/>
                                  </p:stCondLst>
                                  <p:childTnLst>
                                    <p:set>
                                      <p:cBhvr>
                                        <p:cTn id="40" dur="1" fill="hold">
                                          <p:stCondLst>
                                            <p:cond delay="0"/>
                                          </p:stCondLst>
                                        </p:cTn>
                                        <p:tgtEl>
                                          <p:spTgt spid="45"/>
                                        </p:tgtEl>
                                        <p:attrNameLst>
                                          <p:attrName>style.visibility</p:attrName>
                                        </p:attrNameLst>
                                      </p:cBhvr>
                                      <p:to>
                                        <p:strVal val="visible"/>
                                      </p:to>
                                    </p:set>
                                    <p:animEffect transition="in" filter="fade">
                                      <p:cBhvr>
                                        <p:cTn id="41" dur="250"/>
                                        <p:tgtEl>
                                          <p:spTgt spid="45"/>
                                        </p:tgtEl>
                                      </p:cBhvr>
                                    </p:animEffect>
                                  </p:childTnLst>
                                </p:cTn>
                              </p:par>
                              <p:par>
                                <p:cTn id="42" presetID="10" presetClass="entr" presetSubtype="0" fill="hold" nodeType="withEffect">
                                  <p:stCondLst>
                                    <p:cond delay="0"/>
                                  </p:stCondLst>
                                  <p:childTnLst>
                                    <p:set>
                                      <p:cBhvr>
                                        <p:cTn id="43" dur="1" fill="hold">
                                          <p:stCondLst>
                                            <p:cond delay="0"/>
                                          </p:stCondLst>
                                        </p:cTn>
                                        <p:tgtEl>
                                          <p:spTgt spid="10"/>
                                        </p:tgtEl>
                                        <p:attrNameLst>
                                          <p:attrName>style.visibility</p:attrName>
                                        </p:attrNameLst>
                                      </p:cBhvr>
                                      <p:to>
                                        <p:strVal val="visible"/>
                                      </p:to>
                                    </p:set>
                                    <p:animEffect transition="in" filter="fade">
                                      <p:cBhvr>
                                        <p:cTn id="44" dur="250"/>
                                        <p:tgtEl>
                                          <p:spTgt spid="10"/>
                                        </p:tgtEl>
                                      </p:cBhvr>
                                    </p:animEffect>
                                  </p:childTnLst>
                                </p:cTn>
                              </p:par>
                              <p:par>
                                <p:cTn id="45" presetID="10" presetClass="entr" presetSubtype="0" fill="hold" nodeType="withEffect">
                                  <p:stCondLst>
                                    <p:cond delay="0"/>
                                  </p:stCondLst>
                                  <p:childTnLst>
                                    <p:set>
                                      <p:cBhvr>
                                        <p:cTn id="46" dur="1" fill="hold">
                                          <p:stCondLst>
                                            <p:cond delay="0"/>
                                          </p:stCondLst>
                                        </p:cTn>
                                        <p:tgtEl>
                                          <p:spTgt spid="9"/>
                                        </p:tgtEl>
                                        <p:attrNameLst>
                                          <p:attrName>style.visibility</p:attrName>
                                        </p:attrNameLst>
                                      </p:cBhvr>
                                      <p:to>
                                        <p:strVal val="visible"/>
                                      </p:to>
                                    </p:set>
                                    <p:animEffect transition="in" filter="fade">
                                      <p:cBhvr>
                                        <p:cTn id="47" dur="250"/>
                                        <p:tgtEl>
                                          <p:spTgt spid="9"/>
                                        </p:tgtEl>
                                      </p:cBhvr>
                                    </p:animEffect>
                                  </p:childTnLst>
                                </p:cTn>
                              </p:par>
                              <p:par>
                                <p:cTn id="48" presetID="10" presetClass="entr" presetSubtype="0" fill="hold" nodeType="withEffect">
                                  <p:stCondLst>
                                    <p:cond delay="0"/>
                                  </p:stCondLst>
                                  <p:childTnLst>
                                    <p:set>
                                      <p:cBhvr>
                                        <p:cTn id="49" dur="1" fill="hold">
                                          <p:stCondLst>
                                            <p:cond delay="0"/>
                                          </p:stCondLst>
                                        </p:cTn>
                                        <p:tgtEl>
                                          <p:spTgt spid="200"/>
                                        </p:tgtEl>
                                        <p:attrNameLst>
                                          <p:attrName>style.visibility</p:attrName>
                                        </p:attrNameLst>
                                      </p:cBhvr>
                                      <p:to>
                                        <p:strVal val="visible"/>
                                      </p:to>
                                    </p:set>
                                    <p:animEffect transition="in" filter="fade">
                                      <p:cBhvr>
                                        <p:cTn id="50" dur="250"/>
                                        <p:tgtEl>
                                          <p:spTgt spid="200"/>
                                        </p:tgtEl>
                                      </p:cBhvr>
                                    </p:animEffect>
                                  </p:childTnLst>
                                </p:cTn>
                              </p:par>
                            </p:childTnLst>
                          </p:cTn>
                        </p:par>
                      </p:childTnLst>
                    </p:cTn>
                  </p:par>
                  <p:par>
                    <p:cTn id="51" fill="hold">
                      <p:stCondLst>
                        <p:cond delay="indefinite"/>
                      </p:stCondLst>
                      <p:childTnLst>
                        <p:par>
                          <p:cTn id="52" fill="hold">
                            <p:stCondLst>
                              <p:cond delay="0"/>
                            </p:stCondLst>
                            <p:childTnLst>
                              <p:par>
                                <p:cTn id="53" presetID="1" presetClass="exit" presetSubtype="0" fill="hold" grpId="1" nodeType="clickEffect">
                                  <p:stCondLst>
                                    <p:cond delay="0"/>
                                  </p:stCondLst>
                                  <p:childTnLst>
                                    <p:set>
                                      <p:cBhvr>
                                        <p:cTn id="54" dur="1" fill="hold">
                                          <p:stCondLst>
                                            <p:cond delay="0"/>
                                          </p:stCondLst>
                                        </p:cTn>
                                        <p:tgtEl>
                                          <p:spTgt spid="45"/>
                                        </p:tgtEl>
                                        <p:attrNameLst>
                                          <p:attrName>style.visibility</p:attrName>
                                        </p:attrNameLst>
                                      </p:cBhvr>
                                      <p:to>
                                        <p:strVal val="hidden"/>
                                      </p:to>
                                    </p:set>
                                  </p:childTnLst>
                                </p:cTn>
                              </p:par>
                              <p:par>
                                <p:cTn id="55" presetID="10" presetClass="entr" presetSubtype="0" fill="hold" nodeType="withEffect">
                                  <p:stCondLst>
                                    <p:cond delay="0"/>
                                  </p:stCondLst>
                                  <p:childTnLst>
                                    <p:set>
                                      <p:cBhvr>
                                        <p:cTn id="56" dur="1" fill="hold">
                                          <p:stCondLst>
                                            <p:cond delay="0"/>
                                          </p:stCondLst>
                                        </p:cTn>
                                        <p:tgtEl>
                                          <p:spTgt spid="65"/>
                                        </p:tgtEl>
                                        <p:attrNameLst>
                                          <p:attrName>style.visibility</p:attrName>
                                        </p:attrNameLst>
                                      </p:cBhvr>
                                      <p:to>
                                        <p:strVal val="visible"/>
                                      </p:to>
                                    </p:set>
                                    <p:animEffect transition="in" filter="fade">
                                      <p:cBhvr>
                                        <p:cTn id="57" dur="250"/>
                                        <p:tgtEl>
                                          <p:spTgt spid="65"/>
                                        </p:tgtEl>
                                      </p:cBhvr>
                                    </p:animEffect>
                                  </p:childTnLst>
                                </p:cTn>
                              </p:par>
                              <p:par>
                                <p:cTn id="58" presetID="1" presetClass="exit" presetSubtype="0" fill="hold" nodeType="withEffect">
                                  <p:stCondLst>
                                    <p:cond delay="0"/>
                                  </p:stCondLst>
                                  <p:childTnLst>
                                    <p:set>
                                      <p:cBhvr>
                                        <p:cTn id="59" dur="1" fill="hold">
                                          <p:stCondLst>
                                            <p:cond delay="0"/>
                                          </p:stCondLst>
                                        </p:cTn>
                                        <p:tgtEl>
                                          <p:spTgt spid="200"/>
                                        </p:tgtEl>
                                        <p:attrNameLst>
                                          <p:attrName>style.visibility</p:attrName>
                                        </p:attrNameLst>
                                      </p:cBhvr>
                                      <p:to>
                                        <p:strVal val="hidden"/>
                                      </p:to>
                                    </p:set>
                                  </p:childTnLst>
                                </p:cTn>
                              </p:par>
                              <p:par>
                                <p:cTn id="60" presetID="10" presetClass="entr" presetSubtype="0" fill="hold" grpId="0" nodeType="withEffect">
                                  <p:stCondLst>
                                    <p:cond delay="0"/>
                                  </p:stCondLst>
                                  <p:childTnLst>
                                    <p:set>
                                      <p:cBhvr>
                                        <p:cTn id="61" dur="1" fill="hold">
                                          <p:stCondLst>
                                            <p:cond delay="0"/>
                                          </p:stCondLst>
                                        </p:cTn>
                                        <p:tgtEl>
                                          <p:spTgt spid="53"/>
                                        </p:tgtEl>
                                        <p:attrNameLst>
                                          <p:attrName>style.visibility</p:attrName>
                                        </p:attrNameLst>
                                      </p:cBhvr>
                                      <p:to>
                                        <p:strVal val="visible"/>
                                      </p:to>
                                    </p:set>
                                    <p:animEffect transition="in" filter="fade">
                                      <p:cBhvr>
                                        <p:cTn id="62" dur="250"/>
                                        <p:tgtEl>
                                          <p:spTgt spid="53"/>
                                        </p:tgtEl>
                                      </p:cBhvr>
                                    </p:animEffect>
                                  </p:childTnLst>
                                </p:cTn>
                              </p:par>
                              <p:par>
                                <p:cTn id="63" presetID="1" presetClass="exit" presetSubtype="0" fill="hold" nodeType="withEffect">
                                  <p:stCondLst>
                                    <p:cond delay="0"/>
                                  </p:stCondLst>
                                  <p:childTnLst>
                                    <p:set>
                                      <p:cBhvr>
                                        <p:cTn id="64" dur="1" fill="hold">
                                          <p:stCondLst>
                                            <p:cond delay="0"/>
                                          </p:stCondLst>
                                        </p:cTn>
                                        <p:tgtEl>
                                          <p:spTgt spid="119"/>
                                        </p:tgtEl>
                                        <p:attrNameLst>
                                          <p:attrName>style.visibility</p:attrName>
                                        </p:attrNameLst>
                                      </p:cBhvr>
                                      <p:to>
                                        <p:strVal val="hidden"/>
                                      </p:to>
                                    </p:set>
                                  </p:childTnLst>
                                </p:cTn>
                              </p:par>
                              <p:par>
                                <p:cTn id="65" presetID="10" presetClass="entr" presetSubtype="0" fill="hold" nodeType="withEffect">
                                  <p:stCondLst>
                                    <p:cond delay="0"/>
                                  </p:stCondLst>
                                  <p:childTnLst>
                                    <p:set>
                                      <p:cBhvr>
                                        <p:cTn id="66" dur="1" fill="hold">
                                          <p:stCondLst>
                                            <p:cond delay="0"/>
                                          </p:stCondLst>
                                        </p:cTn>
                                        <p:tgtEl>
                                          <p:spTgt spid="50"/>
                                        </p:tgtEl>
                                        <p:attrNameLst>
                                          <p:attrName>style.visibility</p:attrName>
                                        </p:attrNameLst>
                                      </p:cBhvr>
                                      <p:to>
                                        <p:strVal val="visible"/>
                                      </p:to>
                                    </p:set>
                                    <p:animEffect transition="in" filter="fade">
                                      <p:cBhvr>
                                        <p:cTn id="67" dur="250"/>
                                        <p:tgtEl>
                                          <p:spTgt spid="5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0" grpId="0" animBg="1"/>
      <p:bldP spid="63" grpId="0"/>
      <p:bldP spid="43" grpId="0"/>
      <p:bldP spid="43" grpId="1"/>
      <p:bldP spid="44" grpId="0"/>
      <p:bldP spid="44" grpId="1"/>
      <p:bldP spid="45" grpId="0"/>
      <p:bldP spid="45" grpId="1"/>
      <p:bldP spid="53" grpId="0"/>
      <p:bldP spid="51" grpId="0" animBg="1"/>
    </p:bldLst>
  </p:timing>
</p:sld>
</file>

<file path=ppt/slides/slide15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366168" y="1212851"/>
            <a:ext cx="11702553" cy="2147511"/>
          </a:xfrm>
        </p:spPr>
        <p:txBody>
          <a:bodyPr/>
          <a:lstStyle/>
          <a:p>
            <a:pPr marL="0" indent="0">
              <a:buNone/>
            </a:pPr>
            <a:r>
              <a:rPr lang="en-US" dirty="0"/>
              <a:t>RDB snapshot</a:t>
            </a:r>
          </a:p>
          <a:p>
            <a:endParaRPr lang="en-US" sz="1050" dirty="0">
              <a:solidFill>
                <a:schemeClr val="tx1"/>
              </a:solidFill>
            </a:endParaRPr>
          </a:p>
          <a:p>
            <a:pPr marL="342900" lvl="1" indent="-342900"/>
            <a:r>
              <a:rPr lang="en-US" dirty="0"/>
              <a:t>Time-based since the last successful backup or manual</a:t>
            </a:r>
          </a:p>
          <a:p>
            <a:pPr marL="342900" lvl="1" indent="-342900"/>
            <a:r>
              <a:rPr lang="en-US" dirty="0"/>
              <a:t>Backup and restore</a:t>
            </a:r>
          </a:p>
          <a:p>
            <a:pPr marL="0" indent="0">
              <a:buNone/>
            </a:pPr>
            <a:r>
              <a:rPr lang="en-US" dirty="0"/>
              <a:t>RDB snapshot</a:t>
            </a:r>
          </a:p>
        </p:txBody>
      </p:sp>
      <p:sp>
        <p:nvSpPr>
          <p:cNvPr id="2" name="Title 1"/>
          <p:cNvSpPr>
            <a:spLocks noGrp="1"/>
          </p:cNvSpPr>
          <p:nvPr>
            <p:ph type="title"/>
          </p:nvPr>
        </p:nvSpPr>
        <p:spPr/>
        <p:txBody>
          <a:bodyPr/>
          <a:lstStyle/>
          <a:p>
            <a:r>
              <a:rPr lang="en-US" dirty="0"/>
              <a:t>Redis data persistence</a:t>
            </a:r>
          </a:p>
        </p:txBody>
      </p:sp>
    </p:spTree>
    <p:extLst>
      <p:ext uri="{BB962C8B-B14F-4D97-AF65-F5344CB8AC3E}">
        <p14:creationId xmlns:p14="http://schemas.microsoft.com/office/powerpoint/2010/main" val="396039079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5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366168" y="1212851"/>
            <a:ext cx="11702553" cy="683264"/>
          </a:xfrm>
        </p:spPr>
        <p:txBody>
          <a:bodyPr/>
          <a:lstStyle/>
          <a:p>
            <a:pPr marL="0" indent="0">
              <a:buNone/>
            </a:pPr>
            <a:r>
              <a:rPr lang="en-US" dirty="0"/>
              <a:t>Each shard is master/slave pair</a:t>
            </a:r>
          </a:p>
        </p:txBody>
      </p:sp>
      <p:sp>
        <p:nvSpPr>
          <p:cNvPr id="2" name="Title 1"/>
          <p:cNvSpPr>
            <a:spLocks noGrp="1"/>
          </p:cNvSpPr>
          <p:nvPr>
            <p:ph type="title"/>
          </p:nvPr>
        </p:nvSpPr>
        <p:spPr/>
        <p:txBody>
          <a:bodyPr/>
          <a:lstStyle/>
          <a:p>
            <a:r>
              <a:rPr lang="en-US" dirty="0" err="1"/>
              <a:t>Redis</a:t>
            </a:r>
            <a:r>
              <a:rPr lang="en-US" dirty="0"/>
              <a:t> Cluster</a:t>
            </a:r>
          </a:p>
        </p:txBody>
      </p:sp>
      <p:sp>
        <p:nvSpPr>
          <p:cNvPr id="4" name="hyperV2"/>
          <p:cNvSpPr>
            <a:spLocks noChangeAspect="1" noEditPoints="1"/>
          </p:cNvSpPr>
          <p:nvPr/>
        </p:nvSpPr>
        <p:spPr bwMode="auto">
          <a:xfrm>
            <a:off x="1175273" y="2821606"/>
            <a:ext cx="1758264" cy="2929461"/>
          </a:xfrm>
          <a:custGeom>
            <a:avLst/>
            <a:gdLst>
              <a:gd name="T0" fmla="*/ 625 w 625"/>
              <a:gd name="T1" fmla="*/ 132 h 1044"/>
              <a:gd name="T2" fmla="*/ 393 w 625"/>
              <a:gd name="T3" fmla="*/ 0 h 1044"/>
              <a:gd name="T4" fmla="*/ 383 w 625"/>
              <a:gd name="T5" fmla="*/ 0 h 1044"/>
              <a:gd name="T6" fmla="*/ 5 w 625"/>
              <a:gd name="T7" fmla="*/ 218 h 1044"/>
              <a:gd name="T8" fmla="*/ 5 w 625"/>
              <a:gd name="T9" fmla="*/ 220 h 1044"/>
              <a:gd name="T10" fmla="*/ 0 w 625"/>
              <a:gd name="T11" fmla="*/ 223 h 1044"/>
              <a:gd name="T12" fmla="*/ 0 w 625"/>
              <a:gd name="T13" fmla="*/ 893 h 1044"/>
              <a:gd name="T14" fmla="*/ 5 w 625"/>
              <a:gd name="T15" fmla="*/ 902 h 1044"/>
              <a:gd name="T16" fmla="*/ 237 w 625"/>
              <a:gd name="T17" fmla="*/ 1044 h 1044"/>
              <a:gd name="T18" fmla="*/ 252 w 625"/>
              <a:gd name="T19" fmla="*/ 1035 h 1044"/>
              <a:gd name="T20" fmla="*/ 252 w 625"/>
              <a:gd name="T21" fmla="*/ 1034 h 1044"/>
              <a:gd name="T22" fmla="*/ 624 w 625"/>
              <a:gd name="T23" fmla="*/ 811 h 1044"/>
              <a:gd name="T24" fmla="*/ 624 w 625"/>
              <a:gd name="T25" fmla="*/ 150 h 1044"/>
              <a:gd name="T26" fmla="*/ 625 w 625"/>
              <a:gd name="T27" fmla="*/ 150 h 1044"/>
              <a:gd name="T28" fmla="*/ 625 w 625"/>
              <a:gd name="T29" fmla="*/ 132 h 1044"/>
              <a:gd name="T30" fmla="*/ 388 w 625"/>
              <a:gd name="T31" fmla="*/ 21 h 1044"/>
              <a:gd name="T32" fmla="*/ 600 w 625"/>
              <a:gd name="T33" fmla="*/ 141 h 1044"/>
              <a:gd name="T34" fmla="*/ 244 w 625"/>
              <a:gd name="T35" fmla="*/ 340 h 1044"/>
              <a:gd name="T36" fmla="*/ 165 w 625"/>
              <a:gd name="T37" fmla="*/ 298 h 1044"/>
              <a:gd name="T38" fmla="*/ 34 w 625"/>
              <a:gd name="T39" fmla="*/ 225 h 1044"/>
              <a:gd name="T40" fmla="*/ 388 w 625"/>
              <a:gd name="T41" fmla="*/ 21 h 1044"/>
              <a:gd name="T42" fmla="*/ 156 w 625"/>
              <a:gd name="T43" fmla="*/ 315 h 1044"/>
              <a:gd name="T44" fmla="*/ 230 w 625"/>
              <a:gd name="T45" fmla="*/ 357 h 1044"/>
              <a:gd name="T46" fmla="*/ 231 w 625"/>
              <a:gd name="T47" fmla="*/ 541 h 1044"/>
              <a:gd name="T48" fmla="*/ 20 w 625"/>
              <a:gd name="T49" fmla="*/ 423 h 1044"/>
              <a:gd name="T50" fmla="*/ 20 w 625"/>
              <a:gd name="T51" fmla="*/ 244 h 1044"/>
              <a:gd name="T52" fmla="*/ 156 w 625"/>
              <a:gd name="T53" fmla="*/ 315 h 1044"/>
              <a:gd name="T54" fmla="*/ 20 w 625"/>
              <a:gd name="T55" fmla="*/ 446 h 1044"/>
              <a:gd name="T56" fmla="*/ 231 w 625"/>
              <a:gd name="T57" fmla="*/ 563 h 1044"/>
              <a:gd name="T58" fmla="*/ 231 w 625"/>
              <a:gd name="T59" fmla="*/ 593 h 1044"/>
              <a:gd name="T60" fmla="*/ 20 w 625"/>
              <a:gd name="T61" fmla="*/ 475 h 1044"/>
              <a:gd name="T62" fmla="*/ 20 w 625"/>
              <a:gd name="T63" fmla="*/ 446 h 1044"/>
              <a:gd name="T64" fmla="*/ 20 w 625"/>
              <a:gd name="T65" fmla="*/ 498 h 1044"/>
              <a:gd name="T66" fmla="*/ 231 w 625"/>
              <a:gd name="T67" fmla="*/ 616 h 1044"/>
              <a:gd name="T68" fmla="*/ 231 w 625"/>
              <a:gd name="T69" fmla="*/ 637 h 1044"/>
              <a:gd name="T70" fmla="*/ 20 w 625"/>
              <a:gd name="T71" fmla="*/ 519 h 1044"/>
              <a:gd name="T72" fmla="*/ 20 w 625"/>
              <a:gd name="T73" fmla="*/ 498 h 1044"/>
              <a:gd name="T74" fmla="*/ 20 w 625"/>
              <a:gd name="T75" fmla="*/ 887 h 1044"/>
              <a:gd name="T76" fmla="*/ 20 w 625"/>
              <a:gd name="T77" fmla="*/ 542 h 1044"/>
              <a:gd name="T78" fmla="*/ 231 w 625"/>
              <a:gd name="T79" fmla="*/ 660 h 1044"/>
              <a:gd name="T80" fmla="*/ 232 w 625"/>
              <a:gd name="T81" fmla="*/ 1017 h 1044"/>
              <a:gd name="T82" fmla="*/ 20 w 625"/>
              <a:gd name="T83" fmla="*/ 887 h 1044"/>
              <a:gd name="T84" fmla="*/ 160 w 625"/>
              <a:gd name="T85" fmla="*/ 746 h 1044"/>
              <a:gd name="T86" fmla="*/ 110 w 625"/>
              <a:gd name="T87" fmla="*/ 770 h 1044"/>
              <a:gd name="T88" fmla="*/ 84 w 625"/>
              <a:gd name="T89" fmla="*/ 712 h 1044"/>
              <a:gd name="T90" fmla="*/ 134 w 625"/>
              <a:gd name="T91" fmla="*/ 688 h 1044"/>
              <a:gd name="T92" fmla="*/ 160 w 625"/>
              <a:gd name="T93" fmla="*/ 746 h 10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625" h="1044">
                <a:moveTo>
                  <a:pt x="625" y="132"/>
                </a:moveTo>
                <a:cubicBezTo>
                  <a:pt x="393" y="0"/>
                  <a:pt x="393" y="0"/>
                  <a:pt x="393" y="0"/>
                </a:cubicBezTo>
                <a:cubicBezTo>
                  <a:pt x="383" y="0"/>
                  <a:pt x="383" y="0"/>
                  <a:pt x="383" y="0"/>
                </a:cubicBezTo>
                <a:cubicBezTo>
                  <a:pt x="5" y="218"/>
                  <a:pt x="5" y="218"/>
                  <a:pt x="5" y="218"/>
                </a:cubicBezTo>
                <a:cubicBezTo>
                  <a:pt x="5" y="220"/>
                  <a:pt x="5" y="220"/>
                  <a:pt x="5" y="220"/>
                </a:cubicBezTo>
                <a:cubicBezTo>
                  <a:pt x="0" y="223"/>
                  <a:pt x="0" y="223"/>
                  <a:pt x="0" y="223"/>
                </a:cubicBezTo>
                <a:cubicBezTo>
                  <a:pt x="0" y="893"/>
                  <a:pt x="0" y="893"/>
                  <a:pt x="0" y="893"/>
                </a:cubicBezTo>
                <a:cubicBezTo>
                  <a:pt x="5" y="902"/>
                  <a:pt x="5" y="902"/>
                  <a:pt x="5" y="902"/>
                </a:cubicBezTo>
                <a:cubicBezTo>
                  <a:pt x="237" y="1044"/>
                  <a:pt x="237" y="1044"/>
                  <a:pt x="237" y="1044"/>
                </a:cubicBezTo>
                <a:cubicBezTo>
                  <a:pt x="252" y="1035"/>
                  <a:pt x="252" y="1035"/>
                  <a:pt x="252" y="1035"/>
                </a:cubicBezTo>
                <a:cubicBezTo>
                  <a:pt x="252" y="1034"/>
                  <a:pt x="252" y="1034"/>
                  <a:pt x="252" y="1034"/>
                </a:cubicBezTo>
                <a:cubicBezTo>
                  <a:pt x="624" y="811"/>
                  <a:pt x="624" y="811"/>
                  <a:pt x="624" y="811"/>
                </a:cubicBezTo>
                <a:cubicBezTo>
                  <a:pt x="624" y="150"/>
                  <a:pt x="624" y="150"/>
                  <a:pt x="624" y="150"/>
                </a:cubicBezTo>
                <a:cubicBezTo>
                  <a:pt x="625" y="150"/>
                  <a:pt x="625" y="150"/>
                  <a:pt x="625" y="150"/>
                </a:cubicBezTo>
                <a:lnTo>
                  <a:pt x="625" y="132"/>
                </a:lnTo>
                <a:close/>
                <a:moveTo>
                  <a:pt x="388" y="21"/>
                </a:moveTo>
                <a:cubicBezTo>
                  <a:pt x="600" y="141"/>
                  <a:pt x="600" y="141"/>
                  <a:pt x="600" y="141"/>
                </a:cubicBezTo>
                <a:cubicBezTo>
                  <a:pt x="244" y="340"/>
                  <a:pt x="244" y="340"/>
                  <a:pt x="244" y="340"/>
                </a:cubicBezTo>
                <a:cubicBezTo>
                  <a:pt x="165" y="298"/>
                  <a:pt x="165" y="298"/>
                  <a:pt x="165" y="298"/>
                </a:cubicBezTo>
                <a:cubicBezTo>
                  <a:pt x="34" y="225"/>
                  <a:pt x="34" y="225"/>
                  <a:pt x="34" y="225"/>
                </a:cubicBezTo>
                <a:lnTo>
                  <a:pt x="388" y="21"/>
                </a:lnTo>
                <a:close/>
                <a:moveTo>
                  <a:pt x="156" y="315"/>
                </a:moveTo>
                <a:cubicBezTo>
                  <a:pt x="230" y="357"/>
                  <a:pt x="230" y="357"/>
                  <a:pt x="230" y="357"/>
                </a:cubicBezTo>
                <a:cubicBezTo>
                  <a:pt x="231" y="541"/>
                  <a:pt x="231" y="541"/>
                  <a:pt x="231" y="541"/>
                </a:cubicBezTo>
                <a:cubicBezTo>
                  <a:pt x="20" y="423"/>
                  <a:pt x="20" y="423"/>
                  <a:pt x="20" y="423"/>
                </a:cubicBezTo>
                <a:cubicBezTo>
                  <a:pt x="20" y="244"/>
                  <a:pt x="20" y="244"/>
                  <a:pt x="20" y="244"/>
                </a:cubicBezTo>
                <a:lnTo>
                  <a:pt x="156" y="315"/>
                </a:lnTo>
                <a:close/>
                <a:moveTo>
                  <a:pt x="20" y="446"/>
                </a:moveTo>
                <a:cubicBezTo>
                  <a:pt x="231" y="563"/>
                  <a:pt x="231" y="563"/>
                  <a:pt x="231" y="563"/>
                </a:cubicBezTo>
                <a:cubicBezTo>
                  <a:pt x="231" y="593"/>
                  <a:pt x="231" y="593"/>
                  <a:pt x="231" y="593"/>
                </a:cubicBezTo>
                <a:cubicBezTo>
                  <a:pt x="20" y="475"/>
                  <a:pt x="20" y="475"/>
                  <a:pt x="20" y="475"/>
                </a:cubicBezTo>
                <a:lnTo>
                  <a:pt x="20" y="446"/>
                </a:lnTo>
                <a:close/>
                <a:moveTo>
                  <a:pt x="20" y="498"/>
                </a:moveTo>
                <a:cubicBezTo>
                  <a:pt x="231" y="616"/>
                  <a:pt x="231" y="616"/>
                  <a:pt x="231" y="616"/>
                </a:cubicBezTo>
                <a:cubicBezTo>
                  <a:pt x="231" y="637"/>
                  <a:pt x="231" y="637"/>
                  <a:pt x="231" y="637"/>
                </a:cubicBezTo>
                <a:cubicBezTo>
                  <a:pt x="20" y="519"/>
                  <a:pt x="20" y="519"/>
                  <a:pt x="20" y="519"/>
                </a:cubicBezTo>
                <a:lnTo>
                  <a:pt x="20" y="498"/>
                </a:lnTo>
                <a:close/>
                <a:moveTo>
                  <a:pt x="20" y="887"/>
                </a:moveTo>
                <a:cubicBezTo>
                  <a:pt x="20" y="542"/>
                  <a:pt x="20" y="542"/>
                  <a:pt x="20" y="542"/>
                </a:cubicBezTo>
                <a:cubicBezTo>
                  <a:pt x="231" y="660"/>
                  <a:pt x="231" y="660"/>
                  <a:pt x="231" y="660"/>
                </a:cubicBezTo>
                <a:cubicBezTo>
                  <a:pt x="232" y="1017"/>
                  <a:pt x="232" y="1017"/>
                  <a:pt x="232" y="1017"/>
                </a:cubicBezTo>
                <a:lnTo>
                  <a:pt x="20" y="887"/>
                </a:lnTo>
                <a:close/>
                <a:moveTo>
                  <a:pt x="160" y="746"/>
                </a:moveTo>
                <a:cubicBezTo>
                  <a:pt x="154" y="769"/>
                  <a:pt x="132" y="779"/>
                  <a:pt x="110" y="770"/>
                </a:cubicBezTo>
                <a:cubicBezTo>
                  <a:pt x="89" y="760"/>
                  <a:pt x="77" y="734"/>
                  <a:pt x="84" y="712"/>
                </a:cubicBezTo>
                <a:cubicBezTo>
                  <a:pt x="90" y="689"/>
                  <a:pt x="112" y="679"/>
                  <a:pt x="134" y="688"/>
                </a:cubicBezTo>
                <a:cubicBezTo>
                  <a:pt x="155" y="698"/>
                  <a:pt x="167" y="724"/>
                  <a:pt x="160" y="746"/>
                </a:cubicBezTo>
                <a:close/>
              </a:path>
            </a:pathLst>
          </a:custGeom>
          <a:solidFill>
            <a:schemeClr val="accent1"/>
          </a:solidFill>
          <a:ln>
            <a:noFill/>
          </a:ln>
          <a:extLst/>
        </p:spPr>
        <p:txBody>
          <a:bodyPr lIns="124314" tIns="62157" rIns="124314" bIns="62157"/>
          <a:lstStyle/>
          <a:p>
            <a:pPr defTabSz="1268131">
              <a:defRPr/>
            </a:pPr>
            <a:endParaRPr lang="en-US" sz="3329">
              <a:solidFill>
                <a:srgbClr val="000000"/>
              </a:solidFill>
              <a:latin typeface="Segoe UI"/>
            </a:endParaRPr>
          </a:p>
        </p:txBody>
      </p:sp>
      <p:sp>
        <p:nvSpPr>
          <p:cNvPr id="5" name="hyperV2"/>
          <p:cNvSpPr>
            <a:spLocks noChangeAspect="1" noEditPoints="1"/>
          </p:cNvSpPr>
          <p:nvPr/>
        </p:nvSpPr>
        <p:spPr bwMode="auto">
          <a:xfrm>
            <a:off x="2394556" y="2627890"/>
            <a:ext cx="1758264" cy="2929461"/>
          </a:xfrm>
          <a:custGeom>
            <a:avLst/>
            <a:gdLst>
              <a:gd name="T0" fmla="*/ 625 w 625"/>
              <a:gd name="T1" fmla="*/ 132 h 1044"/>
              <a:gd name="T2" fmla="*/ 393 w 625"/>
              <a:gd name="T3" fmla="*/ 0 h 1044"/>
              <a:gd name="T4" fmla="*/ 383 w 625"/>
              <a:gd name="T5" fmla="*/ 0 h 1044"/>
              <a:gd name="T6" fmla="*/ 5 w 625"/>
              <a:gd name="T7" fmla="*/ 218 h 1044"/>
              <a:gd name="T8" fmla="*/ 5 w 625"/>
              <a:gd name="T9" fmla="*/ 220 h 1044"/>
              <a:gd name="T10" fmla="*/ 0 w 625"/>
              <a:gd name="T11" fmla="*/ 223 h 1044"/>
              <a:gd name="T12" fmla="*/ 0 w 625"/>
              <a:gd name="T13" fmla="*/ 893 h 1044"/>
              <a:gd name="T14" fmla="*/ 5 w 625"/>
              <a:gd name="T15" fmla="*/ 902 h 1044"/>
              <a:gd name="T16" fmla="*/ 237 w 625"/>
              <a:gd name="T17" fmla="*/ 1044 h 1044"/>
              <a:gd name="T18" fmla="*/ 252 w 625"/>
              <a:gd name="T19" fmla="*/ 1035 h 1044"/>
              <a:gd name="T20" fmla="*/ 252 w 625"/>
              <a:gd name="T21" fmla="*/ 1034 h 1044"/>
              <a:gd name="T22" fmla="*/ 624 w 625"/>
              <a:gd name="T23" fmla="*/ 811 h 1044"/>
              <a:gd name="T24" fmla="*/ 624 w 625"/>
              <a:gd name="T25" fmla="*/ 150 h 1044"/>
              <a:gd name="T26" fmla="*/ 625 w 625"/>
              <a:gd name="T27" fmla="*/ 150 h 1044"/>
              <a:gd name="T28" fmla="*/ 625 w 625"/>
              <a:gd name="T29" fmla="*/ 132 h 1044"/>
              <a:gd name="T30" fmla="*/ 388 w 625"/>
              <a:gd name="T31" fmla="*/ 21 h 1044"/>
              <a:gd name="T32" fmla="*/ 600 w 625"/>
              <a:gd name="T33" fmla="*/ 141 h 1044"/>
              <a:gd name="T34" fmla="*/ 244 w 625"/>
              <a:gd name="T35" fmla="*/ 340 h 1044"/>
              <a:gd name="T36" fmla="*/ 165 w 625"/>
              <a:gd name="T37" fmla="*/ 298 h 1044"/>
              <a:gd name="T38" fmla="*/ 34 w 625"/>
              <a:gd name="T39" fmla="*/ 225 h 1044"/>
              <a:gd name="T40" fmla="*/ 388 w 625"/>
              <a:gd name="T41" fmla="*/ 21 h 1044"/>
              <a:gd name="T42" fmla="*/ 156 w 625"/>
              <a:gd name="T43" fmla="*/ 315 h 1044"/>
              <a:gd name="T44" fmla="*/ 230 w 625"/>
              <a:gd name="T45" fmla="*/ 357 h 1044"/>
              <a:gd name="T46" fmla="*/ 231 w 625"/>
              <a:gd name="T47" fmla="*/ 541 h 1044"/>
              <a:gd name="T48" fmla="*/ 20 w 625"/>
              <a:gd name="T49" fmla="*/ 423 h 1044"/>
              <a:gd name="T50" fmla="*/ 20 w 625"/>
              <a:gd name="T51" fmla="*/ 244 h 1044"/>
              <a:gd name="T52" fmla="*/ 156 w 625"/>
              <a:gd name="T53" fmla="*/ 315 h 1044"/>
              <a:gd name="T54" fmla="*/ 20 w 625"/>
              <a:gd name="T55" fmla="*/ 446 h 1044"/>
              <a:gd name="T56" fmla="*/ 231 w 625"/>
              <a:gd name="T57" fmla="*/ 563 h 1044"/>
              <a:gd name="T58" fmla="*/ 231 w 625"/>
              <a:gd name="T59" fmla="*/ 593 h 1044"/>
              <a:gd name="T60" fmla="*/ 20 w 625"/>
              <a:gd name="T61" fmla="*/ 475 h 1044"/>
              <a:gd name="T62" fmla="*/ 20 w 625"/>
              <a:gd name="T63" fmla="*/ 446 h 1044"/>
              <a:gd name="T64" fmla="*/ 20 w 625"/>
              <a:gd name="T65" fmla="*/ 498 h 1044"/>
              <a:gd name="T66" fmla="*/ 231 w 625"/>
              <a:gd name="T67" fmla="*/ 616 h 1044"/>
              <a:gd name="T68" fmla="*/ 231 w 625"/>
              <a:gd name="T69" fmla="*/ 637 h 1044"/>
              <a:gd name="T70" fmla="*/ 20 w 625"/>
              <a:gd name="T71" fmla="*/ 519 h 1044"/>
              <a:gd name="T72" fmla="*/ 20 w 625"/>
              <a:gd name="T73" fmla="*/ 498 h 1044"/>
              <a:gd name="T74" fmla="*/ 20 w 625"/>
              <a:gd name="T75" fmla="*/ 887 h 1044"/>
              <a:gd name="T76" fmla="*/ 20 w 625"/>
              <a:gd name="T77" fmla="*/ 542 h 1044"/>
              <a:gd name="T78" fmla="*/ 231 w 625"/>
              <a:gd name="T79" fmla="*/ 660 h 1044"/>
              <a:gd name="T80" fmla="*/ 232 w 625"/>
              <a:gd name="T81" fmla="*/ 1017 h 1044"/>
              <a:gd name="T82" fmla="*/ 20 w 625"/>
              <a:gd name="T83" fmla="*/ 887 h 1044"/>
              <a:gd name="T84" fmla="*/ 160 w 625"/>
              <a:gd name="T85" fmla="*/ 746 h 1044"/>
              <a:gd name="T86" fmla="*/ 110 w 625"/>
              <a:gd name="T87" fmla="*/ 770 h 1044"/>
              <a:gd name="T88" fmla="*/ 84 w 625"/>
              <a:gd name="T89" fmla="*/ 712 h 1044"/>
              <a:gd name="T90" fmla="*/ 134 w 625"/>
              <a:gd name="T91" fmla="*/ 688 h 1044"/>
              <a:gd name="T92" fmla="*/ 160 w 625"/>
              <a:gd name="T93" fmla="*/ 746 h 10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625" h="1044">
                <a:moveTo>
                  <a:pt x="625" y="132"/>
                </a:moveTo>
                <a:cubicBezTo>
                  <a:pt x="393" y="0"/>
                  <a:pt x="393" y="0"/>
                  <a:pt x="393" y="0"/>
                </a:cubicBezTo>
                <a:cubicBezTo>
                  <a:pt x="383" y="0"/>
                  <a:pt x="383" y="0"/>
                  <a:pt x="383" y="0"/>
                </a:cubicBezTo>
                <a:cubicBezTo>
                  <a:pt x="5" y="218"/>
                  <a:pt x="5" y="218"/>
                  <a:pt x="5" y="218"/>
                </a:cubicBezTo>
                <a:cubicBezTo>
                  <a:pt x="5" y="220"/>
                  <a:pt x="5" y="220"/>
                  <a:pt x="5" y="220"/>
                </a:cubicBezTo>
                <a:cubicBezTo>
                  <a:pt x="0" y="223"/>
                  <a:pt x="0" y="223"/>
                  <a:pt x="0" y="223"/>
                </a:cubicBezTo>
                <a:cubicBezTo>
                  <a:pt x="0" y="893"/>
                  <a:pt x="0" y="893"/>
                  <a:pt x="0" y="893"/>
                </a:cubicBezTo>
                <a:cubicBezTo>
                  <a:pt x="5" y="902"/>
                  <a:pt x="5" y="902"/>
                  <a:pt x="5" y="902"/>
                </a:cubicBezTo>
                <a:cubicBezTo>
                  <a:pt x="237" y="1044"/>
                  <a:pt x="237" y="1044"/>
                  <a:pt x="237" y="1044"/>
                </a:cubicBezTo>
                <a:cubicBezTo>
                  <a:pt x="252" y="1035"/>
                  <a:pt x="252" y="1035"/>
                  <a:pt x="252" y="1035"/>
                </a:cubicBezTo>
                <a:cubicBezTo>
                  <a:pt x="252" y="1034"/>
                  <a:pt x="252" y="1034"/>
                  <a:pt x="252" y="1034"/>
                </a:cubicBezTo>
                <a:cubicBezTo>
                  <a:pt x="624" y="811"/>
                  <a:pt x="624" y="811"/>
                  <a:pt x="624" y="811"/>
                </a:cubicBezTo>
                <a:cubicBezTo>
                  <a:pt x="624" y="150"/>
                  <a:pt x="624" y="150"/>
                  <a:pt x="624" y="150"/>
                </a:cubicBezTo>
                <a:cubicBezTo>
                  <a:pt x="625" y="150"/>
                  <a:pt x="625" y="150"/>
                  <a:pt x="625" y="150"/>
                </a:cubicBezTo>
                <a:lnTo>
                  <a:pt x="625" y="132"/>
                </a:lnTo>
                <a:close/>
                <a:moveTo>
                  <a:pt x="388" y="21"/>
                </a:moveTo>
                <a:cubicBezTo>
                  <a:pt x="600" y="141"/>
                  <a:pt x="600" y="141"/>
                  <a:pt x="600" y="141"/>
                </a:cubicBezTo>
                <a:cubicBezTo>
                  <a:pt x="244" y="340"/>
                  <a:pt x="244" y="340"/>
                  <a:pt x="244" y="340"/>
                </a:cubicBezTo>
                <a:cubicBezTo>
                  <a:pt x="165" y="298"/>
                  <a:pt x="165" y="298"/>
                  <a:pt x="165" y="298"/>
                </a:cubicBezTo>
                <a:cubicBezTo>
                  <a:pt x="34" y="225"/>
                  <a:pt x="34" y="225"/>
                  <a:pt x="34" y="225"/>
                </a:cubicBezTo>
                <a:lnTo>
                  <a:pt x="388" y="21"/>
                </a:lnTo>
                <a:close/>
                <a:moveTo>
                  <a:pt x="156" y="315"/>
                </a:moveTo>
                <a:cubicBezTo>
                  <a:pt x="230" y="357"/>
                  <a:pt x="230" y="357"/>
                  <a:pt x="230" y="357"/>
                </a:cubicBezTo>
                <a:cubicBezTo>
                  <a:pt x="231" y="541"/>
                  <a:pt x="231" y="541"/>
                  <a:pt x="231" y="541"/>
                </a:cubicBezTo>
                <a:cubicBezTo>
                  <a:pt x="20" y="423"/>
                  <a:pt x="20" y="423"/>
                  <a:pt x="20" y="423"/>
                </a:cubicBezTo>
                <a:cubicBezTo>
                  <a:pt x="20" y="244"/>
                  <a:pt x="20" y="244"/>
                  <a:pt x="20" y="244"/>
                </a:cubicBezTo>
                <a:lnTo>
                  <a:pt x="156" y="315"/>
                </a:lnTo>
                <a:close/>
                <a:moveTo>
                  <a:pt x="20" y="446"/>
                </a:moveTo>
                <a:cubicBezTo>
                  <a:pt x="231" y="563"/>
                  <a:pt x="231" y="563"/>
                  <a:pt x="231" y="563"/>
                </a:cubicBezTo>
                <a:cubicBezTo>
                  <a:pt x="231" y="593"/>
                  <a:pt x="231" y="593"/>
                  <a:pt x="231" y="593"/>
                </a:cubicBezTo>
                <a:cubicBezTo>
                  <a:pt x="20" y="475"/>
                  <a:pt x="20" y="475"/>
                  <a:pt x="20" y="475"/>
                </a:cubicBezTo>
                <a:lnTo>
                  <a:pt x="20" y="446"/>
                </a:lnTo>
                <a:close/>
                <a:moveTo>
                  <a:pt x="20" y="498"/>
                </a:moveTo>
                <a:cubicBezTo>
                  <a:pt x="231" y="616"/>
                  <a:pt x="231" y="616"/>
                  <a:pt x="231" y="616"/>
                </a:cubicBezTo>
                <a:cubicBezTo>
                  <a:pt x="231" y="637"/>
                  <a:pt x="231" y="637"/>
                  <a:pt x="231" y="637"/>
                </a:cubicBezTo>
                <a:cubicBezTo>
                  <a:pt x="20" y="519"/>
                  <a:pt x="20" y="519"/>
                  <a:pt x="20" y="519"/>
                </a:cubicBezTo>
                <a:lnTo>
                  <a:pt x="20" y="498"/>
                </a:lnTo>
                <a:close/>
                <a:moveTo>
                  <a:pt x="20" y="887"/>
                </a:moveTo>
                <a:cubicBezTo>
                  <a:pt x="20" y="542"/>
                  <a:pt x="20" y="542"/>
                  <a:pt x="20" y="542"/>
                </a:cubicBezTo>
                <a:cubicBezTo>
                  <a:pt x="231" y="660"/>
                  <a:pt x="231" y="660"/>
                  <a:pt x="231" y="660"/>
                </a:cubicBezTo>
                <a:cubicBezTo>
                  <a:pt x="232" y="1017"/>
                  <a:pt x="232" y="1017"/>
                  <a:pt x="232" y="1017"/>
                </a:cubicBezTo>
                <a:lnTo>
                  <a:pt x="20" y="887"/>
                </a:lnTo>
                <a:close/>
                <a:moveTo>
                  <a:pt x="160" y="746"/>
                </a:moveTo>
                <a:cubicBezTo>
                  <a:pt x="154" y="769"/>
                  <a:pt x="132" y="779"/>
                  <a:pt x="110" y="770"/>
                </a:cubicBezTo>
                <a:cubicBezTo>
                  <a:pt x="89" y="760"/>
                  <a:pt x="77" y="734"/>
                  <a:pt x="84" y="712"/>
                </a:cubicBezTo>
                <a:cubicBezTo>
                  <a:pt x="90" y="689"/>
                  <a:pt x="112" y="679"/>
                  <a:pt x="134" y="688"/>
                </a:cubicBezTo>
                <a:cubicBezTo>
                  <a:pt x="155" y="698"/>
                  <a:pt x="167" y="724"/>
                  <a:pt x="160" y="746"/>
                </a:cubicBezTo>
                <a:close/>
              </a:path>
            </a:pathLst>
          </a:custGeom>
          <a:solidFill>
            <a:schemeClr val="accent1"/>
          </a:solidFill>
          <a:ln>
            <a:noFill/>
          </a:ln>
          <a:extLst/>
        </p:spPr>
        <p:txBody>
          <a:bodyPr lIns="124314" tIns="62157" rIns="124314" bIns="62157"/>
          <a:lstStyle/>
          <a:p>
            <a:pPr defTabSz="1268131">
              <a:defRPr/>
            </a:pPr>
            <a:endParaRPr lang="en-US" sz="3329">
              <a:solidFill>
                <a:srgbClr val="000000"/>
              </a:solidFill>
              <a:latin typeface="Segoe UI"/>
            </a:endParaRPr>
          </a:p>
        </p:txBody>
      </p:sp>
      <p:sp>
        <p:nvSpPr>
          <p:cNvPr id="6" name="hyperV2"/>
          <p:cNvSpPr>
            <a:spLocks noChangeAspect="1" noEditPoints="1"/>
          </p:cNvSpPr>
          <p:nvPr/>
        </p:nvSpPr>
        <p:spPr bwMode="auto">
          <a:xfrm>
            <a:off x="5943948" y="2990781"/>
            <a:ext cx="1755329" cy="2929461"/>
          </a:xfrm>
          <a:custGeom>
            <a:avLst/>
            <a:gdLst>
              <a:gd name="T0" fmla="*/ 625 w 625"/>
              <a:gd name="T1" fmla="*/ 132 h 1044"/>
              <a:gd name="T2" fmla="*/ 393 w 625"/>
              <a:gd name="T3" fmla="*/ 0 h 1044"/>
              <a:gd name="T4" fmla="*/ 383 w 625"/>
              <a:gd name="T5" fmla="*/ 0 h 1044"/>
              <a:gd name="T6" fmla="*/ 5 w 625"/>
              <a:gd name="T7" fmla="*/ 218 h 1044"/>
              <a:gd name="T8" fmla="*/ 5 w 625"/>
              <a:gd name="T9" fmla="*/ 220 h 1044"/>
              <a:gd name="T10" fmla="*/ 0 w 625"/>
              <a:gd name="T11" fmla="*/ 223 h 1044"/>
              <a:gd name="T12" fmla="*/ 0 w 625"/>
              <a:gd name="T13" fmla="*/ 893 h 1044"/>
              <a:gd name="T14" fmla="*/ 5 w 625"/>
              <a:gd name="T15" fmla="*/ 902 h 1044"/>
              <a:gd name="T16" fmla="*/ 237 w 625"/>
              <a:gd name="T17" fmla="*/ 1044 h 1044"/>
              <a:gd name="T18" fmla="*/ 252 w 625"/>
              <a:gd name="T19" fmla="*/ 1035 h 1044"/>
              <a:gd name="T20" fmla="*/ 252 w 625"/>
              <a:gd name="T21" fmla="*/ 1034 h 1044"/>
              <a:gd name="T22" fmla="*/ 624 w 625"/>
              <a:gd name="T23" fmla="*/ 811 h 1044"/>
              <a:gd name="T24" fmla="*/ 624 w 625"/>
              <a:gd name="T25" fmla="*/ 150 h 1044"/>
              <a:gd name="T26" fmla="*/ 625 w 625"/>
              <a:gd name="T27" fmla="*/ 150 h 1044"/>
              <a:gd name="T28" fmla="*/ 625 w 625"/>
              <a:gd name="T29" fmla="*/ 132 h 1044"/>
              <a:gd name="T30" fmla="*/ 388 w 625"/>
              <a:gd name="T31" fmla="*/ 21 h 1044"/>
              <a:gd name="T32" fmla="*/ 600 w 625"/>
              <a:gd name="T33" fmla="*/ 141 h 1044"/>
              <a:gd name="T34" fmla="*/ 244 w 625"/>
              <a:gd name="T35" fmla="*/ 340 h 1044"/>
              <a:gd name="T36" fmla="*/ 165 w 625"/>
              <a:gd name="T37" fmla="*/ 298 h 1044"/>
              <a:gd name="T38" fmla="*/ 34 w 625"/>
              <a:gd name="T39" fmla="*/ 225 h 1044"/>
              <a:gd name="T40" fmla="*/ 388 w 625"/>
              <a:gd name="T41" fmla="*/ 21 h 1044"/>
              <a:gd name="T42" fmla="*/ 156 w 625"/>
              <a:gd name="T43" fmla="*/ 315 h 1044"/>
              <a:gd name="T44" fmla="*/ 230 w 625"/>
              <a:gd name="T45" fmla="*/ 357 h 1044"/>
              <a:gd name="T46" fmla="*/ 231 w 625"/>
              <a:gd name="T47" fmla="*/ 541 h 1044"/>
              <a:gd name="T48" fmla="*/ 20 w 625"/>
              <a:gd name="T49" fmla="*/ 423 h 1044"/>
              <a:gd name="T50" fmla="*/ 20 w 625"/>
              <a:gd name="T51" fmla="*/ 244 h 1044"/>
              <a:gd name="T52" fmla="*/ 156 w 625"/>
              <a:gd name="T53" fmla="*/ 315 h 1044"/>
              <a:gd name="T54" fmla="*/ 20 w 625"/>
              <a:gd name="T55" fmla="*/ 446 h 1044"/>
              <a:gd name="T56" fmla="*/ 231 w 625"/>
              <a:gd name="T57" fmla="*/ 563 h 1044"/>
              <a:gd name="T58" fmla="*/ 231 w 625"/>
              <a:gd name="T59" fmla="*/ 593 h 1044"/>
              <a:gd name="T60" fmla="*/ 20 w 625"/>
              <a:gd name="T61" fmla="*/ 475 h 1044"/>
              <a:gd name="T62" fmla="*/ 20 w 625"/>
              <a:gd name="T63" fmla="*/ 446 h 1044"/>
              <a:gd name="T64" fmla="*/ 20 w 625"/>
              <a:gd name="T65" fmla="*/ 498 h 1044"/>
              <a:gd name="T66" fmla="*/ 231 w 625"/>
              <a:gd name="T67" fmla="*/ 616 h 1044"/>
              <a:gd name="T68" fmla="*/ 231 w 625"/>
              <a:gd name="T69" fmla="*/ 637 h 1044"/>
              <a:gd name="T70" fmla="*/ 20 w 625"/>
              <a:gd name="T71" fmla="*/ 519 h 1044"/>
              <a:gd name="T72" fmla="*/ 20 w 625"/>
              <a:gd name="T73" fmla="*/ 498 h 1044"/>
              <a:gd name="T74" fmla="*/ 20 w 625"/>
              <a:gd name="T75" fmla="*/ 887 h 1044"/>
              <a:gd name="T76" fmla="*/ 20 w 625"/>
              <a:gd name="T77" fmla="*/ 542 h 1044"/>
              <a:gd name="T78" fmla="*/ 231 w 625"/>
              <a:gd name="T79" fmla="*/ 660 h 1044"/>
              <a:gd name="T80" fmla="*/ 232 w 625"/>
              <a:gd name="T81" fmla="*/ 1017 h 1044"/>
              <a:gd name="T82" fmla="*/ 20 w 625"/>
              <a:gd name="T83" fmla="*/ 887 h 1044"/>
              <a:gd name="T84" fmla="*/ 160 w 625"/>
              <a:gd name="T85" fmla="*/ 746 h 1044"/>
              <a:gd name="T86" fmla="*/ 110 w 625"/>
              <a:gd name="T87" fmla="*/ 770 h 1044"/>
              <a:gd name="T88" fmla="*/ 84 w 625"/>
              <a:gd name="T89" fmla="*/ 712 h 1044"/>
              <a:gd name="T90" fmla="*/ 134 w 625"/>
              <a:gd name="T91" fmla="*/ 688 h 1044"/>
              <a:gd name="T92" fmla="*/ 160 w 625"/>
              <a:gd name="T93" fmla="*/ 746 h 10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625" h="1044">
                <a:moveTo>
                  <a:pt x="625" y="132"/>
                </a:moveTo>
                <a:cubicBezTo>
                  <a:pt x="393" y="0"/>
                  <a:pt x="393" y="0"/>
                  <a:pt x="393" y="0"/>
                </a:cubicBezTo>
                <a:cubicBezTo>
                  <a:pt x="383" y="0"/>
                  <a:pt x="383" y="0"/>
                  <a:pt x="383" y="0"/>
                </a:cubicBezTo>
                <a:cubicBezTo>
                  <a:pt x="5" y="218"/>
                  <a:pt x="5" y="218"/>
                  <a:pt x="5" y="218"/>
                </a:cubicBezTo>
                <a:cubicBezTo>
                  <a:pt x="5" y="220"/>
                  <a:pt x="5" y="220"/>
                  <a:pt x="5" y="220"/>
                </a:cubicBezTo>
                <a:cubicBezTo>
                  <a:pt x="0" y="223"/>
                  <a:pt x="0" y="223"/>
                  <a:pt x="0" y="223"/>
                </a:cubicBezTo>
                <a:cubicBezTo>
                  <a:pt x="0" y="893"/>
                  <a:pt x="0" y="893"/>
                  <a:pt x="0" y="893"/>
                </a:cubicBezTo>
                <a:cubicBezTo>
                  <a:pt x="5" y="902"/>
                  <a:pt x="5" y="902"/>
                  <a:pt x="5" y="902"/>
                </a:cubicBezTo>
                <a:cubicBezTo>
                  <a:pt x="237" y="1044"/>
                  <a:pt x="237" y="1044"/>
                  <a:pt x="237" y="1044"/>
                </a:cubicBezTo>
                <a:cubicBezTo>
                  <a:pt x="252" y="1035"/>
                  <a:pt x="252" y="1035"/>
                  <a:pt x="252" y="1035"/>
                </a:cubicBezTo>
                <a:cubicBezTo>
                  <a:pt x="252" y="1034"/>
                  <a:pt x="252" y="1034"/>
                  <a:pt x="252" y="1034"/>
                </a:cubicBezTo>
                <a:cubicBezTo>
                  <a:pt x="624" y="811"/>
                  <a:pt x="624" y="811"/>
                  <a:pt x="624" y="811"/>
                </a:cubicBezTo>
                <a:cubicBezTo>
                  <a:pt x="624" y="150"/>
                  <a:pt x="624" y="150"/>
                  <a:pt x="624" y="150"/>
                </a:cubicBezTo>
                <a:cubicBezTo>
                  <a:pt x="625" y="150"/>
                  <a:pt x="625" y="150"/>
                  <a:pt x="625" y="150"/>
                </a:cubicBezTo>
                <a:lnTo>
                  <a:pt x="625" y="132"/>
                </a:lnTo>
                <a:close/>
                <a:moveTo>
                  <a:pt x="388" y="21"/>
                </a:moveTo>
                <a:cubicBezTo>
                  <a:pt x="600" y="141"/>
                  <a:pt x="600" y="141"/>
                  <a:pt x="600" y="141"/>
                </a:cubicBezTo>
                <a:cubicBezTo>
                  <a:pt x="244" y="340"/>
                  <a:pt x="244" y="340"/>
                  <a:pt x="244" y="340"/>
                </a:cubicBezTo>
                <a:cubicBezTo>
                  <a:pt x="165" y="298"/>
                  <a:pt x="165" y="298"/>
                  <a:pt x="165" y="298"/>
                </a:cubicBezTo>
                <a:cubicBezTo>
                  <a:pt x="34" y="225"/>
                  <a:pt x="34" y="225"/>
                  <a:pt x="34" y="225"/>
                </a:cubicBezTo>
                <a:lnTo>
                  <a:pt x="388" y="21"/>
                </a:lnTo>
                <a:close/>
                <a:moveTo>
                  <a:pt x="156" y="315"/>
                </a:moveTo>
                <a:cubicBezTo>
                  <a:pt x="230" y="357"/>
                  <a:pt x="230" y="357"/>
                  <a:pt x="230" y="357"/>
                </a:cubicBezTo>
                <a:cubicBezTo>
                  <a:pt x="231" y="541"/>
                  <a:pt x="231" y="541"/>
                  <a:pt x="231" y="541"/>
                </a:cubicBezTo>
                <a:cubicBezTo>
                  <a:pt x="20" y="423"/>
                  <a:pt x="20" y="423"/>
                  <a:pt x="20" y="423"/>
                </a:cubicBezTo>
                <a:cubicBezTo>
                  <a:pt x="20" y="244"/>
                  <a:pt x="20" y="244"/>
                  <a:pt x="20" y="244"/>
                </a:cubicBezTo>
                <a:lnTo>
                  <a:pt x="156" y="315"/>
                </a:lnTo>
                <a:close/>
                <a:moveTo>
                  <a:pt x="20" y="446"/>
                </a:moveTo>
                <a:cubicBezTo>
                  <a:pt x="231" y="563"/>
                  <a:pt x="231" y="563"/>
                  <a:pt x="231" y="563"/>
                </a:cubicBezTo>
                <a:cubicBezTo>
                  <a:pt x="231" y="593"/>
                  <a:pt x="231" y="593"/>
                  <a:pt x="231" y="593"/>
                </a:cubicBezTo>
                <a:cubicBezTo>
                  <a:pt x="20" y="475"/>
                  <a:pt x="20" y="475"/>
                  <a:pt x="20" y="475"/>
                </a:cubicBezTo>
                <a:lnTo>
                  <a:pt x="20" y="446"/>
                </a:lnTo>
                <a:close/>
                <a:moveTo>
                  <a:pt x="20" y="498"/>
                </a:moveTo>
                <a:cubicBezTo>
                  <a:pt x="231" y="616"/>
                  <a:pt x="231" y="616"/>
                  <a:pt x="231" y="616"/>
                </a:cubicBezTo>
                <a:cubicBezTo>
                  <a:pt x="231" y="637"/>
                  <a:pt x="231" y="637"/>
                  <a:pt x="231" y="637"/>
                </a:cubicBezTo>
                <a:cubicBezTo>
                  <a:pt x="20" y="519"/>
                  <a:pt x="20" y="519"/>
                  <a:pt x="20" y="519"/>
                </a:cubicBezTo>
                <a:lnTo>
                  <a:pt x="20" y="498"/>
                </a:lnTo>
                <a:close/>
                <a:moveTo>
                  <a:pt x="20" y="887"/>
                </a:moveTo>
                <a:cubicBezTo>
                  <a:pt x="20" y="542"/>
                  <a:pt x="20" y="542"/>
                  <a:pt x="20" y="542"/>
                </a:cubicBezTo>
                <a:cubicBezTo>
                  <a:pt x="231" y="660"/>
                  <a:pt x="231" y="660"/>
                  <a:pt x="231" y="660"/>
                </a:cubicBezTo>
                <a:cubicBezTo>
                  <a:pt x="232" y="1017"/>
                  <a:pt x="232" y="1017"/>
                  <a:pt x="232" y="1017"/>
                </a:cubicBezTo>
                <a:lnTo>
                  <a:pt x="20" y="887"/>
                </a:lnTo>
                <a:close/>
                <a:moveTo>
                  <a:pt x="160" y="746"/>
                </a:moveTo>
                <a:cubicBezTo>
                  <a:pt x="154" y="769"/>
                  <a:pt x="132" y="779"/>
                  <a:pt x="110" y="770"/>
                </a:cubicBezTo>
                <a:cubicBezTo>
                  <a:pt x="89" y="760"/>
                  <a:pt x="77" y="734"/>
                  <a:pt x="84" y="712"/>
                </a:cubicBezTo>
                <a:cubicBezTo>
                  <a:pt x="90" y="689"/>
                  <a:pt x="112" y="679"/>
                  <a:pt x="134" y="688"/>
                </a:cubicBezTo>
                <a:cubicBezTo>
                  <a:pt x="155" y="698"/>
                  <a:pt x="167" y="724"/>
                  <a:pt x="160" y="746"/>
                </a:cubicBezTo>
                <a:close/>
              </a:path>
            </a:pathLst>
          </a:custGeom>
          <a:solidFill>
            <a:schemeClr val="accent1"/>
          </a:solidFill>
          <a:ln>
            <a:noFill/>
          </a:ln>
          <a:extLst/>
        </p:spPr>
        <p:txBody>
          <a:bodyPr lIns="124314" tIns="62157" rIns="124314" bIns="62157"/>
          <a:lstStyle/>
          <a:p>
            <a:pPr defTabSz="1268131">
              <a:defRPr/>
            </a:pPr>
            <a:endParaRPr lang="en-US" sz="3329">
              <a:solidFill>
                <a:srgbClr val="000000"/>
              </a:solidFill>
              <a:latin typeface="Segoe UI"/>
            </a:endParaRPr>
          </a:p>
        </p:txBody>
      </p:sp>
      <p:sp>
        <p:nvSpPr>
          <p:cNvPr id="7" name="hyperV2"/>
          <p:cNvSpPr>
            <a:spLocks noChangeAspect="1" noEditPoints="1"/>
          </p:cNvSpPr>
          <p:nvPr/>
        </p:nvSpPr>
        <p:spPr bwMode="auto">
          <a:xfrm>
            <a:off x="4694170" y="2762109"/>
            <a:ext cx="1758264" cy="2929461"/>
          </a:xfrm>
          <a:custGeom>
            <a:avLst/>
            <a:gdLst>
              <a:gd name="T0" fmla="*/ 625 w 625"/>
              <a:gd name="T1" fmla="*/ 132 h 1044"/>
              <a:gd name="T2" fmla="*/ 393 w 625"/>
              <a:gd name="T3" fmla="*/ 0 h 1044"/>
              <a:gd name="T4" fmla="*/ 383 w 625"/>
              <a:gd name="T5" fmla="*/ 0 h 1044"/>
              <a:gd name="T6" fmla="*/ 5 w 625"/>
              <a:gd name="T7" fmla="*/ 218 h 1044"/>
              <a:gd name="T8" fmla="*/ 5 w 625"/>
              <a:gd name="T9" fmla="*/ 220 h 1044"/>
              <a:gd name="T10" fmla="*/ 0 w 625"/>
              <a:gd name="T11" fmla="*/ 223 h 1044"/>
              <a:gd name="T12" fmla="*/ 0 w 625"/>
              <a:gd name="T13" fmla="*/ 893 h 1044"/>
              <a:gd name="T14" fmla="*/ 5 w 625"/>
              <a:gd name="T15" fmla="*/ 902 h 1044"/>
              <a:gd name="T16" fmla="*/ 237 w 625"/>
              <a:gd name="T17" fmla="*/ 1044 h 1044"/>
              <a:gd name="T18" fmla="*/ 252 w 625"/>
              <a:gd name="T19" fmla="*/ 1035 h 1044"/>
              <a:gd name="T20" fmla="*/ 252 w 625"/>
              <a:gd name="T21" fmla="*/ 1034 h 1044"/>
              <a:gd name="T22" fmla="*/ 624 w 625"/>
              <a:gd name="T23" fmla="*/ 811 h 1044"/>
              <a:gd name="T24" fmla="*/ 624 w 625"/>
              <a:gd name="T25" fmla="*/ 150 h 1044"/>
              <a:gd name="T26" fmla="*/ 625 w 625"/>
              <a:gd name="T27" fmla="*/ 150 h 1044"/>
              <a:gd name="T28" fmla="*/ 625 w 625"/>
              <a:gd name="T29" fmla="*/ 132 h 1044"/>
              <a:gd name="T30" fmla="*/ 388 w 625"/>
              <a:gd name="T31" fmla="*/ 21 h 1044"/>
              <a:gd name="T32" fmla="*/ 600 w 625"/>
              <a:gd name="T33" fmla="*/ 141 h 1044"/>
              <a:gd name="T34" fmla="*/ 244 w 625"/>
              <a:gd name="T35" fmla="*/ 340 h 1044"/>
              <a:gd name="T36" fmla="*/ 165 w 625"/>
              <a:gd name="T37" fmla="*/ 298 h 1044"/>
              <a:gd name="T38" fmla="*/ 34 w 625"/>
              <a:gd name="T39" fmla="*/ 225 h 1044"/>
              <a:gd name="T40" fmla="*/ 388 w 625"/>
              <a:gd name="T41" fmla="*/ 21 h 1044"/>
              <a:gd name="T42" fmla="*/ 156 w 625"/>
              <a:gd name="T43" fmla="*/ 315 h 1044"/>
              <a:gd name="T44" fmla="*/ 230 w 625"/>
              <a:gd name="T45" fmla="*/ 357 h 1044"/>
              <a:gd name="T46" fmla="*/ 231 w 625"/>
              <a:gd name="T47" fmla="*/ 541 h 1044"/>
              <a:gd name="T48" fmla="*/ 20 w 625"/>
              <a:gd name="T49" fmla="*/ 423 h 1044"/>
              <a:gd name="T50" fmla="*/ 20 w 625"/>
              <a:gd name="T51" fmla="*/ 244 h 1044"/>
              <a:gd name="T52" fmla="*/ 156 w 625"/>
              <a:gd name="T53" fmla="*/ 315 h 1044"/>
              <a:gd name="T54" fmla="*/ 20 w 625"/>
              <a:gd name="T55" fmla="*/ 446 h 1044"/>
              <a:gd name="T56" fmla="*/ 231 w 625"/>
              <a:gd name="T57" fmla="*/ 563 h 1044"/>
              <a:gd name="T58" fmla="*/ 231 w 625"/>
              <a:gd name="T59" fmla="*/ 593 h 1044"/>
              <a:gd name="T60" fmla="*/ 20 w 625"/>
              <a:gd name="T61" fmla="*/ 475 h 1044"/>
              <a:gd name="T62" fmla="*/ 20 w 625"/>
              <a:gd name="T63" fmla="*/ 446 h 1044"/>
              <a:gd name="T64" fmla="*/ 20 w 625"/>
              <a:gd name="T65" fmla="*/ 498 h 1044"/>
              <a:gd name="T66" fmla="*/ 231 w 625"/>
              <a:gd name="T67" fmla="*/ 616 h 1044"/>
              <a:gd name="T68" fmla="*/ 231 w 625"/>
              <a:gd name="T69" fmla="*/ 637 h 1044"/>
              <a:gd name="T70" fmla="*/ 20 w 625"/>
              <a:gd name="T71" fmla="*/ 519 h 1044"/>
              <a:gd name="T72" fmla="*/ 20 w 625"/>
              <a:gd name="T73" fmla="*/ 498 h 1044"/>
              <a:gd name="T74" fmla="*/ 20 w 625"/>
              <a:gd name="T75" fmla="*/ 887 h 1044"/>
              <a:gd name="T76" fmla="*/ 20 w 625"/>
              <a:gd name="T77" fmla="*/ 542 h 1044"/>
              <a:gd name="T78" fmla="*/ 231 w 625"/>
              <a:gd name="T79" fmla="*/ 660 h 1044"/>
              <a:gd name="T80" fmla="*/ 232 w 625"/>
              <a:gd name="T81" fmla="*/ 1017 h 1044"/>
              <a:gd name="T82" fmla="*/ 20 w 625"/>
              <a:gd name="T83" fmla="*/ 887 h 1044"/>
              <a:gd name="T84" fmla="*/ 160 w 625"/>
              <a:gd name="T85" fmla="*/ 746 h 1044"/>
              <a:gd name="T86" fmla="*/ 110 w 625"/>
              <a:gd name="T87" fmla="*/ 770 h 1044"/>
              <a:gd name="T88" fmla="*/ 84 w 625"/>
              <a:gd name="T89" fmla="*/ 712 h 1044"/>
              <a:gd name="T90" fmla="*/ 134 w 625"/>
              <a:gd name="T91" fmla="*/ 688 h 1044"/>
              <a:gd name="T92" fmla="*/ 160 w 625"/>
              <a:gd name="T93" fmla="*/ 746 h 10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625" h="1044">
                <a:moveTo>
                  <a:pt x="625" y="132"/>
                </a:moveTo>
                <a:cubicBezTo>
                  <a:pt x="393" y="0"/>
                  <a:pt x="393" y="0"/>
                  <a:pt x="393" y="0"/>
                </a:cubicBezTo>
                <a:cubicBezTo>
                  <a:pt x="383" y="0"/>
                  <a:pt x="383" y="0"/>
                  <a:pt x="383" y="0"/>
                </a:cubicBezTo>
                <a:cubicBezTo>
                  <a:pt x="5" y="218"/>
                  <a:pt x="5" y="218"/>
                  <a:pt x="5" y="218"/>
                </a:cubicBezTo>
                <a:cubicBezTo>
                  <a:pt x="5" y="220"/>
                  <a:pt x="5" y="220"/>
                  <a:pt x="5" y="220"/>
                </a:cubicBezTo>
                <a:cubicBezTo>
                  <a:pt x="0" y="223"/>
                  <a:pt x="0" y="223"/>
                  <a:pt x="0" y="223"/>
                </a:cubicBezTo>
                <a:cubicBezTo>
                  <a:pt x="0" y="893"/>
                  <a:pt x="0" y="893"/>
                  <a:pt x="0" y="893"/>
                </a:cubicBezTo>
                <a:cubicBezTo>
                  <a:pt x="5" y="902"/>
                  <a:pt x="5" y="902"/>
                  <a:pt x="5" y="902"/>
                </a:cubicBezTo>
                <a:cubicBezTo>
                  <a:pt x="237" y="1044"/>
                  <a:pt x="237" y="1044"/>
                  <a:pt x="237" y="1044"/>
                </a:cubicBezTo>
                <a:cubicBezTo>
                  <a:pt x="252" y="1035"/>
                  <a:pt x="252" y="1035"/>
                  <a:pt x="252" y="1035"/>
                </a:cubicBezTo>
                <a:cubicBezTo>
                  <a:pt x="252" y="1034"/>
                  <a:pt x="252" y="1034"/>
                  <a:pt x="252" y="1034"/>
                </a:cubicBezTo>
                <a:cubicBezTo>
                  <a:pt x="624" y="811"/>
                  <a:pt x="624" y="811"/>
                  <a:pt x="624" y="811"/>
                </a:cubicBezTo>
                <a:cubicBezTo>
                  <a:pt x="624" y="150"/>
                  <a:pt x="624" y="150"/>
                  <a:pt x="624" y="150"/>
                </a:cubicBezTo>
                <a:cubicBezTo>
                  <a:pt x="625" y="150"/>
                  <a:pt x="625" y="150"/>
                  <a:pt x="625" y="150"/>
                </a:cubicBezTo>
                <a:lnTo>
                  <a:pt x="625" y="132"/>
                </a:lnTo>
                <a:close/>
                <a:moveTo>
                  <a:pt x="388" y="21"/>
                </a:moveTo>
                <a:cubicBezTo>
                  <a:pt x="600" y="141"/>
                  <a:pt x="600" y="141"/>
                  <a:pt x="600" y="141"/>
                </a:cubicBezTo>
                <a:cubicBezTo>
                  <a:pt x="244" y="340"/>
                  <a:pt x="244" y="340"/>
                  <a:pt x="244" y="340"/>
                </a:cubicBezTo>
                <a:cubicBezTo>
                  <a:pt x="165" y="298"/>
                  <a:pt x="165" y="298"/>
                  <a:pt x="165" y="298"/>
                </a:cubicBezTo>
                <a:cubicBezTo>
                  <a:pt x="34" y="225"/>
                  <a:pt x="34" y="225"/>
                  <a:pt x="34" y="225"/>
                </a:cubicBezTo>
                <a:lnTo>
                  <a:pt x="388" y="21"/>
                </a:lnTo>
                <a:close/>
                <a:moveTo>
                  <a:pt x="156" y="315"/>
                </a:moveTo>
                <a:cubicBezTo>
                  <a:pt x="230" y="357"/>
                  <a:pt x="230" y="357"/>
                  <a:pt x="230" y="357"/>
                </a:cubicBezTo>
                <a:cubicBezTo>
                  <a:pt x="231" y="541"/>
                  <a:pt x="231" y="541"/>
                  <a:pt x="231" y="541"/>
                </a:cubicBezTo>
                <a:cubicBezTo>
                  <a:pt x="20" y="423"/>
                  <a:pt x="20" y="423"/>
                  <a:pt x="20" y="423"/>
                </a:cubicBezTo>
                <a:cubicBezTo>
                  <a:pt x="20" y="244"/>
                  <a:pt x="20" y="244"/>
                  <a:pt x="20" y="244"/>
                </a:cubicBezTo>
                <a:lnTo>
                  <a:pt x="156" y="315"/>
                </a:lnTo>
                <a:close/>
                <a:moveTo>
                  <a:pt x="20" y="446"/>
                </a:moveTo>
                <a:cubicBezTo>
                  <a:pt x="231" y="563"/>
                  <a:pt x="231" y="563"/>
                  <a:pt x="231" y="563"/>
                </a:cubicBezTo>
                <a:cubicBezTo>
                  <a:pt x="231" y="593"/>
                  <a:pt x="231" y="593"/>
                  <a:pt x="231" y="593"/>
                </a:cubicBezTo>
                <a:cubicBezTo>
                  <a:pt x="20" y="475"/>
                  <a:pt x="20" y="475"/>
                  <a:pt x="20" y="475"/>
                </a:cubicBezTo>
                <a:lnTo>
                  <a:pt x="20" y="446"/>
                </a:lnTo>
                <a:close/>
                <a:moveTo>
                  <a:pt x="20" y="498"/>
                </a:moveTo>
                <a:cubicBezTo>
                  <a:pt x="231" y="616"/>
                  <a:pt x="231" y="616"/>
                  <a:pt x="231" y="616"/>
                </a:cubicBezTo>
                <a:cubicBezTo>
                  <a:pt x="231" y="637"/>
                  <a:pt x="231" y="637"/>
                  <a:pt x="231" y="637"/>
                </a:cubicBezTo>
                <a:cubicBezTo>
                  <a:pt x="20" y="519"/>
                  <a:pt x="20" y="519"/>
                  <a:pt x="20" y="519"/>
                </a:cubicBezTo>
                <a:lnTo>
                  <a:pt x="20" y="498"/>
                </a:lnTo>
                <a:close/>
                <a:moveTo>
                  <a:pt x="20" y="887"/>
                </a:moveTo>
                <a:cubicBezTo>
                  <a:pt x="20" y="542"/>
                  <a:pt x="20" y="542"/>
                  <a:pt x="20" y="542"/>
                </a:cubicBezTo>
                <a:cubicBezTo>
                  <a:pt x="231" y="660"/>
                  <a:pt x="231" y="660"/>
                  <a:pt x="231" y="660"/>
                </a:cubicBezTo>
                <a:cubicBezTo>
                  <a:pt x="232" y="1017"/>
                  <a:pt x="232" y="1017"/>
                  <a:pt x="232" y="1017"/>
                </a:cubicBezTo>
                <a:lnTo>
                  <a:pt x="20" y="887"/>
                </a:lnTo>
                <a:close/>
                <a:moveTo>
                  <a:pt x="160" y="746"/>
                </a:moveTo>
                <a:cubicBezTo>
                  <a:pt x="154" y="769"/>
                  <a:pt x="132" y="779"/>
                  <a:pt x="110" y="770"/>
                </a:cubicBezTo>
                <a:cubicBezTo>
                  <a:pt x="89" y="760"/>
                  <a:pt x="77" y="734"/>
                  <a:pt x="84" y="712"/>
                </a:cubicBezTo>
                <a:cubicBezTo>
                  <a:pt x="90" y="689"/>
                  <a:pt x="112" y="679"/>
                  <a:pt x="134" y="688"/>
                </a:cubicBezTo>
                <a:cubicBezTo>
                  <a:pt x="155" y="698"/>
                  <a:pt x="167" y="724"/>
                  <a:pt x="160" y="746"/>
                </a:cubicBezTo>
                <a:close/>
              </a:path>
            </a:pathLst>
          </a:custGeom>
          <a:solidFill>
            <a:schemeClr val="accent1"/>
          </a:solidFill>
          <a:ln>
            <a:noFill/>
          </a:ln>
          <a:extLst/>
        </p:spPr>
        <p:txBody>
          <a:bodyPr lIns="124314" tIns="62157" rIns="124314" bIns="62157"/>
          <a:lstStyle/>
          <a:p>
            <a:pPr defTabSz="1268131">
              <a:defRPr/>
            </a:pPr>
            <a:endParaRPr lang="en-US" sz="3329">
              <a:solidFill>
                <a:srgbClr val="000000"/>
              </a:solidFill>
              <a:latin typeface="Segoe UI"/>
            </a:endParaRPr>
          </a:p>
        </p:txBody>
      </p:sp>
      <p:sp>
        <p:nvSpPr>
          <p:cNvPr id="8" name="hyperV2"/>
          <p:cNvSpPr>
            <a:spLocks noChangeAspect="1" noEditPoints="1"/>
          </p:cNvSpPr>
          <p:nvPr/>
        </p:nvSpPr>
        <p:spPr bwMode="auto">
          <a:xfrm>
            <a:off x="8390024" y="2693801"/>
            <a:ext cx="1758264" cy="2929461"/>
          </a:xfrm>
          <a:custGeom>
            <a:avLst/>
            <a:gdLst>
              <a:gd name="T0" fmla="*/ 625 w 625"/>
              <a:gd name="T1" fmla="*/ 132 h 1044"/>
              <a:gd name="T2" fmla="*/ 393 w 625"/>
              <a:gd name="T3" fmla="*/ 0 h 1044"/>
              <a:gd name="T4" fmla="*/ 383 w 625"/>
              <a:gd name="T5" fmla="*/ 0 h 1044"/>
              <a:gd name="T6" fmla="*/ 5 w 625"/>
              <a:gd name="T7" fmla="*/ 218 h 1044"/>
              <a:gd name="T8" fmla="*/ 5 w 625"/>
              <a:gd name="T9" fmla="*/ 220 h 1044"/>
              <a:gd name="T10" fmla="*/ 0 w 625"/>
              <a:gd name="T11" fmla="*/ 223 h 1044"/>
              <a:gd name="T12" fmla="*/ 0 w 625"/>
              <a:gd name="T13" fmla="*/ 893 h 1044"/>
              <a:gd name="T14" fmla="*/ 5 w 625"/>
              <a:gd name="T15" fmla="*/ 902 h 1044"/>
              <a:gd name="T16" fmla="*/ 237 w 625"/>
              <a:gd name="T17" fmla="*/ 1044 h 1044"/>
              <a:gd name="T18" fmla="*/ 252 w 625"/>
              <a:gd name="T19" fmla="*/ 1035 h 1044"/>
              <a:gd name="T20" fmla="*/ 252 w 625"/>
              <a:gd name="T21" fmla="*/ 1034 h 1044"/>
              <a:gd name="T22" fmla="*/ 624 w 625"/>
              <a:gd name="T23" fmla="*/ 811 h 1044"/>
              <a:gd name="T24" fmla="*/ 624 w 625"/>
              <a:gd name="T25" fmla="*/ 150 h 1044"/>
              <a:gd name="T26" fmla="*/ 625 w 625"/>
              <a:gd name="T27" fmla="*/ 150 h 1044"/>
              <a:gd name="T28" fmla="*/ 625 w 625"/>
              <a:gd name="T29" fmla="*/ 132 h 1044"/>
              <a:gd name="T30" fmla="*/ 388 w 625"/>
              <a:gd name="T31" fmla="*/ 21 h 1044"/>
              <a:gd name="T32" fmla="*/ 600 w 625"/>
              <a:gd name="T33" fmla="*/ 141 h 1044"/>
              <a:gd name="T34" fmla="*/ 244 w 625"/>
              <a:gd name="T35" fmla="*/ 340 h 1044"/>
              <a:gd name="T36" fmla="*/ 165 w 625"/>
              <a:gd name="T37" fmla="*/ 298 h 1044"/>
              <a:gd name="T38" fmla="*/ 34 w 625"/>
              <a:gd name="T39" fmla="*/ 225 h 1044"/>
              <a:gd name="T40" fmla="*/ 388 w 625"/>
              <a:gd name="T41" fmla="*/ 21 h 1044"/>
              <a:gd name="T42" fmla="*/ 156 w 625"/>
              <a:gd name="T43" fmla="*/ 315 h 1044"/>
              <a:gd name="T44" fmla="*/ 230 w 625"/>
              <a:gd name="T45" fmla="*/ 357 h 1044"/>
              <a:gd name="T46" fmla="*/ 231 w 625"/>
              <a:gd name="T47" fmla="*/ 541 h 1044"/>
              <a:gd name="T48" fmla="*/ 20 w 625"/>
              <a:gd name="T49" fmla="*/ 423 h 1044"/>
              <a:gd name="T50" fmla="*/ 20 w 625"/>
              <a:gd name="T51" fmla="*/ 244 h 1044"/>
              <a:gd name="T52" fmla="*/ 156 w 625"/>
              <a:gd name="T53" fmla="*/ 315 h 1044"/>
              <a:gd name="T54" fmla="*/ 20 w 625"/>
              <a:gd name="T55" fmla="*/ 446 h 1044"/>
              <a:gd name="T56" fmla="*/ 231 w 625"/>
              <a:gd name="T57" fmla="*/ 563 h 1044"/>
              <a:gd name="T58" fmla="*/ 231 w 625"/>
              <a:gd name="T59" fmla="*/ 593 h 1044"/>
              <a:gd name="T60" fmla="*/ 20 w 625"/>
              <a:gd name="T61" fmla="*/ 475 h 1044"/>
              <a:gd name="T62" fmla="*/ 20 w 625"/>
              <a:gd name="T63" fmla="*/ 446 h 1044"/>
              <a:gd name="T64" fmla="*/ 20 w 625"/>
              <a:gd name="T65" fmla="*/ 498 h 1044"/>
              <a:gd name="T66" fmla="*/ 231 w 625"/>
              <a:gd name="T67" fmla="*/ 616 h 1044"/>
              <a:gd name="T68" fmla="*/ 231 w 625"/>
              <a:gd name="T69" fmla="*/ 637 h 1044"/>
              <a:gd name="T70" fmla="*/ 20 w 625"/>
              <a:gd name="T71" fmla="*/ 519 h 1044"/>
              <a:gd name="T72" fmla="*/ 20 w 625"/>
              <a:gd name="T73" fmla="*/ 498 h 1044"/>
              <a:gd name="T74" fmla="*/ 20 w 625"/>
              <a:gd name="T75" fmla="*/ 887 h 1044"/>
              <a:gd name="T76" fmla="*/ 20 w 625"/>
              <a:gd name="T77" fmla="*/ 542 h 1044"/>
              <a:gd name="T78" fmla="*/ 231 w 625"/>
              <a:gd name="T79" fmla="*/ 660 h 1044"/>
              <a:gd name="T80" fmla="*/ 232 w 625"/>
              <a:gd name="T81" fmla="*/ 1017 h 1044"/>
              <a:gd name="T82" fmla="*/ 20 w 625"/>
              <a:gd name="T83" fmla="*/ 887 h 1044"/>
              <a:gd name="T84" fmla="*/ 160 w 625"/>
              <a:gd name="T85" fmla="*/ 746 h 1044"/>
              <a:gd name="T86" fmla="*/ 110 w 625"/>
              <a:gd name="T87" fmla="*/ 770 h 1044"/>
              <a:gd name="T88" fmla="*/ 84 w 625"/>
              <a:gd name="T89" fmla="*/ 712 h 1044"/>
              <a:gd name="T90" fmla="*/ 134 w 625"/>
              <a:gd name="T91" fmla="*/ 688 h 1044"/>
              <a:gd name="T92" fmla="*/ 160 w 625"/>
              <a:gd name="T93" fmla="*/ 746 h 10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625" h="1044">
                <a:moveTo>
                  <a:pt x="625" y="132"/>
                </a:moveTo>
                <a:cubicBezTo>
                  <a:pt x="393" y="0"/>
                  <a:pt x="393" y="0"/>
                  <a:pt x="393" y="0"/>
                </a:cubicBezTo>
                <a:cubicBezTo>
                  <a:pt x="383" y="0"/>
                  <a:pt x="383" y="0"/>
                  <a:pt x="383" y="0"/>
                </a:cubicBezTo>
                <a:cubicBezTo>
                  <a:pt x="5" y="218"/>
                  <a:pt x="5" y="218"/>
                  <a:pt x="5" y="218"/>
                </a:cubicBezTo>
                <a:cubicBezTo>
                  <a:pt x="5" y="220"/>
                  <a:pt x="5" y="220"/>
                  <a:pt x="5" y="220"/>
                </a:cubicBezTo>
                <a:cubicBezTo>
                  <a:pt x="0" y="223"/>
                  <a:pt x="0" y="223"/>
                  <a:pt x="0" y="223"/>
                </a:cubicBezTo>
                <a:cubicBezTo>
                  <a:pt x="0" y="893"/>
                  <a:pt x="0" y="893"/>
                  <a:pt x="0" y="893"/>
                </a:cubicBezTo>
                <a:cubicBezTo>
                  <a:pt x="5" y="902"/>
                  <a:pt x="5" y="902"/>
                  <a:pt x="5" y="902"/>
                </a:cubicBezTo>
                <a:cubicBezTo>
                  <a:pt x="237" y="1044"/>
                  <a:pt x="237" y="1044"/>
                  <a:pt x="237" y="1044"/>
                </a:cubicBezTo>
                <a:cubicBezTo>
                  <a:pt x="252" y="1035"/>
                  <a:pt x="252" y="1035"/>
                  <a:pt x="252" y="1035"/>
                </a:cubicBezTo>
                <a:cubicBezTo>
                  <a:pt x="252" y="1034"/>
                  <a:pt x="252" y="1034"/>
                  <a:pt x="252" y="1034"/>
                </a:cubicBezTo>
                <a:cubicBezTo>
                  <a:pt x="624" y="811"/>
                  <a:pt x="624" y="811"/>
                  <a:pt x="624" y="811"/>
                </a:cubicBezTo>
                <a:cubicBezTo>
                  <a:pt x="624" y="150"/>
                  <a:pt x="624" y="150"/>
                  <a:pt x="624" y="150"/>
                </a:cubicBezTo>
                <a:cubicBezTo>
                  <a:pt x="625" y="150"/>
                  <a:pt x="625" y="150"/>
                  <a:pt x="625" y="150"/>
                </a:cubicBezTo>
                <a:lnTo>
                  <a:pt x="625" y="132"/>
                </a:lnTo>
                <a:close/>
                <a:moveTo>
                  <a:pt x="388" y="21"/>
                </a:moveTo>
                <a:cubicBezTo>
                  <a:pt x="600" y="141"/>
                  <a:pt x="600" y="141"/>
                  <a:pt x="600" y="141"/>
                </a:cubicBezTo>
                <a:cubicBezTo>
                  <a:pt x="244" y="340"/>
                  <a:pt x="244" y="340"/>
                  <a:pt x="244" y="340"/>
                </a:cubicBezTo>
                <a:cubicBezTo>
                  <a:pt x="165" y="298"/>
                  <a:pt x="165" y="298"/>
                  <a:pt x="165" y="298"/>
                </a:cubicBezTo>
                <a:cubicBezTo>
                  <a:pt x="34" y="225"/>
                  <a:pt x="34" y="225"/>
                  <a:pt x="34" y="225"/>
                </a:cubicBezTo>
                <a:lnTo>
                  <a:pt x="388" y="21"/>
                </a:lnTo>
                <a:close/>
                <a:moveTo>
                  <a:pt x="156" y="315"/>
                </a:moveTo>
                <a:cubicBezTo>
                  <a:pt x="230" y="357"/>
                  <a:pt x="230" y="357"/>
                  <a:pt x="230" y="357"/>
                </a:cubicBezTo>
                <a:cubicBezTo>
                  <a:pt x="231" y="541"/>
                  <a:pt x="231" y="541"/>
                  <a:pt x="231" y="541"/>
                </a:cubicBezTo>
                <a:cubicBezTo>
                  <a:pt x="20" y="423"/>
                  <a:pt x="20" y="423"/>
                  <a:pt x="20" y="423"/>
                </a:cubicBezTo>
                <a:cubicBezTo>
                  <a:pt x="20" y="244"/>
                  <a:pt x="20" y="244"/>
                  <a:pt x="20" y="244"/>
                </a:cubicBezTo>
                <a:lnTo>
                  <a:pt x="156" y="315"/>
                </a:lnTo>
                <a:close/>
                <a:moveTo>
                  <a:pt x="20" y="446"/>
                </a:moveTo>
                <a:cubicBezTo>
                  <a:pt x="231" y="563"/>
                  <a:pt x="231" y="563"/>
                  <a:pt x="231" y="563"/>
                </a:cubicBezTo>
                <a:cubicBezTo>
                  <a:pt x="231" y="593"/>
                  <a:pt x="231" y="593"/>
                  <a:pt x="231" y="593"/>
                </a:cubicBezTo>
                <a:cubicBezTo>
                  <a:pt x="20" y="475"/>
                  <a:pt x="20" y="475"/>
                  <a:pt x="20" y="475"/>
                </a:cubicBezTo>
                <a:lnTo>
                  <a:pt x="20" y="446"/>
                </a:lnTo>
                <a:close/>
                <a:moveTo>
                  <a:pt x="20" y="498"/>
                </a:moveTo>
                <a:cubicBezTo>
                  <a:pt x="231" y="616"/>
                  <a:pt x="231" y="616"/>
                  <a:pt x="231" y="616"/>
                </a:cubicBezTo>
                <a:cubicBezTo>
                  <a:pt x="231" y="637"/>
                  <a:pt x="231" y="637"/>
                  <a:pt x="231" y="637"/>
                </a:cubicBezTo>
                <a:cubicBezTo>
                  <a:pt x="20" y="519"/>
                  <a:pt x="20" y="519"/>
                  <a:pt x="20" y="519"/>
                </a:cubicBezTo>
                <a:lnTo>
                  <a:pt x="20" y="498"/>
                </a:lnTo>
                <a:close/>
                <a:moveTo>
                  <a:pt x="20" y="887"/>
                </a:moveTo>
                <a:cubicBezTo>
                  <a:pt x="20" y="542"/>
                  <a:pt x="20" y="542"/>
                  <a:pt x="20" y="542"/>
                </a:cubicBezTo>
                <a:cubicBezTo>
                  <a:pt x="231" y="660"/>
                  <a:pt x="231" y="660"/>
                  <a:pt x="231" y="660"/>
                </a:cubicBezTo>
                <a:cubicBezTo>
                  <a:pt x="232" y="1017"/>
                  <a:pt x="232" y="1017"/>
                  <a:pt x="232" y="1017"/>
                </a:cubicBezTo>
                <a:lnTo>
                  <a:pt x="20" y="887"/>
                </a:lnTo>
                <a:close/>
                <a:moveTo>
                  <a:pt x="160" y="746"/>
                </a:moveTo>
                <a:cubicBezTo>
                  <a:pt x="154" y="769"/>
                  <a:pt x="132" y="779"/>
                  <a:pt x="110" y="770"/>
                </a:cubicBezTo>
                <a:cubicBezTo>
                  <a:pt x="89" y="760"/>
                  <a:pt x="77" y="734"/>
                  <a:pt x="84" y="712"/>
                </a:cubicBezTo>
                <a:cubicBezTo>
                  <a:pt x="90" y="689"/>
                  <a:pt x="112" y="679"/>
                  <a:pt x="134" y="688"/>
                </a:cubicBezTo>
                <a:cubicBezTo>
                  <a:pt x="155" y="698"/>
                  <a:pt x="167" y="724"/>
                  <a:pt x="160" y="746"/>
                </a:cubicBezTo>
                <a:close/>
              </a:path>
            </a:pathLst>
          </a:custGeom>
          <a:solidFill>
            <a:schemeClr val="accent1"/>
          </a:solidFill>
          <a:ln>
            <a:noFill/>
          </a:ln>
          <a:extLst/>
        </p:spPr>
        <p:txBody>
          <a:bodyPr lIns="124314" tIns="62157" rIns="124314" bIns="62157"/>
          <a:lstStyle/>
          <a:p>
            <a:pPr defTabSz="1268131">
              <a:defRPr/>
            </a:pPr>
            <a:endParaRPr lang="en-US" sz="3329">
              <a:solidFill>
                <a:srgbClr val="000000"/>
              </a:solidFill>
              <a:latin typeface="Segoe UI"/>
            </a:endParaRPr>
          </a:p>
        </p:txBody>
      </p:sp>
      <p:sp>
        <p:nvSpPr>
          <p:cNvPr id="9" name="hyperV2"/>
          <p:cNvSpPr>
            <a:spLocks noChangeAspect="1" noEditPoints="1"/>
          </p:cNvSpPr>
          <p:nvPr/>
        </p:nvSpPr>
        <p:spPr bwMode="auto">
          <a:xfrm>
            <a:off x="9609308" y="2500085"/>
            <a:ext cx="1758264" cy="2929461"/>
          </a:xfrm>
          <a:custGeom>
            <a:avLst/>
            <a:gdLst>
              <a:gd name="T0" fmla="*/ 625 w 625"/>
              <a:gd name="T1" fmla="*/ 132 h 1044"/>
              <a:gd name="T2" fmla="*/ 393 w 625"/>
              <a:gd name="T3" fmla="*/ 0 h 1044"/>
              <a:gd name="T4" fmla="*/ 383 w 625"/>
              <a:gd name="T5" fmla="*/ 0 h 1044"/>
              <a:gd name="T6" fmla="*/ 5 w 625"/>
              <a:gd name="T7" fmla="*/ 218 h 1044"/>
              <a:gd name="T8" fmla="*/ 5 w 625"/>
              <a:gd name="T9" fmla="*/ 220 h 1044"/>
              <a:gd name="T10" fmla="*/ 0 w 625"/>
              <a:gd name="T11" fmla="*/ 223 h 1044"/>
              <a:gd name="T12" fmla="*/ 0 w 625"/>
              <a:gd name="T13" fmla="*/ 893 h 1044"/>
              <a:gd name="T14" fmla="*/ 5 w 625"/>
              <a:gd name="T15" fmla="*/ 902 h 1044"/>
              <a:gd name="T16" fmla="*/ 237 w 625"/>
              <a:gd name="T17" fmla="*/ 1044 h 1044"/>
              <a:gd name="T18" fmla="*/ 252 w 625"/>
              <a:gd name="T19" fmla="*/ 1035 h 1044"/>
              <a:gd name="T20" fmla="*/ 252 w 625"/>
              <a:gd name="T21" fmla="*/ 1034 h 1044"/>
              <a:gd name="T22" fmla="*/ 624 w 625"/>
              <a:gd name="T23" fmla="*/ 811 h 1044"/>
              <a:gd name="T24" fmla="*/ 624 w 625"/>
              <a:gd name="T25" fmla="*/ 150 h 1044"/>
              <a:gd name="T26" fmla="*/ 625 w 625"/>
              <a:gd name="T27" fmla="*/ 150 h 1044"/>
              <a:gd name="T28" fmla="*/ 625 w 625"/>
              <a:gd name="T29" fmla="*/ 132 h 1044"/>
              <a:gd name="T30" fmla="*/ 388 w 625"/>
              <a:gd name="T31" fmla="*/ 21 h 1044"/>
              <a:gd name="T32" fmla="*/ 600 w 625"/>
              <a:gd name="T33" fmla="*/ 141 h 1044"/>
              <a:gd name="T34" fmla="*/ 244 w 625"/>
              <a:gd name="T35" fmla="*/ 340 h 1044"/>
              <a:gd name="T36" fmla="*/ 165 w 625"/>
              <a:gd name="T37" fmla="*/ 298 h 1044"/>
              <a:gd name="T38" fmla="*/ 34 w 625"/>
              <a:gd name="T39" fmla="*/ 225 h 1044"/>
              <a:gd name="T40" fmla="*/ 388 w 625"/>
              <a:gd name="T41" fmla="*/ 21 h 1044"/>
              <a:gd name="T42" fmla="*/ 156 w 625"/>
              <a:gd name="T43" fmla="*/ 315 h 1044"/>
              <a:gd name="T44" fmla="*/ 230 w 625"/>
              <a:gd name="T45" fmla="*/ 357 h 1044"/>
              <a:gd name="T46" fmla="*/ 231 w 625"/>
              <a:gd name="T47" fmla="*/ 541 h 1044"/>
              <a:gd name="T48" fmla="*/ 20 w 625"/>
              <a:gd name="T49" fmla="*/ 423 h 1044"/>
              <a:gd name="T50" fmla="*/ 20 w 625"/>
              <a:gd name="T51" fmla="*/ 244 h 1044"/>
              <a:gd name="T52" fmla="*/ 156 w 625"/>
              <a:gd name="T53" fmla="*/ 315 h 1044"/>
              <a:gd name="T54" fmla="*/ 20 w 625"/>
              <a:gd name="T55" fmla="*/ 446 h 1044"/>
              <a:gd name="T56" fmla="*/ 231 w 625"/>
              <a:gd name="T57" fmla="*/ 563 h 1044"/>
              <a:gd name="T58" fmla="*/ 231 w 625"/>
              <a:gd name="T59" fmla="*/ 593 h 1044"/>
              <a:gd name="T60" fmla="*/ 20 w 625"/>
              <a:gd name="T61" fmla="*/ 475 h 1044"/>
              <a:gd name="T62" fmla="*/ 20 w 625"/>
              <a:gd name="T63" fmla="*/ 446 h 1044"/>
              <a:gd name="T64" fmla="*/ 20 w 625"/>
              <a:gd name="T65" fmla="*/ 498 h 1044"/>
              <a:gd name="T66" fmla="*/ 231 w 625"/>
              <a:gd name="T67" fmla="*/ 616 h 1044"/>
              <a:gd name="T68" fmla="*/ 231 w 625"/>
              <a:gd name="T69" fmla="*/ 637 h 1044"/>
              <a:gd name="T70" fmla="*/ 20 w 625"/>
              <a:gd name="T71" fmla="*/ 519 h 1044"/>
              <a:gd name="T72" fmla="*/ 20 w 625"/>
              <a:gd name="T73" fmla="*/ 498 h 1044"/>
              <a:gd name="T74" fmla="*/ 20 w 625"/>
              <a:gd name="T75" fmla="*/ 887 h 1044"/>
              <a:gd name="T76" fmla="*/ 20 w 625"/>
              <a:gd name="T77" fmla="*/ 542 h 1044"/>
              <a:gd name="T78" fmla="*/ 231 w 625"/>
              <a:gd name="T79" fmla="*/ 660 h 1044"/>
              <a:gd name="T80" fmla="*/ 232 w 625"/>
              <a:gd name="T81" fmla="*/ 1017 h 1044"/>
              <a:gd name="T82" fmla="*/ 20 w 625"/>
              <a:gd name="T83" fmla="*/ 887 h 1044"/>
              <a:gd name="T84" fmla="*/ 160 w 625"/>
              <a:gd name="T85" fmla="*/ 746 h 1044"/>
              <a:gd name="T86" fmla="*/ 110 w 625"/>
              <a:gd name="T87" fmla="*/ 770 h 1044"/>
              <a:gd name="T88" fmla="*/ 84 w 625"/>
              <a:gd name="T89" fmla="*/ 712 h 1044"/>
              <a:gd name="T90" fmla="*/ 134 w 625"/>
              <a:gd name="T91" fmla="*/ 688 h 1044"/>
              <a:gd name="T92" fmla="*/ 160 w 625"/>
              <a:gd name="T93" fmla="*/ 746 h 10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625" h="1044">
                <a:moveTo>
                  <a:pt x="625" y="132"/>
                </a:moveTo>
                <a:cubicBezTo>
                  <a:pt x="393" y="0"/>
                  <a:pt x="393" y="0"/>
                  <a:pt x="393" y="0"/>
                </a:cubicBezTo>
                <a:cubicBezTo>
                  <a:pt x="383" y="0"/>
                  <a:pt x="383" y="0"/>
                  <a:pt x="383" y="0"/>
                </a:cubicBezTo>
                <a:cubicBezTo>
                  <a:pt x="5" y="218"/>
                  <a:pt x="5" y="218"/>
                  <a:pt x="5" y="218"/>
                </a:cubicBezTo>
                <a:cubicBezTo>
                  <a:pt x="5" y="220"/>
                  <a:pt x="5" y="220"/>
                  <a:pt x="5" y="220"/>
                </a:cubicBezTo>
                <a:cubicBezTo>
                  <a:pt x="0" y="223"/>
                  <a:pt x="0" y="223"/>
                  <a:pt x="0" y="223"/>
                </a:cubicBezTo>
                <a:cubicBezTo>
                  <a:pt x="0" y="893"/>
                  <a:pt x="0" y="893"/>
                  <a:pt x="0" y="893"/>
                </a:cubicBezTo>
                <a:cubicBezTo>
                  <a:pt x="5" y="902"/>
                  <a:pt x="5" y="902"/>
                  <a:pt x="5" y="902"/>
                </a:cubicBezTo>
                <a:cubicBezTo>
                  <a:pt x="237" y="1044"/>
                  <a:pt x="237" y="1044"/>
                  <a:pt x="237" y="1044"/>
                </a:cubicBezTo>
                <a:cubicBezTo>
                  <a:pt x="252" y="1035"/>
                  <a:pt x="252" y="1035"/>
                  <a:pt x="252" y="1035"/>
                </a:cubicBezTo>
                <a:cubicBezTo>
                  <a:pt x="252" y="1034"/>
                  <a:pt x="252" y="1034"/>
                  <a:pt x="252" y="1034"/>
                </a:cubicBezTo>
                <a:cubicBezTo>
                  <a:pt x="624" y="811"/>
                  <a:pt x="624" y="811"/>
                  <a:pt x="624" y="811"/>
                </a:cubicBezTo>
                <a:cubicBezTo>
                  <a:pt x="624" y="150"/>
                  <a:pt x="624" y="150"/>
                  <a:pt x="624" y="150"/>
                </a:cubicBezTo>
                <a:cubicBezTo>
                  <a:pt x="625" y="150"/>
                  <a:pt x="625" y="150"/>
                  <a:pt x="625" y="150"/>
                </a:cubicBezTo>
                <a:lnTo>
                  <a:pt x="625" y="132"/>
                </a:lnTo>
                <a:close/>
                <a:moveTo>
                  <a:pt x="388" y="21"/>
                </a:moveTo>
                <a:cubicBezTo>
                  <a:pt x="600" y="141"/>
                  <a:pt x="600" y="141"/>
                  <a:pt x="600" y="141"/>
                </a:cubicBezTo>
                <a:cubicBezTo>
                  <a:pt x="244" y="340"/>
                  <a:pt x="244" y="340"/>
                  <a:pt x="244" y="340"/>
                </a:cubicBezTo>
                <a:cubicBezTo>
                  <a:pt x="165" y="298"/>
                  <a:pt x="165" y="298"/>
                  <a:pt x="165" y="298"/>
                </a:cubicBezTo>
                <a:cubicBezTo>
                  <a:pt x="34" y="225"/>
                  <a:pt x="34" y="225"/>
                  <a:pt x="34" y="225"/>
                </a:cubicBezTo>
                <a:lnTo>
                  <a:pt x="388" y="21"/>
                </a:lnTo>
                <a:close/>
                <a:moveTo>
                  <a:pt x="156" y="315"/>
                </a:moveTo>
                <a:cubicBezTo>
                  <a:pt x="230" y="357"/>
                  <a:pt x="230" y="357"/>
                  <a:pt x="230" y="357"/>
                </a:cubicBezTo>
                <a:cubicBezTo>
                  <a:pt x="231" y="541"/>
                  <a:pt x="231" y="541"/>
                  <a:pt x="231" y="541"/>
                </a:cubicBezTo>
                <a:cubicBezTo>
                  <a:pt x="20" y="423"/>
                  <a:pt x="20" y="423"/>
                  <a:pt x="20" y="423"/>
                </a:cubicBezTo>
                <a:cubicBezTo>
                  <a:pt x="20" y="244"/>
                  <a:pt x="20" y="244"/>
                  <a:pt x="20" y="244"/>
                </a:cubicBezTo>
                <a:lnTo>
                  <a:pt x="156" y="315"/>
                </a:lnTo>
                <a:close/>
                <a:moveTo>
                  <a:pt x="20" y="446"/>
                </a:moveTo>
                <a:cubicBezTo>
                  <a:pt x="231" y="563"/>
                  <a:pt x="231" y="563"/>
                  <a:pt x="231" y="563"/>
                </a:cubicBezTo>
                <a:cubicBezTo>
                  <a:pt x="231" y="593"/>
                  <a:pt x="231" y="593"/>
                  <a:pt x="231" y="593"/>
                </a:cubicBezTo>
                <a:cubicBezTo>
                  <a:pt x="20" y="475"/>
                  <a:pt x="20" y="475"/>
                  <a:pt x="20" y="475"/>
                </a:cubicBezTo>
                <a:lnTo>
                  <a:pt x="20" y="446"/>
                </a:lnTo>
                <a:close/>
                <a:moveTo>
                  <a:pt x="20" y="498"/>
                </a:moveTo>
                <a:cubicBezTo>
                  <a:pt x="231" y="616"/>
                  <a:pt x="231" y="616"/>
                  <a:pt x="231" y="616"/>
                </a:cubicBezTo>
                <a:cubicBezTo>
                  <a:pt x="231" y="637"/>
                  <a:pt x="231" y="637"/>
                  <a:pt x="231" y="637"/>
                </a:cubicBezTo>
                <a:cubicBezTo>
                  <a:pt x="20" y="519"/>
                  <a:pt x="20" y="519"/>
                  <a:pt x="20" y="519"/>
                </a:cubicBezTo>
                <a:lnTo>
                  <a:pt x="20" y="498"/>
                </a:lnTo>
                <a:close/>
                <a:moveTo>
                  <a:pt x="20" y="887"/>
                </a:moveTo>
                <a:cubicBezTo>
                  <a:pt x="20" y="542"/>
                  <a:pt x="20" y="542"/>
                  <a:pt x="20" y="542"/>
                </a:cubicBezTo>
                <a:cubicBezTo>
                  <a:pt x="231" y="660"/>
                  <a:pt x="231" y="660"/>
                  <a:pt x="231" y="660"/>
                </a:cubicBezTo>
                <a:cubicBezTo>
                  <a:pt x="232" y="1017"/>
                  <a:pt x="232" y="1017"/>
                  <a:pt x="232" y="1017"/>
                </a:cubicBezTo>
                <a:lnTo>
                  <a:pt x="20" y="887"/>
                </a:lnTo>
                <a:close/>
                <a:moveTo>
                  <a:pt x="160" y="746"/>
                </a:moveTo>
                <a:cubicBezTo>
                  <a:pt x="154" y="769"/>
                  <a:pt x="132" y="779"/>
                  <a:pt x="110" y="770"/>
                </a:cubicBezTo>
                <a:cubicBezTo>
                  <a:pt x="89" y="760"/>
                  <a:pt x="77" y="734"/>
                  <a:pt x="84" y="712"/>
                </a:cubicBezTo>
                <a:cubicBezTo>
                  <a:pt x="90" y="689"/>
                  <a:pt x="112" y="679"/>
                  <a:pt x="134" y="688"/>
                </a:cubicBezTo>
                <a:cubicBezTo>
                  <a:pt x="155" y="698"/>
                  <a:pt x="167" y="724"/>
                  <a:pt x="160" y="746"/>
                </a:cubicBezTo>
                <a:close/>
              </a:path>
            </a:pathLst>
          </a:custGeom>
          <a:solidFill>
            <a:schemeClr val="accent1"/>
          </a:solidFill>
          <a:ln>
            <a:noFill/>
          </a:ln>
          <a:extLst/>
        </p:spPr>
        <p:txBody>
          <a:bodyPr lIns="124314" tIns="62157" rIns="124314" bIns="62157"/>
          <a:lstStyle/>
          <a:p>
            <a:pPr defTabSz="1268131">
              <a:defRPr/>
            </a:pPr>
            <a:endParaRPr lang="en-US" sz="3329">
              <a:solidFill>
                <a:srgbClr val="000000"/>
              </a:solidFill>
              <a:latin typeface="Segoe UI"/>
            </a:endParaRPr>
          </a:p>
        </p:txBody>
      </p:sp>
    </p:spTree>
    <p:extLst>
      <p:ext uri="{BB962C8B-B14F-4D97-AF65-F5344CB8AC3E}">
        <p14:creationId xmlns:p14="http://schemas.microsoft.com/office/powerpoint/2010/main" val="395422186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afterEffect">
                                  <p:stCondLst>
                                    <p:cond delay="500"/>
                                  </p:stCondLst>
                                  <p:childTnLst>
                                    <p:set>
                                      <p:cBhvr>
                                        <p:cTn id="6" dur="1" fill="hold">
                                          <p:stCondLst>
                                            <p:cond delay="0"/>
                                          </p:stCondLst>
                                        </p:cTn>
                                        <p:tgtEl>
                                          <p:spTgt spid="4"/>
                                        </p:tgtEl>
                                        <p:attrNameLst>
                                          <p:attrName>style.visibility</p:attrName>
                                        </p:attrNameLst>
                                      </p:cBhvr>
                                      <p:to>
                                        <p:strVal val="visible"/>
                                      </p:to>
                                    </p:set>
                                  </p:childTnLst>
                                </p:cTn>
                              </p:par>
                            </p:childTnLst>
                          </p:cTn>
                        </p:par>
                        <p:par>
                          <p:cTn id="7" fill="hold">
                            <p:stCondLst>
                              <p:cond delay="500"/>
                            </p:stCondLst>
                            <p:childTnLst>
                              <p:par>
                                <p:cTn id="8" presetID="1" presetClass="entr" presetSubtype="0" fill="hold" nodeType="afterEffect">
                                  <p:stCondLst>
                                    <p:cond delay="500"/>
                                  </p:stCondLst>
                                  <p:childTnLst>
                                    <p:set>
                                      <p:cBhvr>
                                        <p:cTn id="9" dur="1" fill="hold">
                                          <p:stCondLst>
                                            <p:cond delay="0"/>
                                          </p:stCondLst>
                                        </p:cTn>
                                        <p:tgtEl>
                                          <p:spTgt spid="5"/>
                                        </p:tgtEl>
                                        <p:attrNameLst>
                                          <p:attrName>style.visibility</p:attrName>
                                        </p:attrNameLst>
                                      </p:cBhvr>
                                      <p:to>
                                        <p:strVal val="visible"/>
                                      </p:to>
                                    </p:set>
                                  </p:childTnLst>
                                </p:cTn>
                              </p:par>
                            </p:childTnLst>
                          </p:cTn>
                        </p:par>
                        <p:par>
                          <p:cTn id="10" fill="hold">
                            <p:stCondLst>
                              <p:cond delay="1000"/>
                            </p:stCondLst>
                            <p:childTnLst>
                              <p:par>
                                <p:cTn id="11" presetID="1" presetClass="entr" presetSubtype="0" fill="hold" nodeType="afterEffect">
                                  <p:stCondLst>
                                    <p:cond delay="500"/>
                                  </p:stCondLst>
                                  <p:childTnLst>
                                    <p:set>
                                      <p:cBhvr>
                                        <p:cTn id="12" dur="1" fill="hold">
                                          <p:stCondLst>
                                            <p:cond delay="0"/>
                                          </p:stCondLst>
                                        </p:cTn>
                                        <p:tgtEl>
                                          <p:spTgt spid="6"/>
                                        </p:tgtEl>
                                        <p:attrNameLst>
                                          <p:attrName>style.visibility</p:attrName>
                                        </p:attrNameLst>
                                      </p:cBhvr>
                                      <p:to>
                                        <p:strVal val="visible"/>
                                      </p:to>
                                    </p:set>
                                  </p:childTnLst>
                                </p:cTn>
                              </p:par>
                            </p:childTnLst>
                          </p:cTn>
                        </p:par>
                        <p:par>
                          <p:cTn id="13" fill="hold">
                            <p:stCondLst>
                              <p:cond delay="1500"/>
                            </p:stCondLst>
                            <p:childTnLst>
                              <p:par>
                                <p:cTn id="14" presetID="1" presetClass="entr" presetSubtype="0" fill="hold" nodeType="afterEffect">
                                  <p:stCondLst>
                                    <p:cond delay="500"/>
                                  </p:stCondLst>
                                  <p:childTnLst>
                                    <p:set>
                                      <p:cBhvr>
                                        <p:cTn id="15" dur="1" fill="hold">
                                          <p:stCondLst>
                                            <p:cond delay="0"/>
                                          </p:stCondLst>
                                        </p:cTn>
                                        <p:tgtEl>
                                          <p:spTgt spid="7"/>
                                        </p:tgtEl>
                                        <p:attrNameLst>
                                          <p:attrName>style.visibility</p:attrName>
                                        </p:attrNameLst>
                                      </p:cBhvr>
                                      <p:to>
                                        <p:strVal val="visible"/>
                                      </p:to>
                                    </p:set>
                                  </p:childTnLst>
                                </p:cTn>
                              </p:par>
                            </p:childTnLst>
                          </p:cTn>
                        </p:par>
                        <p:par>
                          <p:cTn id="16" fill="hold">
                            <p:stCondLst>
                              <p:cond delay="2000"/>
                            </p:stCondLst>
                            <p:childTnLst>
                              <p:par>
                                <p:cTn id="17" presetID="1" presetClass="entr" presetSubtype="0" fill="hold" nodeType="afterEffect">
                                  <p:stCondLst>
                                    <p:cond delay="500"/>
                                  </p:stCondLst>
                                  <p:childTnLst>
                                    <p:set>
                                      <p:cBhvr>
                                        <p:cTn id="18" dur="1" fill="hold">
                                          <p:stCondLst>
                                            <p:cond delay="0"/>
                                          </p:stCondLst>
                                        </p:cTn>
                                        <p:tgtEl>
                                          <p:spTgt spid="8"/>
                                        </p:tgtEl>
                                        <p:attrNameLst>
                                          <p:attrName>style.visibility</p:attrName>
                                        </p:attrNameLst>
                                      </p:cBhvr>
                                      <p:to>
                                        <p:strVal val="visible"/>
                                      </p:to>
                                    </p:set>
                                  </p:childTnLst>
                                </p:cTn>
                              </p:par>
                            </p:childTnLst>
                          </p:cTn>
                        </p:par>
                        <p:par>
                          <p:cTn id="19" fill="hold">
                            <p:stCondLst>
                              <p:cond delay="2500"/>
                            </p:stCondLst>
                            <p:childTnLst>
                              <p:par>
                                <p:cTn id="20" presetID="1" presetClass="entr" presetSubtype="0" fill="hold" nodeType="afterEffect">
                                  <p:stCondLst>
                                    <p:cond delay="500"/>
                                  </p:stCondLst>
                                  <p:childTnLst>
                                    <p:set>
                                      <p:cBhvr>
                                        <p:cTn id="21"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66168" y="1212851"/>
            <a:ext cx="11702553" cy="5004447"/>
          </a:xfrm>
        </p:spPr>
        <p:txBody>
          <a:bodyPr/>
          <a:lstStyle/>
          <a:p>
            <a:r>
              <a:rPr lang="en-US" dirty="0"/>
              <a:t>The ability to automatically split your dataset among multiple nodes</a:t>
            </a:r>
          </a:p>
          <a:p>
            <a:r>
              <a:rPr lang="en-US" dirty="0"/>
              <a:t>The ability to continue operations when a subset of the nodes are experiencing failures or are unable to communicate with the rest of the cluster</a:t>
            </a:r>
          </a:p>
          <a:p>
            <a:r>
              <a:rPr lang="en-US" dirty="0"/>
              <a:t>More throughput – Throughput increases linearly as you increase the number of shards</a:t>
            </a:r>
          </a:p>
          <a:p>
            <a:r>
              <a:rPr lang="en-US" dirty="0"/>
              <a:t>More memory size – Increases linearly as you increase the number of shards</a:t>
            </a:r>
          </a:p>
        </p:txBody>
      </p:sp>
      <p:sp>
        <p:nvSpPr>
          <p:cNvPr id="2" name="Title 1"/>
          <p:cNvSpPr>
            <a:spLocks noGrp="1"/>
          </p:cNvSpPr>
          <p:nvPr>
            <p:ph type="title"/>
          </p:nvPr>
        </p:nvSpPr>
        <p:spPr/>
        <p:txBody>
          <a:bodyPr/>
          <a:lstStyle/>
          <a:p>
            <a:r>
              <a:rPr lang="en-US" dirty="0" err="1"/>
              <a:t>Redis</a:t>
            </a:r>
            <a:r>
              <a:rPr lang="en-US" dirty="0"/>
              <a:t> Cluster</a:t>
            </a:r>
          </a:p>
        </p:txBody>
      </p:sp>
    </p:spTree>
    <p:extLst>
      <p:ext uri="{BB962C8B-B14F-4D97-AF65-F5344CB8AC3E}">
        <p14:creationId xmlns:p14="http://schemas.microsoft.com/office/powerpoint/2010/main" val="147536566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5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Segoe UI Light" panose="020B0502040204020203" pitchFamily="34" charset="0"/>
                <a:cs typeface="Segoe UI Light" panose="020B0502040204020203" pitchFamily="34" charset="0"/>
              </a:rPr>
              <a:t>Redis Cache decisions</a:t>
            </a:r>
            <a:endParaRPr lang="en-US" dirty="0"/>
          </a:p>
        </p:txBody>
      </p:sp>
      <p:graphicFrame>
        <p:nvGraphicFramePr>
          <p:cNvPr id="3" name="Diagram 2"/>
          <p:cNvGraphicFramePr/>
          <p:nvPr>
            <p:extLst/>
          </p:nvPr>
        </p:nvGraphicFramePr>
        <p:xfrm>
          <a:off x="1161825" y="1212853"/>
          <a:ext cx="7842325" cy="525621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 name="Octagon 3"/>
          <p:cNvSpPr/>
          <p:nvPr/>
        </p:nvSpPr>
        <p:spPr>
          <a:xfrm>
            <a:off x="1107200" y="2430463"/>
            <a:ext cx="443098" cy="439889"/>
          </a:xfrm>
          <a:prstGeom prst="octagon">
            <a:avLst/>
          </a:prstGeom>
          <a:solidFill>
            <a:srgbClr val="CC0000"/>
          </a:solidFill>
        </p:spPr>
        <p:style>
          <a:lnRef idx="1">
            <a:schemeClr val="accent2"/>
          </a:lnRef>
          <a:fillRef idx="3">
            <a:schemeClr val="accent2"/>
          </a:fillRef>
          <a:effectRef idx="2">
            <a:schemeClr val="accent2"/>
          </a:effectRef>
          <a:fontRef idx="minor">
            <a:schemeClr val="lt1"/>
          </a:fontRef>
        </p:style>
        <p:txBody>
          <a:bodyPr rot="0" spcFirstLastPara="0" vert="horz" wrap="square" lIns="68583" tIns="34291" rIns="68583" bIns="34291" numCol="1" spcCol="0" rtlCol="0" fromWordArt="0" anchor="ctr" anchorCtr="0" forceAA="0" compatLnSpc="1">
            <a:prstTxWarp prst="textNoShape">
              <a:avLst/>
            </a:prstTxWarp>
            <a:noAutofit/>
          </a:bodyPr>
          <a:lstStyle/>
          <a:p>
            <a:endParaRPr lang="en-US" sz="1350"/>
          </a:p>
        </p:txBody>
      </p:sp>
      <p:sp>
        <p:nvSpPr>
          <p:cNvPr id="5" name="Isosceles Triangle 4"/>
          <p:cNvSpPr>
            <a:spLocks/>
          </p:cNvSpPr>
          <p:nvPr/>
        </p:nvSpPr>
        <p:spPr>
          <a:xfrm>
            <a:off x="1021842" y="4110985"/>
            <a:ext cx="579874" cy="457219"/>
          </a:xfrm>
          <a:prstGeom prst="triangle">
            <a:avLst/>
          </a:prstGeom>
          <a:solidFill>
            <a:srgbClr val="FFFF00"/>
          </a:solidFill>
        </p:spPr>
        <p:style>
          <a:lnRef idx="1">
            <a:schemeClr val="accent6"/>
          </a:lnRef>
          <a:fillRef idx="3">
            <a:schemeClr val="accent6"/>
          </a:fillRef>
          <a:effectRef idx="2">
            <a:schemeClr val="accent6"/>
          </a:effectRef>
          <a:fontRef idx="minor">
            <a:schemeClr val="lt1"/>
          </a:fontRef>
        </p:style>
        <p:txBody>
          <a:bodyPr rot="0" spcFirstLastPara="0" vert="horz" wrap="square" lIns="68583" tIns="34291" rIns="68583" bIns="34291" numCol="1" spcCol="0" rtlCol="0" fromWordArt="0" anchor="ctr" anchorCtr="0" forceAA="0" compatLnSpc="1">
            <a:prstTxWarp prst="textNoShape">
              <a:avLst/>
            </a:prstTxWarp>
            <a:noAutofit/>
          </a:bodyPr>
          <a:lstStyle/>
          <a:p>
            <a:endParaRPr lang="en-US" sz="1350"/>
          </a:p>
        </p:txBody>
      </p:sp>
      <p:sp>
        <p:nvSpPr>
          <p:cNvPr id="6" name="Oval 5"/>
          <p:cNvSpPr>
            <a:spLocks/>
          </p:cNvSpPr>
          <p:nvPr/>
        </p:nvSpPr>
        <p:spPr>
          <a:xfrm>
            <a:off x="1021843" y="5993586"/>
            <a:ext cx="474539" cy="475477"/>
          </a:xfrm>
          <a:prstGeom prst="ellipse">
            <a:avLst/>
          </a:prstGeom>
          <a:solidFill>
            <a:srgbClr val="00B050"/>
          </a:solidFill>
        </p:spPr>
        <p:style>
          <a:lnRef idx="1">
            <a:schemeClr val="accent3"/>
          </a:lnRef>
          <a:fillRef idx="3">
            <a:schemeClr val="accent3"/>
          </a:fillRef>
          <a:effectRef idx="2">
            <a:schemeClr val="accent3"/>
          </a:effectRef>
          <a:fontRef idx="minor">
            <a:schemeClr val="lt1"/>
          </a:fontRef>
        </p:style>
        <p:txBody>
          <a:bodyPr rot="0" spcFirstLastPara="0" vert="horz" wrap="square" lIns="68583" tIns="34291" rIns="68583" bIns="34291" numCol="1" spcCol="0" rtlCol="0" fromWordArt="0" anchor="ctr" anchorCtr="0" forceAA="0" compatLnSpc="1">
            <a:prstTxWarp prst="textNoShape">
              <a:avLst/>
            </a:prstTxWarp>
            <a:noAutofit/>
          </a:bodyPr>
          <a:lstStyle/>
          <a:p>
            <a:endParaRPr lang="en-US" sz="1350"/>
          </a:p>
        </p:txBody>
      </p:sp>
    </p:spTree>
    <p:extLst>
      <p:ext uri="{BB962C8B-B14F-4D97-AF65-F5344CB8AC3E}">
        <p14:creationId xmlns:p14="http://schemas.microsoft.com/office/powerpoint/2010/main" val="3356454466"/>
      </p:ext>
    </p:extLst>
  </p:cSld>
  <p:clrMapOvr>
    <a:masterClrMapping/>
  </p:clrMapOvr>
  <p:transition>
    <p:fade/>
  </p:transition>
</p:sld>
</file>

<file path=ppt/slides/slide15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a:latin typeface="Segoe UI Light" panose="020B0502040204020203" pitchFamily="34" charset="0"/>
                <a:cs typeface="Segoe UI Light" panose="020B0502040204020203" pitchFamily="34" charset="0"/>
              </a:rPr>
              <a:t>DocumentDB</a:t>
            </a:r>
            <a:r>
              <a:rPr lang="en-US" dirty="0">
                <a:latin typeface="Segoe UI Light" panose="020B0502040204020203" pitchFamily="34" charset="0"/>
                <a:cs typeface="Segoe UI Light" panose="020B0502040204020203" pitchFamily="34" charset="0"/>
              </a:rPr>
              <a:t> decisions</a:t>
            </a:r>
            <a:endParaRPr lang="en-US" dirty="0"/>
          </a:p>
        </p:txBody>
      </p:sp>
      <p:sp>
        <p:nvSpPr>
          <p:cNvPr id="8" name="Freeform: Shape 7"/>
          <p:cNvSpPr/>
          <p:nvPr/>
        </p:nvSpPr>
        <p:spPr>
          <a:xfrm>
            <a:off x="4416051" y="1112873"/>
            <a:ext cx="5511220" cy="2112335"/>
          </a:xfrm>
          <a:custGeom>
            <a:avLst/>
            <a:gdLst>
              <a:gd name="connsiteX0" fmla="*/ 0 w 6937384"/>
              <a:gd name="connsiteY0" fmla="*/ 171052 h 1368412"/>
              <a:gd name="connsiteX1" fmla="*/ 6253178 w 6937384"/>
              <a:gd name="connsiteY1" fmla="*/ 171052 h 1368412"/>
              <a:gd name="connsiteX2" fmla="*/ 6253178 w 6937384"/>
              <a:gd name="connsiteY2" fmla="*/ 0 h 1368412"/>
              <a:gd name="connsiteX3" fmla="*/ 6937384 w 6937384"/>
              <a:gd name="connsiteY3" fmla="*/ 684206 h 1368412"/>
              <a:gd name="connsiteX4" fmla="*/ 6253178 w 6937384"/>
              <a:gd name="connsiteY4" fmla="*/ 1368412 h 1368412"/>
              <a:gd name="connsiteX5" fmla="*/ 6253178 w 6937384"/>
              <a:gd name="connsiteY5" fmla="*/ 1197361 h 1368412"/>
              <a:gd name="connsiteX6" fmla="*/ 0 w 6937384"/>
              <a:gd name="connsiteY6" fmla="*/ 1197361 h 1368412"/>
              <a:gd name="connsiteX7" fmla="*/ 0 w 6937384"/>
              <a:gd name="connsiteY7" fmla="*/ 171052 h 13684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937384" h="1368412">
                <a:moveTo>
                  <a:pt x="0" y="171052"/>
                </a:moveTo>
                <a:lnTo>
                  <a:pt x="6253178" y="171052"/>
                </a:lnTo>
                <a:lnTo>
                  <a:pt x="6253178" y="0"/>
                </a:lnTo>
                <a:lnTo>
                  <a:pt x="6937384" y="684206"/>
                </a:lnTo>
                <a:lnTo>
                  <a:pt x="6253178" y="1368412"/>
                </a:lnTo>
                <a:lnTo>
                  <a:pt x="6253178" y="1197361"/>
                </a:lnTo>
                <a:lnTo>
                  <a:pt x="0" y="1197361"/>
                </a:lnTo>
                <a:lnTo>
                  <a:pt x="0" y="171052"/>
                </a:lnTo>
                <a:close/>
              </a:path>
            </a:pathLst>
          </a:custGeom>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228600" tIns="457200" rIns="696034" bIns="182481" numCol="1" spcCol="1270" anchor="t" anchorCtr="0">
            <a:noAutofit/>
          </a:bodyPr>
          <a:lstStyle/>
          <a:p>
            <a:pPr marL="171450" lvl="1" indent="-171450" defTabSz="800100">
              <a:lnSpc>
                <a:spcPct val="90000"/>
              </a:lnSpc>
              <a:spcBef>
                <a:spcPct val="0"/>
              </a:spcBef>
              <a:spcAft>
                <a:spcPct val="15000"/>
              </a:spcAft>
              <a:buChar char="•"/>
            </a:pPr>
            <a:r>
              <a:rPr lang="en-US" dirty="0"/>
              <a:t>Resources within DocumentDB are stored as JSON documents, typical of a document-based NoSQL database. Make sure this type of NoSQL database best fits your application’s data requirements</a:t>
            </a:r>
          </a:p>
        </p:txBody>
      </p:sp>
      <p:sp>
        <p:nvSpPr>
          <p:cNvPr id="9" name="Freeform: Shape 8"/>
          <p:cNvSpPr/>
          <p:nvPr/>
        </p:nvSpPr>
        <p:spPr>
          <a:xfrm>
            <a:off x="1328722" y="1363453"/>
            <a:ext cx="3221976" cy="1615891"/>
          </a:xfrm>
          <a:custGeom>
            <a:avLst/>
            <a:gdLst>
              <a:gd name="connsiteX0" fmla="*/ 0 w 3221976"/>
              <a:gd name="connsiteY0" fmla="*/ 188426 h 1130532"/>
              <a:gd name="connsiteX1" fmla="*/ 188426 w 3221976"/>
              <a:gd name="connsiteY1" fmla="*/ 0 h 1130532"/>
              <a:gd name="connsiteX2" fmla="*/ 3033550 w 3221976"/>
              <a:gd name="connsiteY2" fmla="*/ 0 h 1130532"/>
              <a:gd name="connsiteX3" fmla="*/ 3221976 w 3221976"/>
              <a:gd name="connsiteY3" fmla="*/ 188426 h 1130532"/>
              <a:gd name="connsiteX4" fmla="*/ 3221976 w 3221976"/>
              <a:gd name="connsiteY4" fmla="*/ 942106 h 1130532"/>
              <a:gd name="connsiteX5" fmla="*/ 3033550 w 3221976"/>
              <a:gd name="connsiteY5" fmla="*/ 1130532 h 1130532"/>
              <a:gd name="connsiteX6" fmla="*/ 188426 w 3221976"/>
              <a:gd name="connsiteY6" fmla="*/ 1130532 h 1130532"/>
              <a:gd name="connsiteX7" fmla="*/ 0 w 3221976"/>
              <a:gd name="connsiteY7" fmla="*/ 942106 h 1130532"/>
              <a:gd name="connsiteX8" fmla="*/ 0 w 3221976"/>
              <a:gd name="connsiteY8" fmla="*/ 188426 h 11305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21976" h="1130532">
                <a:moveTo>
                  <a:pt x="0" y="188426"/>
                </a:moveTo>
                <a:cubicBezTo>
                  <a:pt x="0" y="84361"/>
                  <a:pt x="84361" y="0"/>
                  <a:pt x="188426" y="0"/>
                </a:cubicBezTo>
                <a:lnTo>
                  <a:pt x="3033550" y="0"/>
                </a:lnTo>
                <a:cubicBezTo>
                  <a:pt x="3137615" y="0"/>
                  <a:pt x="3221976" y="84361"/>
                  <a:pt x="3221976" y="188426"/>
                </a:cubicBezTo>
                <a:lnTo>
                  <a:pt x="3221976" y="942106"/>
                </a:lnTo>
                <a:cubicBezTo>
                  <a:pt x="3221976" y="1046171"/>
                  <a:pt x="3137615" y="1130532"/>
                  <a:pt x="3033550" y="1130532"/>
                </a:cubicBezTo>
                <a:lnTo>
                  <a:pt x="188426" y="1130532"/>
                </a:lnTo>
                <a:cubicBezTo>
                  <a:pt x="84361" y="1130532"/>
                  <a:pt x="0" y="1046171"/>
                  <a:pt x="0" y="942106"/>
                </a:cubicBezTo>
                <a:lnTo>
                  <a:pt x="0" y="188426"/>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77108" tIns="116148" rIns="177108" bIns="116148" numCol="1" spcCol="1270" anchor="ctr" anchorCtr="0">
            <a:noAutofit/>
          </a:bodyPr>
          <a:lstStyle/>
          <a:p>
            <a:pPr marL="0" lvl="0" indent="0" algn="ctr" defTabSz="1422400">
              <a:lnSpc>
                <a:spcPct val="90000"/>
              </a:lnSpc>
              <a:spcBef>
                <a:spcPct val="0"/>
              </a:spcBef>
              <a:spcAft>
                <a:spcPct val="35000"/>
              </a:spcAft>
              <a:buNone/>
            </a:pPr>
            <a:r>
              <a:rPr lang="en-US" sz="3200" b="0" kern="1200" dirty="0">
                <a:latin typeface="Segoe UI Semibold" panose="020B0702040204020203" pitchFamily="34" charset="0"/>
                <a:cs typeface="Segoe UI Semibold" panose="020B0702040204020203" pitchFamily="34" charset="0"/>
              </a:rPr>
              <a:t>Mandatory</a:t>
            </a:r>
          </a:p>
        </p:txBody>
      </p:sp>
      <p:sp>
        <p:nvSpPr>
          <p:cNvPr id="10" name="Freeform: Shape 9"/>
          <p:cNvSpPr/>
          <p:nvPr/>
        </p:nvSpPr>
        <p:spPr>
          <a:xfrm>
            <a:off x="4174858" y="3197706"/>
            <a:ext cx="5777216" cy="2061726"/>
          </a:xfrm>
          <a:custGeom>
            <a:avLst/>
            <a:gdLst>
              <a:gd name="connsiteX0" fmla="*/ 0 w 7091479"/>
              <a:gd name="connsiteY0" fmla="*/ 293845 h 2350760"/>
              <a:gd name="connsiteX1" fmla="*/ 5916099 w 7091479"/>
              <a:gd name="connsiteY1" fmla="*/ 293845 h 2350760"/>
              <a:gd name="connsiteX2" fmla="*/ 5916099 w 7091479"/>
              <a:gd name="connsiteY2" fmla="*/ 0 h 2350760"/>
              <a:gd name="connsiteX3" fmla="*/ 7091479 w 7091479"/>
              <a:gd name="connsiteY3" fmla="*/ 1175380 h 2350760"/>
              <a:gd name="connsiteX4" fmla="*/ 5916099 w 7091479"/>
              <a:gd name="connsiteY4" fmla="*/ 2350760 h 2350760"/>
              <a:gd name="connsiteX5" fmla="*/ 5916099 w 7091479"/>
              <a:gd name="connsiteY5" fmla="*/ 2056915 h 2350760"/>
              <a:gd name="connsiteX6" fmla="*/ 0 w 7091479"/>
              <a:gd name="connsiteY6" fmla="*/ 2056915 h 2350760"/>
              <a:gd name="connsiteX7" fmla="*/ 0 w 7091479"/>
              <a:gd name="connsiteY7" fmla="*/ 293845 h 2350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091479" h="2350760">
                <a:moveTo>
                  <a:pt x="0" y="293845"/>
                </a:moveTo>
                <a:lnTo>
                  <a:pt x="5916099" y="293845"/>
                </a:lnTo>
                <a:lnTo>
                  <a:pt x="5916099" y="0"/>
                </a:lnTo>
                <a:lnTo>
                  <a:pt x="7091479" y="1175380"/>
                </a:lnTo>
                <a:lnTo>
                  <a:pt x="5916099" y="2350760"/>
                </a:lnTo>
                <a:lnTo>
                  <a:pt x="5916099" y="2056915"/>
                </a:lnTo>
                <a:lnTo>
                  <a:pt x="0" y="2056915"/>
                </a:lnTo>
                <a:lnTo>
                  <a:pt x="0" y="293845"/>
                </a:lnTo>
                <a:close/>
              </a:path>
            </a:pathLst>
          </a:custGeom>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457200" tIns="385285" rIns="1064415" bIns="305275" numCol="1" spcCol="1270" anchor="t" anchorCtr="0">
            <a:noAutofit/>
          </a:bodyPr>
          <a:lstStyle/>
          <a:p>
            <a:pPr marL="171450" lvl="1" indent="-171450" defTabSz="800100">
              <a:lnSpc>
                <a:spcPct val="90000"/>
              </a:lnSpc>
              <a:spcBef>
                <a:spcPct val="0"/>
              </a:spcBef>
              <a:spcAft>
                <a:spcPct val="15000"/>
              </a:spcAft>
              <a:buChar char="•"/>
            </a:pPr>
            <a:r>
              <a:rPr lang="en-US" dirty="0"/>
              <a:t>Understand the four different consistency levels of DocumentDB </a:t>
            </a:r>
            <a:br>
              <a:rPr lang="en-US" dirty="0"/>
            </a:br>
            <a:r>
              <a:rPr lang="en-US" dirty="0"/>
              <a:t>and how each would impact your application’s consistency, availability, and performance</a:t>
            </a:r>
          </a:p>
        </p:txBody>
      </p:sp>
      <p:sp>
        <p:nvSpPr>
          <p:cNvPr id="11" name="Freeform: Shape 10"/>
          <p:cNvSpPr/>
          <p:nvPr/>
        </p:nvSpPr>
        <p:spPr>
          <a:xfrm>
            <a:off x="1311806" y="3440810"/>
            <a:ext cx="3213523" cy="1576659"/>
          </a:xfrm>
          <a:custGeom>
            <a:avLst/>
            <a:gdLst>
              <a:gd name="connsiteX0" fmla="*/ 0 w 3213523"/>
              <a:gd name="connsiteY0" fmla="*/ 295356 h 1772099"/>
              <a:gd name="connsiteX1" fmla="*/ 295356 w 3213523"/>
              <a:gd name="connsiteY1" fmla="*/ 0 h 1772099"/>
              <a:gd name="connsiteX2" fmla="*/ 2918167 w 3213523"/>
              <a:gd name="connsiteY2" fmla="*/ 0 h 1772099"/>
              <a:gd name="connsiteX3" fmla="*/ 3213523 w 3213523"/>
              <a:gd name="connsiteY3" fmla="*/ 295356 h 1772099"/>
              <a:gd name="connsiteX4" fmla="*/ 3213523 w 3213523"/>
              <a:gd name="connsiteY4" fmla="*/ 1476743 h 1772099"/>
              <a:gd name="connsiteX5" fmla="*/ 2918167 w 3213523"/>
              <a:gd name="connsiteY5" fmla="*/ 1772099 h 1772099"/>
              <a:gd name="connsiteX6" fmla="*/ 295356 w 3213523"/>
              <a:gd name="connsiteY6" fmla="*/ 1772099 h 1772099"/>
              <a:gd name="connsiteX7" fmla="*/ 0 w 3213523"/>
              <a:gd name="connsiteY7" fmla="*/ 1476743 h 1772099"/>
              <a:gd name="connsiteX8" fmla="*/ 0 w 3213523"/>
              <a:gd name="connsiteY8" fmla="*/ 295356 h 17720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13523" h="1772099">
                <a:moveTo>
                  <a:pt x="0" y="295356"/>
                </a:moveTo>
                <a:cubicBezTo>
                  <a:pt x="0" y="132235"/>
                  <a:pt x="132235" y="0"/>
                  <a:pt x="295356" y="0"/>
                </a:cubicBezTo>
                <a:lnTo>
                  <a:pt x="2918167" y="0"/>
                </a:lnTo>
                <a:cubicBezTo>
                  <a:pt x="3081288" y="0"/>
                  <a:pt x="3213523" y="132235"/>
                  <a:pt x="3213523" y="295356"/>
                </a:cubicBezTo>
                <a:lnTo>
                  <a:pt x="3213523" y="1476743"/>
                </a:lnTo>
                <a:cubicBezTo>
                  <a:pt x="3213523" y="1639864"/>
                  <a:pt x="3081288" y="1772099"/>
                  <a:pt x="2918167" y="1772099"/>
                </a:cubicBezTo>
                <a:lnTo>
                  <a:pt x="295356" y="1772099"/>
                </a:lnTo>
                <a:cubicBezTo>
                  <a:pt x="132235" y="1772099"/>
                  <a:pt x="0" y="1639864"/>
                  <a:pt x="0" y="1476743"/>
                </a:cubicBezTo>
                <a:lnTo>
                  <a:pt x="0" y="295356"/>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08427" tIns="147467" rIns="208427" bIns="147467" numCol="1" spcCol="1270" anchor="ctr" anchorCtr="0">
            <a:noAutofit/>
          </a:bodyPr>
          <a:lstStyle/>
          <a:p>
            <a:pPr marL="0" lvl="0" indent="0" algn="ctr" defTabSz="1422400">
              <a:lnSpc>
                <a:spcPct val="90000"/>
              </a:lnSpc>
              <a:spcBef>
                <a:spcPct val="0"/>
              </a:spcBef>
              <a:spcAft>
                <a:spcPct val="35000"/>
              </a:spcAft>
              <a:buNone/>
            </a:pPr>
            <a:r>
              <a:rPr lang="en-US" sz="3200" b="0" kern="1200" dirty="0">
                <a:solidFill>
                  <a:srgbClr val="FFFFFF"/>
                </a:solidFill>
                <a:latin typeface="Segoe UI Semibold" panose="020B0702040204020203" pitchFamily="34" charset="0"/>
                <a:ea typeface="+mn-ea"/>
                <a:cs typeface="Segoe UI Semibold" panose="020B0702040204020203" pitchFamily="34" charset="0"/>
              </a:rPr>
              <a:t>Recommended</a:t>
            </a:r>
          </a:p>
        </p:txBody>
      </p:sp>
      <p:sp>
        <p:nvSpPr>
          <p:cNvPr id="12" name="Freeform: Shape 11"/>
          <p:cNvSpPr/>
          <p:nvPr/>
        </p:nvSpPr>
        <p:spPr>
          <a:xfrm>
            <a:off x="4281381" y="5323367"/>
            <a:ext cx="5659739" cy="1346791"/>
          </a:xfrm>
          <a:custGeom>
            <a:avLst/>
            <a:gdLst>
              <a:gd name="connsiteX0" fmla="*/ 0 w 7125896"/>
              <a:gd name="connsiteY0" fmla="*/ 180910 h 1447281"/>
              <a:gd name="connsiteX1" fmla="*/ 6402256 w 7125896"/>
              <a:gd name="connsiteY1" fmla="*/ 180910 h 1447281"/>
              <a:gd name="connsiteX2" fmla="*/ 6402256 w 7125896"/>
              <a:gd name="connsiteY2" fmla="*/ 0 h 1447281"/>
              <a:gd name="connsiteX3" fmla="*/ 7125896 w 7125896"/>
              <a:gd name="connsiteY3" fmla="*/ 723641 h 1447281"/>
              <a:gd name="connsiteX4" fmla="*/ 6402256 w 7125896"/>
              <a:gd name="connsiteY4" fmla="*/ 1447281 h 1447281"/>
              <a:gd name="connsiteX5" fmla="*/ 6402256 w 7125896"/>
              <a:gd name="connsiteY5" fmla="*/ 1266371 h 1447281"/>
              <a:gd name="connsiteX6" fmla="*/ 0 w 7125896"/>
              <a:gd name="connsiteY6" fmla="*/ 1266371 h 1447281"/>
              <a:gd name="connsiteX7" fmla="*/ 0 w 7125896"/>
              <a:gd name="connsiteY7" fmla="*/ 180910 h 14472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125896" h="1447281">
                <a:moveTo>
                  <a:pt x="0" y="180910"/>
                </a:moveTo>
                <a:lnTo>
                  <a:pt x="6402256" y="180910"/>
                </a:lnTo>
                <a:lnTo>
                  <a:pt x="6402256" y="0"/>
                </a:lnTo>
                <a:lnTo>
                  <a:pt x="7125896" y="723641"/>
                </a:lnTo>
                <a:lnTo>
                  <a:pt x="6402256" y="1447281"/>
                </a:lnTo>
                <a:lnTo>
                  <a:pt x="6402256" y="1266371"/>
                </a:lnTo>
                <a:lnTo>
                  <a:pt x="0" y="1266371"/>
                </a:lnTo>
                <a:lnTo>
                  <a:pt x="0" y="180910"/>
                </a:lnTo>
                <a:close/>
              </a:path>
            </a:pathLst>
          </a:custGeom>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365760" tIns="272350" rIns="640080" bIns="192340" numCol="1" spcCol="1270" anchor="ctr" anchorCtr="0">
            <a:noAutofit/>
          </a:bodyPr>
          <a:lstStyle/>
          <a:p>
            <a:pPr marL="285750" lvl="0" indent="-285750">
              <a:buFont typeface="Arial" panose="020B0604020202020204" pitchFamily="34" charset="0"/>
              <a:buChar char="•"/>
            </a:pPr>
            <a:r>
              <a:rPr lang="en-US" dirty="0"/>
              <a:t>Use data partitioning to scale-out </a:t>
            </a:r>
            <a:r>
              <a:rPr lang="en-US" dirty="0" err="1"/>
              <a:t>DocumentDB</a:t>
            </a:r>
            <a:endParaRPr lang="en-US" dirty="0"/>
          </a:p>
        </p:txBody>
      </p:sp>
      <p:sp>
        <p:nvSpPr>
          <p:cNvPr id="13" name="Freeform: Shape 12"/>
          <p:cNvSpPr/>
          <p:nvPr/>
        </p:nvSpPr>
        <p:spPr>
          <a:xfrm>
            <a:off x="1259112" y="5475034"/>
            <a:ext cx="3210524" cy="1048915"/>
          </a:xfrm>
          <a:custGeom>
            <a:avLst/>
            <a:gdLst>
              <a:gd name="connsiteX0" fmla="*/ 0 w 3210524"/>
              <a:gd name="connsiteY0" fmla="*/ 191185 h 1147089"/>
              <a:gd name="connsiteX1" fmla="*/ 191185 w 3210524"/>
              <a:gd name="connsiteY1" fmla="*/ 0 h 1147089"/>
              <a:gd name="connsiteX2" fmla="*/ 3019339 w 3210524"/>
              <a:gd name="connsiteY2" fmla="*/ 0 h 1147089"/>
              <a:gd name="connsiteX3" fmla="*/ 3210524 w 3210524"/>
              <a:gd name="connsiteY3" fmla="*/ 191185 h 1147089"/>
              <a:gd name="connsiteX4" fmla="*/ 3210524 w 3210524"/>
              <a:gd name="connsiteY4" fmla="*/ 955904 h 1147089"/>
              <a:gd name="connsiteX5" fmla="*/ 3019339 w 3210524"/>
              <a:gd name="connsiteY5" fmla="*/ 1147089 h 1147089"/>
              <a:gd name="connsiteX6" fmla="*/ 191185 w 3210524"/>
              <a:gd name="connsiteY6" fmla="*/ 1147089 h 1147089"/>
              <a:gd name="connsiteX7" fmla="*/ 0 w 3210524"/>
              <a:gd name="connsiteY7" fmla="*/ 955904 h 1147089"/>
              <a:gd name="connsiteX8" fmla="*/ 0 w 3210524"/>
              <a:gd name="connsiteY8" fmla="*/ 191185 h 1147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10524" h="1147089">
                <a:moveTo>
                  <a:pt x="0" y="191185"/>
                </a:moveTo>
                <a:cubicBezTo>
                  <a:pt x="0" y="85596"/>
                  <a:pt x="85596" y="0"/>
                  <a:pt x="191185" y="0"/>
                </a:cubicBezTo>
                <a:lnTo>
                  <a:pt x="3019339" y="0"/>
                </a:lnTo>
                <a:cubicBezTo>
                  <a:pt x="3124928" y="0"/>
                  <a:pt x="3210524" y="85596"/>
                  <a:pt x="3210524" y="191185"/>
                </a:cubicBezTo>
                <a:lnTo>
                  <a:pt x="3210524" y="955904"/>
                </a:lnTo>
                <a:cubicBezTo>
                  <a:pt x="3210524" y="1061493"/>
                  <a:pt x="3124928" y="1147089"/>
                  <a:pt x="3019339" y="1147089"/>
                </a:cubicBezTo>
                <a:lnTo>
                  <a:pt x="191185" y="1147089"/>
                </a:lnTo>
                <a:cubicBezTo>
                  <a:pt x="85596" y="1147089"/>
                  <a:pt x="0" y="1061493"/>
                  <a:pt x="0" y="955904"/>
                </a:cubicBezTo>
                <a:lnTo>
                  <a:pt x="0" y="191185"/>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77916" tIns="116956" rIns="177916" bIns="116956" numCol="1" spcCol="1270" anchor="ctr" anchorCtr="0">
            <a:noAutofit/>
          </a:bodyPr>
          <a:lstStyle/>
          <a:p>
            <a:pPr marL="0" lvl="0" indent="0" algn="ctr" defTabSz="1422400">
              <a:lnSpc>
                <a:spcPct val="90000"/>
              </a:lnSpc>
              <a:spcBef>
                <a:spcPct val="0"/>
              </a:spcBef>
              <a:spcAft>
                <a:spcPct val="35000"/>
              </a:spcAft>
              <a:buNone/>
            </a:pPr>
            <a:r>
              <a:rPr lang="en-US" sz="3200" b="0" kern="1200" dirty="0">
                <a:solidFill>
                  <a:srgbClr val="FFFFFF"/>
                </a:solidFill>
                <a:latin typeface="Segoe UI Semibold" panose="020B0702040204020203" pitchFamily="34" charset="0"/>
                <a:ea typeface="+mn-ea"/>
                <a:cs typeface="Segoe UI Semibold" panose="020B0702040204020203" pitchFamily="34" charset="0"/>
              </a:rPr>
              <a:t>Optional</a:t>
            </a:r>
          </a:p>
        </p:txBody>
      </p:sp>
      <p:sp>
        <p:nvSpPr>
          <p:cNvPr id="4" name="Octagon 3"/>
          <p:cNvSpPr/>
          <p:nvPr/>
        </p:nvSpPr>
        <p:spPr>
          <a:xfrm>
            <a:off x="1107200" y="2749961"/>
            <a:ext cx="443098" cy="439889"/>
          </a:xfrm>
          <a:prstGeom prst="octagon">
            <a:avLst/>
          </a:prstGeom>
          <a:solidFill>
            <a:srgbClr val="CC0000"/>
          </a:solidFill>
        </p:spPr>
        <p:style>
          <a:lnRef idx="1">
            <a:schemeClr val="accent2"/>
          </a:lnRef>
          <a:fillRef idx="3">
            <a:schemeClr val="accent2"/>
          </a:fillRef>
          <a:effectRef idx="2">
            <a:schemeClr val="accent2"/>
          </a:effectRef>
          <a:fontRef idx="minor">
            <a:schemeClr val="lt1"/>
          </a:fontRef>
        </p:style>
        <p:txBody>
          <a:bodyPr rot="0" spcFirstLastPara="0" vert="horz" wrap="square" lIns="68583" tIns="34291" rIns="68583" bIns="34291" numCol="1" spcCol="0" rtlCol="0" fromWordArt="0" anchor="ctr" anchorCtr="0" forceAA="0" compatLnSpc="1">
            <a:prstTxWarp prst="textNoShape">
              <a:avLst/>
            </a:prstTxWarp>
            <a:noAutofit/>
          </a:bodyPr>
          <a:lstStyle/>
          <a:p>
            <a:endParaRPr lang="en-US" sz="1350"/>
          </a:p>
        </p:txBody>
      </p:sp>
      <p:sp>
        <p:nvSpPr>
          <p:cNvPr id="5" name="Isosceles Triangle 4"/>
          <p:cNvSpPr>
            <a:spLocks/>
          </p:cNvSpPr>
          <p:nvPr/>
        </p:nvSpPr>
        <p:spPr>
          <a:xfrm>
            <a:off x="1038785" y="4705328"/>
            <a:ext cx="579874" cy="457219"/>
          </a:xfrm>
          <a:prstGeom prst="triangle">
            <a:avLst/>
          </a:prstGeom>
          <a:solidFill>
            <a:srgbClr val="FFFF00"/>
          </a:solidFill>
        </p:spPr>
        <p:style>
          <a:lnRef idx="1">
            <a:schemeClr val="accent6"/>
          </a:lnRef>
          <a:fillRef idx="3">
            <a:schemeClr val="accent6"/>
          </a:fillRef>
          <a:effectRef idx="2">
            <a:schemeClr val="accent6"/>
          </a:effectRef>
          <a:fontRef idx="minor">
            <a:schemeClr val="lt1"/>
          </a:fontRef>
        </p:style>
        <p:txBody>
          <a:bodyPr rot="0" spcFirstLastPara="0" vert="horz" wrap="square" lIns="68583" tIns="34291" rIns="68583" bIns="34291" numCol="1" spcCol="0" rtlCol="0" fromWordArt="0" anchor="ctr" anchorCtr="0" forceAA="0" compatLnSpc="1">
            <a:prstTxWarp prst="textNoShape">
              <a:avLst/>
            </a:prstTxWarp>
            <a:noAutofit/>
          </a:bodyPr>
          <a:lstStyle/>
          <a:p>
            <a:endParaRPr lang="en-US" sz="1350"/>
          </a:p>
        </p:txBody>
      </p:sp>
      <p:sp>
        <p:nvSpPr>
          <p:cNvPr id="6" name="Oval 5"/>
          <p:cNvSpPr>
            <a:spLocks/>
          </p:cNvSpPr>
          <p:nvPr/>
        </p:nvSpPr>
        <p:spPr>
          <a:xfrm>
            <a:off x="1038785" y="6264074"/>
            <a:ext cx="474539" cy="475477"/>
          </a:xfrm>
          <a:prstGeom prst="ellipse">
            <a:avLst/>
          </a:prstGeom>
          <a:solidFill>
            <a:srgbClr val="00B050"/>
          </a:solidFill>
        </p:spPr>
        <p:style>
          <a:lnRef idx="1">
            <a:schemeClr val="accent3"/>
          </a:lnRef>
          <a:fillRef idx="3">
            <a:schemeClr val="accent3"/>
          </a:fillRef>
          <a:effectRef idx="2">
            <a:schemeClr val="accent3"/>
          </a:effectRef>
          <a:fontRef idx="minor">
            <a:schemeClr val="lt1"/>
          </a:fontRef>
        </p:style>
        <p:txBody>
          <a:bodyPr rot="0" spcFirstLastPara="0" vert="horz" wrap="square" lIns="68583" tIns="34291" rIns="68583" bIns="34291" numCol="1" spcCol="0" rtlCol="0" fromWordArt="0" anchor="ctr" anchorCtr="0" forceAA="0" compatLnSpc="1">
            <a:prstTxWarp prst="textNoShape">
              <a:avLst/>
            </a:prstTxWarp>
            <a:noAutofit/>
          </a:bodyPr>
          <a:lstStyle/>
          <a:p>
            <a:endParaRPr lang="en-US" sz="1350"/>
          </a:p>
        </p:txBody>
      </p:sp>
    </p:spTree>
    <p:extLst>
      <p:ext uri="{BB962C8B-B14F-4D97-AF65-F5344CB8AC3E}">
        <p14:creationId xmlns:p14="http://schemas.microsoft.com/office/powerpoint/2010/main" val="4262354585"/>
      </p:ext>
    </p:extLst>
  </p:cSld>
  <p:clrMapOvr>
    <a:masterClrMapping/>
  </p:clrMapOvr>
  <p:transition>
    <p:fade/>
  </p:transition>
</p:sld>
</file>

<file path=ppt/slides/slide15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Segoe UI Light" panose="020B0502040204020203" pitchFamily="34" charset="0"/>
                <a:cs typeface="Segoe UI Light" panose="020B0502040204020203" pitchFamily="34" charset="0"/>
              </a:rPr>
              <a:t>Azure Search model</a:t>
            </a:r>
            <a:endParaRPr lang="en-US" dirty="0"/>
          </a:p>
        </p:txBody>
      </p:sp>
      <p:pic>
        <p:nvPicPr>
          <p:cNvPr id="4" name="Picture 3"/>
          <p:cNvPicPr>
            <a:picLocks noChangeAspect="1"/>
          </p:cNvPicPr>
          <p:nvPr/>
        </p:nvPicPr>
        <p:blipFill>
          <a:blip r:embed="rId3"/>
          <a:stretch>
            <a:fillRect/>
          </a:stretch>
        </p:blipFill>
        <p:spPr>
          <a:xfrm>
            <a:off x="1881005" y="4487865"/>
            <a:ext cx="8724356" cy="1304925"/>
          </a:xfrm>
          <a:prstGeom prst="rect">
            <a:avLst/>
          </a:prstGeom>
        </p:spPr>
      </p:pic>
      <p:sp>
        <p:nvSpPr>
          <p:cNvPr id="7" name="Text Placeholder 2"/>
          <p:cNvSpPr>
            <a:spLocks noGrp="1"/>
          </p:cNvSpPr>
          <p:nvPr>
            <p:ph type="body" sz="quarter" idx="10"/>
          </p:nvPr>
        </p:nvSpPr>
        <p:spPr>
          <a:xfrm>
            <a:off x="366169" y="1212851"/>
            <a:ext cx="11702552" cy="3545586"/>
          </a:xfrm>
        </p:spPr>
        <p:txBody>
          <a:bodyPr/>
          <a:lstStyle/>
          <a:p>
            <a:r>
              <a:rPr lang="en-US" sz="2800" dirty="0">
                <a:solidFill>
                  <a:schemeClr val="tx1"/>
                </a:solidFill>
              </a:rPr>
              <a:t>While Azure Search does not offer a crawler to index the application data sources, it does provide the infrastructure to intake the index and provides interfaces for the actual search functions. </a:t>
            </a:r>
          </a:p>
          <a:p>
            <a:r>
              <a:rPr lang="en-US" sz="2800" dirty="0">
                <a:solidFill>
                  <a:schemeClr val="tx1"/>
                </a:solidFill>
              </a:rPr>
              <a:t>The service is very targeted at developers, and is not a service that is directly customer-facing. </a:t>
            </a:r>
          </a:p>
          <a:p>
            <a:r>
              <a:rPr lang="en-US" sz="2800" dirty="0">
                <a:solidFill>
                  <a:schemeClr val="tx1"/>
                </a:solidFill>
              </a:rPr>
              <a:t>At a high level, the following is the graphical representation of the steps needed to model the Azure Search Service.</a:t>
            </a:r>
          </a:p>
          <a:p>
            <a:pPr marL="685800" indent="-685800"/>
            <a:endParaRPr lang="en-US" sz="2800" dirty="0">
              <a:solidFill>
                <a:schemeClr val="tx1"/>
              </a:solidFill>
            </a:endParaRPr>
          </a:p>
        </p:txBody>
      </p:sp>
    </p:spTree>
    <p:extLst>
      <p:ext uri="{BB962C8B-B14F-4D97-AF65-F5344CB8AC3E}">
        <p14:creationId xmlns:p14="http://schemas.microsoft.com/office/powerpoint/2010/main" val="12884528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5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Segoe UI Light" panose="020B0502040204020203" pitchFamily="34" charset="0"/>
                <a:cs typeface="Segoe UI Light" panose="020B0502040204020203" pitchFamily="34" charset="0"/>
              </a:rPr>
              <a:t>Azure Search decisions</a:t>
            </a:r>
            <a:endParaRPr lang="en-US" dirty="0"/>
          </a:p>
        </p:txBody>
      </p:sp>
      <p:sp>
        <p:nvSpPr>
          <p:cNvPr id="8" name="Freeform: Shape 7"/>
          <p:cNvSpPr/>
          <p:nvPr/>
        </p:nvSpPr>
        <p:spPr>
          <a:xfrm>
            <a:off x="4416051" y="1112873"/>
            <a:ext cx="5511220" cy="1910273"/>
          </a:xfrm>
          <a:custGeom>
            <a:avLst/>
            <a:gdLst>
              <a:gd name="connsiteX0" fmla="*/ 0 w 6937384"/>
              <a:gd name="connsiteY0" fmla="*/ 171052 h 1368412"/>
              <a:gd name="connsiteX1" fmla="*/ 6253178 w 6937384"/>
              <a:gd name="connsiteY1" fmla="*/ 171052 h 1368412"/>
              <a:gd name="connsiteX2" fmla="*/ 6253178 w 6937384"/>
              <a:gd name="connsiteY2" fmla="*/ 0 h 1368412"/>
              <a:gd name="connsiteX3" fmla="*/ 6937384 w 6937384"/>
              <a:gd name="connsiteY3" fmla="*/ 684206 h 1368412"/>
              <a:gd name="connsiteX4" fmla="*/ 6253178 w 6937384"/>
              <a:gd name="connsiteY4" fmla="*/ 1368412 h 1368412"/>
              <a:gd name="connsiteX5" fmla="*/ 6253178 w 6937384"/>
              <a:gd name="connsiteY5" fmla="*/ 1197361 h 1368412"/>
              <a:gd name="connsiteX6" fmla="*/ 0 w 6937384"/>
              <a:gd name="connsiteY6" fmla="*/ 1197361 h 1368412"/>
              <a:gd name="connsiteX7" fmla="*/ 0 w 6937384"/>
              <a:gd name="connsiteY7" fmla="*/ 171052 h 13684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937384" h="1368412">
                <a:moveTo>
                  <a:pt x="0" y="171052"/>
                </a:moveTo>
                <a:lnTo>
                  <a:pt x="6253178" y="171052"/>
                </a:lnTo>
                <a:lnTo>
                  <a:pt x="6253178" y="0"/>
                </a:lnTo>
                <a:lnTo>
                  <a:pt x="6937384" y="684206"/>
                </a:lnTo>
                <a:lnTo>
                  <a:pt x="6253178" y="1368412"/>
                </a:lnTo>
                <a:lnTo>
                  <a:pt x="6253178" y="1197361"/>
                </a:lnTo>
                <a:lnTo>
                  <a:pt x="0" y="1197361"/>
                </a:lnTo>
                <a:lnTo>
                  <a:pt x="0" y="171052"/>
                </a:lnTo>
                <a:close/>
              </a:path>
            </a:pathLst>
          </a:custGeom>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228600" tIns="457200" rIns="696034" bIns="182481" numCol="1" spcCol="1270" anchor="t" anchorCtr="0">
            <a:noAutofit/>
          </a:bodyPr>
          <a:lstStyle/>
          <a:p>
            <a:pPr marL="285750" lvl="1" indent="-285750" defTabSz="800100">
              <a:lnSpc>
                <a:spcPct val="90000"/>
              </a:lnSpc>
              <a:spcBef>
                <a:spcPct val="0"/>
              </a:spcBef>
              <a:spcAft>
                <a:spcPct val="15000"/>
              </a:spcAft>
              <a:buFont typeface="Arial" panose="020B0604020202020204" pitchFamily="34" charset="0"/>
              <a:buChar char="•"/>
            </a:pPr>
            <a:r>
              <a:rPr lang="en-US" dirty="0"/>
              <a:t>Construct and update indexes for Azure Search consumption via back-end services. PaaS based worker roles work well for these types of jobs</a:t>
            </a:r>
          </a:p>
        </p:txBody>
      </p:sp>
      <p:sp>
        <p:nvSpPr>
          <p:cNvPr id="9" name="Freeform: Shape 8"/>
          <p:cNvSpPr/>
          <p:nvPr/>
        </p:nvSpPr>
        <p:spPr>
          <a:xfrm>
            <a:off x="1328722" y="1350715"/>
            <a:ext cx="3221976" cy="1420537"/>
          </a:xfrm>
          <a:custGeom>
            <a:avLst/>
            <a:gdLst>
              <a:gd name="connsiteX0" fmla="*/ 0 w 3221976"/>
              <a:gd name="connsiteY0" fmla="*/ 188426 h 1130532"/>
              <a:gd name="connsiteX1" fmla="*/ 188426 w 3221976"/>
              <a:gd name="connsiteY1" fmla="*/ 0 h 1130532"/>
              <a:gd name="connsiteX2" fmla="*/ 3033550 w 3221976"/>
              <a:gd name="connsiteY2" fmla="*/ 0 h 1130532"/>
              <a:gd name="connsiteX3" fmla="*/ 3221976 w 3221976"/>
              <a:gd name="connsiteY3" fmla="*/ 188426 h 1130532"/>
              <a:gd name="connsiteX4" fmla="*/ 3221976 w 3221976"/>
              <a:gd name="connsiteY4" fmla="*/ 942106 h 1130532"/>
              <a:gd name="connsiteX5" fmla="*/ 3033550 w 3221976"/>
              <a:gd name="connsiteY5" fmla="*/ 1130532 h 1130532"/>
              <a:gd name="connsiteX6" fmla="*/ 188426 w 3221976"/>
              <a:gd name="connsiteY6" fmla="*/ 1130532 h 1130532"/>
              <a:gd name="connsiteX7" fmla="*/ 0 w 3221976"/>
              <a:gd name="connsiteY7" fmla="*/ 942106 h 1130532"/>
              <a:gd name="connsiteX8" fmla="*/ 0 w 3221976"/>
              <a:gd name="connsiteY8" fmla="*/ 188426 h 11305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21976" h="1130532">
                <a:moveTo>
                  <a:pt x="0" y="188426"/>
                </a:moveTo>
                <a:cubicBezTo>
                  <a:pt x="0" y="84361"/>
                  <a:pt x="84361" y="0"/>
                  <a:pt x="188426" y="0"/>
                </a:cubicBezTo>
                <a:lnTo>
                  <a:pt x="3033550" y="0"/>
                </a:lnTo>
                <a:cubicBezTo>
                  <a:pt x="3137615" y="0"/>
                  <a:pt x="3221976" y="84361"/>
                  <a:pt x="3221976" y="188426"/>
                </a:cubicBezTo>
                <a:lnTo>
                  <a:pt x="3221976" y="942106"/>
                </a:lnTo>
                <a:cubicBezTo>
                  <a:pt x="3221976" y="1046171"/>
                  <a:pt x="3137615" y="1130532"/>
                  <a:pt x="3033550" y="1130532"/>
                </a:cubicBezTo>
                <a:lnTo>
                  <a:pt x="188426" y="1130532"/>
                </a:lnTo>
                <a:cubicBezTo>
                  <a:pt x="84361" y="1130532"/>
                  <a:pt x="0" y="1046171"/>
                  <a:pt x="0" y="942106"/>
                </a:cubicBezTo>
                <a:lnTo>
                  <a:pt x="0" y="188426"/>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77108" tIns="116148" rIns="177108" bIns="116148" numCol="1" spcCol="1270" anchor="ctr" anchorCtr="0">
            <a:noAutofit/>
          </a:bodyPr>
          <a:lstStyle/>
          <a:p>
            <a:pPr marL="0" lvl="0" indent="0" algn="ctr" defTabSz="1422400">
              <a:lnSpc>
                <a:spcPct val="90000"/>
              </a:lnSpc>
              <a:spcBef>
                <a:spcPct val="0"/>
              </a:spcBef>
              <a:spcAft>
                <a:spcPct val="35000"/>
              </a:spcAft>
              <a:buNone/>
            </a:pPr>
            <a:r>
              <a:rPr lang="en-US" sz="3200" b="0" kern="1200" dirty="0">
                <a:latin typeface="Segoe UI Semibold" panose="020B0702040204020203" pitchFamily="34" charset="0"/>
                <a:cs typeface="Segoe UI Semibold" panose="020B0702040204020203" pitchFamily="34" charset="0"/>
              </a:rPr>
              <a:t>Mandatory</a:t>
            </a:r>
          </a:p>
        </p:txBody>
      </p:sp>
      <p:sp>
        <p:nvSpPr>
          <p:cNvPr id="10" name="Freeform: Shape 9"/>
          <p:cNvSpPr/>
          <p:nvPr/>
        </p:nvSpPr>
        <p:spPr>
          <a:xfrm>
            <a:off x="4174858" y="3197706"/>
            <a:ext cx="5777216" cy="1507622"/>
          </a:xfrm>
          <a:custGeom>
            <a:avLst/>
            <a:gdLst>
              <a:gd name="connsiteX0" fmla="*/ 0 w 7091479"/>
              <a:gd name="connsiteY0" fmla="*/ 293845 h 2350760"/>
              <a:gd name="connsiteX1" fmla="*/ 5916099 w 7091479"/>
              <a:gd name="connsiteY1" fmla="*/ 293845 h 2350760"/>
              <a:gd name="connsiteX2" fmla="*/ 5916099 w 7091479"/>
              <a:gd name="connsiteY2" fmla="*/ 0 h 2350760"/>
              <a:gd name="connsiteX3" fmla="*/ 7091479 w 7091479"/>
              <a:gd name="connsiteY3" fmla="*/ 1175380 h 2350760"/>
              <a:gd name="connsiteX4" fmla="*/ 5916099 w 7091479"/>
              <a:gd name="connsiteY4" fmla="*/ 2350760 h 2350760"/>
              <a:gd name="connsiteX5" fmla="*/ 5916099 w 7091479"/>
              <a:gd name="connsiteY5" fmla="*/ 2056915 h 2350760"/>
              <a:gd name="connsiteX6" fmla="*/ 0 w 7091479"/>
              <a:gd name="connsiteY6" fmla="*/ 2056915 h 2350760"/>
              <a:gd name="connsiteX7" fmla="*/ 0 w 7091479"/>
              <a:gd name="connsiteY7" fmla="*/ 293845 h 2350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091479" h="2350760">
                <a:moveTo>
                  <a:pt x="0" y="293845"/>
                </a:moveTo>
                <a:lnTo>
                  <a:pt x="5916099" y="293845"/>
                </a:lnTo>
                <a:lnTo>
                  <a:pt x="5916099" y="0"/>
                </a:lnTo>
                <a:lnTo>
                  <a:pt x="7091479" y="1175380"/>
                </a:lnTo>
                <a:lnTo>
                  <a:pt x="5916099" y="2350760"/>
                </a:lnTo>
                <a:lnTo>
                  <a:pt x="5916099" y="2056915"/>
                </a:lnTo>
                <a:lnTo>
                  <a:pt x="0" y="2056915"/>
                </a:lnTo>
                <a:lnTo>
                  <a:pt x="0" y="293845"/>
                </a:lnTo>
                <a:close/>
              </a:path>
            </a:pathLst>
          </a:custGeom>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457200" tIns="385285" rIns="1064415" bIns="305275" numCol="1" spcCol="1270" anchor="t" anchorCtr="0">
            <a:noAutofit/>
          </a:bodyPr>
          <a:lstStyle/>
          <a:p>
            <a:pPr marL="285750" lvl="1" indent="-285750" defTabSz="800100">
              <a:lnSpc>
                <a:spcPct val="90000"/>
              </a:lnSpc>
              <a:spcBef>
                <a:spcPct val="0"/>
              </a:spcBef>
              <a:spcAft>
                <a:spcPct val="15000"/>
              </a:spcAft>
              <a:buFont typeface="Arial" panose="020B0604020202020204" pitchFamily="34" charset="0"/>
              <a:buChar char="•"/>
            </a:pPr>
            <a:r>
              <a:rPr lang="en-US" dirty="0"/>
              <a:t>Add additional attributes to the index to support advanced features such as auto suggestions</a:t>
            </a:r>
          </a:p>
        </p:txBody>
      </p:sp>
      <p:sp>
        <p:nvSpPr>
          <p:cNvPr id="11" name="Freeform: Shape 10"/>
          <p:cNvSpPr/>
          <p:nvPr/>
        </p:nvSpPr>
        <p:spPr>
          <a:xfrm>
            <a:off x="1328722" y="3361855"/>
            <a:ext cx="3213523" cy="1174703"/>
          </a:xfrm>
          <a:custGeom>
            <a:avLst/>
            <a:gdLst>
              <a:gd name="connsiteX0" fmla="*/ 0 w 3213523"/>
              <a:gd name="connsiteY0" fmla="*/ 295356 h 1772099"/>
              <a:gd name="connsiteX1" fmla="*/ 295356 w 3213523"/>
              <a:gd name="connsiteY1" fmla="*/ 0 h 1772099"/>
              <a:gd name="connsiteX2" fmla="*/ 2918167 w 3213523"/>
              <a:gd name="connsiteY2" fmla="*/ 0 h 1772099"/>
              <a:gd name="connsiteX3" fmla="*/ 3213523 w 3213523"/>
              <a:gd name="connsiteY3" fmla="*/ 295356 h 1772099"/>
              <a:gd name="connsiteX4" fmla="*/ 3213523 w 3213523"/>
              <a:gd name="connsiteY4" fmla="*/ 1476743 h 1772099"/>
              <a:gd name="connsiteX5" fmla="*/ 2918167 w 3213523"/>
              <a:gd name="connsiteY5" fmla="*/ 1772099 h 1772099"/>
              <a:gd name="connsiteX6" fmla="*/ 295356 w 3213523"/>
              <a:gd name="connsiteY6" fmla="*/ 1772099 h 1772099"/>
              <a:gd name="connsiteX7" fmla="*/ 0 w 3213523"/>
              <a:gd name="connsiteY7" fmla="*/ 1476743 h 1772099"/>
              <a:gd name="connsiteX8" fmla="*/ 0 w 3213523"/>
              <a:gd name="connsiteY8" fmla="*/ 295356 h 17720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13523" h="1772099">
                <a:moveTo>
                  <a:pt x="0" y="295356"/>
                </a:moveTo>
                <a:cubicBezTo>
                  <a:pt x="0" y="132235"/>
                  <a:pt x="132235" y="0"/>
                  <a:pt x="295356" y="0"/>
                </a:cubicBezTo>
                <a:lnTo>
                  <a:pt x="2918167" y="0"/>
                </a:lnTo>
                <a:cubicBezTo>
                  <a:pt x="3081288" y="0"/>
                  <a:pt x="3213523" y="132235"/>
                  <a:pt x="3213523" y="295356"/>
                </a:cubicBezTo>
                <a:lnTo>
                  <a:pt x="3213523" y="1476743"/>
                </a:lnTo>
                <a:cubicBezTo>
                  <a:pt x="3213523" y="1639864"/>
                  <a:pt x="3081288" y="1772099"/>
                  <a:pt x="2918167" y="1772099"/>
                </a:cubicBezTo>
                <a:lnTo>
                  <a:pt x="295356" y="1772099"/>
                </a:lnTo>
                <a:cubicBezTo>
                  <a:pt x="132235" y="1772099"/>
                  <a:pt x="0" y="1639864"/>
                  <a:pt x="0" y="1476743"/>
                </a:cubicBezTo>
                <a:lnTo>
                  <a:pt x="0" y="295356"/>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08427" tIns="147467" rIns="208427" bIns="147467" numCol="1" spcCol="1270" anchor="ctr" anchorCtr="0">
            <a:noAutofit/>
          </a:bodyPr>
          <a:lstStyle/>
          <a:p>
            <a:pPr marL="0" lvl="0" indent="0" algn="ctr" defTabSz="1422400">
              <a:lnSpc>
                <a:spcPct val="90000"/>
              </a:lnSpc>
              <a:spcBef>
                <a:spcPct val="0"/>
              </a:spcBef>
              <a:spcAft>
                <a:spcPct val="35000"/>
              </a:spcAft>
              <a:buNone/>
            </a:pPr>
            <a:r>
              <a:rPr lang="en-US" sz="3200" b="0" kern="1200" dirty="0">
                <a:solidFill>
                  <a:srgbClr val="FFFFFF"/>
                </a:solidFill>
                <a:latin typeface="Segoe UI Semibold" panose="020B0702040204020203" pitchFamily="34" charset="0"/>
                <a:ea typeface="+mn-ea"/>
                <a:cs typeface="Segoe UI Semibold" panose="020B0702040204020203" pitchFamily="34" charset="0"/>
              </a:rPr>
              <a:t>Recommended</a:t>
            </a:r>
          </a:p>
        </p:txBody>
      </p:sp>
      <p:sp>
        <p:nvSpPr>
          <p:cNvPr id="12" name="Freeform: Shape 11"/>
          <p:cNvSpPr/>
          <p:nvPr/>
        </p:nvSpPr>
        <p:spPr>
          <a:xfrm>
            <a:off x="4281381" y="4879889"/>
            <a:ext cx="5659739" cy="1859662"/>
          </a:xfrm>
          <a:custGeom>
            <a:avLst/>
            <a:gdLst>
              <a:gd name="connsiteX0" fmla="*/ 0 w 7125896"/>
              <a:gd name="connsiteY0" fmla="*/ 180910 h 1447281"/>
              <a:gd name="connsiteX1" fmla="*/ 6402256 w 7125896"/>
              <a:gd name="connsiteY1" fmla="*/ 180910 h 1447281"/>
              <a:gd name="connsiteX2" fmla="*/ 6402256 w 7125896"/>
              <a:gd name="connsiteY2" fmla="*/ 0 h 1447281"/>
              <a:gd name="connsiteX3" fmla="*/ 7125896 w 7125896"/>
              <a:gd name="connsiteY3" fmla="*/ 723641 h 1447281"/>
              <a:gd name="connsiteX4" fmla="*/ 6402256 w 7125896"/>
              <a:gd name="connsiteY4" fmla="*/ 1447281 h 1447281"/>
              <a:gd name="connsiteX5" fmla="*/ 6402256 w 7125896"/>
              <a:gd name="connsiteY5" fmla="*/ 1266371 h 1447281"/>
              <a:gd name="connsiteX6" fmla="*/ 0 w 7125896"/>
              <a:gd name="connsiteY6" fmla="*/ 1266371 h 1447281"/>
              <a:gd name="connsiteX7" fmla="*/ 0 w 7125896"/>
              <a:gd name="connsiteY7" fmla="*/ 180910 h 14472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125896" h="1447281">
                <a:moveTo>
                  <a:pt x="0" y="180910"/>
                </a:moveTo>
                <a:lnTo>
                  <a:pt x="6402256" y="180910"/>
                </a:lnTo>
                <a:lnTo>
                  <a:pt x="6402256" y="0"/>
                </a:lnTo>
                <a:lnTo>
                  <a:pt x="7125896" y="723641"/>
                </a:lnTo>
                <a:lnTo>
                  <a:pt x="6402256" y="1447281"/>
                </a:lnTo>
                <a:lnTo>
                  <a:pt x="6402256" y="1266371"/>
                </a:lnTo>
                <a:lnTo>
                  <a:pt x="0" y="1266371"/>
                </a:lnTo>
                <a:lnTo>
                  <a:pt x="0" y="180910"/>
                </a:lnTo>
                <a:close/>
              </a:path>
            </a:pathLst>
          </a:custGeom>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365760" tIns="365760" rIns="640080" bIns="192340" numCol="1" spcCol="1270" anchor="t" anchorCtr="0">
            <a:noAutofit/>
          </a:bodyPr>
          <a:lstStyle/>
          <a:p>
            <a:pPr marL="285750" lvl="0" indent="-285750">
              <a:buFont typeface="Arial" panose="020B0604020202020204" pitchFamily="34" charset="0"/>
              <a:buChar char="•"/>
            </a:pPr>
            <a:r>
              <a:rPr lang="en-US" dirty="0"/>
              <a:t>Build monitoring data integration to existing monitors to ensure storage </a:t>
            </a:r>
            <a:br>
              <a:rPr lang="en-US" dirty="0"/>
            </a:br>
            <a:r>
              <a:rPr lang="en-US" dirty="0"/>
              <a:t>or indexes don’t exceed the limits </a:t>
            </a:r>
            <a:br>
              <a:rPr lang="en-US" dirty="0"/>
            </a:br>
            <a:r>
              <a:rPr lang="en-US" dirty="0"/>
              <a:t>for the service</a:t>
            </a:r>
          </a:p>
        </p:txBody>
      </p:sp>
      <p:sp>
        <p:nvSpPr>
          <p:cNvPr id="13" name="Freeform: Shape 12"/>
          <p:cNvSpPr/>
          <p:nvPr/>
        </p:nvSpPr>
        <p:spPr>
          <a:xfrm>
            <a:off x="1259112" y="5075274"/>
            <a:ext cx="3210524" cy="1448676"/>
          </a:xfrm>
          <a:custGeom>
            <a:avLst/>
            <a:gdLst>
              <a:gd name="connsiteX0" fmla="*/ 0 w 3210524"/>
              <a:gd name="connsiteY0" fmla="*/ 191185 h 1147089"/>
              <a:gd name="connsiteX1" fmla="*/ 191185 w 3210524"/>
              <a:gd name="connsiteY1" fmla="*/ 0 h 1147089"/>
              <a:gd name="connsiteX2" fmla="*/ 3019339 w 3210524"/>
              <a:gd name="connsiteY2" fmla="*/ 0 h 1147089"/>
              <a:gd name="connsiteX3" fmla="*/ 3210524 w 3210524"/>
              <a:gd name="connsiteY3" fmla="*/ 191185 h 1147089"/>
              <a:gd name="connsiteX4" fmla="*/ 3210524 w 3210524"/>
              <a:gd name="connsiteY4" fmla="*/ 955904 h 1147089"/>
              <a:gd name="connsiteX5" fmla="*/ 3019339 w 3210524"/>
              <a:gd name="connsiteY5" fmla="*/ 1147089 h 1147089"/>
              <a:gd name="connsiteX6" fmla="*/ 191185 w 3210524"/>
              <a:gd name="connsiteY6" fmla="*/ 1147089 h 1147089"/>
              <a:gd name="connsiteX7" fmla="*/ 0 w 3210524"/>
              <a:gd name="connsiteY7" fmla="*/ 955904 h 1147089"/>
              <a:gd name="connsiteX8" fmla="*/ 0 w 3210524"/>
              <a:gd name="connsiteY8" fmla="*/ 191185 h 1147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10524" h="1147089">
                <a:moveTo>
                  <a:pt x="0" y="191185"/>
                </a:moveTo>
                <a:cubicBezTo>
                  <a:pt x="0" y="85596"/>
                  <a:pt x="85596" y="0"/>
                  <a:pt x="191185" y="0"/>
                </a:cubicBezTo>
                <a:lnTo>
                  <a:pt x="3019339" y="0"/>
                </a:lnTo>
                <a:cubicBezTo>
                  <a:pt x="3124928" y="0"/>
                  <a:pt x="3210524" y="85596"/>
                  <a:pt x="3210524" y="191185"/>
                </a:cubicBezTo>
                <a:lnTo>
                  <a:pt x="3210524" y="955904"/>
                </a:lnTo>
                <a:cubicBezTo>
                  <a:pt x="3210524" y="1061493"/>
                  <a:pt x="3124928" y="1147089"/>
                  <a:pt x="3019339" y="1147089"/>
                </a:cubicBezTo>
                <a:lnTo>
                  <a:pt x="191185" y="1147089"/>
                </a:lnTo>
                <a:cubicBezTo>
                  <a:pt x="85596" y="1147089"/>
                  <a:pt x="0" y="1061493"/>
                  <a:pt x="0" y="955904"/>
                </a:cubicBezTo>
                <a:lnTo>
                  <a:pt x="0" y="191185"/>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77916" tIns="116956" rIns="177916" bIns="116956" numCol="1" spcCol="1270" anchor="ctr" anchorCtr="0">
            <a:noAutofit/>
          </a:bodyPr>
          <a:lstStyle/>
          <a:p>
            <a:pPr marL="0" lvl="0" indent="0" algn="ctr" defTabSz="1422400">
              <a:lnSpc>
                <a:spcPct val="90000"/>
              </a:lnSpc>
              <a:spcBef>
                <a:spcPct val="0"/>
              </a:spcBef>
              <a:spcAft>
                <a:spcPct val="35000"/>
              </a:spcAft>
              <a:buNone/>
            </a:pPr>
            <a:r>
              <a:rPr lang="en-US" sz="3200" b="0" kern="1200" dirty="0">
                <a:solidFill>
                  <a:srgbClr val="FFFFFF"/>
                </a:solidFill>
                <a:latin typeface="Segoe UI Semibold" panose="020B0702040204020203" pitchFamily="34" charset="0"/>
                <a:ea typeface="+mn-ea"/>
                <a:cs typeface="Segoe UI Semibold" panose="020B0702040204020203" pitchFamily="34" charset="0"/>
              </a:rPr>
              <a:t>Optional</a:t>
            </a:r>
          </a:p>
        </p:txBody>
      </p:sp>
      <p:sp>
        <p:nvSpPr>
          <p:cNvPr id="4" name="Octagon 3"/>
          <p:cNvSpPr/>
          <p:nvPr/>
        </p:nvSpPr>
        <p:spPr>
          <a:xfrm>
            <a:off x="1107200" y="2495512"/>
            <a:ext cx="443098" cy="439889"/>
          </a:xfrm>
          <a:prstGeom prst="octagon">
            <a:avLst/>
          </a:prstGeom>
          <a:solidFill>
            <a:srgbClr val="CC0000"/>
          </a:solidFill>
        </p:spPr>
        <p:style>
          <a:lnRef idx="1">
            <a:schemeClr val="accent2"/>
          </a:lnRef>
          <a:fillRef idx="3">
            <a:schemeClr val="accent2"/>
          </a:fillRef>
          <a:effectRef idx="2">
            <a:schemeClr val="accent2"/>
          </a:effectRef>
          <a:fontRef idx="minor">
            <a:schemeClr val="lt1"/>
          </a:fontRef>
        </p:style>
        <p:txBody>
          <a:bodyPr rot="0" spcFirstLastPara="0" vert="horz" wrap="square" lIns="68583" tIns="34291" rIns="68583" bIns="34291" numCol="1" spcCol="0" rtlCol="0" fromWordArt="0" anchor="ctr" anchorCtr="0" forceAA="0" compatLnSpc="1">
            <a:prstTxWarp prst="textNoShape">
              <a:avLst/>
            </a:prstTxWarp>
            <a:noAutofit/>
          </a:bodyPr>
          <a:lstStyle/>
          <a:p>
            <a:endParaRPr lang="en-US" sz="1350" dirty="0"/>
          </a:p>
        </p:txBody>
      </p:sp>
      <p:sp>
        <p:nvSpPr>
          <p:cNvPr id="5" name="Isosceles Triangle 4"/>
          <p:cNvSpPr>
            <a:spLocks/>
          </p:cNvSpPr>
          <p:nvPr/>
        </p:nvSpPr>
        <p:spPr>
          <a:xfrm>
            <a:off x="1038785" y="4241153"/>
            <a:ext cx="579874" cy="457219"/>
          </a:xfrm>
          <a:prstGeom prst="triangle">
            <a:avLst/>
          </a:prstGeom>
          <a:solidFill>
            <a:srgbClr val="FFFF00"/>
          </a:solidFill>
        </p:spPr>
        <p:style>
          <a:lnRef idx="1">
            <a:schemeClr val="accent6"/>
          </a:lnRef>
          <a:fillRef idx="3">
            <a:schemeClr val="accent6"/>
          </a:fillRef>
          <a:effectRef idx="2">
            <a:schemeClr val="accent6"/>
          </a:effectRef>
          <a:fontRef idx="minor">
            <a:schemeClr val="lt1"/>
          </a:fontRef>
        </p:style>
        <p:txBody>
          <a:bodyPr rot="0" spcFirstLastPara="0" vert="horz" wrap="square" lIns="68583" tIns="34291" rIns="68583" bIns="34291" numCol="1" spcCol="0" rtlCol="0" fromWordArt="0" anchor="ctr" anchorCtr="0" forceAA="0" compatLnSpc="1">
            <a:prstTxWarp prst="textNoShape">
              <a:avLst/>
            </a:prstTxWarp>
            <a:noAutofit/>
          </a:bodyPr>
          <a:lstStyle/>
          <a:p>
            <a:endParaRPr lang="en-US" sz="1350"/>
          </a:p>
        </p:txBody>
      </p:sp>
      <p:sp>
        <p:nvSpPr>
          <p:cNvPr id="6" name="Oval 5"/>
          <p:cNvSpPr>
            <a:spLocks/>
          </p:cNvSpPr>
          <p:nvPr/>
        </p:nvSpPr>
        <p:spPr>
          <a:xfrm>
            <a:off x="1038785" y="6264074"/>
            <a:ext cx="474539" cy="475477"/>
          </a:xfrm>
          <a:prstGeom prst="ellipse">
            <a:avLst/>
          </a:prstGeom>
          <a:solidFill>
            <a:srgbClr val="00B050"/>
          </a:solidFill>
        </p:spPr>
        <p:style>
          <a:lnRef idx="1">
            <a:schemeClr val="accent3"/>
          </a:lnRef>
          <a:fillRef idx="3">
            <a:schemeClr val="accent3"/>
          </a:fillRef>
          <a:effectRef idx="2">
            <a:schemeClr val="accent3"/>
          </a:effectRef>
          <a:fontRef idx="minor">
            <a:schemeClr val="lt1"/>
          </a:fontRef>
        </p:style>
        <p:txBody>
          <a:bodyPr rot="0" spcFirstLastPara="0" vert="horz" wrap="square" lIns="68583" tIns="34291" rIns="68583" bIns="34291" numCol="1" spcCol="0" rtlCol="0" fromWordArt="0" anchor="ctr" anchorCtr="0" forceAA="0" compatLnSpc="1">
            <a:prstTxWarp prst="textNoShape">
              <a:avLst/>
            </a:prstTxWarp>
            <a:noAutofit/>
          </a:bodyPr>
          <a:lstStyle/>
          <a:p>
            <a:endParaRPr lang="en-US" sz="1350"/>
          </a:p>
        </p:txBody>
      </p:sp>
    </p:spTree>
    <p:extLst>
      <p:ext uri="{BB962C8B-B14F-4D97-AF65-F5344CB8AC3E}">
        <p14:creationId xmlns:p14="http://schemas.microsoft.com/office/powerpoint/2010/main" val="3108296362"/>
      </p:ext>
    </p:extLst>
  </p:cSld>
  <p:clrMapOvr>
    <a:masterClrMapping/>
  </p:clrMapOvr>
  <p:transition>
    <p:fade/>
  </p:transition>
</p:sld>
</file>

<file path=ppt/slides/slide15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366168" y="2989432"/>
            <a:ext cx="7583733" cy="1098762"/>
          </a:xfrm>
        </p:spPr>
        <p:txBody>
          <a:bodyPr/>
          <a:lstStyle/>
          <a:p>
            <a:r>
              <a:rPr lang="en-US" dirty="0"/>
              <a:t>Table storage</a:t>
            </a:r>
          </a:p>
        </p:txBody>
      </p:sp>
    </p:spTree>
    <p:extLst>
      <p:ext uri="{BB962C8B-B14F-4D97-AF65-F5344CB8AC3E}">
        <p14:creationId xmlns:p14="http://schemas.microsoft.com/office/powerpoint/2010/main" val="294470182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5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366168" y="1212851"/>
            <a:ext cx="5637683" cy="4259628"/>
          </a:xfrm>
        </p:spPr>
        <p:txBody>
          <a:bodyPr/>
          <a:lstStyle/>
          <a:p>
            <a:pPr marL="342900" lvl="1" indent="-342900"/>
            <a:r>
              <a:rPr lang="en-US" dirty="0"/>
              <a:t>NoSQL key-value store </a:t>
            </a:r>
          </a:p>
          <a:p>
            <a:pPr marL="342900" lvl="1" indent="-342900"/>
            <a:r>
              <a:rPr lang="en-US" dirty="0"/>
              <a:t>Flexible schema </a:t>
            </a:r>
          </a:p>
          <a:p>
            <a:pPr marL="342900" lvl="1" indent="-342900"/>
            <a:r>
              <a:rPr lang="en-US" dirty="0"/>
              <a:t>Enables rapid development</a:t>
            </a:r>
          </a:p>
          <a:p>
            <a:pPr marL="342900" lvl="1" indent="-342900"/>
            <a:r>
              <a:rPr lang="en-US" dirty="0"/>
              <a:t>Scaling from few records </a:t>
            </a:r>
            <a:br>
              <a:rPr lang="en-US" dirty="0"/>
            </a:br>
            <a:r>
              <a:rPr lang="en-US" dirty="0"/>
              <a:t>to millions of records</a:t>
            </a:r>
          </a:p>
          <a:p>
            <a:pPr marL="342900" lvl="1" indent="-342900"/>
            <a:r>
              <a:rPr lang="en-US" dirty="0"/>
              <a:t>Strong consistency model</a:t>
            </a:r>
          </a:p>
          <a:p>
            <a:pPr marL="0" indent="0">
              <a:buNone/>
            </a:pPr>
            <a:r>
              <a:rPr lang="en-US" sz="2800" dirty="0"/>
              <a:t>Usage examples:</a:t>
            </a:r>
            <a:endParaRPr lang="en-US" sz="800" dirty="0">
              <a:solidFill>
                <a:schemeClr val="tx1"/>
              </a:solidFill>
            </a:endParaRPr>
          </a:p>
          <a:p>
            <a:pPr marL="342900" lvl="1" indent="-342900"/>
            <a:r>
              <a:rPr lang="en-US" dirty="0"/>
              <a:t>Shopping cart</a:t>
            </a:r>
          </a:p>
          <a:p>
            <a:pPr marL="342900" lvl="1" indent="-342900"/>
            <a:r>
              <a:rPr lang="en-US" dirty="0"/>
              <a:t>Address book</a:t>
            </a:r>
          </a:p>
          <a:p>
            <a:pPr marL="342900" lvl="1" indent="-342900"/>
            <a:r>
              <a:rPr lang="en-US" dirty="0"/>
              <a:t>Device information</a:t>
            </a:r>
          </a:p>
          <a:p>
            <a:pPr marL="342900" lvl="1" indent="-342900"/>
            <a:r>
              <a:rPr lang="en-US" dirty="0"/>
              <a:t>Server status</a:t>
            </a:r>
          </a:p>
          <a:p>
            <a:pPr marL="342900" lvl="1" indent="-342900"/>
            <a:r>
              <a:rPr lang="en-US" dirty="0"/>
              <a:t>Events and metrics</a:t>
            </a:r>
          </a:p>
        </p:txBody>
      </p:sp>
      <p:sp>
        <p:nvSpPr>
          <p:cNvPr id="2" name="Title 1"/>
          <p:cNvSpPr>
            <a:spLocks noGrp="1"/>
          </p:cNvSpPr>
          <p:nvPr>
            <p:ph type="title"/>
          </p:nvPr>
        </p:nvSpPr>
        <p:spPr/>
        <p:txBody>
          <a:bodyPr/>
          <a:lstStyle/>
          <a:p>
            <a:r>
              <a:rPr lang="en-US" dirty="0"/>
              <a:t>Azure Tables</a:t>
            </a:r>
          </a:p>
        </p:txBody>
      </p:sp>
      <p:sp>
        <p:nvSpPr>
          <p:cNvPr id="7" name="Rectangle 6"/>
          <p:cNvSpPr/>
          <p:nvPr/>
        </p:nvSpPr>
        <p:spPr bwMode="auto">
          <a:xfrm>
            <a:off x="5640609" y="2114757"/>
            <a:ext cx="6602261" cy="3693479"/>
          </a:xfrm>
          <a:prstGeom prst="rect">
            <a:avLst/>
          </a:prstGeom>
          <a:solidFill>
            <a:schemeClr val="accent6"/>
          </a:solidFill>
          <a:ln>
            <a:solidFill>
              <a:schemeClr val="tx1">
                <a:lumMod val="7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398" fontAlgn="base">
              <a:spcBef>
                <a:spcPct val="0"/>
              </a:spcBef>
              <a:spcAft>
                <a:spcPct val="0"/>
              </a:spcAft>
            </a:pPr>
            <a:endParaRPr lang="en-US" dirty="0">
              <a:gradFill>
                <a:gsLst>
                  <a:gs pos="16814">
                    <a:srgbClr val="FFFFFF"/>
                  </a:gs>
                  <a:gs pos="46000">
                    <a:srgbClr val="FFFFFF"/>
                  </a:gs>
                </a:gsLst>
                <a:lin ang="5400000" scaled="0"/>
              </a:gradFill>
            </a:endParaRPr>
          </a:p>
        </p:txBody>
      </p:sp>
      <p:sp>
        <p:nvSpPr>
          <p:cNvPr id="8" name="Rectangle 7"/>
          <p:cNvSpPr/>
          <p:nvPr/>
        </p:nvSpPr>
        <p:spPr bwMode="auto">
          <a:xfrm>
            <a:off x="5488209" y="1903593"/>
            <a:ext cx="6602261" cy="3752243"/>
          </a:xfrm>
          <a:prstGeom prst="rect">
            <a:avLst/>
          </a:prstGeom>
          <a:solidFill>
            <a:schemeClr val="accent6"/>
          </a:solidFill>
          <a:ln>
            <a:solidFill>
              <a:schemeClr val="tx1">
                <a:lumMod val="7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398" fontAlgn="base">
              <a:spcBef>
                <a:spcPct val="0"/>
              </a:spcBef>
              <a:spcAft>
                <a:spcPct val="0"/>
              </a:spcAft>
            </a:pPr>
            <a:endParaRPr lang="en-US" dirty="0">
              <a:gradFill>
                <a:gsLst>
                  <a:gs pos="16814">
                    <a:srgbClr val="FFFFFF"/>
                  </a:gs>
                  <a:gs pos="46000">
                    <a:srgbClr val="FFFFFF"/>
                  </a:gs>
                </a:gsLst>
                <a:lin ang="5400000" scaled="0"/>
              </a:gradFill>
            </a:endParaRPr>
          </a:p>
        </p:txBody>
      </p:sp>
      <p:sp>
        <p:nvSpPr>
          <p:cNvPr id="9" name="Rectangle 8"/>
          <p:cNvSpPr/>
          <p:nvPr/>
        </p:nvSpPr>
        <p:spPr bwMode="auto">
          <a:xfrm>
            <a:off x="5408428" y="1679306"/>
            <a:ext cx="6602261" cy="3786179"/>
          </a:xfrm>
          <a:prstGeom prst="rect">
            <a:avLst/>
          </a:prstGeom>
          <a:solidFill>
            <a:schemeClr val="accent6">
              <a:lumMod val="40000"/>
              <a:lumOff val="60000"/>
            </a:schemeClr>
          </a:solidFill>
          <a:ln>
            <a:headEnd type="none" w="med" len="med"/>
            <a:tailEnd type="none" w="med" len="med"/>
          </a:ln>
        </p:spPr>
        <p:style>
          <a:lnRef idx="3">
            <a:schemeClr val="lt1"/>
          </a:lnRef>
          <a:fillRef idx="1">
            <a:schemeClr val="accent4"/>
          </a:fillRef>
          <a:effectRef idx="1">
            <a:schemeClr val="accent4"/>
          </a:effectRef>
          <a:fontRef idx="minor">
            <a:schemeClr val="lt1"/>
          </a:fontRef>
        </p:style>
        <p:txBody>
          <a:bodyPr vert="horz" wrap="square" lIns="0" tIns="46637" rIns="0" bIns="46637" numCol="1" rtlCol="0" anchor="t" anchorCtr="0" compatLnSpc="1">
            <a:prstTxWarp prst="textNoShape">
              <a:avLst/>
            </a:prstTxWarp>
          </a:bodyPr>
          <a:lstStyle/>
          <a:p>
            <a:pPr defTabSz="932398" fontAlgn="base">
              <a:spcBef>
                <a:spcPct val="0"/>
              </a:spcBef>
              <a:spcAft>
                <a:spcPct val="0"/>
              </a:spcAft>
            </a:pPr>
            <a:endParaRPr lang="en-US" dirty="0">
              <a:gradFill>
                <a:gsLst>
                  <a:gs pos="16814">
                    <a:srgbClr val="FFFFFF"/>
                  </a:gs>
                  <a:gs pos="46000">
                    <a:srgbClr val="FFFFFF"/>
                  </a:gs>
                </a:gsLst>
                <a:lin ang="5400000" scaled="0"/>
              </a:gradFill>
            </a:endParaRPr>
          </a:p>
        </p:txBody>
      </p:sp>
      <p:graphicFrame>
        <p:nvGraphicFramePr>
          <p:cNvPr id="10" name="Table 3"/>
          <p:cNvGraphicFramePr>
            <a:graphicFrameLocks noGrp="1"/>
          </p:cNvGraphicFramePr>
          <p:nvPr>
            <p:extLst/>
          </p:nvPr>
        </p:nvGraphicFramePr>
        <p:xfrm>
          <a:off x="5595560" y="2128974"/>
          <a:ext cx="5154681" cy="626523"/>
        </p:xfrm>
        <a:graphic>
          <a:graphicData uri="http://schemas.openxmlformats.org/drawingml/2006/table">
            <a:tbl>
              <a:tblPr firstRow="1" bandRow="1">
                <a:tableStyleId>{2D5ABB26-0587-4C30-8999-92F81FD0307C}</a:tableStyleId>
              </a:tblPr>
              <a:tblGrid>
                <a:gridCol w="577046">
                  <a:extLst>
                    <a:ext uri="{9D8B030D-6E8A-4147-A177-3AD203B41FA5}">
                      <a16:colId xmlns:a16="http://schemas.microsoft.com/office/drawing/2014/main" val="20000"/>
                    </a:ext>
                  </a:extLst>
                </a:gridCol>
                <a:gridCol w="878934">
                  <a:extLst>
                    <a:ext uri="{9D8B030D-6E8A-4147-A177-3AD203B41FA5}">
                      <a16:colId xmlns:a16="http://schemas.microsoft.com/office/drawing/2014/main" val="20001"/>
                    </a:ext>
                  </a:extLst>
                </a:gridCol>
                <a:gridCol w="1435857">
                  <a:extLst>
                    <a:ext uri="{9D8B030D-6E8A-4147-A177-3AD203B41FA5}">
                      <a16:colId xmlns:a16="http://schemas.microsoft.com/office/drawing/2014/main" val="20002"/>
                    </a:ext>
                  </a:extLst>
                </a:gridCol>
                <a:gridCol w="1096904">
                  <a:extLst>
                    <a:ext uri="{9D8B030D-6E8A-4147-A177-3AD203B41FA5}">
                      <a16:colId xmlns:a16="http://schemas.microsoft.com/office/drawing/2014/main" val="20003"/>
                    </a:ext>
                  </a:extLst>
                </a:gridCol>
                <a:gridCol w="1165940">
                  <a:extLst>
                    <a:ext uri="{9D8B030D-6E8A-4147-A177-3AD203B41FA5}">
                      <a16:colId xmlns:a16="http://schemas.microsoft.com/office/drawing/2014/main" val="20004"/>
                    </a:ext>
                  </a:extLst>
                </a:gridCol>
              </a:tblGrid>
              <a:tr h="297486">
                <a:tc>
                  <a:txBody>
                    <a:bodyPr/>
                    <a:lstStyle/>
                    <a:p>
                      <a:r>
                        <a:rPr lang="en-US" sz="1400" b="0" dirty="0">
                          <a:solidFill>
                            <a:schemeClr val="bg1"/>
                          </a:solidFill>
                        </a:rPr>
                        <a:t>PK</a:t>
                      </a:r>
                      <a:endParaRPr lang="en-US" sz="1400" b="0" dirty="0">
                        <a:solidFill>
                          <a:schemeClr val="bg1"/>
                        </a:solidFill>
                        <a:latin typeface="+mj-lt"/>
                      </a:endParaRPr>
                    </a:p>
                  </a:txBody>
                  <a:tcPr marL="81132" marR="81132" marT="40566" marB="40566">
                    <a:lnL w="12700" cap="flat" cmpd="sng" algn="ctr">
                      <a:solidFill>
                        <a:schemeClr val="tx2">
                          <a:lumMod val="75000"/>
                        </a:schemeClr>
                      </a:solidFill>
                      <a:prstDash val="solid"/>
                      <a:round/>
                      <a:headEnd type="none" w="med" len="med"/>
                      <a:tailEnd type="none" w="med" len="med"/>
                    </a:lnL>
                    <a:lnR w="12700" cap="flat" cmpd="sng" algn="ctr">
                      <a:solidFill>
                        <a:schemeClr val="tx2">
                          <a:lumMod val="75000"/>
                        </a:schemeClr>
                      </a:solidFill>
                      <a:prstDash val="solid"/>
                      <a:round/>
                      <a:headEnd type="none" w="med" len="med"/>
                      <a:tailEnd type="none" w="med" len="med"/>
                    </a:lnR>
                    <a:lnT w="12700" cap="flat" cmpd="sng" algn="ctr">
                      <a:solidFill>
                        <a:schemeClr val="tx2">
                          <a:lumMod val="75000"/>
                        </a:schemeClr>
                      </a:solidFill>
                      <a:prstDash val="solid"/>
                      <a:round/>
                      <a:headEnd type="none" w="med" len="med"/>
                      <a:tailEnd type="none" w="med" len="med"/>
                    </a:lnT>
                    <a:lnB w="12700" cap="flat" cmpd="sng" algn="ctr">
                      <a:solidFill>
                        <a:schemeClr val="tx2">
                          <a:lumMod val="75000"/>
                        </a:schemeClr>
                      </a:solidFill>
                      <a:prstDash val="solid"/>
                      <a:round/>
                      <a:headEnd type="none" w="med" len="med"/>
                      <a:tailEnd type="none" w="med" len="med"/>
                    </a:lnB>
                    <a:solidFill>
                      <a:schemeClr val="accent3"/>
                    </a:solidFill>
                  </a:tcPr>
                </a:tc>
                <a:tc>
                  <a:txBody>
                    <a:bodyPr/>
                    <a:lstStyle/>
                    <a:p>
                      <a:r>
                        <a:rPr lang="en-US" sz="1400" b="0" dirty="0">
                          <a:solidFill>
                            <a:schemeClr val="bg1"/>
                          </a:solidFill>
                        </a:rPr>
                        <a:t>RK</a:t>
                      </a:r>
                      <a:endParaRPr lang="en-US" sz="1400" b="0" dirty="0">
                        <a:solidFill>
                          <a:schemeClr val="bg1"/>
                        </a:solidFill>
                        <a:latin typeface="+mj-lt"/>
                      </a:endParaRPr>
                    </a:p>
                  </a:txBody>
                  <a:tcPr marL="81132" marR="81132" marT="40566" marB="40566">
                    <a:lnL w="12700" cap="flat" cmpd="sng" algn="ctr">
                      <a:solidFill>
                        <a:schemeClr val="tx2">
                          <a:lumMod val="75000"/>
                        </a:schemeClr>
                      </a:solidFill>
                      <a:prstDash val="solid"/>
                      <a:round/>
                      <a:headEnd type="none" w="med" len="med"/>
                      <a:tailEnd type="none" w="med" len="med"/>
                    </a:lnL>
                    <a:lnR w="12700" cap="flat" cmpd="sng" algn="ctr">
                      <a:solidFill>
                        <a:schemeClr val="tx2">
                          <a:lumMod val="75000"/>
                        </a:schemeClr>
                      </a:solidFill>
                      <a:prstDash val="solid"/>
                      <a:round/>
                      <a:headEnd type="none" w="med" len="med"/>
                      <a:tailEnd type="none" w="med" len="med"/>
                    </a:lnR>
                    <a:lnT w="12700" cap="flat" cmpd="sng" algn="ctr">
                      <a:solidFill>
                        <a:schemeClr val="tx2">
                          <a:lumMod val="75000"/>
                        </a:schemeClr>
                      </a:solidFill>
                      <a:prstDash val="solid"/>
                      <a:round/>
                      <a:headEnd type="none" w="med" len="med"/>
                      <a:tailEnd type="none" w="med" len="med"/>
                    </a:lnT>
                    <a:lnB w="12700" cap="flat" cmpd="sng" algn="ctr">
                      <a:solidFill>
                        <a:schemeClr val="tx2">
                          <a:lumMod val="75000"/>
                        </a:schemeClr>
                      </a:solidFill>
                      <a:prstDash val="solid"/>
                      <a:round/>
                      <a:headEnd type="none" w="med" len="med"/>
                      <a:tailEnd type="none" w="med" len="med"/>
                    </a:lnB>
                    <a:solidFill>
                      <a:schemeClr val="bg2"/>
                    </a:solidFill>
                  </a:tcPr>
                </a:tc>
                <a:tc>
                  <a:txBody>
                    <a:bodyPr/>
                    <a:lstStyle/>
                    <a:p>
                      <a:r>
                        <a:rPr lang="en-US" sz="1400" b="0" dirty="0">
                          <a:solidFill>
                            <a:schemeClr val="bg1"/>
                          </a:solidFill>
                        </a:rPr>
                        <a:t>Name</a:t>
                      </a:r>
                      <a:endParaRPr lang="en-US" sz="1400" b="0" dirty="0">
                        <a:solidFill>
                          <a:schemeClr val="bg1"/>
                        </a:solidFill>
                        <a:latin typeface="+mj-lt"/>
                      </a:endParaRPr>
                    </a:p>
                  </a:txBody>
                  <a:tcPr marL="81132" marR="81132" marT="40566" marB="40566">
                    <a:lnL w="12700" cap="flat" cmpd="sng" algn="ctr">
                      <a:solidFill>
                        <a:schemeClr val="tx2">
                          <a:lumMod val="75000"/>
                        </a:schemeClr>
                      </a:solidFill>
                      <a:prstDash val="solid"/>
                      <a:round/>
                      <a:headEnd type="none" w="med" len="med"/>
                      <a:tailEnd type="none" w="med" len="med"/>
                    </a:lnL>
                    <a:lnR w="12700" cap="flat" cmpd="sng" algn="ctr">
                      <a:solidFill>
                        <a:schemeClr val="tx2">
                          <a:lumMod val="75000"/>
                        </a:schemeClr>
                      </a:solidFill>
                      <a:prstDash val="solid"/>
                      <a:round/>
                      <a:headEnd type="none" w="med" len="med"/>
                      <a:tailEnd type="none" w="med" len="med"/>
                    </a:lnR>
                    <a:lnT w="12700" cap="flat" cmpd="sng" algn="ctr">
                      <a:solidFill>
                        <a:schemeClr val="tx2">
                          <a:lumMod val="75000"/>
                        </a:schemeClr>
                      </a:solidFill>
                      <a:prstDash val="solid"/>
                      <a:round/>
                      <a:headEnd type="none" w="med" len="med"/>
                      <a:tailEnd type="none" w="med" len="med"/>
                    </a:lnT>
                    <a:lnB w="12700" cap="flat" cmpd="sng" algn="ctr">
                      <a:solidFill>
                        <a:schemeClr val="tx2">
                          <a:lumMod val="75000"/>
                        </a:schemeClr>
                      </a:solidFill>
                      <a:prstDash val="solid"/>
                      <a:round/>
                      <a:headEnd type="none" w="med" len="med"/>
                      <a:tailEnd type="none" w="med" len="med"/>
                    </a:lnB>
                    <a:solidFill>
                      <a:schemeClr val="accent4"/>
                    </a:solidFill>
                  </a:tcPr>
                </a:tc>
                <a:tc>
                  <a:txBody>
                    <a:bodyPr/>
                    <a:lstStyle/>
                    <a:p>
                      <a:r>
                        <a:rPr lang="en-US" sz="1400" b="0" dirty="0">
                          <a:solidFill>
                            <a:schemeClr val="bg1"/>
                          </a:solidFill>
                        </a:rPr>
                        <a:t>Status</a:t>
                      </a:r>
                      <a:endParaRPr lang="en-US" sz="1400" b="0" dirty="0">
                        <a:solidFill>
                          <a:schemeClr val="bg1"/>
                        </a:solidFill>
                        <a:latin typeface="+mj-lt"/>
                      </a:endParaRPr>
                    </a:p>
                  </a:txBody>
                  <a:tcPr marL="81132" marR="81132" marT="40566" marB="40566">
                    <a:lnL w="12700" cap="flat" cmpd="sng" algn="ctr">
                      <a:solidFill>
                        <a:schemeClr val="tx2">
                          <a:lumMod val="75000"/>
                        </a:schemeClr>
                      </a:solidFill>
                      <a:prstDash val="solid"/>
                      <a:round/>
                      <a:headEnd type="none" w="med" len="med"/>
                      <a:tailEnd type="none" w="med" len="med"/>
                    </a:lnL>
                    <a:lnR w="12700" cap="flat" cmpd="sng" algn="ctr">
                      <a:solidFill>
                        <a:schemeClr val="tx2">
                          <a:lumMod val="75000"/>
                        </a:schemeClr>
                      </a:solidFill>
                      <a:prstDash val="solid"/>
                      <a:round/>
                      <a:headEnd type="none" w="med" len="med"/>
                      <a:tailEnd type="none" w="med" len="med"/>
                    </a:lnR>
                    <a:lnT w="12700" cap="flat" cmpd="sng" algn="ctr">
                      <a:solidFill>
                        <a:schemeClr val="tx2">
                          <a:lumMod val="75000"/>
                        </a:schemeClr>
                      </a:solidFill>
                      <a:prstDash val="solid"/>
                      <a:round/>
                      <a:headEnd type="none" w="med" len="med"/>
                      <a:tailEnd type="none" w="med" len="med"/>
                    </a:lnT>
                    <a:lnB w="12700" cap="flat" cmpd="sng" algn="ctr">
                      <a:solidFill>
                        <a:schemeClr val="tx2">
                          <a:lumMod val="75000"/>
                        </a:schemeClr>
                      </a:solidFill>
                      <a:prstDash val="solid"/>
                      <a:round/>
                      <a:headEnd type="none" w="med" len="med"/>
                      <a:tailEnd type="none" w="med" len="med"/>
                    </a:lnB>
                    <a:solidFill>
                      <a:schemeClr val="accent4"/>
                    </a:solidFill>
                  </a:tcPr>
                </a:tc>
                <a:tc>
                  <a:txBody>
                    <a:bodyPr/>
                    <a:lstStyle/>
                    <a:p>
                      <a:r>
                        <a:rPr lang="en-US" sz="1400" b="0" dirty="0" err="1">
                          <a:solidFill>
                            <a:schemeClr val="bg1"/>
                          </a:solidFill>
                        </a:rPr>
                        <a:t>EmpNo</a:t>
                      </a:r>
                      <a:endParaRPr lang="en-US" sz="1400" b="0" dirty="0">
                        <a:solidFill>
                          <a:schemeClr val="bg1"/>
                        </a:solidFill>
                        <a:latin typeface="+mj-lt"/>
                      </a:endParaRPr>
                    </a:p>
                  </a:txBody>
                  <a:tcPr marL="81132" marR="81132" marT="40566" marB="40566">
                    <a:lnL w="12700" cap="flat" cmpd="sng" algn="ctr">
                      <a:solidFill>
                        <a:schemeClr val="tx2">
                          <a:lumMod val="75000"/>
                        </a:schemeClr>
                      </a:solidFill>
                      <a:prstDash val="solid"/>
                      <a:round/>
                      <a:headEnd type="none" w="med" len="med"/>
                      <a:tailEnd type="none" w="med" len="med"/>
                    </a:lnL>
                    <a:lnR w="12700" cap="flat" cmpd="sng" algn="ctr">
                      <a:solidFill>
                        <a:schemeClr val="tx2">
                          <a:lumMod val="75000"/>
                        </a:schemeClr>
                      </a:solidFill>
                      <a:prstDash val="solid"/>
                      <a:round/>
                      <a:headEnd type="none" w="med" len="med"/>
                      <a:tailEnd type="none" w="med" len="med"/>
                    </a:lnR>
                    <a:lnT w="12700" cap="flat" cmpd="sng" algn="ctr">
                      <a:solidFill>
                        <a:schemeClr val="tx2">
                          <a:lumMod val="75000"/>
                        </a:schemeClr>
                      </a:solidFill>
                      <a:prstDash val="solid"/>
                      <a:round/>
                      <a:headEnd type="none" w="med" len="med"/>
                      <a:tailEnd type="none" w="med" len="med"/>
                    </a:lnT>
                    <a:lnB w="12700" cap="flat" cmpd="sng" algn="ctr">
                      <a:solidFill>
                        <a:schemeClr val="tx2">
                          <a:lumMod val="75000"/>
                        </a:schemeClr>
                      </a:solidFill>
                      <a:prstDash val="solid"/>
                      <a:round/>
                      <a:headEnd type="none" w="med" len="med"/>
                      <a:tailEnd type="none" w="med" len="med"/>
                    </a:lnB>
                    <a:solidFill>
                      <a:schemeClr val="accent4"/>
                    </a:solidFill>
                  </a:tcPr>
                </a:tc>
                <a:extLst>
                  <a:ext uri="{0D108BD9-81ED-4DB2-BD59-A6C34878D82A}">
                    <a16:rowId xmlns:a16="http://schemas.microsoft.com/office/drawing/2014/main" val="10000"/>
                  </a:ext>
                </a:extLst>
              </a:tr>
              <a:tr h="329037">
                <a:tc>
                  <a:txBody>
                    <a:bodyPr/>
                    <a:lstStyle/>
                    <a:p>
                      <a:r>
                        <a:rPr lang="en-US" sz="1400" b="0" i="0" dirty="0">
                          <a:solidFill>
                            <a:schemeClr val="bg1"/>
                          </a:solidFill>
                          <a:latin typeface="Segoe UI Semibold" panose="020B0702040204020203" pitchFamily="34" charset="0"/>
                          <a:cs typeface="Segoe UI Semibold" panose="020B0702040204020203" pitchFamily="34" charset="0"/>
                        </a:rPr>
                        <a:t>A</a:t>
                      </a:r>
                    </a:p>
                  </a:txBody>
                  <a:tcPr marL="81132" marR="81132" marT="40566" marB="40566">
                    <a:lnL w="12700" cap="flat" cmpd="sng" algn="ctr">
                      <a:solidFill>
                        <a:schemeClr val="tx2">
                          <a:lumMod val="75000"/>
                        </a:schemeClr>
                      </a:solidFill>
                      <a:prstDash val="solid"/>
                      <a:round/>
                      <a:headEnd type="none" w="med" len="med"/>
                      <a:tailEnd type="none" w="med" len="med"/>
                    </a:lnL>
                    <a:lnR w="12700" cap="flat" cmpd="sng" algn="ctr">
                      <a:solidFill>
                        <a:schemeClr val="tx2">
                          <a:lumMod val="75000"/>
                        </a:schemeClr>
                      </a:solidFill>
                      <a:prstDash val="solid"/>
                      <a:round/>
                      <a:headEnd type="none" w="med" len="med"/>
                      <a:tailEnd type="none" w="med" len="med"/>
                    </a:lnR>
                    <a:lnT w="12700" cap="flat" cmpd="sng" algn="ctr">
                      <a:solidFill>
                        <a:schemeClr val="tx2">
                          <a:lumMod val="75000"/>
                        </a:schemeClr>
                      </a:solidFill>
                      <a:prstDash val="solid"/>
                      <a:round/>
                      <a:headEnd type="none" w="med" len="med"/>
                      <a:tailEnd type="none" w="med" len="med"/>
                    </a:lnT>
                    <a:lnB w="12700" cap="flat" cmpd="sng" algn="ctr">
                      <a:solidFill>
                        <a:schemeClr val="tx2">
                          <a:lumMod val="75000"/>
                        </a:schemeClr>
                      </a:solidFill>
                      <a:prstDash val="solid"/>
                      <a:round/>
                      <a:headEnd type="none" w="med" len="med"/>
                      <a:tailEnd type="none" w="med" len="med"/>
                    </a:lnB>
                    <a:solidFill>
                      <a:schemeClr val="accent3"/>
                    </a:solidFill>
                  </a:tcPr>
                </a:tc>
                <a:tc>
                  <a:txBody>
                    <a:bodyPr/>
                    <a:lstStyle/>
                    <a:p>
                      <a:r>
                        <a:rPr lang="en-US" sz="1400" b="0" i="0" dirty="0" err="1">
                          <a:solidFill>
                            <a:schemeClr val="bg1"/>
                          </a:solidFill>
                          <a:latin typeface="Segoe UI Semibold" panose="020B0702040204020203" pitchFamily="34" charset="0"/>
                          <a:cs typeface="Segoe UI Semibold" panose="020B0702040204020203" pitchFamily="34" charset="0"/>
                        </a:rPr>
                        <a:t>AliceC</a:t>
                      </a:r>
                      <a:endParaRPr lang="en-US" sz="1400" b="0" i="0" dirty="0">
                        <a:solidFill>
                          <a:schemeClr val="bg1"/>
                        </a:solidFill>
                        <a:latin typeface="Segoe UI Semibold" panose="020B0702040204020203" pitchFamily="34" charset="0"/>
                        <a:cs typeface="Segoe UI Semibold" panose="020B0702040204020203" pitchFamily="34" charset="0"/>
                      </a:endParaRPr>
                    </a:p>
                  </a:txBody>
                  <a:tcPr marL="81132" marR="81132" marT="40566" marB="40566">
                    <a:lnL w="12700" cap="flat" cmpd="sng" algn="ctr">
                      <a:solidFill>
                        <a:schemeClr val="tx2">
                          <a:lumMod val="75000"/>
                        </a:schemeClr>
                      </a:solidFill>
                      <a:prstDash val="solid"/>
                      <a:round/>
                      <a:headEnd type="none" w="med" len="med"/>
                      <a:tailEnd type="none" w="med" len="med"/>
                    </a:lnL>
                    <a:lnR w="12700" cap="flat" cmpd="sng" algn="ctr">
                      <a:solidFill>
                        <a:schemeClr val="tx2">
                          <a:lumMod val="75000"/>
                        </a:schemeClr>
                      </a:solidFill>
                      <a:prstDash val="solid"/>
                      <a:round/>
                      <a:headEnd type="none" w="med" len="med"/>
                      <a:tailEnd type="none" w="med" len="med"/>
                    </a:lnR>
                    <a:lnT w="12700" cap="flat" cmpd="sng" algn="ctr">
                      <a:solidFill>
                        <a:schemeClr val="tx2">
                          <a:lumMod val="75000"/>
                        </a:schemeClr>
                      </a:solidFill>
                      <a:prstDash val="solid"/>
                      <a:round/>
                      <a:headEnd type="none" w="med" len="med"/>
                      <a:tailEnd type="none" w="med" len="med"/>
                    </a:lnT>
                    <a:lnB w="12700" cap="flat" cmpd="sng" algn="ctr">
                      <a:solidFill>
                        <a:schemeClr val="tx2">
                          <a:lumMod val="75000"/>
                        </a:schemeClr>
                      </a:solidFill>
                      <a:prstDash val="solid"/>
                      <a:round/>
                      <a:headEnd type="none" w="med" len="med"/>
                      <a:tailEnd type="none" w="med" len="med"/>
                    </a:lnB>
                    <a:solidFill>
                      <a:schemeClr val="bg2"/>
                    </a:solidFill>
                  </a:tcPr>
                </a:tc>
                <a:tc>
                  <a:txBody>
                    <a:bodyPr/>
                    <a:lstStyle/>
                    <a:p>
                      <a:r>
                        <a:rPr lang="en-US" sz="1400" i="1" dirty="0">
                          <a:solidFill>
                            <a:schemeClr val="bg1"/>
                          </a:solidFill>
                        </a:rPr>
                        <a:t>Alice Clarke</a:t>
                      </a:r>
                      <a:endParaRPr lang="en-US" sz="1400" i="1" dirty="0">
                        <a:solidFill>
                          <a:schemeClr val="bg1"/>
                        </a:solidFill>
                        <a:latin typeface="+mj-lt"/>
                      </a:endParaRPr>
                    </a:p>
                  </a:txBody>
                  <a:tcPr marL="81132" marR="81132" marT="40566" marB="40566">
                    <a:lnL w="12700" cap="flat" cmpd="sng" algn="ctr">
                      <a:solidFill>
                        <a:schemeClr val="tx2">
                          <a:lumMod val="75000"/>
                        </a:schemeClr>
                      </a:solidFill>
                      <a:prstDash val="solid"/>
                      <a:round/>
                      <a:headEnd type="none" w="med" len="med"/>
                      <a:tailEnd type="none" w="med" len="med"/>
                    </a:lnL>
                    <a:lnR w="12700" cap="flat" cmpd="sng" algn="ctr">
                      <a:solidFill>
                        <a:schemeClr val="tx2">
                          <a:lumMod val="75000"/>
                        </a:schemeClr>
                      </a:solidFill>
                      <a:prstDash val="solid"/>
                      <a:round/>
                      <a:headEnd type="none" w="med" len="med"/>
                      <a:tailEnd type="none" w="med" len="med"/>
                    </a:lnR>
                    <a:lnT w="12700" cap="flat" cmpd="sng" algn="ctr">
                      <a:solidFill>
                        <a:schemeClr val="tx2">
                          <a:lumMod val="75000"/>
                        </a:schemeClr>
                      </a:solidFill>
                      <a:prstDash val="solid"/>
                      <a:round/>
                      <a:headEnd type="none" w="med" len="med"/>
                      <a:tailEnd type="none" w="med" len="med"/>
                    </a:lnT>
                    <a:lnB w="12700" cap="flat" cmpd="sng" algn="ctr">
                      <a:solidFill>
                        <a:schemeClr val="tx2">
                          <a:lumMod val="75000"/>
                        </a:schemeClr>
                      </a:solidFill>
                      <a:prstDash val="solid"/>
                      <a:round/>
                      <a:headEnd type="none" w="med" len="med"/>
                      <a:tailEnd type="none" w="med" len="med"/>
                    </a:lnB>
                    <a:solidFill>
                      <a:schemeClr val="accent4"/>
                    </a:solidFill>
                  </a:tcPr>
                </a:tc>
                <a:tc>
                  <a:txBody>
                    <a:bodyPr/>
                    <a:lstStyle/>
                    <a:p>
                      <a:r>
                        <a:rPr lang="en-US" sz="1400" i="1" dirty="0">
                          <a:solidFill>
                            <a:schemeClr val="bg1"/>
                          </a:solidFill>
                        </a:rPr>
                        <a:t>Available</a:t>
                      </a:r>
                      <a:endParaRPr lang="en-US" sz="1400" i="1" dirty="0">
                        <a:solidFill>
                          <a:schemeClr val="bg1"/>
                        </a:solidFill>
                        <a:latin typeface="+mj-lt"/>
                      </a:endParaRPr>
                    </a:p>
                  </a:txBody>
                  <a:tcPr marL="81132" marR="81132" marT="40566" marB="40566">
                    <a:lnL w="12700" cap="flat" cmpd="sng" algn="ctr">
                      <a:solidFill>
                        <a:schemeClr val="tx2">
                          <a:lumMod val="75000"/>
                        </a:schemeClr>
                      </a:solidFill>
                      <a:prstDash val="solid"/>
                      <a:round/>
                      <a:headEnd type="none" w="med" len="med"/>
                      <a:tailEnd type="none" w="med" len="med"/>
                    </a:lnL>
                    <a:lnR w="12700" cap="flat" cmpd="sng" algn="ctr">
                      <a:solidFill>
                        <a:schemeClr val="tx2">
                          <a:lumMod val="75000"/>
                        </a:schemeClr>
                      </a:solidFill>
                      <a:prstDash val="solid"/>
                      <a:round/>
                      <a:headEnd type="none" w="med" len="med"/>
                      <a:tailEnd type="none" w="med" len="med"/>
                    </a:lnR>
                    <a:lnT w="12700" cap="flat" cmpd="sng" algn="ctr">
                      <a:solidFill>
                        <a:schemeClr val="tx2">
                          <a:lumMod val="75000"/>
                        </a:schemeClr>
                      </a:solidFill>
                      <a:prstDash val="solid"/>
                      <a:round/>
                      <a:headEnd type="none" w="med" len="med"/>
                      <a:tailEnd type="none" w="med" len="med"/>
                    </a:lnT>
                    <a:lnB w="12700" cap="flat" cmpd="sng" algn="ctr">
                      <a:solidFill>
                        <a:schemeClr val="tx2">
                          <a:lumMod val="75000"/>
                        </a:schemeClr>
                      </a:solidFill>
                      <a:prstDash val="solid"/>
                      <a:round/>
                      <a:headEnd type="none" w="med" len="med"/>
                      <a:tailEnd type="none" w="med" len="med"/>
                    </a:lnB>
                    <a:solidFill>
                      <a:schemeClr val="accent4"/>
                    </a:solidFill>
                  </a:tcPr>
                </a:tc>
                <a:tc>
                  <a:txBody>
                    <a:bodyPr/>
                    <a:lstStyle/>
                    <a:p>
                      <a:r>
                        <a:rPr lang="en-US" sz="1400" i="1" dirty="0">
                          <a:solidFill>
                            <a:schemeClr val="bg1"/>
                          </a:solidFill>
                        </a:rPr>
                        <a:t>1223</a:t>
                      </a:r>
                      <a:endParaRPr lang="en-US" sz="1400" i="1" dirty="0">
                        <a:solidFill>
                          <a:schemeClr val="bg1"/>
                        </a:solidFill>
                        <a:latin typeface="+mj-lt"/>
                      </a:endParaRPr>
                    </a:p>
                  </a:txBody>
                  <a:tcPr marL="81132" marR="81132" marT="40566" marB="40566">
                    <a:lnL w="12700" cap="flat" cmpd="sng" algn="ctr">
                      <a:solidFill>
                        <a:schemeClr val="tx2">
                          <a:lumMod val="75000"/>
                        </a:schemeClr>
                      </a:solidFill>
                      <a:prstDash val="solid"/>
                      <a:round/>
                      <a:headEnd type="none" w="med" len="med"/>
                      <a:tailEnd type="none" w="med" len="med"/>
                    </a:lnL>
                    <a:lnR w="12700" cap="flat" cmpd="sng" algn="ctr">
                      <a:solidFill>
                        <a:schemeClr val="tx2">
                          <a:lumMod val="75000"/>
                        </a:schemeClr>
                      </a:solidFill>
                      <a:prstDash val="solid"/>
                      <a:round/>
                      <a:headEnd type="none" w="med" len="med"/>
                      <a:tailEnd type="none" w="med" len="med"/>
                    </a:lnR>
                    <a:lnT w="12700" cap="flat" cmpd="sng" algn="ctr">
                      <a:solidFill>
                        <a:schemeClr val="tx2">
                          <a:lumMod val="75000"/>
                        </a:schemeClr>
                      </a:solidFill>
                      <a:prstDash val="solid"/>
                      <a:round/>
                      <a:headEnd type="none" w="med" len="med"/>
                      <a:tailEnd type="none" w="med" len="med"/>
                    </a:lnT>
                    <a:lnB w="12700" cap="flat" cmpd="sng" algn="ctr">
                      <a:solidFill>
                        <a:schemeClr val="tx2">
                          <a:lumMod val="75000"/>
                        </a:schemeClr>
                      </a:solidFill>
                      <a:prstDash val="solid"/>
                      <a:round/>
                      <a:headEnd type="none" w="med" len="med"/>
                      <a:tailEnd type="none" w="med" len="med"/>
                    </a:lnB>
                    <a:solidFill>
                      <a:schemeClr val="accent4"/>
                    </a:solidFill>
                  </a:tcPr>
                </a:tc>
                <a:extLst>
                  <a:ext uri="{0D108BD9-81ED-4DB2-BD59-A6C34878D82A}">
                    <a16:rowId xmlns:a16="http://schemas.microsoft.com/office/drawing/2014/main" val="10001"/>
                  </a:ext>
                </a:extLst>
              </a:tr>
            </a:tbl>
          </a:graphicData>
        </a:graphic>
      </p:graphicFrame>
      <p:graphicFrame>
        <p:nvGraphicFramePr>
          <p:cNvPr id="11" name="Table 5"/>
          <p:cNvGraphicFramePr>
            <a:graphicFrameLocks noGrp="1"/>
          </p:cNvGraphicFramePr>
          <p:nvPr>
            <p:extLst/>
          </p:nvPr>
        </p:nvGraphicFramePr>
        <p:xfrm>
          <a:off x="5595560" y="2937619"/>
          <a:ext cx="6236101" cy="654009"/>
        </p:xfrm>
        <a:graphic>
          <a:graphicData uri="http://schemas.openxmlformats.org/drawingml/2006/table">
            <a:tbl>
              <a:tblPr firstRow="1" bandRow="1">
                <a:tableStyleId>{2D5ABB26-0587-4C30-8999-92F81FD0307C}</a:tableStyleId>
              </a:tblPr>
              <a:tblGrid>
                <a:gridCol w="577046">
                  <a:extLst>
                    <a:ext uri="{9D8B030D-6E8A-4147-A177-3AD203B41FA5}">
                      <a16:colId xmlns:a16="http://schemas.microsoft.com/office/drawing/2014/main" val="20000"/>
                    </a:ext>
                  </a:extLst>
                </a:gridCol>
                <a:gridCol w="878935">
                  <a:extLst>
                    <a:ext uri="{9D8B030D-6E8A-4147-A177-3AD203B41FA5}">
                      <a16:colId xmlns:a16="http://schemas.microsoft.com/office/drawing/2014/main" val="20001"/>
                    </a:ext>
                  </a:extLst>
                </a:gridCol>
                <a:gridCol w="1431641">
                  <a:extLst>
                    <a:ext uri="{9D8B030D-6E8A-4147-A177-3AD203B41FA5}">
                      <a16:colId xmlns:a16="http://schemas.microsoft.com/office/drawing/2014/main" val="20002"/>
                    </a:ext>
                  </a:extLst>
                </a:gridCol>
                <a:gridCol w="1081876">
                  <a:extLst>
                    <a:ext uri="{9D8B030D-6E8A-4147-A177-3AD203B41FA5}">
                      <a16:colId xmlns:a16="http://schemas.microsoft.com/office/drawing/2014/main" val="20003"/>
                    </a:ext>
                  </a:extLst>
                </a:gridCol>
                <a:gridCol w="1165097">
                  <a:extLst>
                    <a:ext uri="{9D8B030D-6E8A-4147-A177-3AD203B41FA5}">
                      <a16:colId xmlns:a16="http://schemas.microsoft.com/office/drawing/2014/main" val="20004"/>
                    </a:ext>
                  </a:extLst>
                </a:gridCol>
                <a:gridCol w="1101506">
                  <a:extLst>
                    <a:ext uri="{9D8B030D-6E8A-4147-A177-3AD203B41FA5}">
                      <a16:colId xmlns:a16="http://schemas.microsoft.com/office/drawing/2014/main" val="20005"/>
                    </a:ext>
                  </a:extLst>
                </a:gridCol>
              </a:tblGrid>
              <a:tr h="324530">
                <a:tc>
                  <a:txBody>
                    <a:bodyPr/>
                    <a:lstStyle/>
                    <a:p>
                      <a:r>
                        <a:rPr lang="en-US" sz="1600" b="0" i="0" dirty="0">
                          <a:solidFill>
                            <a:schemeClr val="bg1"/>
                          </a:solidFill>
                          <a:latin typeface="Segoe UI Semibold" panose="020B0702040204020203" pitchFamily="34" charset="0"/>
                          <a:cs typeface="Segoe UI Semibold" panose="020B0702040204020203" pitchFamily="34" charset="0"/>
                        </a:rPr>
                        <a:t>PK</a:t>
                      </a:r>
                    </a:p>
                  </a:txBody>
                  <a:tcPr marL="81132" marR="81132" marT="40566" marB="40566">
                    <a:lnL w="12700" cap="flat" cmpd="sng" algn="ctr">
                      <a:solidFill>
                        <a:schemeClr val="tx2">
                          <a:lumMod val="75000"/>
                        </a:schemeClr>
                      </a:solidFill>
                      <a:prstDash val="solid"/>
                      <a:round/>
                      <a:headEnd type="none" w="med" len="med"/>
                      <a:tailEnd type="none" w="med" len="med"/>
                    </a:lnL>
                    <a:lnR w="12700" cap="flat" cmpd="sng" algn="ctr">
                      <a:solidFill>
                        <a:schemeClr val="tx2">
                          <a:lumMod val="75000"/>
                        </a:schemeClr>
                      </a:solidFill>
                      <a:prstDash val="solid"/>
                      <a:round/>
                      <a:headEnd type="none" w="med" len="med"/>
                      <a:tailEnd type="none" w="med" len="med"/>
                    </a:lnR>
                    <a:lnT w="12700" cap="flat" cmpd="sng" algn="ctr">
                      <a:solidFill>
                        <a:schemeClr val="tx2">
                          <a:lumMod val="75000"/>
                        </a:schemeClr>
                      </a:solidFill>
                      <a:prstDash val="solid"/>
                      <a:round/>
                      <a:headEnd type="none" w="med" len="med"/>
                      <a:tailEnd type="none" w="med" len="med"/>
                    </a:lnT>
                    <a:lnB w="12700" cap="flat" cmpd="sng" algn="ctr">
                      <a:solidFill>
                        <a:schemeClr val="tx2">
                          <a:lumMod val="75000"/>
                        </a:schemeClr>
                      </a:solidFill>
                      <a:prstDash val="solid"/>
                      <a:round/>
                      <a:headEnd type="none" w="med" len="med"/>
                      <a:tailEnd type="none" w="med" len="med"/>
                    </a:lnB>
                    <a:solidFill>
                      <a:schemeClr val="accent3"/>
                    </a:solidFill>
                  </a:tcPr>
                </a:tc>
                <a:tc>
                  <a:txBody>
                    <a:bodyPr/>
                    <a:lstStyle/>
                    <a:p>
                      <a:r>
                        <a:rPr lang="en-US" sz="1600" b="0" i="0" dirty="0">
                          <a:solidFill>
                            <a:schemeClr val="bg1"/>
                          </a:solidFill>
                          <a:latin typeface="Segoe UI Semibold" panose="020B0702040204020203" pitchFamily="34" charset="0"/>
                          <a:cs typeface="Segoe UI Semibold" panose="020B0702040204020203" pitchFamily="34" charset="0"/>
                        </a:rPr>
                        <a:t>RK</a:t>
                      </a:r>
                    </a:p>
                  </a:txBody>
                  <a:tcPr marL="81132" marR="81132" marT="40566" marB="40566">
                    <a:lnL w="12700" cap="flat" cmpd="sng" algn="ctr">
                      <a:solidFill>
                        <a:schemeClr val="tx2">
                          <a:lumMod val="75000"/>
                        </a:schemeClr>
                      </a:solidFill>
                      <a:prstDash val="solid"/>
                      <a:round/>
                      <a:headEnd type="none" w="med" len="med"/>
                      <a:tailEnd type="none" w="med" len="med"/>
                    </a:lnL>
                    <a:lnR w="12700" cap="flat" cmpd="sng" algn="ctr">
                      <a:solidFill>
                        <a:schemeClr val="tx2">
                          <a:lumMod val="75000"/>
                        </a:schemeClr>
                      </a:solidFill>
                      <a:prstDash val="solid"/>
                      <a:round/>
                      <a:headEnd type="none" w="med" len="med"/>
                      <a:tailEnd type="none" w="med" len="med"/>
                    </a:lnR>
                    <a:lnT w="12700" cap="flat" cmpd="sng" algn="ctr">
                      <a:solidFill>
                        <a:schemeClr val="tx2">
                          <a:lumMod val="75000"/>
                        </a:schemeClr>
                      </a:solidFill>
                      <a:prstDash val="solid"/>
                      <a:round/>
                      <a:headEnd type="none" w="med" len="med"/>
                      <a:tailEnd type="none" w="med" len="med"/>
                    </a:lnT>
                    <a:lnB w="12700" cap="flat" cmpd="sng" algn="ctr">
                      <a:solidFill>
                        <a:schemeClr val="tx2">
                          <a:lumMod val="75000"/>
                        </a:schemeClr>
                      </a:solidFill>
                      <a:prstDash val="solid"/>
                      <a:round/>
                      <a:headEnd type="none" w="med" len="med"/>
                      <a:tailEnd type="none" w="med" len="med"/>
                    </a:lnB>
                    <a:solidFill>
                      <a:schemeClr val="bg2"/>
                    </a:solidFill>
                  </a:tcPr>
                </a:tc>
                <a:tc>
                  <a:txBody>
                    <a:bodyPr/>
                    <a:lstStyle/>
                    <a:p>
                      <a:r>
                        <a:rPr lang="en-US" sz="1600" b="0" i="0" dirty="0">
                          <a:solidFill>
                            <a:schemeClr val="bg1"/>
                          </a:solidFill>
                          <a:latin typeface="Segoe UI Semibold" panose="020B0702040204020203" pitchFamily="34" charset="0"/>
                          <a:cs typeface="Segoe UI Semibold" panose="020B0702040204020203" pitchFamily="34" charset="0"/>
                        </a:rPr>
                        <a:t>Name</a:t>
                      </a:r>
                    </a:p>
                  </a:txBody>
                  <a:tcPr marL="81132" marR="81132" marT="40566" marB="40566">
                    <a:lnL w="12700" cap="flat" cmpd="sng" algn="ctr">
                      <a:solidFill>
                        <a:schemeClr val="tx2">
                          <a:lumMod val="75000"/>
                        </a:schemeClr>
                      </a:solidFill>
                      <a:prstDash val="solid"/>
                      <a:round/>
                      <a:headEnd type="none" w="med" len="med"/>
                      <a:tailEnd type="none" w="med" len="med"/>
                    </a:lnL>
                    <a:lnR w="12700" cap="flat" cmpd="sng" algn="ctr">
                      <a:solidFill>
                        <a:schemeClr val="tx2">
                          <a:lumMod val="75000"/>
                        </a:schemeClr>
                      </a:solidFill>
                      <a:prstDash val="solid"/>
                      <a:round/>
                      <a:headEnd type="none" w="med" len="med"/>
                      <a:tailEnd type="none" w="med" len="med"/>
                    </a:lnR>
                    <a:lnT w="12700" cap="flat" cmpd="sng" algn="ctr">
                      <a:solidFill>
                        <a:schemeClr val="tx2">
                          <a:lumMod val="75000"/>
                        </a:schemeClr>
                      </a:solidFill>
                      <a:prstDash val="solid"/>
                      <a:round/>
                      <a:headEnd type="none" w="med" len="med"/>
                      <a:tailEnd type="none" w="med" len="med"/>
                    </a:lnT>
                    <a:lnB w="12700" cap="flat" cmpd="sng" algn="ctr">
                      <a:solidFill>
                        <a:schemeClr val="tx2">
                          <a:lumMod val="75000"/>
                        </a:schemeClr>
                      </a:solidFill>
                      <a:prstDash val="solid"/>
                      <a:round/>
                      <a:headEnd type="none" w="med" len="med"/>
                      <a:tailEnd type="none" w="med" len="med"/>
                    </a:lnB>
                    <a:solidFill>
                      <a:schemeClr val="accent4"/>
                    </a:solidFill>
                  </a:tcPr>
                </a:tc>
                <a:tc>
                  <a:txBody>
                    <a:bodyPr/>
                    <a:lstStyle/>
                    <a:p>
                      <a:r>
                        <a:rPr lang="en-US" sz="1600" b="0" i="0" dirty="0">
                          <a:solidFill>
                            <a:schemeClr val="bg1"/>
                          </a:solidFill>
                          <a:latin typeface="Segoe UI Semibold" panose="020B0702040204020203" pitchFamily="34" charset="0"/>
                          <a:cs typeface="Segoe UI Semibold" panose="020B0702040204020203" pitchFamily="34" charset="0"/>
                        </a:rPr>
                        <a:t>Status</a:t>
                      </a:r>
                    </a:p>
                  </a:txBody>
                  <a:tcPr marL="81132" marR="81132" marT="40566" marB="40566">
                    <a:lnL w="12700" cap="flat" cmpd="sng" algn="ctr">
                      <a:solidFill>
                        <a:schemeClr val="tx2">
                          <a:lumMod val="75000"/>
                        </a:schemeClr>
                      </a:solidFill>
                      <a:prstDash val="solid"/>
                      <a:round/>
                      <a:headEnd type="none" w="med" len="med"/>
                      <a:tailEnd type="none" w="med" len="med"/>
                    </a:lnL>
                    <a:lnR w="12700" cap="flat" cmpd="sng" algn="ctr">
                      <a:solidFill>
                        <a:schemeClr val="tx2">
                          <a:lumMod val="75000"/>
                        </a:schemeClr>
                      </a:solidFill>
                      <a:prstDash val="solid"/>
                      <a:round/>
                      <a:headEnd type="none" w="med" len="med"/>
                      <a:tailEnd type="none" w="med" len="med"/>
                    </a:lnR>
                    <a:lnT w="12700" cap="flat" cmpd="sng" algn="ctr">
                      <a:solidFill>
                        <a:schemeClr val="tx2">
                          <a:lumMod val="75000"/>
                        </a:schemeClr>
                      </a:solidFill>
                      <a:prstDash val="solid"/>
                      <a:round/>
                      <a:headEnd type="none" w="med" len="med"/>
                      <a:tailEnd type="none" w="med" len="med"/>
                    </a:lnT>
                    <a:lnB w="12700" cap="flat" cmpd="sng" algn="ctr">
                      <a:solidFill>
                        <a:schemeClr val="tx2">
                          <a:lumMod val="75000"/>
                        </a:schemeClr>
                      </a:solidFill>
                      <a:prstDash val="solid"/>
                      <a:round/>
                      <a:headEnd type="none" w="med" len="med"/>
                      <a:tailEnd type="none" w="med" len="med"/>
                    </a:lnB>
                    <a:solidFill>
                      <a:schemeClr val="accent4"/>
                    </a:solidFill>
                  </a:tcPr>
                </a:tc>
                <a:tc>
                  <a:txBody>
                    <a:bodyPr/>
                    <a:lstStyle/>
                    <a:p>
                      <a:r>
                        <a:rPr lang="en-US" sz="1600" b="0" i="0" dirty="0" err="1">
                          <a:solidFill>
                            <a:schemeClr val="bg1"/>
                          </a:solidFill>
                          <a:latin typeface="Segoe UI Semibold" panose="020B0702040204020203" pitchFamily="34" charset="0"/>
                          <a:cs typeface="Segoe UI Semibold" panose="020B0702040204020203" pitchFamily="34" charset="0"/>
                        </a:rPr>
                        <a:t>WebSite</a:t>
                      </a:r>
                      <a:endParaRPr lang="en-US" sz="1600" b="0" i="0" dirty="0">
                        <a:solidFill>
                          <a:schemeClr val="bg1"/>
                        </a:solidFill>
                        <a:latin typeface="Segoe UI Semibold" panose="020B0702040204020203" pitchFamily="34" charset="0"/>
                        <a:cs typeface="Segoe UI Semibold" panose="020B0702040204020203" pitchFamily="34" charset="0"/>
                      </a:endParaRPr>
                    </a:p>
                  </a:txBody>
                  <a:tcPr marL="81132" marR="81132" marT="40566" marB="40566">
                    <a:lnL w="12700" cap="flat" cmpd="sng" algn="ctr">
                      <a:solidFill>
                        <a:schemeClr val="tx2">
                          <a:lumMod val="75000"/>
                        </a:schemeClr>
                      </a:solidFill>
                      <a:prstDash val="solid"/>
                      <a:round/>
                      <a:headEnd type="none" w="med" len="med"/>
                      <a:tailEnd type="none" w="med" len="med"/>
                    </a:lnL>
                    <a:lnR w="12700" cap="flat" cmpd="sng" algn="ctr">
                      <a:solidFill>
                        <a:schemeClr val="tx2">
                          <a:lumMod val="75000"/>
                        </a:schemeClr>
                      </a:solidFill>
                      <a:prstDash val="solid"/>
                      <a:round/>
                      <a:headEnd type="none" w="med" len="med"/>
                      <a:tailEnd type="none" w="med" len="med"/>
                    </a:lnR>
                    <a:lnT w="12700" cap="flat" cmpd="sng" algn="ctr">
                      <a:solidFill>
                        <a:schemeClr val="tx2">
                          <a:lumMod val="75000"/>
                        </a:schemeClr>
                      </a:solidFill>
                      <a:prstDash val="solid"/>
                      <a:round/>
                      <a:headEnd type="none" w="med" len="med"/>
                      <a:tailEnd type="none" w="med" len="med"/>
                    </a:lnT>
                    <a:lnB w="12700" cap="flat" cmpd="sng" algn="ctr">
                      <a:solidFill>
                        <a:schemeClr val="tx2">
                          <a:lumMod val="75000"/>
                        </a:schemeClr>
                      </a:solidFill>
                      <a:prstDash val="solid"/>
                      <a:round/>
                      <a:headEnd type="none" w="med" len="med"/>
                      <a:tailEnd type="none" w="med" len="med"/>
                    </a:lnB>
                    <a:solidFill>
                      <a:schemeClr val="accent4"/>
                    </a:solidFill>
                  </a:tcPr>
                </a:tc>
                <a:tc>
                  <a:txBody>
                    <a:bodyPr/>
                    <a:lstStyle/>
                    <a:p>
                      <a:r>
                        <a:rPr lang="en-US" sz="1600" b="0" i="0" dirty="0">
                          <a:solidFill>
                            <a:schemeClr val="bg1"/>
                          </a:solidFill>
                          <a:latin typeface="Segoe UI Semibold" panose="020B0702040204020203" pitchFamily="34" charset="0"/>
                          <a:cs typeface="Segoe UI Semibold" panose="020B0702040204020203" pitchFamily="34" charset="0"/>
                        </a:rPr>
                        <a:t>Email</a:t>
                      </a:r>
                    </a:p>
                  </a:txBody>
                  <a:tcPr marL="81132" marR="81132" marT="40566" marB="40566">
                    <a:lnL w="12700" cap="flat" cmpd="sng" algn="ctr">
                      <a:solidFill>
                        <a:schemeClr val="tx2">
                          <a:lumMod val="75000"/>
                        </a:schemeClr>
                      </a:solidFill>
                      <a:prstDash val="solid"/>
                      <a:round/>
                      <a:headEnd type="none" w="med" len="med"/>
                      <a:tailEnd type="none" w="med" len="med"/>
                    </a:lnL>
                    <a:lnR w="12700" cap="flat" cmpd="sng" algn="ctr">
                      <a:solidFill>
                        <a:schemeClr val="tx2">
                          <a:lumMod val="75000"/>
                        </a:schemeClr>
                      </a:solidFill>
                      <a:prstDash val="solid"/>
                      <a:round/>
                      <a:headEnd type="none" w="med" len="med"/>
                      <a:tailEnd type="none" w="med" len="med"/>
                    </a:lnR>
                    <a:lnT w="12700" cap="flat" cmpd="sng" algn="ctr">
                      <a:solidFill>
                        <a:schemeClr val="tx2">
                          <a:lumMod val="75000"/>
                        </a:schemeClr>
                      </a:solidFill>
                      <a:prstDash val="solid"/>
                      <a:round/>
                      <a:headEnd type="none" w="med" len="med"/>
                      <a:tailEnd type="none" w="med" len="med"/>
                    </a:lnT>
                    <a:lnB w="12700" cap="flat" cmpd="sng" algn="ctr">
                      <a:solidFill>
                        <a:schemeClr val="tx2">
                          <a:lumMod val="75000"/>
                        </a:schemeClr>
                      </a:solidFill>
                      <a:prstDash val="solid"/>
                      <a:round/>
                      <a:headEnd type="none" w="med" len="med"/>
                      <a:tailEnd type="none" w="med" len="med"/>
                    </a:lnB>
                    <a:solidFill>
                      <a:schemeClr val="accent4"/>
                    </a:solidFill>
                  </a:tcPr>
                </a:tc>
                <a:extLst>
                  <a:ext uri="{0D108BD9-81ED-4DB2-BD59-A6C34878D82A}">
                    <a16:rowId xmlns:a16="http://schemas.microsoft.com/office/drawing/2014/main" val="10000"/>
                  </a:ext>
                </a:extLst>
              </a:tr>
              <a:tr h="329037">
                <a:tc>
                  <a:txBody>
                    <a:bodyPr/>
                    <a:lstStyle/>
                    <a:p>
                      <a:r>
                        <a:rPr lang="en-US" sz="1600" dirty="0">
                          <a:solidFill>
                            <a:schemeClr val="bg1"/>
                          </a:solidFill>
                        </a:rPr>
                        <a:t>A</a:t>
                      </a:r>
                    </a:p>
                  </a:txBody>
                  <a:tcPr marL="81132" marR="81132" marT="40566" marB="40566">
                    <a:lnL w="12700" cap="flat" cmpd="sng" algn="ctr">
                      <a:solidFill>
                        <a:schemeClr val="tx2">
                          <a:lumMod val="75000"/>
                        </a:schemeClr>
                      </a:solidFill>
                      <a:prstDash val="solid"/>
                      <a:round/>
                      <a:headEnd type="none" w="med" len="med"/>
                      <a:tailEnd type="none" w="med" len="med"/>
                    </a:lnL>
                    <a:lnR w="12700" cap="flat" cmpd="sng" algn="ctr">
                      <a:solidFill>
                        <a:schemeClr val="tx2">
                          <a:lumMod val="75000"/>
                        </a:schemeClr>
                      </a:solidFill>
                      <a:prstDash val="solid"/>
                      <a:round/>
                      <a:headEnd type="none" w="med" len="med"/>
                      <a:tailEnd type="none" w="med" len="med"/>
                    </a:lnR>
                    <a:lnT w="12700" cap="flat" cmpd="sng" algn="ctr">
                      <a:solidFill>
                        <a:schemeClr val="tx2">
                          <a:lumMod val="75000"/>
                        </a:schemeClr>
                      </a:solidFill>
                      <a:prstDash val="solid"/>
                      <a:round/>
                      <a:headEnd type="none" w="med" len="med"/>
                      <a:tailEnd type="none" w="med" len="med"/>
                    </a:lnT>
                    <a:lnB w="12700" cap="flat" cmpd="sng" algn="ctr">
                      <a:solidFill>
                        <a:schemeClr val="tx2">
                          <a:lumMod val="75000"/>
                        </a:schemeClr>
                      </a:solidFill>
                      <a:prstDash val="solid"/>
                      <a:round/>
                      <a:headEnd type="none" w="med" len="med"/>
                      <a:tailEnd type="none" w="med" len="med"/>
                    </a:lnB>
                    <a:solidFill>
                      <a:schemeClr val="accent3"/>
                    </a:solidFill>
                  </a:tcPr>
                </a:tc>
                <a:tc>
                  <a:txBody>
                    <a:bodyPr/>
                    <a:lstStyle/>
                    <a:p>
                      <a:r>
                        <a:rPr lang="en-US" sz="1600" dirty="0" err="1">
                          <a:solidFill>
                            <a:schemeClr val="bg1"/>
                          </a:solidFill>
                        </a:rPr>
                        <a:t>AlexP</a:t>
                      </a:r>
                      <a:endParaRPr lang="en-US" sz="1600" dirty="0">
                        <a:solidFill>
                          <a:schemeClr val="bg1"/>
                        </a:solidFill>
                      </a:endParaRPr>
                    </a:p>
                  </a:txBody>
                  <a:tcPr marL="81132" marR="81132" marT="40566" marB="40566">
                    <a:lnL w="12700" cap="flat" cmpd="sng" algn="ctr">
                      <a:solidFill>
                        <a:schemeClr val="tx2">
                          <a:lumMod val="75000"/>
                        </a:schemeClr>
                      </a:solidFill>
                      <a:prstDash val="solid"/>
                      <a:round/>
                      <a:headEnd type="none" w="med" len="med"/>
                      <a:tailEnd type="none" w="med" len="med"/>
                    </a:lnL>
                    <a:lnR w="12700" cap="flat" cmpd="sng" algn="ctr">
                      <a:solidFill>
                        <a:schemeClr val="tx2">
                          <a:lumMod val="75000"/>
                        </a:schemeClr>
                      </a:solidFill>
                      <a:prstDash val="solid"/>
                      <a:round/>
                      <a:headEnd type="none" w="med" len="med"/>
                      <a:tailEnd type="none" w="med" len="med"/>
                    </a:lnR>
                    <a:lnT w="12700" cap="flat" cmpd="sng" algn="ctr">
                      <a:solidFill>
                        <a:schemeClr val="tx2">
                          <a:lumMod val="75000"/>
                        </a:schemeClr>
                      </a:solidFill>
                      <a:prstDash val="solid"/>
                      <a:round/>
                      <a:headEnd type="none" w="med" len="med"/>
                      <a:tailEnd type="none" w="med" len="med"/>
                    </a:lnT>
                    <a:lnB w="12700" cap="flat" cmpd="sng" algn="ctr">
                      <a:solidFill>
                        <a:schemeClr val="tx2">
                          <a:lumMod val="75000"/>
                        </a:schemeClr>
                      </a:solidFill>
                      <a:prstDash val="solid"/>
                      <a:round/>
                      <a:headEnd type="none" w="med" len="med"/>
                      <a:tailEnd type="none" w="med" len="med"/>
                    </a:lnB>
                    <a:solidFill>
                      <a:schemeClr val="bg2"/>
                    </a:solidFill>
                  </a:tcPr>
                </a:tc>
                <a:tc>
                  <a:txBody>
                    <a:bodyPr/>
                    <a:lstStyle/>
                    <a:p>
                      <a:r>
                        <a:rPr lang="en-US" sz="1600" i="1" dirty="0">
                          <a:solidFill>
                            <a:schemeClr val="bg1"/>
                          </a:solidFill>
                        </a:rPr>
                        <a:t>Alex Pen</a:t>
                      </a:r>
                    </a:p>
                  </a:txBody>
                  <a:tcPr marL="81132" marR="81132" marT="40566" marB="40566">
                    <a:lnL w="12700" cap="flat" cmpd="sng" algn="ctr">
                      <a:solidFill>
                        <a:schemeClr val="tx2">
                          <a:lumMod val="75000"/>
                        </a:schemeClr>
                      </a:solidFill>
                      <a:prstDash val="solid"/>
                      <a:round/>
                      <a:headEnd type="none" w="med" len="med"/>
                      <a:tailEnd type="none" w="med" len="med"/>
                    </a:lnL>
                    <a:lnR w="12700" cap="flat" cmpd="sng" algn="ctr">
                      <a:solidFill>
                        <a:schemeClr val="tx2">
                          <a:lumMod val="75000"/>
                        </a:schemeClr>
                      </a:solidFill>
                      <a:prstDash val="solid"/>
                      <a:round/>
                      <a:headEnd type="none" w="med" len="med"/>
                      <a:tailEnd type="none" w="med" len="med"/>
                    </a:lnR>
                    <a:lnT w="12700" cap="flat" cmpd="sng" algn="ctr">
                      <a:solidFill>
                        <a:schemeClr val="tx2">
                          <a:lumMod val="75000"/>
                        </a:schemeClr>
                      </a:solidFill>
                      <a:prstDash val="solid"/>
                      <a:round/>
                      <a:headEnd type="none" w="med" len="med"/>
                      <a:tailEnd type="none" w="med" len="med"/>
                    </a:lnT>
                    <a:lnB w="12700" cap="flat" cmpd="sng" algn="ctr">
                      <a:solidFill>
                        <a:schemeClr val="tx2">
                          <a:lumMod val="75000"/>
                        </a:schemeClr>
                      </a:solidFill>
                      <a:prstDash val="solid"/>
                      <a:round/>
                      <a:headEnd type="none" w="med" len="med"/>
                      <a:tailEnd type="none" w="med" len="med"/>
                    </a:lnB>
                    <a:solidFill>
                      <a:schemeClr val="accent4"/>
                    </a:solidFill>
                  </a:tcPr>
                </a:tc>
                <a:tc>
                  <a:txBody>
                    <a:bodyPr/>
                    <a:lstStyle/>
                    <a:p>
                      <a:r>
                        <a:rPr lang="en-US" sz="1600" i="1" dirty="0">
                          <a:solidFill>
                            <a:schemeClr val="bg1"/>
                          </a:solidFill>
                        </a:rPr>
                        <a:t>Busy</a:t>
                      </a:r>
                    </a:p>
                  </a:txBody>
                  <a:tcPr marL="81132" marR="81132" marT="40566" marB="40566">
                    <a:lnL w="12700" cap="flat" cmpd="sng" algn="ctr">
                      <a:solidFill>
                        <a:schemeClr val="tx2">
                          <a:lumMod val="75000"/>
                        </a:schemeClr>
                      </a:solidFill>
                      <a:prstDash val="solid"/>
                      <a:round/>
                      <a:headEnd type="none" w="med" len="med"/>
                      <a:tailEnd type="none" w="med" len="med"/>
                    </a:lnL>
                    <a:lnR w="12700" cap="flat" cmpd="sng" algn="ctr">
                      <a:solidFill>
                        <a:schemeClr val="tx2">
                          <a:lumMod val="75000"/>
                        </a:schemeClr>
                      </a:solidFill>
                      <a:prstDash val="solid"/>
                      <a:round/>
                      <a:headEnd type="none" w="med" len="med"/>
                      <a:tailEnd type="none" w="med" len="med"/>
                    </a:lnR>
                    <a:lnT w="12700" cap="flat" cmpd="sng" algn="ctr">
                      <a:solidFill>
                        <a:schemeClr val="tx2">
                          <a:lumMod val="75000"/>
                        </a:schemeClr>
                      </a:solidFill>
                      <a:prstDash val="solid"/>
                      <a:round/>
                      <a:headEnd type="none" w="med" len="med"/>
                      <a:tailEnd type="none" w="med" len="med"/>
                    </a:lnT>
                    <a:lnB w="12700" cap="flat" cmpd="sng" algn="ctr">
                      <a:solidFill>
                        <a:schemeClr val="tx2">
                          <a:lumMod val="75000"/>
                        </a:schemeClr>
                      </a:solidFill>
                      <a:prstDash val="solid"/>
                      <a:round/>
                      <a:headEnd type="none" w="med" len="med"/>
                      <a:tailEnd type="none" w="med" len="med"/>
                    </a:lnB>
                    <a:solidFill>
                      <a:schemeClr val="accent4"/>
                    </a:solidFill>
                  </a:tcPr>
                </a:tc>
                <a:tc>
                  <a:txBody>
                    <a:bodyPr/>
                    <a:lstStyle/>
                    <a:p>
                      <a:r>
                        <a:rPr lang="en-US" sz="1600" i="1" dirty="0">
                          <a:solidFill>
                            <a:schemeClr val="bg1"/>
                          </a:solidFill>
                        </a:rPr>
                        <a:t>http://...</a:t>
                      </a:r>
                    </a:p>
                  </a:txBody>
                  <a:tcPr marL="81132" marR="81132" marT="40566" marB="40566">
                    <a:lnL w="12700" cap="flat" cmpd="sng" algn="ctr">
                      <a:solidFill>
                        <a:schemeClr val="tx2">
                          <a:lumMod val="75000"/>
                        </a:schemeClr>
                      </a:solidFill>
                      <a:prstDash val="solid"/>
                      <a:round/>
                      <a:headEnd type="none" w="med" len="med"/>
                      <a:tailEnd type="none" w="med" len="med"/>
                    </a:lnL>
                    <a:lnR w="12700" cap="flat" cmpd="sng" algn="ctr">
                      <a:solidFill>
                        <a:schemeClr val="tx2">
                          <a:lumMod val="75000"/>
                        </a:schemeClr>
                      </a:solidFill>
                      <a:prstDash val="solid"/>
                      <a:round/>
                      <a:headEnd type="none" w="med" len="med"/>
                      <a:tailEnd type="none" w="med" len="med"/>
                    </a:lnR>
                    <a:lnT w="12700" cap="flat" cmpd="sng" algn="ctr">
                      <a:solidFill>
                        <a:schemeClr val="tx2">
                          <a:lumMod val="75000"/>
                        </a:schemeClr>
                      </a:solidFill>
                      <a:prstDash val="solid"/>
                      <a:round/>
                      <a:headEnd type="none" w="med" len="med"/>
                      <a:tailEnd type="none" w="med" len="med"/>
                    </a:lnT>
                    <a:lnB w="12700" cap="flat" cmpd="sng" algn="ctr">
                      <a:solidFill>
                        <a:schemeClr val="tx2">
                          <a:lumMod val="75000"/>
                        </a:schemeClr>
                      </a:solidFill>
                      <a:prstDash val="solid"/>
                      <a:round/>
                      <a:headEnd type="none" w="med" len="med"/>
                      <a:tailEnd type="none" w="med" len="med"/>
                    </a:lnB>
                    <a:solidFill>
                      <a:schemeClr val="accent4"/>
                    </a:solidFill>
                  </a:tcPr>
                </a:tc>
                <a:tc>
                  <a:txBody>
                    <a:bodyPr/>
                    <a:lstStyle/>
                    <a:p>
                      <a:r>
                        <a:rPr lang="en-US" sz="1600" i="1" dirty="0" err="1">
                          <a:solidFill>
                            <a:schemeClr val="bg1"/>
                          </a:solidFill>
                        </a:rPr>
                        <a:t>alexp</a:t>
                      </a:r>
                      <a:r>
                        <a:rPr lang="en-US" sz="1600" i="1" dirty="0">
                          <a:solidFill>
                            <a:schemeClr val="bg1"/>
                          </a:solidFill>
                        </a:rPr>
                        <a:t>@...</a:t>
                      </a:r>
                    </a:p>
                  </a:txBody>
                  <a:tcPr marL="81132" marR="81132" marT="40566" marB="40566">
                    <a:lnL w="12700" cap="flat" cmpd="sng" algn="ctr">
                      <a:solidFill>
                        <a:schemeClr val="tx2">
                          <a:lumMod val="75000"/>
                        </a:schemeClr>
                      </a:solidFill>
                      <a:prstDash val="solid"/>
                      <a:round/>
                      <a:headEnd type="none" w="med" len="med"/>
                      <a:tailEnd type="none" w="med" len="med"/>
                    </a:lnL>
                    <a:lnR w="12700" cap="flat" cmpd="sng" algn="ctr">
                      <a:solidFill>
                        <a:schemeClr val="tx2">
                          <a:lumMod val="75000"/>
                        </a:schemeClr>
                      </a:solidFill>
                      <a:prstDash val="solid"/>
                      <a:round/>
                      <a:headEnd type="none" w="med" len="med"/>
                      <a:tailEnd type="none" w="med" len="med"/>
                    </a:lnR>
                    <a:lnT w="12700" cap="flat" cmpd="sng" algn="ctr">
                      <a:solidFill>
                        <a:schemeClr val="tx2">
                          <a:lumMod val="75000"/>
                        </a:schemeClr>
                      </a:solidFill>
                      <a:prstDash val="solid"/>
                      <a:round/>
                      <a:headEnd type="none" w="med" len="med"/>
                      <a:tailEnd type="none" w="med" len="med"/>
                    </a:lnT>
                    <a:lnB w="12700" cap="flat" cmpd="sng" algn="ctr">
                      <a:solidFill>
                        <a:schemeClr val="tx2">
                          <a:lumMod val="75000"/>
                        </a:schemeClr>
                      </a:solidFill>
                      <a:prstDash val="solid"/>
                      <a:round/>
                      <a:headEnd type="none" w="med" len="med"/>
                      <a:tailEnd type="none" w="med" len="med"/>
                    </a:lnB>
                    <a:solidFill>
                      <a:schemeClr val="accent4"/>
                    </a:solidFill>
                  </a:tcPr>
                </a:tc>
                <a:extLst>
                  <a:ext uri="{0D108BD9-81ED-4DB2-BD59-A6C34878D82A}">
                    <a16:rowId xmlns:a16="http://schemas.microsoft.com/office/drawing/2014/main" val="10001"/>
                  </a:ext>
                </a:extLst>
              </a:tr>
            </a:tbl>
          </a:graphicData>
        </a:graphic>
      </p:graphicFrame>
      <p:graphicFrame>
        <p:nvGraphicFramePr>
          <p:cNvPr id="12" name="Table 7"/>
          <p:cNvGraphicFramePr>
            <a:graphicFrameLocks noGrp="1"/>
          </p:cNvGraphicFramePr>
          <p:nvPr>
            <p:extLst/>
          </p:nvPr>
        </p:nvGraphicFramePr>
        <p:xfrm>
          <a:off x="5595560" y="3779714"/>
          <a:ext cx="3956333" cy="654009"/>
        </p:xfrm>
        <a:graphic>
          <a:graphicData uri="http://schemas.openxmlformats.org/drawingml/2006/table">
            <a:tbl>
              <a:tblPr firstRow="1" bandRow="1">
                <a:tableStyleId>{2D5ABB26-0587-4C30-8999-92F81FD0307C}</a:tableStyleId>
              </a:tblPr>
              <a:tblGrid>
                <a:gridCol w="577045">
                  <a:extLst>
                    <a:ext uri="{9D8B030D-6E8A-4147-A177-3AD203B41FA5}">
                      <a16:colId xmlns:a16="http://schemas.microsoft.com/office/drawing/2014/main" val="20000"/>
                    </a:ext>
                  </a:extLst>
                </a:gridCol>
                <a:gridCol w="890932">
                  <a:extLst>
                    <a:ext uri="{9D8B030D-6E8A-4147-A177-3AD203B41FA5}">
                      <a16:colId xmlns:a16="http://schemas.microsoft.com/office/drawing/2014/main" val="20001"/>
                    </a:ext>
                  </a:extLst>
                </a:gridCol>
                <a:gridCol w="1410069">
                  <a:extLst>
                    <a:ext uri="{9D8B030D-6E8A-4147-A177-3AD203B41FA5}">
                      <a16:colId xmlns:a16="http://schemas.microsoft.com/office/drawing/2014/main" val="20002"/>
                    </a:ext>
                  </a:extLst>
                </a:gridCol>
                <a:gridCol w="1078287">
                  <a:extLst>
                    <a:ext uri="{9D8B030D-6E8A-4147-A177-3AD203B41FA5}">
                      <a16:colId xmlns:a16="http://schemas.microsoft.com/office/drawing/2014/main" val="20003"/>
                    </a:ext>
                  </a:extLst>
                </a:gridCol>
              </a:tblGrid>
              <a:tr h="324530">
                <a:tc>
                  <a:txBody>
                    <a:bodyPr/>
                    <a:lstStyle/>
                    <a:p>
                      <a:r>
                        <a:rPr lang="en-US" sz="1600" b="0" i="0" dirty="0">
                          <a:solidFill>
                            <a:schemeClr val="bg1"/>
                          </a:solidFill>
                          <a:latin typeface="Segoe UI Semibold" panose="020B0702040204020203" pitchFamily="34" charset="0"/>
                          <a:cs typeface="Segoe UI Semibold" panose="020B0702040204020203" pitchFamily="34" charset="0"/>
                        </a:rPr>
                        <a:t>PK</a:t>
                      </a:r>
                    </a:p>
                  </a:txBody>
                  <a:tcPr marL="81132" marR="81132" marT="40566" marB="40566">
                    <a:lnL w="12700" cap="flat" cmpd="sng" algn="ctr">
                      <a:solidFill>
                        <a:schemeClr val="tx2">
                          <a:lumMod val="75000"/>
                        </a:schemeClr>
                      </a:solidFill>
                      <a:prstDash val="solid"/>
                      <a:round/>
                      <a:headEnd type="none" w="med" len="med"/>
                      <a:tailEnd type="none" w="med" len="med"/>
                    </a:lnL>
                    <a:lnR w="12700" cap="flat" cmpd="sng" algn="ctr">
                      <a:solidFill>
                        <a:schemeClr val="tx2">
                          <a:lumMod val="75000"/>
                        </a:schemeClr>
                      </a:solidFill>
                      <a:prstDash val="solid"/>
                      <a:round/>
                      <a:headEnd type="none" w="med" len="med"/>
                      <a:tailEnd type="none" w="med" len="med"/>
                    </a:lnR>
                    <a:lnT w="12700" cap="flat" cmpd="sng" algn="ctr">
                      <a:solidFill>
                        <a:schemeClr val="tx2">
                          <a:lumMod val="75000"/>
                        </a:schemeClr>
                      </a:solidFill>
                      <a:prstDash val="solid"/>
                      <a:round/>
                      <a:headEnd type="none" w="med" len="med"/>
                      <a:tailEnd type="none" w="med" len="med"/>
                    </a:lnT>
                    <a:lnB w="12700" cap="flat" cmpd="sng" algn="ctr">
                      <a:solidFill>
                        <a:schemeClr val="tx2">
                          <a:lumMod val="75000"/>
                        </a:schemeClr>
                      </a:solidFill>
                      <a:prstDash val="solid"/>
                      <a:round/>
                      <a:headEnd type="none" w="med" len="med"/>
                      <a:tailEnd type="none" w="med" len="med"/>
                    </a:lnB>
                    <a:solidFill>
                      <a:schemeClr val="accent3"/>
                    </a:solidFill>
                  </a:tcPr>
                </a:tc>
                <a:tc>
                  <a:txBody>
                    <a:bodyPr/>
                    <a:lstStyle/>
                    <a:p>
                      <a:r>
                        <a:rPr lang="en-US" sz="1600" b="0" i="0" dirty="0">
                          <a:solidFill>
                            <a:schemeClr val="bg1"/>
                          </a:solidFill>
                          <a:latin typeface="Segoe UI Semibold" panose="020B0702040204020203" pitchFamily="34" charset="0"/>
                          <a:cs typeface="Segoe UI Semibold" panose="020B0702040204020203" pitchFamily="34" charset="0"/>
                        </a:rPr>
                        <a:t>RK</a:t>
                      </a:r>
                    </a:p>
                  </a:txBody>
                  <a:tcPr marL="81132" marR="81132" marT="40566" marB="40566">
                    <a:lnL w="12700" cap="flat" cmpd="sng" algn="ctr">
                      <a:solidFill>
                        <a:schemeClr val="tx2">
                          <a:lumMod val="75000"/>
                        </a:schemeClr>
                      </a:solidFill>
                      <a:prstDash val="solid"/>
                      <a:round/>
                      <a:headEnd type="none" w="med" len="med"/>
                      <a:tailEnd type="none" w="med" len="med"/>
                    </a:lnL>
                    <a:lnR w="12700" cap="flat" cmpd="sng" algn="ctr">
                      <a:solidFill>
                        <a:schemeClr val="tx2">
                          <a:lumMod val="75000"/>
                        </a:schemeClr>
                      </a:solidFill>
                      <a:prstDash val="solid"/>
                      <a:round/>
                      <a:headEnd type="none" w="med" len="med"/>
                      <a:tailEnd type="none" w="med" len="med"/>
                    </a:lnR>
                    <a:lnT w="12700" cap="flat" cmpd="sng" algn="ctr">
                      <a:solidFill>
                        <a:schemeClr val="tx2">
                          <a:lumMod val="75000"/>
                        </a:schemeClr>
                      </a:solidFill>
                      <a:prstDash val="solid"/>
                      <a:round/>
                      <a:headEnd type="none" w="med" len="med"/>
                      <a:tailEnd type="none" w="med" len="med"/>
                    </a:lnT>
                    <a:lnB w="12700" cap="flat" cmpd="sng" algn="ctr">
                      <a:solidFill>
                        <a:schemeClr val="tx2">
                          <a:lumMod val="75000"/>
                        </a:schemeClr>
                      </a:solidFill>
                      <a:prstDash val="solid"/>
                      <a:round/>
                      <a:headEnd type="none" w="med" len="med"/>
                      <a:tailEnd type="none" w="med" len="med"/>
                    </a:lnB>
                    <a:solidFill>
                      <a:schemeClr val="bg2"/>
                    </a:solidFill>
                  </a:tcPr>
                </a:tc>
                <a:tc>
                  <a:txBody>
                    <a:bodyPr/>
                    <a:lstStyle/>
                    <a:p>
                      <a:r>
                        <a:rPr lang="en-US" sz="1600" b="0" i="0" dirty="0">
                          <a:solidFill>
                            <a:schemeClr val="bg1"/>
                          </a:solidFill>
                          <a:latin typeface="Segoe UI Semibold" panose="020B0702040204020203" pitchFamily="34" charset="0"/>
                          <a:cs typeface="Segoe UI Semibold" panose="020B0702040204020203" pitchFamily="34" charset="0"/>
                        </a:rPr>
                        <a:t>Name</a:t>
                      </a:r>
                    </a:p>
                  </a:txBody>
                  <a:tcPr marL="81132" marR="81132" marT="40566" marB="40566">
                    <a:lnL w="12700" cap="flat" cmpd="sng" algn="ctr">
                      <a:solidFill>
                        <a:schemeClr val="tx2">
                          <a:lumMod val="75000"/>
                        </a:schemeClr>
                      </a:solidFill>
                      <a:prstDash val="solid"/>
                      <a:round/>
                      <a:headEnd type="none" w="med" len="med"/>
                      <a:tailEnd type="none" w="med" len="med"/>
                    </a:lnL>
                    <a:lnR w="12700" cap="flat" cmpd="sng" algn="ctr">
                      <a:solidFill>
                        <a:schemeClr val="tx2">
                          <a:lumMod val="75000"/>
                        </a:schemeClr>
                      </a:solidFill>
                      <a:prstDash val="solid"/>
                      <a:round/>
                      <a:headEnd type="none" w="med" len="med"/>
                      <a:tailEnd type="none" w="med" len="med"/>
                    </a:lnR>
                    <a:lnT w="12700" cap="flat" cmpd="sng" algn="ctr">
                      <a:solidFill>
                        <a:schemeClr val="tx2">
                          <a:lumMod val="75000"/>
                        </a:schemeClr>
                      </a:solidFill>
                      <a:prstDash val="solid"/>
                      <a:round/>
                      <a:headEnd type="none" w="med" len="med"/>
                      <a:tailEnd type="none" w="med" len="med"/>
                    </a:lnT>
                    <a:lnB w="12700" cap="flat" cmpd="sng" algn="ctr">
                      <a:solidFill>
                        <a:schemeClr val="tx2">
                          <a:lumMod val="75000"/>
                        </a:schemeClr>
                      </a:solidFill>
                      <a:prstDash val="solid"/>
                      <a:round/>
                      <a:headEnd type="none" w="med" len="med"/>
                      <a:tailEnd type="none" w="med" len="med"/>
                    </a:lnB>
                    <a:solidFill>
                      <a:schemeClr val="accent4"/>
                    </a:solidFill>
                  </a:tcPr>
                </a:tc>
                <a:tc>
                  <a:txBody>
                    <a:bodyPr/>
                    <a:lstStyle/>
                    <a:p>
                      <a:r>
                        <a:rPr lang="en-US" sz="1600" b="0" i="0" dirty="0">
                          <a:solidFill>
                            <a:schemeClr val="bg1"/>
                          </a:solidFill>
                          <a:latin typeface="Segoe UI Semibold" panose="020B0702040204020203" pitchFamily="34" charset="0"/>
                          <a:cs typeface="Segoe UI Semibold" panose="020B0702040204020203" pitchFamily="34" charset="0"/>
                        </a:rPr>
                        <a:t>Status</a:t>
                      </a:r>
                    </a:p>
                  </a:txBody>
                  <a:tcPr marL="81132" marR="81132" marT="40566" marB="40566">
                    <a:lnL w="12700" cap="flat" cmpd="sng" algn="ctr">
                      <a:solidFill>
                        <a:schemeClr val="tx2">
                          <a:lumMod val="75000"/>
                        </a:schemeClr>
                      </a:solidFill>
                      <a:prstDash val="solid"/>
                      <a:round/>
                      <a:headEnd type="none" w="med" len="med"/>
                      <a:tailEnd type="none" w="med" len="med"/>
                    </a:lnL>
                    <a:lnR w="12700" cap="flat" cmpd="sng" algn="ctr">
                      <a:solidFill>
                        <a:schemeClr val="tx2">
                          <a:lumMod val="75000"/>
                        </a:schemeClr>
                      </a:solidFill>
                      <a:prstDash val="solid"/>
                      <a:round/>
                      <a:headEnd type="none" w="med" len="med"/>
                      <a:tailEnd type="none" w="med" len="med"/>
                    </a:lnR>
                    <a:lnT w="12700" cap="flat" cmpd="sng" algn="ctr">
                      <a:solidFill>
                        <a:schemeClr val="tx2">
                          <a:lumMod val="75000"/>
                        </a:schemeClr>
                      </a:solidFill>
                      <a:prstDash val="solid"/>
                      <a:round/>
                      <a:headEnd type="none" w="med" len="med"/>
                      <a:tailEnd type="none" w="med" len="med"/>
                    </a:lnT>
                    <a:lnB w="12700" cap="flat" cmpd="sng" algn="ctr">
                      <a:solidFill>
                        <a:schemeClr val="tx2">
                          <a:lumMod val="75000"/>
                        </a:schemeClr>
                      </a:solidFill>
                      <a:prstDash val="solid"/>
                      <a:round/>
                      <a:headEnd type="none" w="med" len="med"/>
                      <a:tailEnd type="none" w="med" len="med"/>
                    </a:lnB>
                    <a:solidFill>
                      <a:schemeClr val="accent4"/>
                    </a:solidFill>
                  </a:tcPr>
                </a:tc>
                <a:extLst>
                  <a:ext uri="{0D108BD9-81ED-4DB2-BD59-A6C34878D82A}">
                    <a16:rowId xmlns:a16="http://schemas.microsoft.com/office/drawing/2014/main" val="10000"/>
                  </a:ext>
                </a:extLst>
              </a:tr>
              <a:tr h="329037">
                <a:tc>
                  <a:txBody>
                    <a:bodyPr/>
                    <a:lstStyle/>
                    <a:p>
                      <a:r>
                        <a:rPr lang="en-US" sz="1600" dirty="0">
                          <a:solidFill>
                            <a:schemeClr val="bg1"/>
                          </a:solidFill>
                        </a:rPr>
                        <a:t>B</a:t>
                      </a:r>
                      <a:endParaRPr lang="en-US" sz="1600" dirty="0">
                        <a:solidFill>
                          <a:schemeClr val="bg1"/>
                        </a:solidFill>
                        <a:latin typeface="+mj-lt"/>
                      </a:endParaRPr>
                    </a:p>
                  </a:txBody>
                  <a:tcPr marL="81132" marR="81132" marT="40566" marB="40566">
                    <a:lnL w="12700" cap="flat" cmpd="sng" algn="ctr">
                      <a:solidFill>
                        <a:schemeClr val="tx2">
                          <a:lumMod val="75000"/>
                        </a:schemeClr>
                      </a:solidFill>
                      <a:prstDash val="solid"/>
                      <a:round/>
                      <a:headEnd type="none" w="med" len="med"/>
                      <a:tailEnd type="none" w="med" len="med"/>
                    </a:lnL>
                    <a:lnR w="12700" cap="flat" cmpd="sng" algn="ctr">
                      <a:solidFill>
                        <a:schemeClr val="tx2">
                          <a:lumMod val="75000"/>
                        </a:schemeClr>
                      </a:solidFill>
                      <a:prstDash val="solid"/>
                      <a:round/>
                      <a:headEnd type="none" w="med" len="med"/>
                      <a:tailEnd type="none" w="med" len="med"/>
                    </a:lnR>
                    <a:lnT w="12700" cap="flat" cmpd="sng" algn="ctr">
                      <a:solidFill>
                        <a:schemeClr val="tx2">
                          <a:lumMod val="75000"/>
                        </a:schemeClr>
                      </a:solidFill>
                      <a:prstDash val="solid"/>
                      <a:round/>
                      <a:headEnd type="none" w="med" len="med"/>
                      <a:tailEnd type="none" w="med" len="med"/>
                    </a:lnT>
                    <a:lnB w="12700" cap="flat" cmpd="sng" algn="ctr">
                      <a:solidFill>
                        <a:schemeClr val="tx2">
                          <a:lumMod val="75000"/>
                        </a:schemeClr>
                      </a:solidFill>
                      <a:prstDash val="solid"/>
                      <a:round/>
                      <a:headEnd type="none" w="med" len="med"/>
                      <a:tailEnd type="none" w="med" len="med"/>
                    </a:lnB>
                    <a:solidFill>
                      <a:schemeClr val="accent3"/>
                    </a:solidFill>
                  </a:tcPr>
                </a:tc>
                <a:tc>
                  <a:txBody>
                    <a:bodyPr/>
                    <a:lstStyle/>
                    <a:p>
                      <a:r>
                        <a:rPr lang="en-US" sz="1600" dirty="0" err="1">
                          <a:solidFill>
                            <a:schemeClr val="bg1"/>
                          </a:solidFill>
                        </a:rPr>
                        <a:t>BobS</a:t>
                      </a:r>
                      <a:endParaRPr lang="en-US" sz="1600" dirty="0">
                        <a:solidFill>
                          <a:schemeClr val="bg1"/>
                        </a:solidFill>
                        <a:latin typeface="+mj-lt"/>
                      </a:endParaRPr>
                    </a:p>
                  </a:txBody>
                  <a:tcPr marL="81132" marR="81132" marT="40566" marB="40566">
                    <a:lnL w="12700" cap="flat" cmpd="sng" algn="ctr">
                      <a:solidFill>
                        <a:schemeClr val="tx2">
                          <a:lumMod val="75000"/>
                        </a:schemeClr>
                      </a:solidFill>
                      <a:prstDash val="solid"/>
                      <a:round/>
                      <a:headEnd type="none" w="med" len="med"/>
                      <a:tailEnd type="none" w="med" len="med"/>
                    </a:lnL>
                    <a:lnR w="12700" cap="flat" cmpd="sng" algn="ctr">
                      <a:solidFill>
                        <a:schemeClr val="tx2">
                          <a:lumMod val="75000"/>
                        </a:schemeClr>
                      </a:solidFill>
                      <a:prstDash val="solid"/>
                      <a:round/>
                      <a:headEnd type="none" w="med" len="med"/>
                      <a:tailEnd type="none" w="med" len="med"/>
                    </a:lnR>
                    <a:lnT w="12700" cap="flat" cmpd="sng" algn="ctr">
                      <a:solidFill>
                        <a:schemeClr val="tx2">
                          <a:lumMod val="75000"/>
                        </a:schemeClr>
                      </a:solidFill>
                      <a:prstDash val="solid"/>
                      <a:round/>
                      <a:headEnd type="none" w="med" len="med"/>
                      <a:tailEnd type="none" w="med" len="med"/>
                    </a:lnT>
                    <a:lnB w="12700" cap="flat" cmpd="sng" algn="ctr">
                      <a:solidFill>
                        <a:schemeClr val="tx2">
                          <a:lumMod val="75000"/>
                        </a:schemeClr>
                      </a:solidFill>
                      <a:prstDash val="solid"/>
                      <a:round/>
                      <a:headEnd type="none" w="med" len="med"/>
                      <a:tailEnd type="none" w="med" len="med"/>
                    </a:lnB>
                    <a:solidFill>
                      <a:schemeClr val="bg2"/>
                    </a:solidFill>
                  </a:tcPr>
                </a:tc>
                <a:tc>
                  <a:txBody>
                    <a:bodyPr/>
                    <a:lstStyle/>
                    <a:p>
                      <a:r>
                        <a:rPr lang="en-US" sz="1600" i="1" dirty="0">
                          <a:solidFill>
                            <a:schemeClr val="bg1"/>
                          </a:solidFill>
                        </a:rPr>
                        <a:t>Bob</a:t>
                      </a:r>
                      <a:r>
                        <a:rPr lang="en-US" sz="1600" i="1" baseline="0" dirty="0">
                          <a:solidFill>
                            <a:schemeClr val="bg1"/>
                          </a:solidFill>
                        </a:rPr>
                        <a:t> Stevens</a:t>
                      </a:r>
                      <a:endParaRPr lang="en-US" sz="1600" i="1" dirty="0">
                        <a:solidFill>
                          <a:schemeClr val="bg1"/>
                        </a:solidFill>
                        <a:latin typeface="+mj-lt"/>
                      </a:endParaRPr>
                    </a:p>
                  </a:txBody>
                  <a:tcPr marL="81132" marR="81132" marT="40566" marB="40566">
                    <a:lnL w="12700" cap="flat" cmpd="sng" algn="ctr">
                      <a:solidFill>
                        <a:schemeClr val="tx2">
                          <a:lumMod val="75000"/>
                        </a:schemeClr>
                      </a:solidFill>
                      <a:prstDash val="solid"/>
                      <a:round/>
                      <a:headEnd type="none" w="med" len="med"/>
                      <a:tailEnd type="none" w="med" len="med"/>
                    </a:lnL>
                    <a:lnR w="12700" cap="flat" cmpd="sng" algn="ctr">
                      <a:solidFill>
                        <a:schemeClr val="tx2">
                          <a:lumMod val="75000"/>
                        </a:schemeClr>
                      </a:solidFill>
                      <a:prstDash val="solid"/>
                      <a:round/>
                      <a:headEnd type="none" w="med" len="med"/>
                      <a:tailEnd type="none" w="med" len="med"/>
                    </a:lnR>
                    <a:lnT w="12700" cap="flat" cmpd="sng" algn="ctr">
                      <a:solidFill>
                        <a:schemeClr val="tx2">
                          <a:lumMod val="75000"/>
                        </a:schemeClr>
                      </a:solidFill>
                      <a:prstDash val="solid"/>
                      <a:round/>
                      <a:headEnd type="none" w="med" len="med"/>
                      <a:tailEnd type="none" w="med" len="med"/>
                    </a:lnT>
                    <a:lnB w="12700" cap="flat" cmpd="sng" algn="ctr">
                      <a:solidFill>
                        <a:schemeClr val="tx2">
                          <a:lumMod val="75000"/>
                        </a:schemeClr>
                      </a:solidFill>
                      <a:prstDash val="solid"/>
                      <a:round/>
                      <a:headEnd type="none" w="med" len="med"/>
                      <a:tailEnd type="none" w="med" len="med"/>
                    </a:lnB>
                    <a:solidFill>
                      <a:schemeClr val="accent4"/>
                    </a:solidFill>
                  </a:tcPr>
                </a:tc>
                <a:tc>
                  <a:txBody>
                    <a:bodyPr/>
                    <a:lstStyle/>
                    <a:p>
                      <a:r>
                        <a:rPr lang="en-US" sz="1600" i="1" dirty="0">
                          <a:solidFill>
                            <a:schemeClr val="bg1"/>
                          </a:solidFill>
                        </a:rPr>
                        <a:t>Offline</a:t>
                      </a:r>
                      <a:endParaRPr lang="en-US" sz="1600" i="1" dirty="0">
                        <a:solidFill>
                          <a:schemeClr val="bg1"/>
                        </a:solidFill>
                        <a:latin typeface="+mj-lt"/>
                      </a:endParaRPr>
                    </a:p>
                  </a:txBody>
                  <a:tcPr marL="81132" marR="81132" marT="40566" marB="40566">
                    <a:lnL w="12700" cap="flat" cmpd="sng" algn="ctr">
                      <a:solidFill>
                        <a:schemeClr val="tx2">
                          <a:lumMod val="75000"/>
                        </a:schemeClr>
                      </a:solidFill>
                      <a:prstDash val="solid"/>
                      <a:round/>
                      <a:headEnd type="none" w="med" len="med"/>
                      <a:tailEnd type="none" w="med" len="med"/>
                    </a:lnL>
                    <a:lnR w="12700" cap="flat" cmpd="sng" algn="ctr">
                      <a:solidFill>
                        <a:schemeClr val="tx2">
                          <a:lumMod val="75000"/>
                        </a:schemeClr>
                      </a:solidFill>
                      <a:prstDash val="solid"/>
                      <a:round/>
                      <a:headEnd type="none" w="med" len="med"/>
                      <a:tailEnd type="none" w="med" len="med"/>
                    </a:lnR>
                    <a:lnT w="12700" cap="flat" cmpd="sng" algn="ctr">
                      <a:solidFill>
                        <a:schemeClr val="tx2">
                          <a:lumMod val="75000"/>
                        </a:schemeClr>
                      </a:solidFill>
                      <a:prstDash val="solid"/>
                      <a:round/>
                      <a:headEnd type="none" w="med" len="med"/>
                      <a:tailEnd type="none" w="med" len="med"/>
                    </a:lnT>
                    <a:lnB w="12700" cap="flat" cmpd="sng" algn="ctr">
                      <a:solidFill>
                        <a:schemeClr val="tx2">
                          <a:lumMod val="75000"/>
                        </a:schemeClr>
                      </a:solidFill>
                      <a:prstDash val="solid"/>
                      <a:round/>
                      <a:headEnd type="none" w="med" len="med"/>
                      <a:tailEnd type="none" w="med" len="med"/>
                    </a:lnB>
                    <a:solidFill>
                      <a:schemeClr val="accent4"/>
                    </a:solidFill>
                  </a:tcPr>
                </a:tc>
                <a:extLst>
                  <a:ext uri="{0D108BD9-81ED-4DB2-BD59-A6C34878D82A}">
                    <a16:rowId xmlns:a16="http://schemas.microsoft.com/office/drawing/2014/main" val="10001"/>
                  </a:ext>
                </a:extLst>
              </a:tr>
            </a:tbl>
          </a:graphicData>
        </a:graphic>
      </p:graphicFrame>
      <p:graphicFrame>
        <p:nvGraphicFramePr>
          <p:cNvPr id="13" name="Table 9"/>
          <p:cNvGraphicFramePr>
            <a:graphicFrameLocks noGrp="1"/>
          </p:cNvGraphicFramePr>
          <p:nvPr>
            <p:extLst/>
          </p:nvPr>
        </p:nvGraphicFramePr>
        <p:xfrm>
          <a:off x="5595560" y="4624528"/>
          <a:ext cx="6215691" cy="654009"/>
        </p:xfrm>
        <a:graphic>
          <a:graphicData uri="http://schemas.openxmlformats.org/drawingml/2006/table">
            <a:tbl>
              <a:tblPr firstRow="1" bandRow="1">
                <a:tableStyleId>{2D5ABB26-0587-4C30-8999-92F81FD0307C}</a:tableStyleId>
              </a:tblPr>
              <a:tblGrid>
                <a:gridCol w="577047">
                  <a:extLst>
                    <a:ext uri="{9D8B030D-6E8A-4147-A177-3AD203B41FA5}">
                      <a16:colId xmlns:a16="http://schemas.microsoft.com/office/drawing/2014/main" val="20000"/>
                    </a:ext>
                  </a:extLst>
                </a:gridCol>
                <a:gridCol w="890994">
                  <a:extLst>
                    <a:ext uri="{9D8B030D-6E8A-4147-A177-3AD203B41FA5}">
                      <a16:colId xmlns:a16="http://schemas.microsoft.com/office/drawing/2014/main" val="20001"/>
                    </a:ext>
                  </a:extLst>
                </a:gridCol>
                <a:gridCol w="1410131">
                  <a:extLst>
                    <a:ext uri="{9D8B030D-6E8A-4147-A177-3AD203B41FA5}">
                      <a16:colId xmlns:a16="http://schemas.microsoft.com/office/drawing/2014/main" val="20002"/>
                    </a:ext>
                  </a:extLst>
                </a:gridCol>
                <a:gridCol w="1078335">
                  <a:extLst>
                    <a:ext uri="{9D8B030D-6E8A-4147-A177-3AD203B41FA5}">
                      <a16:colId xmlns:a16="http://schemas.microsoft.com/office/drawing/2014/main" val="20003"/>
                    </a:ext>
                  </a:extLst>
                </a:gridCol>
                <a:gridCol w="1161283">
                  <a:extLst>
                    <a:ext uri="{9D8B030D-6E8A-4147-A177-3AD203B41FA5}">
                      <a16:colId xmlns:a16="http://schemas.microsoft.com/office/drawing/2014/main" val="20004"/>
                    </a:ext>
                  </a:extLst>
                </a:gridCol>
                <a:gridCol w="1097901">
                  <a:extLst>
                    <a:ext uri="{9D8B030D-6E8A-4147-A177-3AD203B41FA5}">
                      <a16:colId xmlns:a16="http://schemas.microsoft.com/office/drawing/2014/main" val="20005"/>
                    </a:ext>
                  </a:extLst>
                </a:gridCol>
              </a:tblGrid>
              <a:tr h="324530">
                <a:tc>
                  <a:txBody>
                    <a:bodyPr/>
                    <a:lstStyle/>
                    <a:p>
                      <a:r>
                        <a:rPr lang="en-US" sz="1600" b="0" i="0" dirty="0">
                          <a:solidFill>
                            <a:schemeClr val="bg1"/>
                          </a:solidFill>
                          <a:latin typeface="Segoe UI Semibold" panose="020B0702040204020203" pitchFamily="34" charset="0"/>
                          <a:cs typeface="Segoe UI Semibold" panose="020B0702040204020203" pitchFamily="34" charset="0"/>
                        </a:rPr>
                        <a:t>PK</a:t>
                      </a:r>
                    </a:p>
                  </a:txBody>
                  <a:tcPr marL="81132" marR="81132" marT="40566" marB="40566">
                    <a:lnL w="12700" cap="flat" cmpd="sng" algn="ctr">
                      <a:solidFill>
                        <a:schemeClr val="tx2">
                          <a:lumMod val="75000"/>
                        </a:schemeClr>
                      </a:solidFill>
                      <a:prstDash val="solid"/>
                      <a:round/>
                      <a:headEnd type="none" w="med" len="med"/>
                      <a:tailEnd type="none" w="med" len="med"/>
                    </a:lnL>
                    <a:lnR w="12700" cap="flat" cmpd="sng" algn="ctr">
                      <a:solidFill>
                        <a:schemeClr val="tx2">
                          <a:lumMod val="75000"/>
                        </a:schemeClr>
                      </a:solidFill>
                      <a:prstDash val="solid"/>
                      <a:round/>
                      <a:headEnd type="none" w="med" len="med"/>
                      <a:tailEnd type="none" w="med" len="med"/>
                    </a:lnR>
                    <a:lnT w="12700" cap="flat" cmpd="sng" algn="ctr">
                      <a:solidFill>
                        <a:schemeClr val="tx2">
                          <a:lumMod val="75000"/>
                        </a:schemeClr>
                      </a:solidFill>
                      <a:prstDash val="solid"/>
                      <a:round/>
                      <a:headEnd type="none" w="med" len="med"/>
                      <a:tailEnd type="none" w="med" len="med"/>
                    </a:lnT>
                    <a:lnB w="12700" cap="flat" cmpd="sng" algn="ctr">
                      <a:solidFill>
                        <a:schemeClr val="tx2">
                          <a:lumMod val="75000"/>
                        </a:schemeClr>
                      </a:solidFill>
                      <a:prstDash val="solid"/>
                      <a:round/>
                      <a:headEnd type="none" w="med" len="med"/>
                      <a:tailEnd type="none" w="med" len="med"/>
                    </a:lnB>
                    <a:solidFill>
                      <a:schemeClr val="accent3"/>
                    </a:solidFill>
                  </a:tcPr>
                </a:tc>
                <a:tc>
                  <a:txBody>
                    <a:bodyPr/>
                    <a:lstStyle/>
                    <a:p>
                      <a:r>
                        <a:rPr lang="en-US" sz="1600" b="0" i="0" dirty="0">
                          <a:solidFill>
                            <a:schemeClr val="bg1"/>
                          </a:solidFill>
                          <a:latin typeface="Segoe UI Semibold" panose="020B0702040204020203" pitchFamily="34" charset="0"/>
                          <a:cs typeface="Segoe UI Semibold" panose="020B0702040204020203" pitchFamily="34" charset="0"/>
                        </a:rPr>
                        <a:t>RK</a:t>
                      </a:r>
                    </a:p>
                  </a:txBody>
                  <a:tcPr marL="81132" marR="81132" marT="40566" marB="40566">
                    <a:lnL w="12700" cap="flat" cmpd="sng" algn="ctr">
                      <a:solidFill>
                        <a:schemeClr val="tx2">
                          <a:lumMod val="75000"/>
                        </a:schemeClr>
                      </a:solidFill>
                      <a:prstDash val="solid"/>
                      <a:round/>
                      <a:headEnd type="none" w="med" len="med"/>
                      <a:tailEnd type="none" w="med" len="med"/>
                    </a:lnL>
                    <a:lnR w="12700" cap="flat" cmpd="sng" algn="ctr">
                      <a:solidFill>
                        <a:schemeClr val="tx2">
                          <a:lumMod val="75000"/>
                        </a:schemeClr>
                      </a:solidFill>
                      <a:prstDash val="solid"/>
                      <a:round/>
                      <a:headEnd type="none" w="med" len="med"/>
                      <a:tailEnd type="none" w="med" len="med"/>
                    </a:lnR>
                    <a:lnT w="12700" cap="flat" cmpd="sng" algn="ctr">
                      <a:solidFill>
                        <a:schemeClr val="tx2">
                          <a:lumMod val="75000"/>
                        </a:schemeClr>
                      </a:solidFill>
                      <a:prstDash val="solid"/>
                      <a:round/>
                      <a:headEnd type="none" w="med" len="med"/>
                      <a:tailEnd type="none" w="med" len="med"/>
                    </a:lnT>
                    <a:lnB w="12700" cap="flat" cmpd="sng" algn="ctr">
                      <a:solidFill>
                        <a:schemeClr val="tx2">
                          <a:lumMod val="75000"/>
                        </a:schemeClr>
                      </a:solidFill>
                      <a:prstDash val="solid"/>
                      <a:round/>
                      <a:headEnd type="none" w="med" len="med"/>
                      <a:tailEnd type="none" w="med" len="med"/>
                    </a:lnB>
                    <a:solidFill>
                      <a:schemeClr val="bg2"/>
                    </a:solidFill>
                  </a:tcPr>
                </a:tc>
                <a:tc>
                  <a:txBody>
                    <a:bodyPr/>
                    <a:lstStyle/>
                    <a:p>
                      <a:r>
                        <a:rPr lang="en-US" sz="1600" b="0" i="0" dirty="0">
                          <a:solidFill>
                            <a:schemeClr val="bg1"/>
                          </a:solidFill>
                          <a:latin typeface="Segoe UI Semibold" panose="020B0702040204020203" pitchFamily="34" charset="0"/>
                          <a:cs typeface="Segoe UI Semibold" panose="020B0702040204020203" pitchFamily="34" charset="0"/>
                        </a:rPr>
                        <a:t>Name</a:t>
                      </a:r>
                    </a:p>
                  </a:txBody>
                  <a:tcPr marL="81132" marR="81132" marT="40566" marB="40566">
                    <a:lnL w="12700" cap="flat" cmpd="sng" algn="ctr">
                      <a:solidFill>
                        <a:schemeClr val="tx2">
                          <a:lumMod val="75000"/>
                        </a:schemeClr>
                      </a:solidFill>
                      <a:prstDash val="solid"/>
                      <a:round/>
                      <a:headEnd type="none" w="med" len="med"/>
                      <a:tailEnd type="none" w="med" len="med"/>
                    </a:lnL>
                    <a:lnR w="12700" cap="flat" cmpd="sng" algn="ctr">
                      <a:solidFill>
                        <a:schemeClr val="tx2">
                          <a:lumMod val="75000"/>
                        </a:schemeClr>
                      </a:solidFill>
                      <a:prstDash val="solid"/>
                      <a:round/>
                      <a:headEnd type="none" w="med" len="med"/>
                      <a:tailEnd type="none" w="med" len="med"/>
                    </a:lnR>
                    <a:lnT w="12700" cap="flat" cmpd="sng" algn="ctr">
                      <a:solidFill>
                        <a:schemeClr val="tx2">
                          <a:lumMod val="75000"/>
                        </a:schemeClr>
                      </a:solidFill>
                      <a:prstDash val="solid"/>
                      <a:round/>
                      <a:headEnd type="none" w="med" len="med"/>
                      <a:tailEnd type="none" w="med" len="med"/>
                    </a:lnT>
                    <a:lnB w="12700" cap="flat" cmpd="sng" algn="ctr">
                      <a:solidFill>
                        <a:schemeClr val="tx2">
                          <a:lumMod val="75000"/>
                        </a:schemeClr>
                      </a:solidFill>
                      <a:prstDash val="solid"/>
                      <a:round/>
                      <a:headEnd type="none" w="med" len="med"/>
                      <a:tailEnd type="none" w="med" len="med"/>
                    </a:lnB>
                    <a:solidFill>
                      <a:schemeClr val="accent4"/>
                    </a:solidFill>
                  </a:tcPr>
                </a:tc>
                <a:tc>
                  <a:txBody>
                    <a:bodyPr/>
                    <a:lstStyle/>
                    <a:p>
                      <a:r>
                        <a:rPr lang="en-US" sz="1600" b="0" i="0" dirty="0">
                          <a:solidFill>
                            <a:schemeClr val="bg1"/>
                          </a:solidFill>
                          <a:latin typeface="Segoe UI Semibold" panose="020B0702040204020203" pitchFamily="34" charset="0"/>
                          <a:cs typeface="Segoe UI Semibold" panose="020B0702040204020203" pitchFamily="34" charset="0"/>
                        </a:rPr>
                        <a:t>Status</a:t>
                      </a:r>
                    </a:p>
                  </a:txBody>
                  <a:tcPr marL="81132" marR="81132" marT="40566" marB="40566">
                    <a:lnL w="12700" cap="flat" cmpd="sng" algn="ctr">
                      <a:solidFill>
                        <a:schemeClr val="tx2">
                          <a:lumMod val="75000"/>
                        </a:schemeClr>
                      </a:solidFill>
                      <a:prstDash val="solid"/>
                      <a:round/>
                      <a:headEnd type="none" w="med" len="med"/>
                      <a:tailEnd type="none" w="med" len="med"/>
                    </a:lnL>
                    <a:lnR w="12700" cap="flat" cmpd="sng" algn="ctr">
                      <a:solidFill>
                        <a:schemeClr val="tx2">
                          <a:lumMod val="75000"/>
                        </a:schemeClr>
                      </a:solidFill>
                      <a:prstDash val="solid"/>
                      <a:round/>
                      <a:headEnd type="none" w="med" len="med"/>
                      <a:tailEnd type="none" w="med" len="med"/>
                    </a:lnR>
                    <a:lnT w="12700" cap="flat" cmpd="sng" algn="ctr">
                      <a:solidFill>
                        <a:schemeClr val="tx2">
                          <a:lumMod val="75000"/>
                        </a:schemeClr>
                      </a:solidFill>
                      <a:prstDash val="solid"/>
                      <a:round/>
                      <a:headEnd type="none" w="med" len="med"/>
                      <a:tailEnd type="none" w="med" len="med"/>
                    </a:lnT>
                    <a:lnB w="12700" cap="flat" cmpd="sng" algn="ctr">
                      <a:solidFill>
                        <a:schemeClr val="tx2">
                          <a:lumMod val="75000"/>
                        </a:schemeClr>
                      </a:solidFill>
                      <a:prstDash val="solid"/>
                      <a:round/>
                      <a:headEnd type="none" w="med" len="med"/>
                      <a:tailEnd type="none" w="med" len="med"/>
                    </a:lnB>
                    <a:solidFill>
                      <a:schemeClr val="accent4"/>
                    </a:solidFill>
                  </a:tcPr>
                </a:tc>
                <a:tc>
                  <a:txBody>
                    <a:bodyPr/>
                    <a:lstStyle/>
                    <a:p>
                      <a:r>
                        <a:rPr lang="en-US" sz="1600" b="0" i="0" dirty="0">
                          <a:solidFill>
                            <a:schemeClr val="bg1"/>
                          </a:solidFill>
                          <a:latin typeface="Segoe UI Semibold" panose="020B0702040204020203" pitchFamily="34" charset="0"/>
                          <a:cs typeface="Segoe UI Semibold" panose="020B0702040204020203" pitchFamily="34" charset="0"/>
                        </a:rPr>
                        <a:t>Photo</a:t>
                      </a:r>
                    </a:p>
                  </a:txBody>
                  <a:tcPr marL="81132" marR="81132" marT="40566" marB="40566">
                    <a:lnL w="12700" cap="flat" cmpd="sng" algn="ctr">
                      <a:solidFill>
                        <a:schemeClr val="tx2">
                          <a:lumMod val="75000"/>
                        </a:schemeClr>
                      </a:solidFill>
                      <a:prstDash val="solid"/>
                      <a:round/>
                      <a:headEnd type="none" w="med" len="med"/>
                      <a:tailEnd type="none" w="med" len="med"/>
                    </a:lnL>
                    <a:lnR w="12700" cap="flat" cmpd="sng" algn="ctr">
                      <a:solidFill>
                        <a:schemeClr val="tx2">
                          <a:lumMod val="75000"/>
                        </a:schemeClr>
                      </a:solidFill>
                      <a:prstDash val="solid"/>
                      <a:round/>
                      <a:headEnd type="none" w="med" len="med"/>
                      <a:tailEnd type="none" w="med" len="med"/>
                    </a:lnR>
                    <a:lnT w="12700" cap="flat" cmpd="sng" algn="ctr">
                      <a:solidFill>
                        <a:schemeClr val="tx2">
                          <a:lumMod val="75000"/>
                        </a:schemeClr>
                      </a:solidFill>
                      <a:prstDash val="solid"/>
                      <a:round/>
                      <a:headEnd type="none" w="med" len="med"/>
                      <a:tailEnd type="none" w="med" len="med"/>
                    </a:lnT>
                    <a:lnB w="12700" cap="flat" cmpd="sng" algn="ctr">
                      <a:solidFill>
                        <a:schemeClr val="tx2">
                          <a:lumMod val="75000"/>
                        </a:schemeClr>
                      </a:solidFill>
                      <a:prstDash val="solid"/>
                      <a:round/>
                      <a:headEnd type="none" w="med" len="med"/>
                      <a:tailEnd type="none" w="med" len="med"/>
                    </a:lnB>
                    <a:solidFill>
                      <a:schemeClr val="accent4"/>
                    </a:solidFill>
                  </a:tcPr>
                </a:tc>
                <a:tc>
                  <a:txBody>
                    <a:bodyPr/>
                    <a:lstStyle/>
                    <a:p>
                      <a:r>
                        <a:rPr lang="en-US" sz="1600" b="0" i="0" dirty="0">
                          <a:solidFill>
                            <a:schemeClr val="bg1"/>
                          </a:solidFill>
                          <a:latin typeface="Segoe UI Semibold" panose="020B0702040204020203" pitchFamily="34" charset="0"/>
                          <a:cs typeface="Segoe UI Semibold" panose="020B0702040204020203" pitchFamily="34" charset="0"/>
                        </a:rPr>
                        <a:t>Email</a:t>
                      </a:r>
                    </a:p>
                  </a:txBody>
                  <a:tcPr marL="81132" marR="81132" marT="40566" marB="40566">
                    <a:lnL w="12700" cap="flat" cmpd="sng" algn="ctr">
                      <a:solidFill>
                        <a:schemeClr val="tx2">
                          <a:lumMod val="75000"/>
                        </a:schemeClr>
                      </a:solidFill>
                      <a:prstDash val="solid"/>
                      <a:round/>
                      <a:headEnd type="none" w="med" len="med"/>
                      <a:tailEnd type="none" w="med" len="med"/>
                    </a:lnL>
                    <a:lnR w="12700" cap="flat" cmpd="sng" algn="ctr">
                      <a:solidFill>
                        <a:schemeClr val="tx2">
                          <a:lumMod val="75000"/>
                        </a:schemeClr>
                      </a:solidFill>
                      <a:prstDash val="solid"/>
                      <a:round/>
                      <a:headEnd type="none" w="med" len="med"/>
                      <a:tailEnd type="none" w="med" len="med"/>
                    </a:lnR>
                    <a:lnT w="12700" cap="flat" cmpd="sng" algn="ctr">
                      <a:solidFill>
                        <a:schemeClr val="tx2">
                          <a:lumMod val="75000"/>
                        </a:schemeClr>
                      </a:solidFill>
                      <a:prstDash val="solid"/>
                      <a:round/>
                      <a:headEnd type="none" w="med" len="med"/>
                      <a:tailEnd type="none" w="med" len="med"/>
                    </a:lnT>
                    <a:lnB w="12700" cap="flat" cmpd="sng" algn="ctr">
                      <a:solidFill>
                        <a:schemeClr val="tx2">
                          <a:lumMod val="75000"/>
                        </a:schemeClr>
                      </a:solidFill>
                      <a:prstDash val="solid"/>
                      <a:round/>
                      <a:headEnd type="none" w="med" len="med"/>
                      <a:tailEnd type="none" w="med" len="med"/>
                    </a:lnB>
                    <a:solidFill>
                      <a:schemeClr val="accent4"/>
                    </a:solidFill>
                  </a:tcPr>
                </a:tc>
                <a:extLst>
                  <a:ext uri="{0D108BD9-81ED-4DB2-BD59-A6C34878D82A}">
                    <a16:rowId xmlns:a16="http://schemas.microsoft.com/office/drawing/2014/main" val="10000"/>
                  </a:ext>
                </a:extLst>
              </a:tr>
              <a:tr h="329037">
                <a:tc>
                  <a:txBody>
                    <a:bodyPr/>
                    <a:lstStyle/>
                    <a:p>
                      <a:r>
                        <a:rPr lang="en-US" sz="1600" b="0" i="0" dirty="0">
                          <a:solidFill>
                            <a:schemeClr val="bg1"/>
                          </a:solidFill>
                          <a:latin typeface="Segoe UI Semibold" panose="020B0702040204020203" pitchFamily="34" charset="0"/>
                          <a:cs typeface="Segoe UI Semibold" panose="020B0702040204020203" pitchFamily="34" charset="0"/>
                        </a:rPr>
                        <a:t>B</a:t>
                      </a:r>
                    </a:p>
                  </a:txBody>
                  <a:tcPr marL="81132" marR="81132" marT="40566" marB="40566">
                    <a:lnL w="12700" cap="flat" cmpd="sng" algn="ctr">
                      <a:solidFill>
                        <a:schemeClr val="tx2">
                          <a:lumMod val="75000"/>
                        </a:schemeClr>
                      </a:solidFill>
                      <a:prstDash val="solid"/>
                      <a:round/>
                      <a:headEnd type="none" w="med" len="med"/>
                      <a:tailEnd type="none" w="med" len="med"/>
                    </a:lnL>
                    <a:lnR w="12700" cap="flat" cmpd="sng" algn="ctr">
                      <a:solidFill>
                        <a:schemeClr val="tx2">
                          <a:lumMod val="75000"/>
                        </a:schemeClr>
                      </a:solidFill>
                      <a:prstDash val="solid"/>
                      <a:round/>
                      <a:headEnd type="none" w="med" len="med"/>
                      <a:tailEnd type="none" w="med" len="med"/>
                    </a:lnR>
                    <a:lnT w="12700" cap="flat" cmpd="sng" algn="ctr">
                      <a:solidFill>
                        <a:schemeClr val="tx2">
                          <a:lumMod val="75000"/>
                        </a:schemeClr>
                      </a:solidFill>
                      <a:prstDash val="solid"/>
                      <a:round/>
                      <a:headEnd type="none" w="med" len="med"/>
                      <a:tailEnd type="none" w="med" len="med"/>
                    </a:lnT>
                    <a:lnB w="12700" cap="flat" cmpd="sng" algn="ctr">
                      <a:solidFill>
                        <a:schemeClr val="tx2">
                          <a:lumMod val="75000"/>
                        </a:schemeClr>
                      </a:solidFill>
                      <a:prstDash val="solid"/>
                      <a:round/>
                      <a:headEnd type="none" w="med" len="med"/>
                      <a:tailEnd type="none" w="med" len="med"/>
                    </a:lnB>
                    <a:solidFill>
                      <a:schemeClr val="accent3"/>
                    </a:solidFill>
                  </a:tcPr>
                </a:tc>
                <a:tc>
                  <a:txBody>
                    <a:bodyPr/>
                    <a:lstStyle/>
                    <a:p>
                      <a:r>
                        <a:rPr lang="en-US" sz="1600" b="0" i="0" dirty="0" err="1">
                          <a:solidFill>
                            <a:schemeClr val="bg1"/>
                          </a:solidFill>
                          <a:latin typeface="Segoe UI Semibold" panose="020B0702040204020203" pitchFamily="34" charset="0"/>
                          <a:cs typeface="Segoe UI Semibold" panose="020B0702040204020203" pitchFamily="34" charset="0"/>
                        </a:rPr>
                        <a:t>BillP</a:t>
                      </a:r>
                      <a:endParaRPr lang="en-US" sz="1600" b="0" i="0" dirty="0">
                        <a:solidFill>
                          <a:schemeClr val="bg1"/>
                        </a:solidFill>
                        <a:latin typeface="Segoe UI Semibold" panose="020B0702040204020203" pitchFamily="34" charset="0"/>
                        <a:cs typeface="Segoe UI Semibold" panose="020B0702040204020203" pitchFamily="34" charset="0"/>
                      </a:endParaRPr>
                    </a:p>
                  </a:txBody>
                  <a:tcPr marL="81132" marR="81132" marT="40566" marB="40566">
                    <a:lnL w="12700" cap="flat" cmpd="sng" algn="ctr">
                      <a:solidFill>
                        <a:schemeClr val="tx2">
                          <a:lumMod val="75000"/>
                        </a:schemeClr>
                      </a:solidFill>
                      <a:prstDash val="solid"/>
                      <a:round/>
                      <a:headEnd type="none" w="med" len="med"/>
                      <a:tailEnd type="none" w="med" len="med"/>
                    </a:lnL>
                    <a:lnR w="12700" cap="flat" cmpd="sng" algn="ctr">
                      <a:solidFill>
                        <a:schemeClr val="tx2">
                          <a:lumMod val="75000"/>
                        </a:schemeClr>
                      </a:solidFill>
                      <a:prstDash val="solid"/>
                      <a:round/>
                      <a:headEnd type="none" w="med" len="med"/>
                      <a:tailEnd type="none" w="med" len="med"/>
                    </a:lnR>
                    <a:lnT w="12700" cap="flat" cmpd="sng" algn="ctr">
                      <a:solidFill>
                        <a:schemeClr val="tx2">
                          <a:lumMod val="75000"/>
                        </a:schemeClr>
                      </a:solidFill>
                      <a:prstDash val="solid"/>
                      <a:round/>
                      <a:headEnd type="none" w="med" len="med"/>
                      <a:tailEnd type="none" w="med" len="med"/>
                    </a:lnT>
                    <a:lnB w="12700" cap="flat" cmpd="sng" algn="ctr">
                      <a:solidFill>
                        <a:schemeClr val="tx2">
                          <a:lumMod val="75000"/>
                        </a:schemeClr>
                      </a:solidFill>
                      <a:prstDash val="solid"/>
                      <a:round/>
                      <a:headEnd type="none" w="med" len="med"/>
                      <a:tailEnd type="none" w="med" len="med"/>
                    </a:lnB>
                    <a:solidFill>
                      <a:schemeClr val="bg2"/>
                    </a:solidFill>
                  </a:tcPr>
                </a:tc>
                <a:tc>
                  <a:txBody>
                    <a:bodyPr/>
                    <a:lstStyle/>
                    <a:p>
                      <a:r>
                        <a:rPr lang="en-US" sz="1600" b="0" i="0" dirty="0">
                          <a:solidFill>
                            <a:schemeClr val="bg1"/>
                          </a:solidFill>
                          <a:latin typeface="Segoe UI Semibold" panose="020B0702040204020203" pitchFamily="34" charset="0"/>
                          <a:cs typeface="Segoe UI Semibold" panose="020B0702040204020203" pitchFamily="34" charset="0"/>
                        </a:rPr>
                        <a:t>Bill Peters</a:t>
                      </a:r>
                    </a:p>
                  </a:txBody>
                  <a:tcPr marL="81132" marR="81132" marT="40566" marB="40566">
                    <a:lnL w="12700" cap="flat" cmpd="sng" algn="ctr">
                      <a:solidFill>
                        <a:schemeClr val="tx2">
                          <a:lumMod val="75000"/>
                        </a:schemeClr>
                      </a:solidFill>
                      <a:prstDash val="solid"/>
                      <a:round/>
                      <a:headEnd type="none" w="med" len="med"/>
                      <a:tailEnd type="none" w="med" len="med"/>
                    </a:lnL>
                    <a:lnR w="12700" cap="flat" cmpd="sng" algn="ctr">
                      <a:solidFill>
                        <a:schemeClr val="tx2">
                          <a:lumMod val="75000"/>
                        </a:schemeClr>
                      </a:solidFill>
                      <a:prstDash val="solid"/>
                      <a:round/>
                      <a:headEnd type="none" w="med" len="med"/>
                      <a:tailEnd type="none" w="med" len="med"/>
                    </a:lnR>
                    <a:lnT w="12700" cap="flat" cmpd="sng" algn="ctr">
                      <a:solidFill>
                        <a:schemeClr val="tx2">
                          <a:lumMod val="75000"/>
                        </a:schemeClr>
                      </a:solidFill>
                      <a:prstDash val="solid"/>
                      <a:round/>
                      <a:headEnd type="none" w="med" len="med"/>
                      <a:tailEnd type="none" w="med" len="med"/>
                    </a:lnT>
                    <a:lnB w="12700" cap="flat" cmpd="sng" algn="ctr">
                      <a:solidFill>
                        <a:schemeClr val="tx2">
                          <a:lumMod val="75000"/>
                        </a:schemeClr>
                      </a:solidFill>
                      <a:prstDash val="solid"/>
                      <a:round/>
                      <a:headEnd type="none" w="med" len="med"/>
                      <a:tailEnd type="none" w="med" len="med"/>
                    </a:lnB>
                    <a:solidFill>
                      <a:schemeClr val="accent4"/>
                    </a:solidFill>
                  </a:tcPr>
                </a:tc>
                <a:tc>
                  <a:txBody>
                    <a:bodyPr/>
                    <a:lstStyle/>
                    <a:p>
                      <a:r>
                        <a:rPr lang="en-US" sz="1600" b="0" i="0" dirty="0">
                          <a:solidFill>
                            <a:schemeClr val="bg1"/>
                          </a:solidFill>
                          <a:latin typeface="Segoe UI Semibold" panose="020B0702040204020203" pitchFamily="34" charset="0"/>
                          <a:cs typeface="Segoe UI Semibold" panose="020B0702040204020203" pitchFamily="34" charset="0"/>
                        </a:rPr>
                        <a:t>Available</a:t>
                      </a:r>
                    </a:p>
                  </a:txBody>
                  <a:tcPr marL="81132" marR="81132" marT="40566" marB="40566">
                    <a:lnL w="12700" cap="flat" cmpd="sng" algn="ctr">
                      <a:solidFill>
                        <a:schemeClr val="tx2">
                          <a:lumMod val="75000"/>
                        </a:schemeClr>
                      </a:solidFill>
                      <a:prstDash val="solid"/>
                      <a:round/>
                      <a:headEnd type="none" w="med" len="med"/>
                      <a:tailEnd type="none" w="med" len="med"/>
                    </a:lnL>
                    <a:lnR w="12700" cap="flat" cmpd="sng" algn="ctr">
                      <a:solidFill>
                        <a:schemeClr val="tx2">
                          <a:lumMod val="75000"/>
                        </a:schemeClr>
                      </a:solidFill>
                      <a:prstDash val="solid"/>
                      <a:round/>
                      <a:headEnd type="none" w="med" len="med"/>
                      <a:tailEnd type="none" w="med" len="med"/>
                    </a:lnR>
                    <a:lnT w="12700" cap="flat" cmpd="sng" algn="ctr">
                      <a:solidFill>
                        <a:schemeClr val="tx2">
                          <a:lumMod val="75000"/>
                        </a:schemeClr>
                      </a:solidFill>
                      <a:prstDash val="solid"/>
                      <a:round/>
                      <a:headEnd type="none" w="med" len="med"/>
                      <a:tailEnd type="none" w="med" len="med"/>
                    </a:lnT>
                    <a:lnB w="12700" cap="flat" cmpd="sng" algn="ctr">
                      <a:solidFill>
                        <a:schemeClr val="tx2">
                          <a:lumMod val="75000"/>
                        </a:schemeClr>
                      </a:solidFill>
                      <a:prstDash val="solid"/>
                      <a:round/>
                      <a:headEnd type="none" w="med" len="med"/>
                      <a:tailEnd type="none" w="med" len="med"/>
                    </a:lnB>
                    <a:solidFill>
                      <a:schemeClr val="accent4"/>
                    </a:solidFill>
                  </a:tcPr>
                </a:tc>
                <a:tc>
                  <a:txBody>
                    <a:bodyPr/>
                    <a:lstStyle/>
                    <a:p>
                      <a:r>
                        <a:rPr lang="en-US" sz="1600" b="0" i="0" dirty="0">
                          <a:solidFill>
                            <a:schemeClr val="bg1"/>
                          </a:solidFill>
                          <a:latin typeface="Segoe UI Semibold" panose="020B0702040204020203" pitchFamily="34" charset="0"/>
                          <a:cs typeface="Segoe UI Semibold" panose="020B0702040204020203" pitchFamily="34" charset="0"/>
                        </a:rPr>
                        <a:t>http://...</a:t>
                      </a:r>
                    </a:p>
                  </a:txBody>
                  <a:tcPr marL="81132" marR="81132" marT="40566" marB="40566">
                    <a:lnL w="12700" cap="flat" cmpd="sng" algn="ctr">
                      <a:solidFill>
                        <a:schemeClr val="tx2">
                          <a:lumMod val="75000"/>
                        </a:schemeClr>
                      </a:solidFill>
                      <a:prstDash val="solid"/>
                      <a:round/>
                      <a:headEnd type="none" w="med" len="med"/>
                      <a:tailEnd type="none" w="med" len="med"/>
                    </a:lnL>
                    <a:lnR w="12700" cap="flat" cmpd="sng" algn="ctr">
                      <a:solidFill>
                        <a:schemeClr val="tx2">
                          <a:lumMod val="75000"/>
                        </a:schemeClr>
                      </a:solidFill>
                      <a:prstDash val="solid"/>
                      <a:round/>
                      <a:headEnd type="none" w="med" len="med"/>
                      <a:tailEnd type="none" w="med" len="med"/>
                    </a:lnR>
                    <a:lnT w="12700" cap="flat" cmpd="sng" algn="ctr">
                      <a:solidFill>
                        <a:schemeClr val="tx2">
                          <a:lumMod val="75000"/>
                        </a:schemeClr>
                      </a:solidFill>
                      <a:prstDash val="solid"/>
                      <a:round/>
                      <a:headEnd type="none" w="med" len="med"/>
                      <a:tailEnd type="none" w="med" len="med"/>
                    </a:lnT>
                    <a:lnB w="12700" cap="flat" cmpd="sng" algn="ctr">
                      <a:solidFill>
                        <a:schemeClr val="tx2">
                          <a:lumMod val="75000"/>
                        </a:schemeClr>
                      </a:solidFill>
                      <a:prstDash val="solid"/>
                      <a:round/>
                      <a:headEnd type="none" w="med" len="med"/>
                      <a:tailEnd type="none" w="med" len="med"/>
                    </a:lnB>
                    <a:solidFill>
                      <a:schemeClr val="accent4"/>
                    </a:solidFill>
                  </a:tcPr>
                </a:tc>
                <a:tc>
                  <a:txBody>
                    <a:bodyPr/>
                    <a:lstStyle/>
                    <a:p>
                      <a:r>
                        <a:rPr lang="en-US" sz="1600" b="0" i="0" dirty="0" err="1">
                          <a:solidFill>
                            <a:schemeClr val="bg1"/>
                          </a:solidFill>
                          <a:latin typeface="Segoe UI Semibold" panose="020B0702040204020203" pitchFamily="34" charset="0"/>
                          <a:cs typeface="Segoe UI Semibold" panose="020B0702040204020203" pitchFamily="34" charset="0"/>
                        </a:rPr>
                        <a:t>alexp@f</a:t>
                      </a:r>
                      <a:r>
                        <a:rPr lang="en-US" sz="1600" b="0" i="0" dirty="0">
                          <a:solidFill>
                            <a:schemeClr val="bg1"/>
                          </a:solidFill>
                          <a:latin typeface="Segoe UI Semibold" panose="020B0702040204020203" pitchFamily="34" charset="0"/>
                          <a:cs typeface="Segoe UI Semibold" panose="020B0702040204020203" pitchFamily="34" charset="0"/>
                        </a:rPr>
                        <a:t>...</a:t>
                      </a:r>
                    </a:p>
                  </a:txBody>
                  <a:tcPr marL="81132" marR="81132" marT="40566" marB="40566">
                    <a:lnL w="12700" cap="flat" cmpd="sng" algn="ctr">
                      <a:solidFill>
                        <a:schemeClr val="tx2">
                          <a:lumMod val="75000"/>
                        </a:schemeClr>
                      </a:solidFill>
                      <a:prstDash val="solid"/>
                      <a:round/>
                      <a:headEnd type="none" w="med" len="med"/>
                      <a:tailEnd type="none" w="med" len="med"/>
                    </a:lnL>
                    <a:lnR w="12700" cap="flat" cmpd="sng" algn="ctr">
                      <a:solidFill>
                        <a:schemeClr val="tx2">
                          <a:lumMod val="75000"/>
                        </a:schemeClr>
                      </a:solidFill>
                      <a:prstDash val="solid"/>
                      <a:round/>
                      <a:headEnd type="none" w="med" len="med"/>
                      <a:tailEnd type="none" w="med" len="med"/>
                    </a:lnR>
                    <a:lnT w="12700" cap="flat" cmpd="sng" algn="ctr">
                      <a:solidFill>
                        <a:schemeClr val="tx2">
                          <a:lumMod val="75000"/>
                        </a:schemeClr>
                      </a:solidFill>
                      <a:prstDash val="solid"/>
                      <a:round/>
                      <a:headEnd type="none" w="med" len="med"/>
                      <a:tailEnd type="none" w="med" len="med"/>
                    </a:lnT>
                    <a:lnB w="12700" cap="flat" cmpd="sng" algn="ctr">
                      <a:solidFill>
                        <a:schemeClr val="tx2">
                          <a:lumMod val="75000"/>
                        </a:schemeClr>
                      </a:solidFill>
                      <a:prstDash val="solid"/>
                      <a:round/>
                      <a:headEnd type="none" w="med" len="med"/>
                      <a:tailEnd type="none" w="med" len="med"/>
                    </a:lnB>
                    <a:solidFill>
                      <a:schemeClr val="accent4"/>
                    </a:solidFill>
                  </a:tcPr>
                </a:tc>
                <a:extLst>
                  <a:ext uri="{0D108BD9-81ED-4DB2-BD59-A6C34878D82A}">
                    <a16:rowId xmlns:a16="http://schemas.microsoft.com/office/drawing/2014/main" val="10001"/>
                  </a:ext>
                </a:extLst>
              </a:tr>
            </a:tbl>
          </a:graphicData>
        </a:graphic>
      </p:graphicFrame>
      <p:sp>
        <p:nvSpPr>
          <p:cNvPr id="14" name="Rectangle 13"/>
          <p:cNvSpPr/>
          <p:nvPr/>
        </p:nvSpPr>
        <p:spPr bwMode="auto">
          <a:xfrm>
            <a:off x="5595560" y="1695652"/>
            <a:ext cx="1896299" cy="345226"/>
          </a:xfrm>
          <a:prstGeom prst="rect">
            <a:avLst/>
          </a:prstGeom>
          <a:solidFill>
            <a:schemeClr val="accent6"/>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398" fontAlgn="base">
              <a:spcBef>
                <a:spcPct val="0"/>
              </a:spcBef>
              <a:spcAft>
                <a:spcPct val="0"/>
              </a:spcAft>
            </a:pPr>
            <a:r>
              <a:rPr lang="en-US" dirty="0">
                <a:gradFill>
                  <a:gsLst>
                    <a:gs pos="16814">
                      <a:srgbClr val="FFFFFF"/>
                    </a:gs>
                    <a:gs pos="46000">
                      <a:srgbClr val="FFFFFF"/>
                    </a:gs>
                  </a:gsLst>
                  <a:lin ang="5400000" scaled="0"/>
                </a:gradFill>
              </a:rPr>
              <a:t>Table: </a:t>
            </a:r>
            <a:r>
              <a:rPr lang="en-US" dirty="0" err="1">
                <a:gradFill>
                  <a:gsLst>
                    <a:gs pos="16814">
                      <a:srgbClr val="FFFFFF"/>
                    </a:gs>
                    <a:gs pos="46000">
                      <a:srgbClr val="FFFFFF"/>
                    </a:gs>
                  </a:gsLst>
                  <a:lin ang="5400000" scaled="0"/>
                </a:gradFill>
              </a:rPr>
              <a:t>UserStatus</a:t>
            </a:r>
            <a:endParaRPr lang="en-US" dirty="0">
              <a:gradFill>
                <a:gsLst>
                  <a:gs pos="16814">
                    <a:srgbClr val="FFFFFF"/>
                  </a:gs>
                  <a:gs pos="46000">
                    <a:srgbClr val="FFFFFF"/>
                  </a:gs>
                </a:gsLst>
                <a:lin ang="5400000" scaled="0"/>
              </a:gradFill>
            </a:endParaRPr>
          </a:p>
        </p:txBody>
      </p:sp>
    </p:spTree>
    <p:extLst>
      <p:ext uri="{BB962C8B-B14F-4D97-AF65-F5344CB8AC3E}">
        <p14:creationId xmlns:p14="http://schemas.microsoft.com/office/powerpoint/2010/main" val="264599978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5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Segoe UI Light" panose="020B0502040204020203" pitchFamily="34" charset="0"/>
                <a:cs typeface="Segoe UI Light" panose="020B0502040204020203" pitchFamily="34" charset="0"/>
              </a:rPr>
              <a:t>Azure Table decisions</a:t>
            </a:r>
            <a:endParaRPr lang="en-US" dirty="0"/>
          </a:p>
        </p:txBody>
      </p:sp>
      <p:sp>
        <p:nvSpPr>
          <p:cNvPr id="8" name="Freeform: Shape 7"/>
          <p:cNvSpPr/>
          <p:nvPr/>
        </p:nvSpPr>
        <p:spPr>
          <a:xfrm>
            <a:off x="4416051" y="1112873"/>
            <a:ext cx="5166358" cy="1658379"/>
          </a:xfrm>
          <a:custGeom>
            <a:avLst/>
            <a:gdLst>
              <a:gd name="connsiteX0" fmla="*/ 0 w 6937384"/>
              <a:gd name="connsiteY0" fmla="*/ 171052 h 1368412"/>
              <a:gd name="connsiteX1" fmla="*/ 6253178 w 6937384"/>
              <a:gd name="connsiteY1" fmla="*/ 171052 h 1368412"/>
              <a:gd name="connsiteX2" fmla="*/ 6253178 w 6937384"/>
              <a:gd name="connsiteY2" fmla="*/ 0 h 1368412"/>
              <a:gd name="connsiteX3" fmla="*/ 6937384 w 6937384"/>
              <a:gd name="connsiteY3" fmla="*/ 684206 h 1368412"/>
              <a:gd name="connsiteX4" fmla="*/ 6253178 w 6937384"/>
              <a:gd name="connsiteY4" fmla="*/ 1368412 h 1368412"/>
              <a:gd name="connsiteX5" fmla="*/ 6253178 w 6937384"/>
              <a:gd name="connsiteY5" fmla="*/ 1197361 h 1368412"/>
              <a:gd name="connsiteX6" fmla="*/ 0 w 6937384"/>
              <a:gd name="connsiteY6" fmla="*/ 1197361 h 1368412"/>
              <a:gd name="connsiteX7" fmla="*/ 0 w 6937384"/>
              <a:gd name="connsiteY7" fmla="*/ 171052 h 13684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937384" h="1368412">
                <a:moveTo>
                  <a:pt x="0" y="171052"/>
                </a:moveTo>
                <a:lnTo>
                  <a:pt x="6253178" y="171052"/>
                </a:lnTo>
                <a:lnTo>
                  <a:pt x="6253178" y="0"/>
                </a:lnTo>
                <a:lnTo>
                  <a:pt x="6937384" y="684206"/>
                </a:lnTo>
                <a:lnTo>
                  <a:pt x="6253178" y="1368412"/>
                </a:lnTo>
                <a:lnTo>
                  <a:pt x="6253178" y="1197361"/>
                </a:lnTo>
                <a:lnTo>
                  <a:pt x="0" y="1197361"/>
                </a:lnTo>
                <a:lnTo>
                  <a:pt x="0" y="171052"/>
                </a:lnTo>
                <a:close/>
              </a:path>
            </a:pathLst>
          </a:custGeom>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228600" tIns="457200" rIns="696034" bIns="182481" numCol="1" spcCol="1270" anchor="t" anchorCtr="0">
            <a:noAutofit/>
          </a:bodyPr>
          <a:lstStyle/>
          <a:p>
            <a:pPr marL="285750" lvl="1" indent="-285750" defTabSz="800100">
              <a:lnSpc>
                <a:spcPct val="90000"/>
              </a:lnSpc>
              <a:spcBef>
                <a:spcPct val="0"/>
              </a:spcBef>
              <a:spcAft>
                <a:spcPct val="15000"/>
              </a:spcAft>
              <a:buFont typeface="Arial" panose="020B0604020202020204" pitchFamily="34" charset="0"/>
              <a:buChar char="•"/>
            </a:pPr>
            <a:r>
              <a:rPr lang="en-US" dirty="0"/>
              <a:t>Every entity stored in a table must </a:t>
            </a:r>
            <a:br>
              <a:rPr lang="en-US" dirty="0"/>
            </a:br>
            <a:r>
              <a:rPr lang="en-US" dirty="0"/>
              <a:t>have a unique combination of </a:t>
            </a:r>
            <a:r>
              <a:rPr lang="en-US" dirty="0" err="1"/>
              <a:t>PartitionKey</a:t>
            </a:r>
            <a:r>
              <a:rPr lang="en-US" dirty="0"/>
              <a:t> and </a:t>
            </a:r>
            <a:r>
              <a:rPr lang="en-US" dirty="0" err="1"/>
              <a:t>RowKey</a:t>
            </a:r>
            <a:endParaRPr lang="en-US" dirty="0"/>
          </a:p>
        </p:txBody>
      </p:sp>
      <p:sp>
        <p:nvSpPr>
          <p:cNvPr id="9" name="Freeform: Shape 8"/>
          <p:cNvSpPr/>
          <p:nvPr/>
        </p:nvSpPr>
        <p:spPr>
          <a:xfrm>
            <a:off x="1320269" y="1301760"/>
            <a:ext cx="3221976" cy="1278407"/>
          </a:xfrm>
          <a:custGeom>
            <a:avLst/>
            <a:gdLst>
              <a:gd name="connsiteX0" fmla="*/ 0 w 3221976"/>
              <a:gd name="connsiteY0" fmla="*/ 188426 h 1130532"/>
              <a:gd name="connsiteX1" fmla="*/ 188426 w 3221976"/>
              <a:gd name="connsiteY1" fmla="*/ 0 h 1130532"/>
              <a:gd name="connsiteX2" fmla="*/ 3033550 w 3221976"/>
              <a:gd name="connsiteY2" fmla="*/ 0 h 1130532"/>
              <a:gd name="connsiteX3" fmla="*/ 3221976 w 3221976"/>
              <a:gd name="connsiteY3" fmla="*/ 188426 h 1130532"/>
              <a:gd name="connsiteX4" fmla="*/ 3221976 w 3221976"/>
              <a:gd name="connsiteY4" fmla="*/ 942106 h 1130532"/>
              <a:gd name="connsiteX5" fmla="*/ 3033550 w 3221976"/>
              <a:gd name="connsiteY5" fmla="*/ 1130532 h 1130532"/>
              <a:gd name="connsiteX6" fmla="*/ 188426 w 3221976"/>
              <a:gd name="connsiteY6" fmla="*/ 1130532 h 1130532"/>
              <a:gd name="connsiteX7" fmla="*/ 0 w 3221976"/>
              <a:gd name="connsiteY7" fmla="*/ 942106 h 1130532"/>
              <a:gd name="connsiteX8" fmla="*/ 0 w 3221976"/>
              <a:gd name="connsiteY8" fmla="*/ 188426 h 11305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21976" h="1130532">
                <a:moveTo>
                  <a:pt x="0" y="188426"/>
                </a:moveTo>
                <a:cubicBezTo>
                  <a:pt x="0" y="84361"/>
                  <a:pt x="84361" y="0"/>
                  <a:pt x="188426" y="0"/>
                </a:cubicBezTo>
                <a:lnTo>
                  <a:pt x="3033550" y="0"/>
                </a:lnTo>
                <a:cubicBezTo>
                  <a:pt x="3137615" y="0"/>
                  <a:pt x="3221976" y="84361"/>
                  <a:pt x="3221976" y="188426"/>
                </a:cubicBezTo>
                <a:lnTo>
                  <a:pt x="3221976" y="942106"/>
                </a:lnTo>
                <a:cubicBezTo>
                  <a:pt x="3221976" y="1046171"/>
                  <a:pt x="3137615" y="1130532"/>
                  <a:pt x="3033550" y="1130532"/>
                </a:cubicBezTo>
                <a:lnTo>
                  <a:pt x="188426" y="1130532"/>
                </a:lnTo>
                <a:cubicBezTo>
                  <a:pt x="84361" y="1130532"/>
                  <a:pt x="0" y="1046171"/>
                  <a:pt x="0" y="942106"/>
                </a:cubicBezTo>
                <a:lnTo>
                  <a:pt x="0" y="188426"/>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77108" tIns="116148" rIns="177108" bIns="116148" numCol="1" spcCol="1270" anchor="ctr" anchorCtr="0">
            <a:noAutofit/>
          </a:bodyPr>
          <a:lstStyle/>
          <a:p>
            <a:pPr marL="0" lvl="0" indent="0" algn="ctr" defTabSz="1422400">
              <a:lnSpc>
                <a:spcPct val="90000"/>
              </a:lnSpc>
              <a:spcBef>
                <a:spcPct val="0"/>
              </a:spcBef>
              <a:spcAft>
                <a:spcPct val="35000"/>
              </a:spcAft>
              <a:buNone/>
            </a:pPr>
            <a:r>
              <a:rPr lang="en-US" sz="3200" b="0" kern="1200" dirty="0">
                <a:latin typeface="Segoe UI Semibold" panose="020B0702040204020203" pitchFamily="34" charset="0"/>
                <a:cs typeface="Segoe UI Semibold" panose="020B0702040204020203" pitchFamily="34" charset="0"/>
              </a:rPr>
              <a:t>Mandatory</a:t>
            </a:r>
          </a:p>
        </p:txBody>
      </p:sp>
      <p:sp>
        <p:nvSpPr>
          <p:cNvPr id="10" name="Freeform: Shape 9"/>
          <p:cNvSpPr/>
          <p:nvPr/>
        </p:nvSpPr>
        <p:spPr>
          <a:xfrm>
            <a:off x="4174858" y="2934655"/>
            <a:ext cx="5619773" cy="1781830"/>
          </a:xfrm>
          <a:custGeom>
            <a:avLst/>
            <a:gdLst>
              <a:gd name="connsiteX0" fmla="*/ 0 w 7091479"/>
              <a:gd name="connsiteY0" fmla="*/ 293845 h 2350760"/>
              <a:gd name="connsiteX1" fmla="*/ 5916099 w 7091479"/>
              <a:gd name="connsiteY1" fmla="*/ 293845 h 2350760"/>
              <a:gd name="connsiteX2" fmla="*/ 5916099 w 7091479"/>
              <a:gd name="connsiteY2" fmla="*/ 0 h 2350760"/>
              <a:gd name="connsiteX3" fmla="*/ 7091479 w 7091479"/>
              <a:gd name="connsiteY3" fmla="*/ 1175380 h 2350760"/>
              <a:gd name="connsiteX4" fmla="*/ 5916099 w 7091479"/>
              <a:gd name="connsiteY4" fmla="*/ 2350760 h 2350760"/>
              <a:gd name="connsiteX5" fmla="*/ 5916099 w 7091479"/>
              <a:gd name="connsiteY5" fmla="*/ 2056915 h 2350760"/>
              <a:gd name="connsiteX6" fmla="*/ 0 w 7091479"/>
              <a:gd name="connsiteY6" fmla="*/ 2056915 h 2350760"/>
              <a:gd name="connsiteX7" fmla="*/ 0 w 7091479"/>
              <a:gd name="connsiteY7" fmla="*/ 293845 h 2350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091479" h="2350760">
                <a:moveTo>
                  <a:pt x="0" y="293845"/>
                </a:moveTo>
                <a:lnTo>
                  <a:pt x="5916099" y="293845"/>
                </a:lnTo>
                <a:lnTo>
                  <a:pt x="5916099" y="0"/>
                </a:lnTo>
                <a:lnTo>
                  <a:pt x="7091479" y="1175380"/>
                </a:lnTo>
                <a:lnTo>
                  <a:pt x="5916099" y="2350760"/>
                </a:lnTo>
                <a:lnTo>
                  <a:pt x="5916099" y="2056915"/>
                </a:lnTo>
                <a:lnTo>
                  <a:pt x="0" y="2056915"/>
                </a:lnTo>
                <a:lnTo>
                  <a:pt x="0" y="293845"/>
                </a:lnTo>
                <a:close/>
              </a:path>
            </a:pathLst>
          </a:custGeom>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457200" tIns="385285" rIns="1064415" bIns="305275" numCol="1" spcCol="1270" anchor="t" anchorCtr="0">
            <a:noAutofit/>
          </a:bodyPr>
          <a:lstStyle/>
          <a:p>
            <a:pPr marL="285750" lvl="1" indent="-285750" defTabSz="800100">
              <a:lnSpc>
                <a:spcPct val="90000"/>
              </a:lnSpc>
              <a:spcBef>
                <a:spcPct val="0"/>
              </a:spcBef>
              <a:spcAft>
                <a:spcPct val="15000"/>
              </a:spcAft>
              <a:buFont typeface="Arial" panose="020B0604020202020204" pitchFamily="34" charset="0"/>
              <a:buChar char="•"/>
            </a:pPr>
            <a:r>
              <a:rPr lang="en-US" dirty="0"/>
              <a:t>Understand how applications should be authenticated when accessing a storage account resource. Know when to use keys or SAS</a:t>
            </a:r>
          </a:p>
        </p:txBody>
      </p:sp>
      <p:sp>
        <p:nvSpPr>
          <p:cNvPr id="11" name="Freeform: Shape 10"/>
          <p:cNvSpPr/>
          <p:nvPr/>
        </p:nvSpPr>
        <p:spPr>
          <a:xfrm>
            <a:off x="1328722" y="3153340"/>
            <a:ext cx="3213523" cy="1348934"/>
          </a:xfrm>
          <a:custGeom>
            <a:avLst/>
            <a:gdLst>
              <a:gd name="connsiteX0" fmla="*/ 0 w 3213523"/>
              <a:gd name="connsiteY0" fmla="*/ 295356 h 1772099"/>
              <a:gd name="connsiteX1" fmla="*/ 295356 w 3213523"/>
              <a:gd name="connsiteY1" fmla="*/ 0 h 1772099"/>
              <a:gd name="connsiteX2" fmla="*/ 2918167 w 3213523"/>
              <a:gd name="connsiteY2" fmla="*/ 0 h 1772099"/>
              <a:gd name="connsiteX3" fmla="*/ 3213523 w 3213523"/>
              <a:gd name="connsiteY3" fmla="*/ 295356 h 1772099"/>
              <a:gd name="connsiteX4" fmla="*/ 3213523 w 3213523"/>
              <a:gd name="connsiteY4" fmla="*/ 1476743 h 1772099"/>
              <a:gd name="connsiteX5" fmla="*/ 2918167 w 3213523"/>
              <a:gd name="connsiteY5" fmla="*/ 1772099 h 1772099"/>
              <a:gd name="connsiteX6" fmla="*/ 295356 w 3213523"/>
              <a:gd name="connsiteY6" fmla="*/ 1772099 h 1772099"/>
              <a:gd name="connsiteX7" fmla="*/ 0 w 3213523"/>
              <a:gd name="connsiteY7" fmla="*/ 1476743 h 1772099"/>
              <a:gd name="connsiteX8" fmla="*/ 0 w 3213523"/>
              <a:gd name="connsiteY8" fmla="*/ 295356 h 17720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13523" h="1772099">
                <a:moveTo>
                  <a:pt x="0" y="295356"/>
                </a:moveTo>
                <a:cubicBezTo>
                  <a:pt x="0" y="132235"/>
                  <a:pt x="132235" y="0"/>
                  <a:pt x="295356" y="0"/>
                </a:cubicBezTo>
                <a:lnTo>
                  <a:pt x="2918167" y="0"/>
                </a:lnTo>
                <a:cubicBezTo>
                  <a:pt x="3081288" y="0"/>
                  <a:pt x="3213523" y="132235"/>
                  <a:pt x="3213523" y="295356"/>
                </a:cubicBezTo>
                <a:lnTo>
                  <a:pt x="3213523" y="1476743"/>
                </a:lnTo>
                <a:cubicBezTo>
                  <a:pt x="3213523" y="1639864"/>
                  <a:pt x="3081288" y="1772099"/>
                  <a:pt x="2918167" y="1772099"/>
                </a:cubicBezTo>
                <a:lnTo>
                  <a:pt x="295356" y="1772099"/>
                </a:lnTo>
                <a:cubicBezTo>
                  <a:pt x="132235" y="1772099"/>
                  <a:pt x="0" y="1639864"/>
                  <a:pt x="0" y="1476743"/>
                </a:cubicBezTo>
                <a:lnTo>
                  <a:pt x="0" y="295356"/>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08427" tIns="147467" rIns="208427" bIns="147467" numCol="1" spcCol="1270" anchor="ctr" anchorCtr="0">
            <a:noAutofit/>
          </a:bodyPr>
          <a:lstStyle/>
          <a:p>
            <a:pPr marL="0" lvl="0" indent="0" algn="ctr" defTabSz="1422400">
              <a:lnSpc>
                <a:spcPct val="90000"/>
              </a:lnSpc>
              <a:spcBef>
                <a:spcPct val="0"/>
              </a:spcBef>
              <a:spcAft>
                <a:spcPct val="35000"/>
              </a:spcAft>
              <a:buNone/>
            </a:pPr>
            <a:r>
              <a:rPr lang="en-US" sz="3200" b="0" kern="1200" dirty="0">
                <a:solidFill>
                  <a:srgbClr val="FFFFFF"/>
                </a:solidFill>
                <a:latin typeface="Segoe UI Semibold" panose="020B0702040204020203" pitchFamily="34" charset="0"/>
                <a:ea typeface="+mn-ea"/>
                <a:cs typeface="Segoe UI Semibold" panose="020B0702040204020203" pitchFamily="34" charset="0"/>
              </a:rPr>
              <a:t>Recommended</a:t>
            </a:r>
          </a:p>
        </p:txBody>
      </p:sp>
      <p:sp>
        <p:nvSpPr>
          <p:cNvPr id="12" name="Freeform: Shape 11"/>
          <p:cNvSpPr/>
          <p:nvPr/>
        </p:nvSpPr>
        <p:spPr>
          <a:xfrm>
            <a:off x="4281381" y="4879889"/>
            <a:ext cx="5305583" cy="1644061"/>
          </a:xfrm>
          <a:custGeom>
            <a:avLst/>
            <a:gdLst>
              <a:gd name="connsiteX0" fmla="*/ 0 w 7125896"/>
              <a:gd name="connsiteY0" fmla="*/ 180910 h 1447281"/>
              <a:gd name="connsiteX1" fmla="*/ 6402256 w 7125896"/>
              <a:gd name="connsiteY1" fmla="*/ 180910 h 1447281"/>
              <a:gd name="connsiteX2" fmla="*/ 6402256 w 7125896"/>
              <a:gd name="connsiteY2" fmla="*/ 0 h 1447281"/>
              <a:gd name="connsiteX3" fmla="*/ 7125896 w 7125896"/>
              <a:gd name="connsiteY3" fmla="*/ 723641 h 1447281"/>
              <a:gd name="connsiteX4" fmla="*/ 6402256 w 7125896"/>
              <a:gd name="connsiteY4" fmla="*/ 1447281 h 1447281"/>
              <a:gd name="connsiteX5" fmla="*/ 6402256 w 7125896"/>
              <a:gd name="connsiteY5" fmla="*/ 1266371 h 1447281"/>
              <a:gd name="connsiteX6" fmla="*/ 0 w 7125896"/>
              <a:gd name="connsiteY6" fmla="*/ 1266371 h 1447281"/>
              <a:gd name="connsiteX7" fmla="*/ 0 w 7125896"/>
              <a:gd name="connsiteY7" fmla="*/ 180910 h 14472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125896" h="1447281">
                <a:moveTo>
                  <a:pt x="0" y="180910"/>
                </a:moveTo>
                <a:lnTo>
                  <a:pt x="6402256" y="180910"/>
                </a:lnTo>
                <a:lnTo>
                  <a:pt x="6402256" y="0"/>
                </a:lnTo>
                <a:lnTo>
                  <a:pt x="7125896" y="723641"/>
                </a:lnTo>
                <a:lnTo>
                  <a:pt x="6402256" y="1447281"/>
                </a:lnTo>
                <a:lnTo>
                  <a:pt x="6402256" y="1266371"/>
                </a:lnTo>
                <a:lnTo>
                  <a:pt x="0" y="1266371"/>
                </a:lnTo>
                <a:lnTo>
                  <a:pt x="0" y="180910"/>
                </a:lnTo>
                <a:close/>
              </a:path>
            </a:pathLst>
          </a:custGeom>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365760" tIns="365760" rIns="640080" bIns="192340" numCol="1" spcCol="1270" anchor="t" anchorCtr="0">
            <a:noAutofit/>
          </a:bodyPr>
          <a:lstStyle/>
          <a:p>
            <a:pPr marL="285750" lvl="0" indent="-285750">
              <a:buFont typeface="Arial" panose="020B0604020202020204" pitchFamily="34" charset="0"/>
              <a:buChar char="•"/>
            </a:pPr>
            <a:r>
              <a:rPr lang="en-US" dirty="0"/>
              <a:t>Review the </a:t>
            </a:r>
            <a:r>
              <a:rPr lang="en-US" dirty="0">
                <a:hlinkClick r:id="rId3"/>
              </a:rPr>
              <a:t>Design Guide</a:t>
            </a:r>
            <a:r>
              <a:rPr lang="en-US" dirty="0"/>
              <a:t> to </a:t>
            </a:r>
            <a:br>
              <a:rPr lang="en-US" dirty="0"/>
            </a:br>
            <a:r>
              <a:rPr lang="en-US" dirty="0"/>
              <a:t>understand how to design for </a:t>
            </a:r>
            <a:br>
              <a:rPr lang="en-US" dirty="0"/>
            </a:br>
            <a:r>
              <a:rPr lang="en-US" dirty="0"/>
              <a:t>both read and write efficiency</a:t>
            </a:r>
          </a:p>
        </p:txBody>
      </p:sp>
      <p:sp>
        <p:nvSpPr>
          <p:cNvPr id="13" name="Freeform: Shape 12"/>
          <p:cNvSpPr/>
          <p:nvPr/>
        </p:nvSpPr>
        <p:spPr>
          <a:xfrm>
            <a:off x="1259112" y="5075274"/>
            <a:ext cx="3210524" cy="1448676"/>
          </a:xfrm>
          <a:custGeom>
            <a:avLst/>
            <a:gdLst>
              <a:gd name="connsiteX0" fmla="*/ 0 w 3210524"/>
              <a:gd name="connsiteY0" fmla="*/ 191185 h 1147089"/>
              <a:gd name="connsiteX1" fmla="*/ 191185 w 3210524"/>
              <a:gd name="connsiteY1" fmla="*/ 0 h 1147089"/>
              <a:gd name="connsiteX2" fmla="*/ 3019339 w 3210524"/>
              <a:gd name="connsiteY2" fmla="*/ 0 h 1147089"/>
              <a:gd name="connsiteX3" fmla="*/ 3210524 w 3210524"/>
              <a:gd name="connsiteY3" fmla="*/ 191185 h 1147089"/>
              <a:gd name="connsiteX4" fmla="*/ 3210524 w 3210524"/>
              <a:gd name="connsiteY4" fmla="*/ 955904 h 1147089"/>
              <a:gd name="connsiteX5" fmla="*/ 3019339 w 3210524"/>
              <a:gd name="connsiteY5" fmla="*/ 1147089 h 1147089"/>
              <a:gd name="connsiteX6" fmla="*/ 191185 w 3210524"/>
              <a:gd name="connsiteY6" fmla="*/ 1147089 h 1147089"/>
              <a:gd name="connsiteX7" fmla="*/ 0 w 3210524"/>
              <a:gd name="connsiteY7" fmla="*/ 955904 h 1147089"/>
              <a:gd name="connsiteX8" fmla="*/ 0 w 3210524"/>
              <a:gd name="connsiteY8" fmla="*/ 191185 h 1147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10524" h="1147089">
                <a:moveTo>
                  <a:pt x="0" y="191185"/>
                </a:moveTo>
                <a:cubicBezTo>
                  <a:pt x="0" y="85596"/>
                  <a:pt x="85596" y="0"/>
                  <a:pt x="191185" y="0"/>
                </a:cubicBezTo>
                <a:lnTo>
                  <a:pt x="3019339" y="0"/>
                </a:lnTo>
                <a:cubicBezTo>
                  <a:pt x="3124928" y="0"/>
                  <a:pt x="3210524" y="85596"/>
                  <a:pt x="3210524" y="191185"/>
                </a:cubicBezTo>
                <a:lnTo>
                  <a:pt x="3210524" y="955904"/>
                </a:lnTo>
                <a:cubicBezTo>
                  <a:pt x="3210524" y="1061493"/>
                  <a:pt x="3124928" y="1147089"/>
                  <a:pt x="3019339" y="1147089"/>
                </a:cubicBezTo>
                <a:lnTo>
                  <a:pt x="191185" y="1147089"/>
                </a:lnTo>
                <a:cubicBezTo>
                  <a:pt x="85596" y="1147089"/>
                  <a:pt x="0" y="1061493"/>
                  <a:pt x="0" y="955904"/>
                </a:cubicBezTo>
                <a:lnTo>
                  <a:pt x="0" y="191185"/>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77916" tIns="116956" rIns="177916" bIns="116956" numCol="1" spcCol="1270" anchor="ctr" anchorCtr="0">
            <a:noAutofit/>
          </a:bodyPr>
          <a:lstStyle/>
          <a:p>
            <a:pPr marL="0" lvl="0" indent="0" algn="ctr" defTabSz="1422400">
              <a:lnSpc>
                <a:spcPct val="90000"/>
              </a:lnSpc>
              <a:spcBef>
                <a:spcPct val="0"/>
              </a:spcBef>
              <a:spcAft>
                <a:spcPct val="35000"/>
              </a:spcAft>
              <a:buNone/>
            </a:pPr>
            <a:r>
              <a:rPr lang="en-US" sz="3200" b="0" kern="1200" dirty="0">
                <a:solidFill>
                  <a:srgbClr val="FFFFFF"/>
                </a:solidFill>
                <a:latin typeface="Segoe UI Semibold" panose="020B0702040204020203" pitchFamily="34" charset="0"/>
                <a:ea typeface="+mn-ea"/>
                <a:cs typeface="Segoe UI Semibold" panose="020B0702040204020203" pitchFamily="34" charset="0"/>
              </a:rPr>
              <a:t>Optional</a:t>
            </a:r>
          </a:p>
        </p:txBody>
      </p:sp>
      <p:sp>
        <p:nvSpPr>
          <p:cNvPr id="4" name="Octagon 3"/>
          <p:cNvSpPr/>
          <p:nvPr/>
        </p:nvSpPr>
        <p:spPr>
          <a:xfrm>
            <a:off x="1107200" y="2325391"/>
            <a:ext cx="443098" cy="439889"/>
          </a:xfrm>
          <a:prstGeom prst="octagon">
            <a:avLst/>
          </a:prstGeom>
          <a:solidFill>
            <a:srgbClr val="CC0000"/>
          </a:solidFill>
        </p:spPr>
        <p:style>
          <a:lnRef idx="1">
            <a:schemeClr val="accent2"/>
          </a:lnRef>
          <a:fillRef idx="3">
            <a:schemeClr val="accent2"/>
          </a:fillRef>
          <a:effectRef idx="2">
            <a:schemeClr val="accent2"/>
          </a:effectRef>
          <a:fontRef idx="minor">
            <a:schemeClr val="lt1"/>
          </a:fontRef>
        </p:style>
        <p:txBody>
          <a:bodyPr rot="0" spcFirstLastPara="0" vert="horz" wrap="square" lIns="68583" tIns="34291" rIns="68583" bIns="34291" numCol="1" spcCol="0" rtlCol="0" fromWordArt="0" anchor="ctr" anchorCtr="0" forceAA="0" compatLnSpc="1">
            <a:prstTxWarp prst="textNoShape">
              <a:avLst/>
            </a:prstTxWarp>
            <a:noAutofit/>
          </a:bodyPr>
          <a:lstStyle/>
          <a:p>
            <a:endParaRPr lang="en-US" sz="1350" dirty="0"/>
          </a:p>
        </p:txBody>
      </p:sp>
      <p:sp>
        <p:nvSpPr>
          <p:cNvPr id="5" name="Isosceles Triangle 4"/>
          <p:cNvSpPr>
            <a:spLocks/>
          </p:cNvSpPr>
          <p:nvPr/>
        </p:nvSpPr>
        <p:spPr>
          <a:xfrm>
            <a:off x="1038785" y="4187600"/>
            <a:ext cx="579874" cy="457219"/>
          </a:xfrm>
          <a:prstGeom prst="triangle">
            <a:avLst/>
          </a:prstGeom>
          <a:solidFill>
            <a:srgbClr val="FFFF00"/>
          </a:solidFill>
        </p:spPr>
        <p:style>
          <a:lnRef idx="1">
            <a:schemeClr val="accent6"/>
          </a:lnRef>
          <a:fillRef idx="3">
            <a:schemeClr val="accent6"/>
          </a:fillRef>
          <a:effectRef idx="2">
            <a:schemeClr val="accent6"/>
          </a:effectRef>
          <a:fontRef idx="minor">
            <a:schemeClr val="lt1"/>
          </a:fontRef>
        </p:style>
        <p:txBody>
          <a:bodyPr rot="0" spcFirstLastPara="0" vert="horz" wrap="square" lIns="68583" tIns="34291" rIns="68583" bIns="34291" numCol="1" spcCol="0" rtlCol="0" fromWordArt="0" anchor="ctr" anchorCtr="0" forceAA="0" compatLnSpc="1">
            <a:prstTxWarp prst="textNoShape">
              <a:avLst/>
            </a:prstTxWarp>
            <a:noAutofit/>
          </a:bodyPr>
          <a:lstStyle/>
          <a:p>
            <a:endParaRPr lang="en-US" sz="1350"/>
          </a:p>
        </p:txBody>
      </p:sp>
      <p:sp>
        <p:nvSpPr>
          <p:cNvPr id="6" name="Oval 5"/>
          <p:cNvSpPr>
            <a:spLocks/>
          </p:cNvSpPr>
          <p:nvPr/>
        </p:nvSpPr>
        <p:spPr>
          <a:xfrm>
            <a:off x="1038785" y="6264074"/>
            <a:ext cx="474539" cy="475477"/>
          </a:xfrm>
          <a:prstGeom prst="ellipse">
            <a:avLst/>
          </a:prstGeom>
          <a:solidFill>
            <a:srgbClr val="00B050"/>
          </a:solidFill>
        </p:spPr>
        <p:style>
          <a:lnRef idx="1">
            <a:schemeClr val="accent3"/>
          </a:lnRef>
          <a:fillRef idx="3">
            <a:schemeClr val="accent3"/>
          </a:fillRef>
          <a:effectRef idx="2">
            <a:schemeClr val="accent3"/>
          </a:effectRef>
          <a:fontRef idx="minor">
            <a:schemeClr val="lt1"/>
          </a:fontRef>
        </p:style>
        <p:txBody>
          <a:bodyPr rot="0" spcFirstLastPara="0" vert="horz" wrap="square" lIns="68583" tIns="34291" rIns="68583" bIns="34291" numCol="1" spcCol="0" rtlCol="0" fromWordArt="0" anchor="ctr" anchorCtr="0" forceAA="0" compatLnSpc="1">
            <a:prstTxWarp prst="textNoShape">
              <a:avLst/>
            </a:prstTxWarp>
            <a:noAutofit/>
          </a:bodyPr>
          <a:lstStyle/>
          <a:p>
            <a:endParaRPr lang="en-US" sz="1350"/>
          </a:p>
        </p:txBody>
      </p:sp>
    </p:spTree>
    <p:extLst>
      <p:ext uri="{BB962C8B-B14F-4D97-AF65-F5344CB8AC3E}">
        <p14:creationId xmlns:p14="http://schemas.microsoft.com/office/powerpoint/2010/main" val="2732924854"/>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366168" y="1212851"/>
            <a:ext cx="11702553" cy="1181862"/>
          </a:xfrm>
        </p:spPr>
        <p:txBody>
          <a:bodyPr/>
          <a:lstStyle/>
          <a:p>
            <a:pPr marL="0" indent="0">
              <a:buNone/>
            </a:pPr>
            <a:r>
              <a:rPr lang="en-US" dirty="0"/>
              <a:t>A highly scalable, globally available mobile application development platform</a:t>
            </a:r>
          </a:p>
        </p:txBody>
      </p:sp>
      <p:sp>
        <p:nvSpPr>
          <p:cNvPr id="2" name="Title 1"/>
          <p:cNvSpPr>
            <a:spLocks noGrp="1"/>
          </p:cNvSpPr>
          <p:nvPr>
            <p:ph type="title"/>
          </p:nvPr>
        </p:nvSpPr>
        <p:spPr/>
        <p:txBody>
          <a:bodyPr/>
          <a:lstStyle/>
          <a:p>
            <a:r>
              <a:rPr lang="en-US" dirty="0"/>
              <a:t>Mobile Apps</a:t>
            </a:r>
          </a:p>
        </p:txBody>
      </p:sp>
      <p:pic>
        <p:nvPicPr>
          <p:cNvPr id="4" name="Picture 3"/>
          <p:cNvPicPr>
            <a:picLocks noChangeAspect="1"/>
          </p:cNvPicPr>
          <p:nvPr/>
        </p:nvPicPr>
        <p:blipFill>
          <a:blip r:embed="rId3"/>
          <a:stretch>
            <a:fillRect/>
          </a:stretch>
        </p:blipFill>
        <p:spPr>
          <a:xfrm>
            <a:off x="2178844" y="2394713"/>
            <a:ext cx="7620000" cy="3999638"/>
          </a:xfrm>
          <a:prstGeom prst="rect">
            <a:avLst/>
          </a:prstGeom>
        </p:spPr>
      </p:pic>
    </p:spTree>
    <p:extLst>
      <p:ext uri="{BB962C8B-B14F-4D97-AF65-F5344CB8AC3E}">
        <p14:creationId xmlns:p14="http://schemas.microsoft.com/office/powerpoint/2010/main" val="380749513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6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atabase technologies</a:t>
            </a:r>
          </a:p>
        </p:txBody>
      </p:sp>
      <p:sp>
        <p:nvSpPr>
          <p:cNvPr id="4" name="Rectangle 3"/>
          <p:cNvSpPr/>
          <p:nvPr/>
        </p:nvSpPr>
        <p:spPr bwMode="auto">
          <a:xfrm>
            <a:off x="2255550" y="1668695"/>
            <a:ext cx="9295213" cy="4723797"/>
          </a:xfrm>
          <a:prstGeom prst="rect">
            <a:avLst/>
          </a:prstGeom>
          <a:solidFill>
            <a:schemeClr val="accent5"/>
          </a:solidFill>
          <a:ln>
            <a:headEnd type="none" w="med" len="med"/>
            <a:tailEnd type="none" w="med" len="med"/>
          </a:ln>
        </p:spPr>
        <p:style>
          <a:lnRef idx="1">
            <a:schemeClr val="accent4"/>
          </a:lnRef>
          <a:fillRef idx="2">
            <a:schemeClr val="accent4"/>
          </a:fillRef>
          <a:effectRef idx="1">
            <a:schemeClr val="accent4"/>
          </a:effectRef>
          <a:fontRef idx="minor">
            <a:schemeClr val="dk1"/>
          </a:fontRef>
        </p:style>
        <p:txBody>
          <a:bodyPr vert="horz" wrap="square" lIns="0" tIns="46631" rIns="0" bIns="46631" numCol="1" rtlCol="0" anchor="ctr" anchorCtr="0" compatLnSpc="1">
            <a:prstTxWarp prst="textNoShape">
              <a:avLst/>
            </a:prstTxWarp>
          </a:bodyPr>
          <a:lstStyle/>
          <a:p>
            <a:pPr algn="ctr" defTabSz="932305" fontAlgn="base">
              <a:spcBef>
                <a:spcPct val="0"/>
              </a:spcBef>
              <a:spcAft>
                <a:spcPct val="0"/>
              </a:spcAft>
            </a:pPr>
            <a:endParaRPr lang="en-US" sz="2000" dirty="0">
              <a:solidFill>
                <a:schemeClr val="tx1"/>
              </a:solidFill>
            </a:endParaRPr>
          </a:p>
        </p:txBody>
      </p:sp>
      <p:sp>
        <p:nvSpPr>
          <p:cNvPr id="5" name="TextBox 4"/>
          <p:cNvSpPr txBox="1"/>
          <p:nvPr/>
        </p:nvSpPr>
        <p:spPr>
          <a:xfrm>
            <a:off x="2587938" y="1244187"/>
            <a:ext cx="3684603" cy="410173"/>
          </a:xfrm>
          <a:prstGeom prst="rect">
            <a:avLst/>
          </a:prstGeom>
          <a:noFill/>
        </p:spPr>
        <p:txBody>
          <a:bodyPr wrap="none" rtlCol="0">
            <a:noAutofit/>
          </a:bodyPr>
          <a:lstStyle/>
          <a:p>
            <a:pPr algn="ctr">
              <a:buClr>
                <a:srgbClr val="FFFFFF"/>
              </a:buClr>
            </a:pPr>
            <a:r>
              <a:rPr lang="en-US" b="1" dirty="0">
                <a:latin typeface="Segoe UI Light"/>
              </a:rPr>
              <a:t>Operational Data</a:t>
            </a:r>
          </a:p>
        </p:txBody>
      </p:sp>
      <p:sp>
        <p:nvSpPr>
          <p:cNvPr id="6" name="TextBox 5"/>
          <p:cNvSpPr txBox="1"/>
          <p:nvPr/>
        </p:nvSpPr>
        <p:spPr>
          <a:xfrm>
            <a:off x="7131727" y="1235832"/>
            <a:ext cx="3688815" cy="410173"/>
          </a:xfrm>
          <a:prstGeom prst="rect">
            <a:avLst/>
          </a:prstGeom>
          <a:noFill/>
        </p:spPr>
        <p:txBody>
          <a:bodyPr wrap="none" rtlCol="0">
            <a:noAutofit/>
          </a:bodyPr>
          <a:lstStyle/>
          <a:p>
            <a:pPr algn="ctr">
              <a:buClr>
                <a:srgbClr val="FFFFFF"/>
              </a:buClr>
            </a:pPr>
            <a:r>
              <a:rPr lang="en-US" b="1" dirty="0">
                <a:latin typeface="Segoe UI Light"/>
              </a:rPr>
              <a:t>Analytical Data</a:t>
            </a:r>
          </a:p>
        </p:txBody>
      </p:sp>
      <p:sp>
        <p:nvSpPr>
          <p:cNvPr id="7" name="TextBox 6"/>
          <p:cNvSpPr txBox="1"/>
          <p:nvPr/>
        </p:nvSpPr>
        <p:spPr>
          <a:xfrm>
            <a:off x="807936" y="2744511"/>
            <a:ext cx="1354885" cy="421522"/>
          </a:xfrm>
          <a:prstGeom prst="rect">
            <a:avLst/>
          </a:prstGeom>
          <a:noFill/>
        </p:spPr>
        <p:txBody>
          <a:bodyPr wrap="none" rtlCol="0">
            <a:noAutofit/>
          </a:bodyPr>
          <a:lstStyle/>
          <a:p>
            <a:pPr algn="ctr">
              <a:buClr>
                <a:srgbClr val="FFFFFF"/>
              </a:buClr>
            </a:pPr>
            <a:r>
              <a:rPr lang="en-US" b="1" dirty="0">
                <a:latin typeface="Segoe UI Light"/>
              </a:rPr>
              <a:t>NoSQL</a:t>
            </a:r>
          </a:p>
          <a:p>
            <a:pPr algn="ctr">
              <a:buClr>
                <a:srgbClr val="FFFFFF"/>
              </a:buClr>
            </a:pPr>
            <a:r>
              <a:rPr lang="en-US" b="1" dirty="0">
                <a:latin typeface="Segoe UI Light"/>
              </a:rPr>
              <a:t>Technologies</a:t>
            </a:r>
          </a:p>
        </p:txBody>
      </p:sp>
      <p:sp>
        <p:nvSpPr>
          <p:cNvPr id="8" name="TextBox 7"/>
          <p:cNvSpPr txBox="1"/>
          <p:nvPr/>
        </p:nvSpPr>
        <p:spPr>
          <a:xfrm>
            <a:off x="757107" y="4882014"/>
            <a:ext cx="1354885" cy="916663"/>
          </a:xfrm>
          <a:prstGeom prst="rect">
            <a:avLst/>
          </a:prstGeom>
          <a:noFill/>
        </p:spPr>
        <p:txBody>
          <a:bodyPr wrap="none" rtlCol="0">
            <a:noAutofit/>
          </a:bodyPr>
          <a:lstStyle/>
          <a:p>
            <a:pPr algn="ctr">
              <a:buClr>
                <a:srgbClr val="FFFFFF"/>
              </a:buClr>
            </a:pPr>
            <a:r>
              <a:rPr lang="en-US" b="1" dirty="0">
                <a:latin typeface="Segoe UI Light"/>
              </a:rPr>
              <a:t>SQL</a:t>
            </a:r>
          </a:p>
          <a:p>
            <a:pPr algn="ctr">
              <a:buClr>
                <a:srgbClr val="FFFFFF"/>
              </a:buClr>
            </a:pPr>
            <a:r>
              <a:rPr lang="en-US" b="1" dirty="0">
                <a:latin typeface="Segoe UI Light"/>
              </a:rPr>
              <a:t>Technologies</a:t>
            </a:r>
          </a:p>
        </p:txBody>
      </p:sp>
      <p:graphicFrame>
        <p:nvGraphicFramePr>
          <p:cNvPr id="9" name="Table 8"/>
          <p:cNvGraphicFramePr>
            <a:graphicFrameLocks noGrp="1"/>
          </p:cNvGraphicFramePr>
          <p:nvPr>
            <p:extLst/>
          </p:nvPr>
        </p:nvGraphicFramePr>
        <p:xfrm>
          <a:off x="4731735" y="3649643"/>
          <a:ext cx="2057137" cy="822936"/>
        </p:xfrm>
        <a:graphic>
          <a:graphicData uri="http://schemas.openxmlformats.org/drawingml/2006/table">
            <a:tbl>
              <a:tblPr firstRow="1" bandRow="1">
                <a:tableStyleId>{2D5ABB26-0587-4C30-8999-92F81FD0307C}</a:tableStyleId>
              </a:tblPr>
              <a:tblGrid>
                <a:gridCol w="2057137">
                  <a:extLst>
                    <a:ext uri="{9D8B030D-6E8A-4147-A177-3AD203B41FA5}">
                      <a16:colId xmlns:a16="http://schemas.microsoft.com/office/drawing/2014/main" val="20000"/>
                    </a:ext>
                  </a:extLst>
                </a:gridCol>
              </a:tblGrid>
              <a:tr h="304788">
                <a:tc>
                  <a:txBody>
                    <a:bodyPr/>
                    <a:lstStyle/>
                    <a:p>
                      <a:pPr algn="ctr"/>
                      <a:r>
                        <a:rPr lang="en-US" sz="1400" b="0" i="0" dirty="0">
                          <a:solidFill>
                            <a:schemeClr val="bg1"/>
                          </a:solidFill>
                          <a:latin typeface="Segoe UI Semibold" panose="020B0702040204020203" pitchFamily="34" charset="0"/>
                          <a:cs typeface="Segoe UI Semibold" panose="020B0702040204020203" pitchFamily="34" charset="0"/>
                        </a:rPr>
                        <a:t>Column Family</a:t>
                      </a:r>
                      <a:r>
                        <a:rPr lang="en-US" sz="1400" b="0" i="0" baseline="0" dirty="0">
                          <a:solidFill>
                            <a:schemeClr val="bg1"/>
                          </a:solidFill>
                          <a:latin typeface="Segoe UI Semibold" panose="020B0702040204020203" pitchFamily="34" charset="0"/>
                          <a:cs typeface="Segoe UI Semibold" panose="020B0702040204020203" pitchFamily="34" charset="0"/>
                        </a:rPr>
                        <a:t> Store</a:t>
                      </a:r>
                      <a:endParaRPr lang="en-US" sz="1400" b="0" i="0" dirty="0">
                        <a:solidFill>
                          <a:schemeClr val="bg1"/>
                        </a:solidFill>
                        <a:latin typeface="Segoe UI Semibold" panose="020B0702040204020203" pitchFamily="34" charset="0"/>
                        <a:cs typeface="Segoe UI Semibold" panose="020B0702040204020203" pitchFamily="34" charset="0"/>
                      </a:endParaRPr>
                    </a:p>
                  </a:txBody>
                  <a:tcPr marL="91428" marR="91428" marT="45714" marB="4571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rgbClr val="0070C0"/>
                    </a:solidFill>
                  </a:tcPr>
                </a:tc>
                <a:extLst>
                  <a:ext uri="{0D108BD9-81ED-4DB2-BD59-A6C34878D82A}">
                    <a16:rowId xmlns:a16="http://schemas.microsoft.com/office/drawing/2014/main" val="10000"/>
                  </a:ext>
                </a:extLst>
              </a:tr>
              <a:tr h="518148">
                <a:tc>
                  <a:txBody>
                    <a:bodyPr/>
                    <a:lstStyle/>
                    <a:p>
                      <a:pPr algn="ctr"/>
                      <a:r>
                        <a:rPr lang="en-US" sz="1400" b="1" dirty="0">
                          <a:solidFill>
                            <a:srgbClr val="FFFF00"/>
                          </a:solidFill>
                          <a:latin typeface="+mj-lt"/>
                        </a:rPr>
                        <a:t>Azure </a:t>
                      </a:r>
                      <a:r>
                        <a:rPr lang="en-US" sz="1400" b="1" dirty="0" err="1">
                          <a:solidFill>
                            <a:srgbClr val="FFFF00"/>
                          </a:solidFill>
                          <a:latin typeface="+mj-lt"/>
                        </a:rPr>
                        <a:t>Hbase</a:t>
                      </a:r>
                      <a:endParaRPr lang="en-US" sz="1400" b="1" dirty="0">
                        <a:solidFill>
                          <a:srgbClr val="FFFF00"/>
                        </a:solidFill>
                        <a:latin typeface="+mj-lt"/>
                      </a:endParaRPr>
                    </a:p>
                    <a:p>
                      <a:pPr algn="ctr"/>
                      <a:r>
                        <a:rPr lang="en-US" sz="1400" i="1" dirty="0">
                          <a:solidFill>
                            <a:srgbClr val="FFFFFF"/>
                          </a:solidFill>
                          <a:latin typeface="+mj-lt"/>
                        </a:rPr>
                        <a:t>Cassandra</a:t>
                      </a:r>
                    </a:p>
                  </a:txBody>
                  <a:tcPr marL="91428" marR="91428" marT="45714" marB="4571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solidFill>
                      <a:srgbClr val="0070C0"/>
                    </a:solidFill>
                  </a:tcPr>
                </a:tc>
                <a:extLst>
                  <a:ext uri="{0D108BD9-81ED-4DB2-BD59-A6C34878D82A}">
                    <a16:rowId xmlns:a16="http://schemas.microsoft.com/office/drawing/2014/main" val="10001"/>
                  </a:ext>
                </a:extLst>
              </a:tr>
            </a:tbl>
          </a:graphicData>
        </a:graphic>
      </p:graphicFrame>
      <p:graphicFrame>
        <p:nvGraphicFramePr>
          <p:cNvPr id="10" name="Table 9"/>
          <p:cNvGraphicFramePr>
            <a:graphicFrameLocks noGrp="1"/>
          </p:cNvGraphicFramePr>
          <p:nvPr>
            <p:extLst/>
          </p:nvPr>
        </p:nvGraphicFramePr>
        <p:xfrm>
          <a:off x="8122201" y="2595678"/>
          <a:ext cx="1975774" cy="888941"/>
        </p:xfrm>
        <a:graphic>
          <a:graphicData uri="http://schemas.openxmlformats.org/drawingml/2006/table">
            <a:tbl>
              <a:tblPr firstRow="1" bandRow="1">
                <a:tableStyleId>{2D5ABB26-0587-4C30-8999-92F81FD0307C}</a:tableStyleId>
              </a:tblPr>
              <a:tblGrid>
                <a:gridCol w="1975774">
                  <a:extLst>
                    <a:ext uri="{9D8B030D-6E8A-4147-A177-3AD203B41FA5}">
                      <a16:colId xmlns:a16="http://schemas.microsoft.com/office/drawing/2014/main" val="20000"/>
                    </a:ext>
                  </a:extLst>
                </a:gridCol>
              </a:tblGrid>
              <a:tr h="370793">
                <a:tc>
                  <a:txBody>
                    <a:bodyPr/>
                    <a:lstStyle/>
                    <a:p>
                      <a:pPr marL="0" algn="ctr" defTabSz="932594" rtl="0" eaLnBrk="1" latinLnBrk="0" hangingPunct="1"/>
                      <a:r>
                        <a:rPr lang="en-US" sz="1400" b="0" i="0" kern="1200" dirty="0">
                          <a:solidFill>
                            <a:schemeClr val="bg1"/>
                          </a:solidFill>
                          <a:latin typeface="Segoe UI Semibold" panose="020B0702040204020203" pitchFamily="34" charset="0"/>
                          <a:ea typeface="+mn-ea"/>
                          <a:cs typeface="Segoe UI Semibold" panose="020B0702040204020203" pitchFamily="34" charset="0"/>
                        </a:rPr>
                        <a:t>Big Data Analytics</a:t>
                      </a:r>
                    </a:p>
                  </a:txBody>
                  <a:tcPr marL="91428" marR="91428" marT="45714" marB="4571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rgbClr val="0070C0"/>
                    </a:solidFill>
                  </a:tcPr>
                </a:tc>
                <a:extLst>
                  <a:ext uri="{0D108BD9-81ED-4DB2-BD59-A6C34878D82A}">
                    <a16:rowId xmlns:a16="http://schemas.microsoft.com/office/drawing/2014/main" val="10000"/>
                  </a:ext>
                </a:extLst>
              </a:tr>
              <a:tr h="518148">
                <a:tc>
                  <a:txBody>
                    <a:bodyPr/>
                    <a:lstStyle/>
                    <a:p>
                      <a:pPr algn="ctr"/>
                      <a:r>
                        <a:rPr lang="en-US" sz="1400" b="1" dirty="0">
                          <a:solidFill>
                            <a:srgbClr val="FFFF00"/>
                          </a:solidFill>
                          <a:latin typeface="+mj-lt"/>
                        </a:rPr>
                        <a:t>Azure </a:t>
                      </a:r>
                      <a:r>
                        <a:rPr lang="en-US" sz="1400" b="1" dirty="0" err="1">
                          <a:solidFill>
                            <a:srgbClr val="FFFF00"/>
                          </a:solidFill>
                          <a:latin typeface="+mj-lt"/>
                        </a:rPr>
                        <a:t>HDInsight</a:t>
                      </a:r>
                      <a:endParaRPr lang="en-US" sz="1400" b="1" dirty="0">
                        <a:solidFill>
                          <a:srgbClr val="FFFF00"/>
                        </a:solidFill>
                        <a:latin typeface="+mj-lt"/>
                      </a:endParaRPr>
                    </a:p>
                    <a:p>
                      <a:pPr algn="ctr"/>
                      <a:r>
                        <a:rPr lang="en-US" sz="1400" i="1" dirty="0">
                          <a:solidFill>
                            <a:srgbClr val="FFFFFF"/>
                          </a:solidFill>
                          <a:latin typeface="+mj-lt"/>
                        </a:rPr>
                        <a:t>Hadoop</a:t>
                      </a:r>
                    </a:p>
                  </a:txBody>
                  <a:tcPr marL="91428" marR="91428" marT="45714" marB="4571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solidFill>
                      <a:srgbClr val="0070C0"/>
                    </a:solidFill>
                  </a:tcPr>
                </a:tc>
                <a:extLst>
                  <a:ext uri="{0D108BD9-81ED-4DB2-BD59-A6C34878D82A}">
                    <a16:rowId xmlns:a16="http://schemas.microsoft.com/office/drawing/2014/main" val="10001"/>
                  </a:ext>
                </a:extLst>
              </a:tr>
            </a:tbl>
          </a:graphicData>
        </a:graphic>
      </p:graphicFrame>
      <p:graphicFrame>
        <p:nvGraphicFramePr>
          <p:cNvPr id="11" name="Table 10"/>
          <p:cNvGraphicFramePr>
            <a:graphicFrameLocks noGrp="1"/>
          </p:cNvGraphicFramePr>
          <p:nvPr>
            <p:extLst/>
          </p:nvPr>
        </p:nvGraphicFramePr>
        <p:xfrm>
          <a:off x="2407930" y="1699173"/>
          <a:ext cx="1849902" cy="944856"/>
        </p:xfrm>
        <a:graphic>
          <a:graphicData uri="http://schemas.openxmlformats.org/drawingml/2006/table">
            <a:tbl>
              <a:tblPr firstRow="1" bandRow="1">
                <a:tableStyleId>{2D5ABB26-0587-4C30-8999-92F81FD0307C}</a:tableStyleId>
              </a:tblPr>
              <a:tblGrid>
                <a:gridCol w="1849902">
                  <a:extLst>
                    <a:ext uri="{9D8B030D-6E8A-4147-A177-3AD203B41FA5}">
                      <a16:colId xmlns:a16="http://schemas.microsoft.com/office/drawing/2014/main" val="20000"/>
                    </a:ext>
                  </a:extLst>
                </a:gridCol>
              </a:tblGrid>
              <a:tr h="335268">
                <a:tc>
                  <a:txBody>
                    <a:bodyPr/>
                    <a:lstStyle/>
                    <a:p>
                      <a:pPr algn="ctr"/>
                      <a:r>
                        <a:rPr lang="en-US" sz="1600" b="0" i="0" dirty="0">
                          <a:solidFill>
                            <a:schemeClr val="bg1"/>
                          </a:solidFill>
                          <a:latin typeface="Segoe UI Semibold" panose="020B0702040204020203" pitchFamily="34" charset="0"/>
                          <a:cs typeface="Segoe UI Semibold" panose="020B0702040204020203" pitchFamily="34" charset="0"/>
                        </a:rPr>
                        <a:t>Key Value Store</a:t>
                      </a:r>
                    </a:p>
                  </a:txBody>
                  <a:tcPr marL="91428" marR="91428" marT="45714" marB="4571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a:noFill/>
                    </a:lnB>
                    <a:lnTlToBr w="12700" cmpd="sng">
                      <a:noFill/>
                      <a:prstDash val="solid"/>
                    </a:lnTlToBr>
                    <a:lnBlToTr w="12700" cmpd="sng">
                      <a:noFill/>
                      <a:prstDash val="solid"/>
                    </a:lnBlToTr>
                    <a:solidFill>
                      <a:srgbClr val="0070C0"/>
                    </a:solidFill>
                  </a:tcPr>
                </a:tc>
                <a:extLst>
                  <a:ext uri="{0D108BD9-81ED-4DB2-BD59-A6C34878D82A}">
                    <a16:rowId xmlns:a16="http://schemas.microsoft.com/office/drawing/2014/main" val="10000"/>
                  </a:ext>
                </a:extLst>
              </a:tr>
              <a:tr h="609588">
                <a:tc>
                  <a:txBody>
                    <a:bodyPr/>
                    <a:lstStyle/>
                    <a:p>
                      <a:pPr marL="0" marR="0" indent="0" algn="ctr" defTabSz="932667" rtl="0" eaLnBrk="1" fontAlgn="auto" latinLnBrk="0" hangingPunct="1">
                        <a:lnSpc>
                          <a:spcPct val="100000"/>
                        </a:lnSpc>
                        <a:spcBef>
                          <a:spcPts val="0"/>
                        </a:spcBef>
                        <a:spcAft>
                          <a:spcPts val="0"/>
                        </a:spcAft>
                        <a:buClrTx/>
                        <a:buSzTx/>
                        <a:buFontTx/>
                        <a:buNone/>
                        <a:tabLst/>
                        <a:defRPr/>
                      </a:pPr>
                      <a:r>
                        <a:rPr lang="en-US" sz="1800" b="1" dirty="0">
                          <a:solidFill>
                            <a:srgbClr val="FFFF00"/>
                          </a:solidFill>
                          <a:latin typeface="+mj-lt"/>
                        </a:rPr>
                        <a:t>Azure Tables</a:t>
                      </a:r>
                    </a:p>
                    <a:p>
                      <a:pPr marL="0" marR="0" indent="0" algn="ctr" defTabSz="932667" rtl="0" eaLnBrk="1" fontAlgn="auto" latinLnBrk="0" hangingPunct="1">
                        <a:lnSpc>
                          <a:spcPct val="100000"/>
                        </a:lnSpc>
                        <a:spcBef>
                          <a:spcPts val="0"/>
                        </a:spcBef>
                        <a:spcAft>
                          <a:spcPts val="0"/>
                        </a:spcAft>
                        <a:buClrTx/>
                        <a:buSzTx/>
                        <a:buFontTx/>
                        <a:buNone/>
                        <a:tabLst/>
                        <a:defRPr/>
                      </a:pPr>
                      <a:r>
                        <a:rPr lang="en-US" sz="1600" i="1" dirty="0" err="1">
                          <a:solidFill>
                            <a:srgbClr val="FFFFFF"/>
                          </a:solidFill>
                          <a:latin typeface="+mj-lt"/>
                        </a:rPr>
                        <a:t>Riak</a:t>
                      </a:r>
                      <a:endParaRPr lang="en-US" sz="1600" i="1" dirty="0">
                        <a:solidFill>
                          <a:srgbClr val="FFFFFF"/>
                        </a:solidFill>
                        <a:latin typeface="+mj-lt"/>
                      </a:endParaRPr>
                    </a:p>
                  </a:txBody>
                  <a:tcPr marL="91428" marR="91428" marT="45714" marB="4571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extLst>
                  <a:ext uri="{0D108BD9-81ED-4DB2-BD59-A6C34878D82A}">
                    <a16:rowId xmlns:a16="http://schemas.microsoft.com/office/drawing/2014/main" val="10001"/>
                  </a:ext>
                </a:extLst>
              </a:tr>
            </a:tbl>
          </a:graphicData>
        </a:graphic>
      </p:graphicFrame>
      <p:graphicFrame>
        <p:nvGraphicFramePr>
          <p:cNvPr id="12" name="Table 11"/>
          <p:cNvGraphicFramePr>
            <a:graphicFrameLocks noGrp="1"/>
          </p:cNvGraphicFramePr>
          <p:nvPr>
            <p:extLst/>
          </p:nvPr>
        </p:nvGraphicFramePr>
        <p:xfrm>
          <a:off x="3703165" y="2711768"/>
          <a:ext cx="1849902" cy="822936"/>
        </p:xfrm>
        <a:graphic>
          <a:graphicData uri="http://schemas.openxmlformats.org/drawingml/2006/table">
            <a:tbl>
              <a:tblPr firstRow="1" bandRow="1">
                <a:tableStyleId>{2D5ABB26-0587-4C30-8999-92F81FD0307C}</a:tableStyleId>
              </a:tblPr>
              <a:tblGrid>
                <a:gridCol w="1849902">
                  <a:extLst>
                    <a:ext uri="{9D8B030D-6E8A-4147-A177-3AD203B41FA5}">
                      <a16:colId xmlns:a16="http://schemas.microsoft.com/office/drawing/2014/main" val="20000"/>
                    </a:ext>
                  </a:extLst>
                </a:gridCol>
              </a:tblGrid>
              <a:tr h="304788">
                <a:tc>
                  <a:txBody>
                    <a:bodyPr/>
                    <a:lstStyle/>
                    <a:p>
                      <a:pPr algn="ctr"/>
                      <a:r>
                        <a:rPr lang="en-US" sz="1400" b="0" i="0" dirty="0">
                          <a:solidFill>
                            <a:schemeClr val="bg1"/>
                          </a:solidFill>
                          <a:latin typeface="Segoe UI Semibold" panose="020B0702040204020203" pitchFamily="34" charset="0"/>
                          <a:cs typeface="Segoe UI Semibold" panose="020B0702040204020203" pitchFamily="34" charset="0"/>
                        </a:rPr>
                        <a:t>Document Store</a:t>
                      </a:r>
                    </a:p>
                  </a:txBody>
                  <a:tcPr marL="91428" marR="91428" marT="45714" marB="4571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rgbClr val="0070C0"/>
                    </a:solidFill>
                  </a:tcPr>
                </a:tc>
                <a:extLst>
                  <a:ext uri="{0D108BD9-81ED-4DB2-BD59-A6C34878D82A}">
                    <a16:rowId xmlns:a16="http://schemas.microsoft.com/office/drawing/2014/main" val="10000"/>
                  </a:ext>
                </a:extLst>
              </a:tr>
              <a:tr h="518148">
                <a:tc>
                  <a:txBody>
                    <a:bodyPr/>
                    <a:lstStyle/>
                    <a:p>
                      <a:pPr marL="0" marR="0" indent="0" algn="ctr" defTabSz="932667" rtl="0" eaLnBrk="1" fontAlgn="auto" latinLnBrk="0" hangingPunct="1">
                        <a:lnSpc>
                          <a:spcPct val="100000"/>
                        </a:lnSpc>
                        <a:spcBef>
                          <a:spcPts val="0"/>
                        </a:spcBef>
                        <a:spcAft>
                          <a:spcPts val="0"/>
                        </a:spcAft>
                        <a:buClrTx/>
                        <a:buSzTx/>
                        <a:buFontTx/>
                        <a:buNone/>
                        <a:tabLst/>
                        <a:defRPr/>
                      </a:pPr>
                      <a:r>
                        <a:rPr lang="en-US" sz="1400" b="1" dirty="0">
                          <a:solidFill>
                            <a:srgbClr val="FFFF00"/>
                          </a:solidFill>
                          <a:latin typeface="+mj-lt"/>
                        </a:rPr>
                        <a:t>Azure </a:t>
                      </a:r>
                      <a:r>
                        <a:rPr lang="en-US" sz="1400" b="1" dirty="0" err="1">
                          <a:solidFill>
                            <a:srgbClr val="FFFF00"/>
                          </a:solidFill>
                          <a:latin typeface="+mj-lt"/>
                        </a:rPr>
                        <a:t>DocumentDB</a:t>
                      </a:r>
                      <a:endParaRPr lang="en-US" sz="1400" b="1" dirty="0">
                        <a:solidFill>
                          <a:srgbClr val="FFFF00"/>
                        </a:solidFill>
                        <a:latin typeface="+mj-lt"/>
                      </a:endParaRPr>
                    </a:p>
                    <a:p>
                      <a:pPr marL="0" marR="0" indent="0" algn="ctr" defTabSz="932667" rtl="0" eaLnBrk="1" fontAlgn="auto" latinLnBrk="0" hangingPunct="1">
                        <a:lnSpc>
                          <a:spcPct val="100000"/>
                        </a:lnSpc>
                        <a:spcBef>
                          <a:spcPts val="0"/>
                        </a:spcBef>
                        <a:spcAft>
                          <a:spcPts val="0"/>
                        </a:spcAft>
                        <a:buClrTx/>
                        <a:buSzTx/>
                        <a:buFontTx/>
                        <a:buNone/>
                        <a:tabLst/>
                        <a:defRPr/>
                      </a:pPr>
                      <a:r>
                        <a:rPr lang="en-US" sz="1400" i="1" dirty="0">
                          <a:solidFill>
                            <a:srgbClr val="FFFFFF"/>
                          </a:solidFill>
                          <a:latin typeface="+mj-lt"/>
                        </a:rPr>
                        <a:t>MongoDB</a:t>
                      </a:r>
                    </a:p>
                  </a:txBody>
                  <a:tcPr marL="91428" marR="91428" marT="45714" marB="4571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solidFill>
                      <a:srgbClr val="0070C0"/>
                    </a:solidFill>
                  </a:tcPr>
                </a:tc>
                <a:extLst>
                  <a:ext uri="{0D108BD9-81ED-4DB2-BD59-A6C34878D82A}">
                    <a16:rowId xmlns:a16="http://schemas.microsoft.com/office/drawing/2014/main" val="10001"/>
                  </a:ext>
                </a:extLst>
              </a:tr>
            </a:tbl>
          </a:graphicData>
        </a:graphic>
      </p:graphicFrame>
      <p:graphicFrame>
        <p:nvGraphicFramePr>
          <p:cNvPr id="13" name="Table 1"/>
          <p:cNvGraphicFramePr>
            <a:graphicFrameLocks noGrp="1"/>
          </p:cNvGraphicFramePr>
          <p:nvPr>
            <p:extLst/>
          </p:nvPr>
        </p:nvGraphicFramePr>
        <p:xfrm>
          <a:off x="3556044" y="4714720"/>
          <a:ext cx="2057137" cy="1102301"/>
        </p:xfrm>
        <a:graphic>
          <a:graphicData uri="http://schemas.openxmlformats.org/drawingml/2006/table">
            <a:tbl>
              <a:tblPr firstRow="1" bandRow="1">
                <a:tableStyleId>{2D5ABB26-0587-4C30-8999-92F81FD0307C}</a:tableStyleId>
              </a:tblPr>
              <a:tblGrid>
                <a:gridCol w="2057137">
                  <a:extLst>
                    <a:ext uri="{9D8B030D-6E8A-4147-A177-3AD203B41FA5}">
                      <a16:colId xmlns:a16="http://schemas.microsoft.com/office/drawing/2014/main" val="20000"/>
                    </a:ext>
                  </a:extLst>
                </a:gridCol>
              </a:tblGrid>
              <a:tr h="370793">
                <a:tc>
                  <a:txBody>
                    <a:bodyPr/>
                    <a:lstStyle/>
                    <a:p>
                      <a:pPr algn="ctr"/>
                      <a:r>
                        <a:rPr lang="en-US" sz="1400" b="0" i="0" dirty="0">
                          <a:solidFill>
                            <a:schemeClr val="bg1"/>
                          </a:solidFill>
                          <a:latin typeface="Segoe UI Semibold" panose="020B0702040204020203" pitchFamily="34" charset="0"/>
                          <a:cs typeface="Segoe UI Semibold" panose="020B0702040204020203" pitchFamily="34" charset="0"/>
                        </a:rPr>
                        <a:t>OLTP</a:t>
                      </a:r>
                    </a:p>
                  </a:txBody>
                  <a:tcPr marL="91428" marR="91428" marT="45714" marB="4571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rgbClr val="0070C0"/>
                    </a:solidFill>
                  </a:tcPr>
                </a:tc>
                <a:extLst>
                  <a:ext uri="{0D108BD9-81ED-4DB2-BD59-A6C34878D82A}">
                    <a16:rowId xmlns:a16="http://schemas.microsoft.com/office/drawing/2014/main" val="10000"/>
                  </a:ext>
                </a:extLst>
              </a:tr>
              <a:tr h="731508">
                <a:tc>
                  <a:txBody>
                    <a:bodyPr/>
                    <a:lstStyle/>
                    <a:p>
                      <a:pPr algn="ctr"/>
                      <a:r>
                        <a:rPr lang="en-US" sz="1400" b="1" dirty="0">
                          <a:solidFill>
                            <a:srgbClr val="FFFF00"/>
                          </a:solidFill>
                          <a:latin typeface="+mj-lt"/>
                        </a:rPr>
                        <a:t>Azure</a:t>
                      </a:r>
                      <a:r>
                        <a:rPr lang="en-US" sz="1400" b="1" baseline="0" dirty="0">
                          <a:solidFill>
                            <a:srgbClr val="FFFF00"/>
                          </a:solidFill>
                          <a:latin typeface="+mj-lt"/>
                        </a:rPr>
                        <a:t> SQL Database</a:t>
                      </a:r>
                      <a:endParaRPr lang="en-US" sz="1400" b="1" dirty="0">
                        <a:solidFill>
                          <a:srgbClr val="FFFF00"/>
                        </a:solidFill>
                        <a:latin typeface="+mj-lt"/>
                      </a:endParaRPr>
                    </a:p>
                    <a:p>
                      <a:pPr algn="ctr"/>
                      <a:r>
                        <a:rPr lang="en-US" sz="1400" i="1" dirty="0">
                          <a:solidFill>
                            <a:srgbClr val="FFFFFF"/>
                          </a:solidFill>
                          <a:latin typeface="+mj-lt"/>
                        </a:rPr>
                        <a:t>SQL Server, MySQL, Oracle</a:t>
                      </a:r>
                    </a:p>
                  </a:txBody>
                  <a:tcPr marL="91428" marR="91428" marT="45714" marB="4571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solidFill>
                      <a:srgbClr val="0070C0"/>
                    </a:solidFill>
                  </a:tcPr>
                </a:tc>
                <a:extLst>
                  <a:ext uri="{0D108BD9-81ED-4DB2-BD59-A6C34878D82A}">
                    <a16:rowId xmlns:a16="http://schemas.microsoft.com/office/drawing/2014/main" val="10001"/>
                  </a:ext>
                </a:extLst>
              </a:tr>
            </a:tbl>
          </a:graphicData>
        </a:graphic>
      </p:graphicFrame>
      <p:graphicFrame>
        <p:nvGraphicFramePr>
          <p:cNvPr id="14" name="Table 6"/>
          <p:cNvGraphicFramePr>
            <a:graphicFrameLocks noGrp="1"/>
          </p:cNvGraphicFramePr>
          <p:nvPr>
            <p:extLst/>
          </p:nvPr>
        </p:nvGraphicFramePr>
        <p:xfrm>
          <a:off x="7741249" y="4808205"/>
          <a:ext cx="2971421" cy="990472"/>
        </p:xfrm>
        <a:graphic>
          <a:graphicData uri="http://schemas.openxmlformats.org/drawingml/2006/table">
            <a:tbl>
              <a:tblPr firstRow="1" bandRow="1">
                <a:tableStyleId>{2D5ABB26-0587-4C30-8999-92F81FD0307C}</a:tableStyleId>
              </a:tblPr>
              <a:tblGrid>
                <a:gridCol w="2971421">
                  <a:extLst>
                    <a:ext uri="{9D8B030D-6E8A-4147-A177-3AD203B41FA5}">
                      <a16:colId xmlns:a16="http://schemas.microsoft.com/office/drawing/2014/main" val="20000"/>
                    </a:ext>
                  </a:extLst>
                </a:gridCol>
              </a:tblGrid>
              <a:tr h="413168">
                <a:tc>
                  <a:txBody>
                    <a:bodyPr/>
                    <a:lstStyle/>
                    <a:p>
                      <a:pPr marL="0" algn="ctr" defTabSz="932594" rtl="0" eaLnBrk="1" latinLnBrk="0" hangingPunct="1"/>
                      <a:r>
                        <a:rPr lang="en-US" sz="1400" b="0" i="0" kern="1200" dirty="0">
                          <a:solidFill>
                            <a:schemeClr val="bg1"/>
                          </a:solidFill>
                          <a:latin typeface="Segoe UI Semibold" panose="020B0702040204020203" pitchFamily="34" charset="0"/>
                          <a:ea typeface="+mn-ea"/>
                          <a:cs typeface="Segoe UI Semibold" panose="020B0702040204020203" pitchFamily="34" charset="0"/>
                        </a:rPr>
                        <a:t>OLAP</a:t>
                      </a:r>
                    </a:p>
                  </a:txBody>
                  <a:tcPr marL="91428" marR="91428" marT="45714" marB="4571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rgbClr val="0070C0"/>
                    </a:solidFill>
                  </a:tcPr>
                </a:tc>
                <a:extLst>
                  <a:ext uri="{0D108BD9-81ED-4DB2-BD59-A6C34878D82A}">
                    <a16:rowId xmlns:a16="http://schemas.microsoft.com/office/drawing/2014/main" val="10000"/>
                  </a:ext>
                </a:extLst>
              </a:tr>
              <a:tr h="577304">
                <a:tc>
                  <a:txBody>
                    <a:bodyPr/>
                    <a:lstStyle/>
                    <a:p>
                      <a:pPr algn="ctr"/>
                      <a:r>
                        <a:rPr lang="en-US" sz="1400" b="1" i="0" dirty="0">
                          <a:solidFill>
                            <a:srgbClr val="FFFF00"/>
                          </a:solidFill>
                          <a:latin typeface="+mj-lt"/>
                        </a:rPr>
                        <a:t>Azure SQL Data Warehouse</a:t>
                      </a:r>
                      <a:r>
                        <a:rPr lang="en-US" sz="1400" i="1" baseline="0" dirty="0">
                          <a:solidFill>
                            <a:srgbClr val="FFFFFF"/>
                          </a:solidFill>
                          <a:latin typeface="+mj-lt"/>
                        </a:rPr>
                        <a:t> </a:t>
                      </a:r>
                    </a:p>
                    <a:p>
                      <a:pPr algn="ctr"/>
                      <a:r>
                        <a:rPr lang="en-US" sz="1400" i="1" dirty="0">
                          <a:solidFill>
                            <a:srgbClr val="FFFFFF"/>
                          </a:solidFill>
                          <a:latin typeface="+mj-lt"/>
                        </a:rPr>
                        <a:t>SQL Server, MySQL, Oracle</a:t>
                      </a:r>
                    </a:p>
                  </a:txBody>
                  <a:tcPr marL="91428" marR="91428" marT="45714" marB="4571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solidFill>
                      <a:srgbClr val="0070C0"/>
                    </a:solidFill>
                  </a:tcPr>
                </a:tc>
                <a:extLst>
                  <a:ext uri="{0D108BD9-81ED-4DB2-BD59-A6C34878D82A}">
                    <a16:rowId xmlns:a16="http://schemas.microsoft.com/office/drawing/2014/main" val="10001"/>
                  </a:ext>
                </a:extLst>
              </a:tr>
            </a:tbl>
          </a:graphicData>
        </a:graphic>
      </p:graphicFrame>
      <p:cxnSp>
        <p:nvCxnSpPr>
          <p:cNvPr id="15" name="Straight Connector 14"/>
          <p:cNvCxnSpPr/>
          <p:nvPr/>
        </p:nvCxnSpPr>
        <p:spPr>
          <a:xfrm>
            <a:off x="6885401" y="1668695"/>
            <a:ext cx="0" cy="4723797"/>
          </a:xfrm>
          <a:prstGeom prst="line">
            <a:avLst/>
          </a:prstGeom>
          <a:ln>
            <a:headEnd type="none"/>
            <a:tailEnd type="none"/>
          </a:ln>
        </p:spPr>
        <p:style>
          <a:lnRef idx="1">
            <a:schemeClr val="dk1"/>
          </a:lnRef>
          <a:fillRef idx="0">
            <a:schemeClr val="dk1"/>
          </a:fillRef>
          <a:effectRef idx="0">
            <a:schemeClr val="dk1"/>
          </a:effectRef>
          <a:fontRef idx="minor">
            <a:schemeClr val="tx1"/>
          </a:fontRef>
        </p:style>
      </p:cxnSp>
      <p:cxnSp>
        <p:nvCxnSpPr>
          <p:cNvPr id="16" name="Straight Connector 15"/>
          <p:cNvCxnSpPr/>
          <p:nvPr/>
        </p:nvCxnSpPr>
        <p:spPr>
          <a:xfrm>
            <a:off x="2255550" y="4563926"/>
            <a:ext cx="9295213" cy="0"/>
          </a:xfrm>
          <a:prstGeom prst="line">
            <a:avLst/>
          </a:prstGeom>
          <a:ln>
            <a:headEnd type="none"/>
            <a:tailEnd type="none"/>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247862035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6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Title 4"/>
          <p:cNvSpPr>
            <a:spLocks noGrp="1"/>
          </p:cNvSpPr>
          <p:nvPr>
            <p:ph type="title"/>
          </p:nvPr>
        </p:nvSpPr>
        <p:spPr>
          <a:xfrm>
            <a:off x="366169" y="295278"/>
            <a:ext cx="11702551" cy="917575"/>
          </a:xfrm>
        </p:spPr>
        <p:txBody>
          <a:bodyPr/>
          <a:lstStyle/>
          <a:p>
            <a:r>
              <a:rPr lang="en-US" dirty="0"/>
              <a:t>Data – Key decision points</a:t>
            </a:r>
          </a:p>
        </p:txBody>
      </p:sp>
      <p:graphicFrame>
        <p:nvGraphicFramePr>
          <p:cNvPr id="4" name="Table 3"/>
          <p:cNvGraphicFramePr>
            <a:graphicFrameLocks noGrp="1"/>
          </p:cNvGraphicFramePr>
          <p:nvPr>
            <p:extLst/>
          </p:nvPr>
        </p:nvGraphicFramePr>
        <p:xfrm>
          <a:off x="547010" y="1389322"/>
          <a:ext cx="10971594" cy="2926454"/>
        </p:xfrm>
        <a:graphic>
          <a:graphicData uri="http://schemas.openxmlformats.org/drawingml/2006/table">
            <a:tbl>
              <a:tblPr firstRow="1" bandRow="1">
                <a:tableStyleId>{F2DE63D5-997A-4646-A377-4702673A728D}</a:tableStyleId>
              </a:tblPr>
              <a:tblGrid>
                <a:gridCol w="2742898">
                  <a:extLst>
                    <a:ext uri="{9D8B030D-6E8A-4147-A177-3AD203B41FA5}">
                      <a16:colId xmlns:a16="http://schemas.microsoft.com/office/drawing/2014/main" val="3323723136"/>
                    </a:ext>
                  </a:extLst>
                </a:gridCol>
                <a:gridCol w="1980199">
                  <a:extLst>
                    <a:ext uri="{9D8B030D-6E8A-4147-A177-3AD203B41FA5}">
                      <a16:colId xmlns:a16="http://schemas.microsoft.com/office/drawing/2014/main" val="3937888222"/>
                    </a:ext>
                  </a:extLst>
                </a:gridCol>
                <a:gridCol w="2316122">
                  <a:extLst>
                    <a:ext uri="{9D8B030D-6E8A-4147-A177-3AD203B41FA5}">
                      <a16:colId xmlns:a16="http://schemas.microsoft.com/office/drawing/2014/main" val="1410519535"/>
                    </a:ext>
                  </a:extLst>
                </a:gridCol>
                <a:gridCol w="3932375">
                  <a:extLst>
                    <a:ext uri="{9D8B030D-6E8A-4147-A177-3AD203B41FA5}">
                      <a16:colId xmlns:a16="http://schemas.microsoft.com/office/drawing/2014/main" val="3764866363"/>
                    </a:ext>
                  </a:extLst>
                </a:gridCol>
              </a:tblGrid>
              <a:tr h="774649">
                <a:tc>
                  <a:txBody>
                    <a:bodyPr/>
                    <a:lstStyle/>
                    <a:p>
                      <a:r>
                        <a:rPr lang="en-US" sz="2200" b="0" i="0" dirty="0">
                          <a:latin typeface="Segoe UI Semibold" panose="020B0702040204020203" pitchFamily="34" charset="0"/>
                          <a:cs typeface="Segoe UI Semibold" panose="020B0702040204020203" pitchFamily="34" charset="0"/>
                        </a:rPr>
                        <a:t>Service name</a:t>
                      </a:r>
                    </a:p>
                  </a:txBody>
                  <a:tcPr marL="86072" marR="86072" marT="43036" marB="43036">
                    <a:solidFill>
                      <a:schemeClr val="accent1"/>
                    </a:solidFill>
                  </a:tcPr>
                </a:tc>
                <a:tc>
                  <a:txBody>
                    <a:bodyPr/>
                    <a:lstStyle/>
                    <a:p>
                      <a:r>
                        <a:rPr lang="en-US" sz="2200" b="0" i="0" dirty="0">
                          <a:latin typeface="Segoe UI Semibold" panose="020B0702040204020203" pitchFamily="34" charset="0"/>
                          <a:cs typeface="Segoe UI Semibold" panose="020B0702040204020203" pitchFamily="34" charset="0"/>
                        </a:rPr>
                        <a:t>Management</a:t>
                      </a:r>
                    </a:p>
                  </a:txBody>
                  <a:tcPr marL="86072" marR="86072" marT="43036" marB="43036">
                    <a:solidFill>
                      <a:schemeClr val="accent1"/>
                    </a:solidFill>
                  </a:tcPr>
                </a:tc>
                <a:tc>
                  <a:txBody>
                    <a:bodyPr/>
                    <a:lstStyle/>
                    <a:p>
                      <a:r>
                        <a:rPr lang="en-US" sz="2200" b="0" i="0" dirty="0">
                          <a:latin typeface="Segoe UI Semibold" panose="020B0702040204020203" pitchFamily="34" charset="0"/>
                          <a:cs typeface="Segoe UI Semibold" panose="020B0702040204020203" pitchFamily="34" charset="0"/>
                        </a:rPr>
                        <a:t>Peering (public, private, both)</a:t>
                      </a:r>
                    </a:p>
                  </a:txBody>
                  <a:tcPr marL="86072" marR="86072" marT="43036" marB="43036">
                    <a:solidFill>
                      <a:schemeClr val="accent1"/>
                    </a:solidFill>
                  </a:tcPr>
                </a:tc>
                <a:tc>
                  <a:txBody>
                    <a:bodyPr/>
                    <a:lstStyle/>
                    <a:p>
                      <a:r>
                        <a:rPr lang="en-US" sz="2200" b="0" i="0" dirty="0">
                          <a:latin typeface="Segoe UI Semibold" panose="020B0702040204020203" pitchFamily="34" charset="0"/>
                          <a:cs typeface="Segoe UI Semibold" panose="020B0702040204020203" pitchFamily="34" charset="0"/>
                        </a:rPr>
                        <a:t>Connectivity options</a:t>
                      </a:r>
                    </a:p>
                    <a:p>
                      <a:r>
                        <a:rPr lang="en-US" sz="2200" b="0" i="0" dirty="0">
                          <a:latin typeface="Segoe UI Semibold" panose="020B0702040204020203" pitchFamily="34" charset="0"/>
                          <a:cs typeface="Segoe UI Semibold" panose="020B0702040204020203" pitchFamily="34" charset="0"/>
                        </a:rPr>
                        <a:t>(To on-</a:t>
                      </a:r>
                      <a:r>
                        <a:rPr lang="en-US" sz="2200" b="0" i="0" dirty="0" err="1">
                          <a:latin typeface="Segoe UI Semibold" panose="020B0702040204020203" pitchFamily="34" charset="0"/>
                          <a:cs typeface="Segoe UI Semibold" panose="020B0702040204020203" pitchFamily="34" charset="0"/>
                        </a:rPr>
                        <a:t>prem</a:t>
                      </a:r>
                      <a:r>
                        <a:rPr lang="en-US" sz="2200" b="0" i="0" dirty="0">
                          <a:latin typeface="Segoe UI Semibold" panose="020B0702040204020203" pitchFamily="34" charset="0"/>
                          <a:cs typeface="Segoe UI Semibold" panose="020B0702040204020203" pitchFamily="34" charset="0"/>
                        </a:rPr>
                        <a:t> resources)</a:t>
                      </a:r>
                    </a:p>
                  </a:txBody>
                  <a:tcPr marL="86072" marR="86072" marT="43036" marB="43036">
                    <a:solidFill>
                      <a:schemeClr val="accent1"/>
                    </a:solidFill>
                  </a:tcPr>
                </a:tc>
                <a:extLst>
                  <a:ext uri="{0D108BD9-81ED-4DB2-BD59-A6C34878D82A}">
                    <a16:rowId xmlns:a16="http://schemas.microsoft.com/office/drawing/2014/main" val="3157971493"/>
                  </a:ext>
                </a:extLst>
              </a:tr>
              <a:tr h="430361">
                <a:tc>
                  <a:txBody>
                    <a:bodyPr/>
                    <a:lstStyle/>
                    <a:p>
                      <a:r>
                        <a:rPr lang="en-US" sz="2200" b="0" i="0" dirty="0">
                          <a:latin typeface="Segoe UI Semibold" panose="020B0702040204020203" pitchFamily="34" charset="0"/>
                          <a:cs typeface="Segoe UI Semibold" panose="020B0702040204020203" pitchFamily="34" charset="0"/>
                        </a:rPr>
                        <a:t>SQL Database</a:t>
                      </a:r>
                    </a:p>
                  </a:txBody>
                  <a:tcPr marL="86072" marR="86072" marT="43036" marB="43036"/>
                </a:tc>
                <a:tc>
                  <a:txBody>
                    <a:bodyPr/>
                    <a:lstStyle/>
                    <a:p>
                      <a:r>
                        <a:rPr lang="en-US" sz="2200" dirty="0"/>
                        <a:t>ARM</a:t>
                      </a:r>
                    </a:p>
                  </a:txBody>
                  <a:tcPr marL="86072" marR="86072" marT="43036" marB="43036"/>
                </a:tc>
                <a:tc>
                  <a:txBody>
                    <a:bodyPr/>
                    <a:lstStyle/>
                    <a:p>
                      <a:r>
                        <a:rPr lang="en-US" sz="2200" dirty="0"/>
                        <a:t>Public</a:t>
                      </a:r>
                    </a:p>
                  </a:txBody>
                  <a:tcPr marL="86072" marR="86072" marT="43036" marB="43036"/>
                </a:tc>
                <a:tc>
                  <a:txBody>
                    <a:bodyPr/>
                    <a:lstStyle/>
                    <a:p>
                      <a:pPr marL="0" marR="0" lvl="0" indent="0" algn="l" defTabSz="768113" rtl="0" eaLnBrk="1" fontAlgn="auto" latinLnBrk="0" hangingPunct="1">
                        <a:lnSpc>
                          <a:spcPct val="100000"/>
                        </a:lnSpc>
                        <a:spcBef>
                          <a:spcPts val="0"/>
                        </a:spcBef>
                        <a:spcAft>
                          <a:spcPts val="0"/>
                        </a:spcAft>
                        <a:buClrTx/>
                        <a:buSzTx/>
                        <a:buFontTx/>
                        <a:buNone/>
                        <a:tabLst/>
                        <a:defRPr/>
                      </a:pPr>
                      <a:r>
                        <a:rPr lang="en-US" sz="2200" dirty="0"/>
                        <a:t>-</a:t>
                      </a:r>
                    </a:p>
                  </a:txBody>
                  <a:tcPr marL="86072" marR="86072" marT="43036" marB="43036"/>
                </a:tc>
                <a:extLst>
                  <a:ext uri="{0D108BD9-81ED-4DB2-BD59-A6C34878D82A}">
                    <a16:rowId xmlns:a16="http://schemas.microsoft.com/office/drawing/2014/main" val="4133688658"/>
                  </a:ext>
                </a:extLst>
              </a:tr>
              <a:tr h="430361">
                <a:tc>
                  <a:txBody>
                    <a:bodyPr/>
                    <a:lstStyle/>
                    <a:p>
                      <a:pPr lvl="0"/>
                      <a:r>
                        <a:rPr lang="en-US" sz="2200" b="0" i="0" dirty="0" err="1">
                          <a:latin typeface="Segoe UI Semibold" panose="020B0702040204020203" pitchFamily="34" charset="0"/>
                          <a:cs typeface="Segoe UI Semibold" panose="020B0702040204020203" pitchFamily="34" charset="0"/>
                        </a:rPr>
                        <a:t>DocumentDB</a:t>
                      </a:r>
                      <a:endParaRPr lang="en-US" sz="2200" b="0" i="0" dirty="0">
                        <a:latin typeface="Segoe UI Semibold" panose="020B0702040204020203" pitchFamily="34" charset="0"/>
                        <a:cs typeface="Segoe UI Semibold" panose="020B0702040204020203" pitchFamily="34" charset="0"/>
                      </a:endParaRPr>
                    </a:p>
                  </a:txBody>
                  <a:tcPr marL="86072" marR="86072" marT="43036" marB="43036"/>
                </a:tc>
                <a:tc>
                  <a:txBody>
                    <a:bodyPr/>
                    <a:lstStyle/>
                    <a:p>
                      <a:r>
                        <a:rPr lang="en-US" sz="2200" dirty="0"/>
                        <a:t>ARM</a:t>
                      </a:r>
                    </a:p>
                  </a:txBody>
                  <a:tcPr marL="86072" marR="86072" marT="43036" marB="43036"/>
                </a:tc>
                <a:tc>
                  <a:txBody>
                    <a:bodyPr/>
                    <a:lstStyle/>
                    <a:p>
                      <a:r>
                        <a:rPr lang="en-US" sz="2200" dirty="0"/>
                        <a:t>Public</a:t>
                      </a:r>
                    </a:p>
                  </a:txBody>
                  <a:tcPr marL="86072" marR="86072" marT="43036" marB="43036"/>
                </a:tc>
                <a:tc>
                  <a:txBody>
                    <a:bodyPr/>
                    <a:lstStyle/>
                    <a:p>
                      <a:r>
                        <a:rPr lang="en-US" sz="2200" dirty="0"/>
                        <a:t>-</a:t>
                      </a:r>
                    </a:p>
                  </a:txBody>
                  <a:tcPr marL="86072" marR="86072" marT="43036" marB="43036"/>
                </a:tc>
                <a:extLst>
                  <a:ext uri="{0D108BD9-81ED-4DB2-BD59-A6C34878D82A}">
                    <a16:rowId xmlns:a16="http://schemas.microsoft.com/office/drawing/2014/main" val="1987288546"/>
                  </a:ext>
                </a:extLst>
              </a:tr>
              <a:tr h="430361">
                <a:tc>
                  <a:txBody>
                    <a:bodyPr/>
                    <a:lstStyle/>
                    <a:p>
                      <a:pPr lvl="0"/>
                      <a:r>
                        <a:rPr lang="en-US" sz="2200" b="0" i="0" dirty="0" err="1">
                          <a:latin typeface="Segoe UI Semibold" panose="020B0702040204020203" pitchFamily="34" charset="0"/>
                          <a:cs typeface="Segoe UI Semibold" panose="020B0702040204020203" pitchFamily="34" charset="0"/>
                        </a:rPr>
                        <a:t>Redis</a:t>
                      </a:r>
                      <a:r>
                        <a:rPr lang="en-US" sz="2200" b="0" i="0" dirty="0">
                          <a:latin typeface="Segoe UI Semibold" panose="020B0702040204020203" pitchFamily="34" charset="0"/>
                          <a:cs typeface="Segoe UI Semibold" panose="020B0702040204020203" pitchFamily="34" charset="0"/>
                        </a:rPr>
                        <a:t> Cache</a:t>
                      </a:r>
                    </a:p>
                  </a:txBody>
                  <a:tcPr marL="86072" marR="86072" marT="43036" marB="43036"/>
                </a:tc>
                <a:tc>
                  <a:txBody>
                    <a:bodyPr/>
                    <a:lstStyle/>
                    <a:p>
                      <a:r>
                        <a:rPr lang="en-US" sz="2200" dirty="0"/>
                        <a:t>ARM</a:t>
                      </a:r>
                    </a:p>
                  </a:txBody>
                  <a:tcPr marL="86072" marR="86072" marT="43036" marB="43036"/>
                </a:tc>
                <a:tc>
                  <a:txBody>
                    <a:bodyPr/>
                    <a:lstStyle/>
                    <a:p>
                      <a:r>
                        <a:rPr lang="en-US" sz="2200" dirty="0"/>
                        <a:t>Both</a:t>
                      </a:r>
                    </a:p>
                  </a:txBody>
                  <a:tcPr marL="86072" marR="86072" marT="43036" marB="43036"/>
                </a:tc>
                <a:tc>
                  <a:txBody>
                    <a:bodyPr/>
                    <a:lstStyle/>
                    <a:p>
                      <a:r>
                        <a:rPr lang="en-US" sz="2200" dirty="0" err="1"/>
                        <a:t>VNet</a:t>
                      </a:r>
                      <a:r>
                        <a:rPr lang="en-US" sz="2200" dirty="0"/>
                        <a:t>(S2S, ER)</a:t>
                      </a:r>
                      <a:r>
                        <a:rPr lang="en-US" sz="2200" baseline="0" dirty="0"/>
                        <a:t> v1 &amp; v2*</a:t>
                      </a:r>
                      <a:endParaRPr lang="en-US" sz="2200" dirty="0"/>
                    </a:p>
                  </a:txBody>
                  <a:tcPr marL="86072" marR="86072" marT="43036" marB="43036"/>
                </a:tc>
                <a:extLst>
                  <a:ext uri="{0D108BD9-81ED-4DB2-BD59-A6C34878D82A}">
                    <a16:rowId xmlns:a16="http://schemas.microsoft.com/office/drawing/2014/main" val="3123354572"/>
                  </a:ext>
                </a:extLst>
              </a:tr>
              <a:tr h="430361">
                <a:tc>
                  <a:txBody>
                    <a:bodyPr/>
                    <a:lstStyle/>
                    <a:p>
                      <a:pPr lvl="0"/>
                      <a:r>
                        <a:rPr lang="en-US" sz="2200" b="0" i="0" dirty="0">
                          <a:latin typeface="Segoe UI Semibold" panose="020B0702040204020203" pitchFamily="34" charset="0"/>
                          <a:cs typeface="Segoe UI Semibold" panose="020B0702040204020203" pitchFamily="34" charset="0"/>
                        </a:rPr>
                        <a:t>Search</a:t>
                      </a:r>
                    </a:p>
                  </a:txBody>
                  <a:tcPr marL="86072" marR="86072" marT="43036" marB="43036"/>
                </a:tc>
                <a:tc>
                  <a:txBody>
                    <a:bodyPr/>
                    <a:lstStyle/>
                    <a:p>
                      <a:r>
                        <a:rPr lang="en-US" sz="2200" dirty="0"/>
                        <a:t>ARM</a:t>
                      </a:r>
                    </a:p>
                  </a:txBody>
                  <a:tcPr marL="86072" marR="86072" marT="43036" marB="43036"/>
                </a:tc>
                <a:tc>
                  <a:txBody>
                    <a:bodyPr/>
                    <a:lstStyle/>
                    <a:p>
                      <a:r>
                        <a:rPr lang="en-US" sz="2200" dirty="0"/>
                        <a:t>Public</a:t>
                      </a:r>
                    </a:p>
                  </a:txBody>
                  <a:tcPr marL="86072" marR="86072" marT="43036" marB="43036"/>
                </a:tc>
                <a:tc>
                  <a:txBody>
                    <a:bodyPr/>
                    <a:lstStyle/>
                    <a:p>
                      <a:r>
                        <a:rPr lang="en-US" sz="2200" dirty="0"/>
                        <a:t>-</a:t>
                      </a:r>
                    </a:p>
                  </a:txBody>
                  <a:tcPr marL="86072" marR="86072" marT="43036" marB="43036"/>
                </a:tc>
                <a:extLst>
                  <a:ext uri="{0D108BD9-81ED-4DB2-BD59-A6C34878D82A}">
                    <a16:rowId xmlns:a16="http://schemas.microsoft.com/office/drawing/2014/main" val="2747725307"/>
                  </a:ext>
                </a:extLst>
              </a:tr>
              <a:tr h="430361">
                <a:tc>
                  <a:txBody>
                    <a:bodyPr/>
                    <a:lstStyle/>
                    <a:p>
                      <a:pPr lvl="0"/>
                      <a:r>
                        <a:rPr lang="en-US" sz="2200" b="0" i="0" dirty="0">
                          <a:latin typeface="Segoe UI Semibold" panose="020B0702040204020203" pitchFamily="34" charset="0"/>
                          <a:cs typeface="Segoe UI Semibold" panose="020B0702040204020203" pitchFamily="34" charset="0"/>
                        </a:rPr>
                        <a:t>Storage – Tables</a:t>
                      </a:r>
                    </a:p>
                  </a:txBody>
                  <a:tcPr marL="86072" marR="86072" marT="43036" marB="43036"/>
                </a:tc>
                <a:tc>
                  <a:txBody>
                    <a:bodyPr/>
                    <a:lstStyle/>
                    <a:p>
                      <a:r>
                        <a:rPr lang="en-US" sz="2200" dirty="0"/>
                        <a:t>ARM</a:t>
                      </a:r>
                    </a:p>
                  </a:txBody>
                  <a:tcPr marL="86072" marR="86072" marT="43036" marB="43036"/>
                </a:tc>
                <a:tc>
                  <a:txBody>
                    <a:bodyPr/>
                    <a:lstStyle/>
                    <a:p>
                      <a:r>
                        <a:rPr lang="en-US" sz="2200" dirty="0"/>
                        <a:t>Public*</a:t>
                      </a:r>
                    </a:p>
                  </a:txBody>
                  <a:tcPr marL="86072" marR="86072" marT="43036" marB="43036"/>
                </a:tc>
                <a:tc>
                  <a:txBody>
                    <a:bodyPr/>
                    <a:lstStyle/>
                    <a:p>
                      <a:r>
                        <a:rPr lang="en-US" sz="2200" dirty="0"/>
                        <a:t>-</a:t>
                      </a:r>
                    </a:p>
                  </a:txBody>
                  <a:tcPr marL="86072" marR="86072" marT="43036" marB="43036"/>
                </a:tc>
                <a:extLst>
                  <a:ext uri="{0D108BD9-81ED-4DB2-BD59-A6C34878D82A}">
                    <a16:rowId xmlns:a16="http://schemas.microsoft.com/office/drawing/2014/main" val="4183746000"/>
                  </a:ext>
                </a:extLst>
              </a:tr>
            </a:tbl>
          </a:graphicData>
        </a:graphic>
      </p:graphicFrame>
    </p:spTree>
    <p:extLst>
      <p:ext uri="{BB962C8B-B14F-4D97-AF65-F5344CB8AC3E}">
        <p14:creationId xmlns:p14="http://schemas.microsoft.com/office/powerpoint/2010/main" val="401597051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6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6" name="Table 5"/>
          <p:cNvGraphicFramePr>
            <a:graphicFrameLocks noGrp="1"/>
          </p:cNvGraphicFramePr>
          <p:nvPr>
            <p:extLst/>
          </p:nvPr>
        </p:nvGraphicFramePr>
        <p:xfrm>
          <a:off x="547010" y="1390063"/>
          <a:ext cx="10971594" cy="4992182"/>
        </p:xfrm>
        <a:graphic>
          <a:graphicData uri="http://schemas.openxmlformats.org/drawingml/2006/table">
            <a:tbl>
              <a:tblPr firstRow="1" bandRow="1">
                <a:tableStyleId>{F2DE63D5-997A-4646-A377-4702673A728D}</a:tableStyleId>
              </a:tblPr>
              <a:tblGrid>
                <a:gridCol w="3068221">
                  <a:extLst>
                    <a:ext uri="{9D8B030D-6E8A-4147-A177-3AD203B41FA5}">
                      <a16:colId xmlns:a16="http://schemas.microsoft.com/office/drawing/2014/main" val="3323723136"/>
                    </a:ext>
                  </a:extLst>
                </a:gridCol>
                <a:gridCol w="3709586">
                  <a:extLst>
                    <a:ext uri="{9D8B030D-6E8A-4147-A177-3AD203B41FA5}">
                      <a16:colId xmlns:a16="http://schemas.microsoft.com/office/drawing/2014/main" val="3937888222"/>
                    </a:ext>
                  </a:extLst>
                </a:gridCol>
                <a:gridCol w="4193787">
                  <a:extLst>
                    <a:ext uri="{9D8B030D-6E8A-4147-A177-3AD203B41FA5}">
                      <a16:colId xmlns:a16="http://schemas.microsoft.com/office/drawing/2014/main" val="1410519535"/>
                    </a:ext>
                  </a:extLst>
                </a:gridCol>
              </a:tblGrid>
              <a:tr h="430361">
                <a:tc>
                  <a:txBody>
                    <a:bodyPr/>
                    <a:lstStyle/>
                    <a:p>
                      <a:r>
                        <a:rPr lang="en-US" sz="2200" b="0" i="0" dirty="0">
                          <a:latin typeface="Segoe UI Semibold" panose="020B0702040204020203" pitchFamily="34" charset="0"/>
                          <a:cs typeface="Segoe UI Semibold" panose="020B0702040204020203" pitchFamily="34" charset="0"/>
                        </a:rPr>
                        <a:t>Service name</a:t>
                      </a:r>
                    </a:p>
                  </a:txBody>
                  <a:tcPr marL="86072" marR="86072" marT="43036" marB="43036">
                    <a:solidFill>
                      <a:schemeClr val="accent1"/>
                    </a:solidFill>
                  </a:tcPr>
                </a:tc>
                <a:tc>
                  <a:txBody>
                    <a:bodyPr/>
                    <a:lstStyle/>
                    <a:p>
                      <a:r>
                        <a:rPr lang="en-US" sz="2200" b="0" i="0" dirty="0">
                          <a:latin typeface="Segoe UI Semibold" panose="020B0702040204020203" pitchFamily="34" charset="0"/>
                          <a:cs typeface="Segoe UI Semibold" panose="020B0702040204020203" pitchFamily="34" charset="0"/>
                        </a:rPr>
                        <a:t>Service level</a:t>
                      </a:r>
                    </a:p>
                  </a:txBody>
                  <a:tcPr marL="86072" marR="86072" marT="43036" marB="43036">
                    <a:solidFill>
                      <a:schemeClr val="accent1"/>
                    </a:solidFill>
                  </a:tcPr>
                </a:tc>
                <a:tc>
                  <a:txBody>
                    <a:bodyPr/>
                    <a:lstStyle/>
                    <a:p>
                      <a:r>
                        <a:rPr lang="en-US" sz="2200" b="0" i="0" dirty="0">
                          <a:latin typeface="Segoe UI Semibold" panose="020B0702040204020203" pitchFamily="34" charset="0"/>
                          <a:cs typeface="Segoe UI Semibold" panose="020B0702040204020203" pitchFamily="34" charset="0"/>
                        </a:rPr>
                        <a:t>Subscription</a:t>
                      </a:r>
                      <a:r>
                        <a:rPr lang="en-US" sz="2200" b="0" i="0" baseline="0" dirty="0">
                          <a:latin typeface="Segoe UI Semibold" panose="020B0702040204020203" pitchFamily="34" charset="0"/>
                          <a:cs typeface="Segoe UI Semibold" panose="020B0702040204020203" pitchFamily="34" charset="0"/>
                        </a:rPr>
                        <a:t> level</a:t>
                      </a:r>
                      <a:endParaRPr lang="en-US" sz="2200" b="0" i="0" dirty="0">
                        <a:latin typeface="Segoe UI Semibold" panose="020B0702040204020203" pitchFamily="34" charset="0"/>
                        <a:cs typeface="Segoe UI Semibold" panose="020B0702040204020203" pitchFamily="34" charset="0"/>
                      </a:endParaRPr>
                    </a:p>
                  </a:txBody>
                  <a:tcPr marL="86072" marR="86072" marT="43036" marB="43036">
                    <a:solidFill>
                      <a:schemeClr val="accent1"/>
                    </a:solidFill>
                  </a:tcPr>
                </a:tc>
                <a:extLst>
                  <a:ext uri="{0D108BD9-81ED-4DB2-BD59-A6C34878D82A}">
                    <a16:rowId xmlns:a16="http://schemas.microsoft.com/office/drawing/2014/main" val="3157971493"/>
                  </a:ext>
                </a:extLst>
              </a:tr>
              <a:tr h="1118937">
                <a:tc>
                  <a:txBody>
                    <a:bodyPr/>
                    <a:lstStyle/>
                    <a:p>
                      <a:r>
                        <a:rPr lang="en-US" sz="2200" b="0" i="0" dirty="0">
                          <a:latin typeface="Segoe UI Semibold" panose="020B0702040204020203" pitchFamily="34" charset="0"/>
                          <a:cs typeface="Segoe UI Semibold" panose="020B0702040204020203" pitchFamily="34" charset="0"/>
                        </a:rPr>
                        <a:t>SQL Database</a:t>
                      </a:r>
                    </a:p>
                  </a:txBody>
                  <a:tcPr marL="86072" marR="86072" marT="43036" marB="43036"/>
                </a:tc>
                <a:tc>
                  <a:txBody>
                    <a:bodyPr/>
                    <a:lstStyle/>
                    <a:p>
                      <a:r>
                        <a:rPr lang="en-US" sz="2200" dirty="0"/>
                        <a:t>Max DB size )varies by SKU/edition) = 4 TB (Premium)</a:t>
                      </a:r>
                    </a:p>
                  </a:txBody>
                  <a:tcPr marL="86072" marR="86072" marT="43036" marB="43036"/>
                </a:tc>
                <a:tc>
                  <a:txBody>
                    <a:bodyPr/>
                    <a:lstStyle/>
                    <a:p>
                      <a:r>
                        <a:rPr lang="en-US" sz="2200" dirty="0"/>
                        <a:t>Servers:</a:t>
                      </a:r>
                    </a:p>
                    <a:p>
                      <a:r>
                        <a:rPr lang="en-US" sz="2200" dirty="0"/>
                        <a:t>Default</a:t>
                      </a:r>
                      <a:r>
                        <a:rPr lang="en-US" sz="2200" baseline="0" dirty="0"/>
                        <a:t> = 6, Max = 150</a:t>
                      </a:r>
                      <a:endParaRPr lang="en-US" sz="2200" dirty="0"/>
                    </a:p>
                  </a:txBody>
                  <a:tcPr marL="86072" marR="86072" marT="43036" marB="43036"/>
                </a:tc>
                <a:extLst>
                  <a:ext uri="{0D108BD9-81ED-4DB2-BD59-A6C34878D82A}">
                    <a16:rowId xmlns:a16="http://schemas.microsoft.com/office/drawing/2014/main" val="4133688658"/>
                  </a:ext>
                </a:extLst>
              </a:tr>
              <a:tr h="1118937">
                <a:tc>
                  <a:txBody>
                    <a:bodyPr/>
                    <a:lstStyle/>
                    <a:p>
                      <a:pPr lvl="0"/>
                      <a:r>
                        <a:rPr lang="en-US" sz="2200" b="0" i="0" dirty="0" err="1">
                          <a:latin typeface="Segoe UI Semibold" panose="020B0702040204020203" pitchFamily="34" charset="0"/>
                          <a:cs typeface="Segoe UI Semibold" panose="020B0702040204020203" pitchFamily="34" charset="0"/>
                        </a:rPr>
                        <a:t>DocumentDB</a:t>
                      </a:r>
                      <a:endParaRPr lang="en-US" sz="2200" b="0" i="0" dirty="0">
                        <a:latin typeface="Segoe UI Semibold" panose="020B0702040204020203" pitchFamily="34" charset="0"/>
                        <a:cs typeface="Segoe UI Semibold" panose="020B0702040204020203" pitchFamily="34" charset="0"/>
                      </a:endParaRPr>
                    </a:p>
                  </a:txBody>
                  <a:tcPr marL="86072" marR="86072" marT="43036" marB="43036"/>
                </a:tc>
                <a:tc>
                  <a:txBody>
                    <a:bodyPr/>
                    <a:lstStyle/>
                    <a:p>
                      <a:r>
                        <a:rPr lang="en-US" sz="2200" dirty="0"/>
                        <a:t>Document</a:t>
                      </a:r>
                      <a:r>
                        <a:rPr lang="en-US" sz="2200" baseline="0" dirty="0"/>
                        <a:t> storage per collection: Default = 250 GB</a:t>
                      </a:r>
                      <a:endParaRPr lang="en-US" sz="2200" dirty="0"/>
                    </a:p>
                  </a:txBody>
                  <a:tcPr marL="86072" marR="86072" marT="43036" marB="43036"/>
                </a:tc>
                <a:tc>
                  <a:txBody>
                    <a:bodyPr/>
                    <a:lstStyle/>
                    <a:p>
                      <a:r>
                        <a:rPr lang="en-US" sz="2200" dirty="0"/>
                        <a:t>-</a:t>
                      </a:r>
                    </a:p>
                  </a:txBody>
                  <a:tcPr marL="86072" marR="86072" marT="43036" marB="43036"/>
                </a:tc>
                <a:extLst>
                  <a:ext uri="{0D108BD9-81ED-4DB2-BD59-A6C34878D82A}">
                    <a16:rowId xmlns:a16="http://schemas.microsoft.com/office/drawing/2014/main" val="1987288546"/>
                  </a:ext>
                </a:extLst>
              </a:tr>
              <a:tr h="1118937">
                <a:tc>
                  <a:txBody>
                    <a:bodyPr/>
                    <a:lstStyle/>
                    <a:p>
                      <a:pPr lvl="0"/>
                      <a:r>
                        <a:rPr lang="en-US" sz="2200" b="0" i="0" dirty="0" err="1">
                          <a:latin typeface="Segoe UI Semibold" panose="020B0702040204020203" pitchFamily="34" charset="0"/>
                          <a:cs typeface="Segoe UI Semibold" panose="020B0702040204020203" pitchFamily="34" charset="0"/>
                        </a:rPr>
                        <a:t>Redis</a:t>
                      </a:r>
                      <a:r>
                        <a:rPr lang="en-US" sz="2200" b="0" i="0" dirty="0">
                          <a:latin typeface="Segoe UI Semibold" panose="020B0702040204020203" pitchFamily="34" charset="0"/>
                          <a:cs typeface="Segoe UI Semibold" panose="020B0702040204020203" pitchFamily="34" charset="0"/>
                        </a:rPr>
                        <a:t> Cache</a:t>
                      </a:r>
                    </a:p>
                  </a:txBody>
                  <a:tcPr marL="86072" marR="86072" marT="43036" marB="43036"/>
                </a:tc>
                <a:tc>
                  <a:txBody>
                    <a:bodyPr/>
                    <a:lstStyle/>
                    <a:p>
                      <a:r>
                        <a:rPr lang="en-US" sz="2200" kern="1200" dirty="0">
                          <a:solidFill>
                            <a:schemeClr val="tx1"/>
                          </a:solidFill>
                          <a:latin typeface="+mn-lt"/>
                          <a:ea typeface="+mn-ea"/>
                          <a:cs typeface="+mn-cs"/>
                        </a:rPr>
                        <a:t>Cache Size:</a:t>
                      </a:r>
                    </a:p>
                    <a:p>
                      <a:r>
                        <a:rPr lang="en-US" sz="2200" kern="1200" dirty="0">
                          <a:solidFill>
                            <a:schemeClr val="tx1"/>
                          </a:solidFill>
                          <a:latin typeface="+mn-lt"/>
                          <a:ea typeface="+mn-ea"/>
                          <a:cs typeface="+mn-cs"/>
                        </a:rPr>
                        <a:t>Max = 530 GB (Premium </a:t>
                      </a:r>
                      <a:r>
                        <a:rPr lang="en-US" sz="2200" dirty="0"/>
                        <a:t>SKU</a:t>
                      </a:r>
                      <a:r>
                        <a:rPr lang="en-US" sz="2200" kern="1200" dirty="0">
                          <a:solidFill>
                            <a:schemeClr val="tx1"/>
                          </a:solidFill>
                          <a:latin typeface="+mn-lt"/>
                          <a:ea typeface="+mn-ea"/>
                          <a:cs typeface="+mn-cs"/>
                        </a:rPr>
                        <a:t> w/ 10 shards)</a:t>
                      </a:r>
                    </a:p>
                  </a:txBody>
                  <a:tcPr marL="86072" marR="86072" marT="43036" marB="43036"/>
                </a:tc>
                <a:tc>
                  <a:txBody>
                    <a:bodyPr/>
                    <a:lstStyle/>
                    <a:p>
                      <a:r>
                        <a:rPr lang="en-US" sz="2200" kern="1200" dirty="0">
                          <a:solidFill>
                            <a:schemeClr val="tx1"/>
                          </a:solidFill>
                          <a:latin typeface="+mn-lt"/>
                          <a:ea typeface="+mn-ea"/>
                          <a:cs typeface="+mn-cs"/>
                        </a:rPr>
                        <a:t>{See</a:t>
                      </a:r>
                      <a:r>
                        <a:rPr lang="en-US" sz="2200" kern="1200" baseline="0" dirty="0">
                          <a:solidFill>
                            <a:schemeClr val="tx1"/>
                          </a:solidFill>
                          <a:latin typeface="+mn-lt"/>
                          <a:ea typeface="+mn-ea"/>
                          <a:cs typeface="+mn-cs"/>
                        </a:rPr>
                        <a:t> Cloud Service limits}</a:t>
                      </a:r>
                      <a:endParaRPr lang="en-US" sz="2200" kern="1200" dirty="0">
                        <a:solidFill>
                          <a:schemeClr val="tx1"/>
                        </a:solidFill>
                        <a:latin typeface="+mn-lt"/>
                        <a:ea typeface="+mn-ea"/>
                        <a:cs typeface="+mn-cs"/>
                      </a:endParaRPr>
                    </a:p>
                  </a:txBody>
                  <a:tcPr marL="86072" marR="86072" marT="43036" marB="43036"/>
                </a:tc>
                <a:extLst>
                  <a:ext uri="{0D108BD9-81ED-4DB2-BD59-A6C34878D82A}">
                    <a16:rowId xmlns:a16="http://schemas.microsoft.com/office/drawing/2014/main" val="1094197510"/>
                  </a:ext>
                </a:extLst>
              </a:tr>
              <a:tr h="430361">
                <a:tc>
                  <a:txBody>
                    <a:bodyPr/>
                    <a:lstStyle/>
                    <a:p>
                      <a:pPr lvl="0"/>
                      <a:r>
                        <a:rPr lang="en-US" sz="2200" b="0" i="0" dirty="0">
                          <a:latin typeface="Segoe UI Semibold" panose="020B0702040204020203" pitchFamily="34" charset="0"/>
                          <a:cs typeface="Segoe UI Semibold" panose="020B0702040204020203" pitchFamily="34" charset="0"/>
                        </a:rPr>
                        <a:t>Search</a:t>
                      </a:r>
                    </a:p>
                  </a:txBody>
                  <a:tcPr marL="86072" marR="86072" marT="43036" marB="43036"/>
                </a:tc>
                <a:tc>
                  <a:txBody>
                    <a:bodyPr/>
                    <a:lstStyle/>
                    <a:p>
                      <a:r>
                        <a:rPr lang="en-US" sz="2200" dirty="0"/>
                        <a:t>Varies by SKU/edition</a:t>
                      </a:r>
                    </a:p>
                  </a:txBody>
                  <a:tcPr marL="86072" marR="86072" marT="43036" marB="43036"/>
                </a:tc>
                <a:tc>
                  <a:txBody>
                    <a:bodyPr/>
                    <a:lstStyle/>
                    <a:p>
                      <a:pPr marL="0" marR="0" lvl="0" indent="0" algn="l" defTabSz="768113" rtl="0" eaLnBrk="1" fontAlgn="auto" latinLnBrk="0" hangingPunct="1">
                        <a:lnSpc>
                          <a:spcPct val="100000"/>
                        </a:lnSpc>
                        <a:spcBef>
                          <a:spcPts val="0"/>
                        </a:spcBef>
                        <a:spcAft>
                          <a:spcPts val="0"/>
                        </a:spcAft>
                        <a:buClrTx/>
                        <a:buSzTx/>
                        <a:buFontTx/>
                        <a:buNone/>
                        <a:tabLst/>
                        <a:defRPr/>
                      </a:pPr>
                      <a:r>
                        <a:rPr lang="en-US" sz="2200" dirty="0"/>
                        <a:t>Varies by SKU/edition</a:t>
                      </a:r>
                    </a:p>
                  </a:txBody>
                  <a:tcPr marL="86072" marR="86072" marT="43036" marB="43036"/>
                </a:tc>
                <a:extLst>
                  <a:ext uri="{0D108BD9-81ED-4DB2-BD59-A6C34878D82A}">
                    <a16:rowId xmlns:a16="http://schemas.microsoft.com/office/drawing/2014/main" val="2747725307"/>
                  </a:ext>
                </a:extLst>
              </a:tr>
              <a:tr h="774649">
                <a:tc>
                  <a:txBody>
                    <a:bodyPr/>
                    <a:lstStyle/>
                    <a:p>
                      <a:pPr lvl="0"/>
                      <a:r>
                        <a:rPr lang="en-US" sz="2200" b="0" i="0" dirty="0">
                          <a:latin typeface="Segoe UI Semibold" panose="020B0702040204020203" pitchFamily="34" charset="0"/>
                          <a:cs typeface="Segoe UI Semibold" panose="020B0702040204020203" pitchFamily="34" charset="0"/>
                        </a:rPr>
                        <a:t>Storage Tables</a:t>
                      </a:r>
                    </a:p>
                  </a:txBody>
                  <a:tcPr marL="86072" marR="86072" marT="43036" marB="43036"/>
                </a:tc>
                <a:tc>
                  <a:txBody>
                    <a:bodyPr/>
                    <a:lstStyle/>
                    <a:p>
                      <a:r>
                        <a:rPr lang="en-US" sz="2200" dirty="0"/>
                        <a:t>Table</a:t>
                      </a:r>
                      <a:r>
                        <a:rPr lang="en-US" sz="2200" baseline="0" dirty="0"/>
                        <a:t> Size:</a:t>
                      </a:r>
                    </a:p>
                    <a:p>
                      <a:r>
                        <a:rPr lang="en-US" sz="2200" baseline="0" dirty="0"/>
                        <a:t>Max = 500 TB</a:t>
                      </a:r>
                      <a:endParaRPr lang="en-US" sz="2200" dirty="0"/>
                    </a:p>
                  </a:txBody>
                  <a:tcPr marL="86072" marR="86072" marT="43036" marB="43036"/>
                </a:tc>
                <a:tc>
                  <a:txBody>
                    <a:bodyPr/>
                    <a:lstStyle/>
                    <a:p>
                      <a:r>
                        <a:rPr lang="en-US" sz="2200" dirty="0"/>
                        <a:t>Storage Accounts:</a:t>
                      </a:r>
                    </a:p>
                    <a:p>
                      <a:r>
                        <a:rPr lang="en-US" sz="2200" dirty="0"/>
                        <a:t>Max = 100</a:t>
                      </a:r>
                    </a:p>
                  </a:txBody>
                  <a:tcPr marL="86072" marR="86072" marT="43036" marB="43036"/>
                </a:tc>
                <a:extLst>
                  <a:ext uri="{0D108BD9-81ED-4DB2-BD59-A6C34878D82A}">
                    <a16:rowId xmlns:a16="http://schemas.microsoft.com/office/drawing/2014/main" val="4183746000"/>
                  </a:ext>
                </a:extLst>
              </a:tr>
            </a:tbl>
          </a:graphicData>
        </a:graphic>
      </p:graphicFrame>
      <p:sp>
        <p:nvSpPr>
          <p:cNvPr id="5" name="Title 4"/>
          <p:cNvSpPr>
            <a:spLocks noGrp="1"/>
          </p:cNvSpPr>
          <p:nvPr>
            <p:ph type="title"/>
          </p:nvPr>
        </p:nvSpPr>
        <p:spPr>
          <a:xfrm>
            <a:off x="366169" y="295278"/>
            <a:ext cx="11702551" cy="917575"/>
          </a:xfrm>
        </p:spPr>
        <p:txBody>
          <a:bodyPr/>
          <a:lstStyle/>
          <a:p>
            <a:r>
              <a:rPr lang="en-US" dirty="0"/>
              <a:t>Data – Key quotas, limits</a:t>
            </a:r>
          </a:p>
        </p:txBody>
      </p:sp>
    </p:spTree>
    <p:extLst>
      <p:ext uri="{BB962C8B-B14F-4D97-AF65-F5344CB8AC3E}">
        <p14:creationId xmlns:p14="http://schemas.microsoft.com/office/powerpoint/2010/main" val="244501030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6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nalytics</a:t>
            </a:r>
          </a:p>
        </p:txBody>
      </p:sp>
      <p:pic>
        <p:nvPicPr>
          <p:cNvPr id="4" name="Picture 3"/>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7339939" y="1670951"/>
            <a:ext cx="1212384" cy="1212384"/>
          </a:xfrm>
          <a:prstGeom prst="rect">
            <a:avLst/>
          </a:prstGeom>
        </p:spPr>
      </p:pic>
      <p:pic>
        <p:nvPicPr>
          <p:cNvPr id="5" name="Picture 4"/>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9298406" y="1670951"/>
            <a:ext cx="1212384" cy="1212384"/>
          </a:xfrm>
          <a:prstGeom prst="rect">
            <a:avLst/>
          </a:prstGeom>
        </p:spPr>
      </p:pic>
      <p:pic>
        <p:nvPicPr>
          <p:cNvPr id="6" name="Picture 5"/>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5381472" y="1670951"/>
            <a:ext cx="1212384" cy="1212384"/>
          </a:xfrm>
          <a:prstGeom prst="rect">
            <a:avLst/>
          </a:prstGeom>
        </p:spPr>
      </p:pic>
      <p:sp>
        <p:nvSpPr>
          <p:cNvPr id="7" name="TextBox 6"/>
          <p:cNvSpPr txBox="1"/>
          <p:nvPr/>
        </p:nvSpPr>
        <p:spPr>
          <a:xfrm>
            <a:off x="5379244" y="2818997"/>
            <a:ext cx="1548122" cy="527358"/>
          </a:xfrm>
          <a:prstGeom prst="rect">
            <a:avLst/>
          </a:prstGeom>
          <a:noFill/>
        </p:spPr>
        <p:txBody>
          <a:bodyPr wrap="square" lIns="186521" tIns="149217" rIns="186521" bIns="149217" rtlCol="0">
            <a:spAutoFit/>
          </a:bodyPr>
          <a:lstStyle/>
          <a:p>
            <a:pPr algn="ctr" defTabSz="932597">
              <a:lnSpc>
                <a:spcPct val="90000"/>
              </a:lnSpc>
              <a:spcAft>
                <a:spcPts val="612"/>
              </a:spcAft>
            </a:pPr>
            <a:r>
              <a:rPr lang="en-US" sz="1632" kern="0" dirty="0">
                <a:gradFill>
                  <a:gsLst>
                    <a:gs pos="2917">
                      <a:schemeClr val="tx1"/>
                    </a:gs>
                    <a:gs pos="30000">
                      <a:schemeClr val="tx1"/>
                    </a:gs>
                  </a:gsLst>
                  <a:lin ang="5400000" scaled="0"/>
                </a:gradFill>
              </a:rPr>
              <a:t>HD Insights</a:t>
            </a:r>
          </a:p>
        </p:txBody>
      </p:sp>
      <p:sp>
        <p:nvSpPr>
          <p:cNvPr id="8" name="TextBox 7"/>
          <p:cNvSpPr txBox="1"/>
          <p:nvPr/>
        </p:nvSpPr>
        <p:spPr>
          <a:xfrm>
            <a:off x="7172070" y="2818996"/>
            <a:ext cx="1548122" cy="762393"/>
          </a:xfrm>
          <a:prstGeom prst="rect">
            <a:avLst/>
          </a:prstGeom>
          <a:noFill/>
        </p:spPr>
        <p:txBody>
          <a:bodyPr wrap="square" lIns="186521" tIns="149217" rIns="186521" bIns="149217" rtlCol="0">
            <a:spAutoFit/>
          </a:bodyPr>
          <a:lstStyle/>
          <a:p>
            <a:pPr algn="ctr" defTabSz="932597">
              <a:lnSpc>
                <a:spcPct val="90000"/>
              </a:lnSpc>
              <a:spcAft>
                <a:spcPts val="612"/>
              </a:spcAft>
            </a:pPr>
            <a:r>
              <a:rPr lang="en-US" sz="1632" kern="0" dirty="0">
                <a:gradFill>
                  <a:gsLst>
                    <a:gs pos="2917">
                      <a:schemeClr val="tx1"/>
                    </a:gs>
                    <a:gs pos="30000">
                      <a:schemeClr val="tx1"/>
                    </a:gs>
                  </a:gsLst>
                  <a:lin ang="5400000" scaled="0"/>
                </a:gradFill>
              </a:rPr>
              <a:t>Machine Learning</a:t>
            </a:r>
          </a:p>
        </p:txBody>
      </p:sp>
      <p:sp>
        <p:nvSpPr>
          <p:cNvPr id="9" name="TextBox 8"/>
          <p:cNvSpPr txBox="1"/>
          <p:nvPr/>
        </p:nvSpPr>
        <p:spPr>
          <a:xfrm>
            <a:off x="9130537" y="2788502"/>
            <a:ext cx="1548122" cy="762393"/>
          </a:xfrm>
          <a:prstGeom prst="rect">
            <a:avLst/>
          </a:prstGeom>
          <a:noFill/>
        </p:spPr>
        <p:txBody>
          <a:bodyPr wrap="square" lIns="186521" tIns="149217" rIns="186521" bIns="149217" rtlCol="0">
            <a:spAutoFit/>
          </a:bodyPr>
          <a:lstStyle/>
          <a:p>
            <a:pPr algn="ctr" defTabSz="932597">
              <a:lnSpc>
                <a:spcPct val="90000"/>
              </a:lnSpc>
              <a:spcAft>
                <a:spcPts val="612"/>
              </a:spcAft>
            </a:pPr>
            <a:r>
              <a:rPr lang="en-US" sz="1632" kern="0" dirty="0">
                <a:gradFill>
                  <a:gsLst>
                    <a:gs pos="2917">
                      <a:schemeClr val="tx1"/>
                    </a:gs>
                    <a:gs pos="30000">
                      <a:schemeClr val="tx1"/>
                    </a:gs>
                  </a:gsLst>
                  <a:lin ang="5400000" scaled="0"/>
                </a:gradFill>
              </a:rPr>
              <a:t>Stream Analytics</a:t>
            </a:r>
          </a:p>
        </p:txBody>
      </p:sp>
      <p:pic>
        <p:nvPicPr>
          <p:cNvPr id="10" name="Picture 9"/>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5379244" y="3573462"/>
            <a:ext cx="1212384" cy="1212384"/>
          </a:xfrm>
          <a:prstGeom prst="rect">
            <a:avLst/>
          </a:prstGeom>
        </p:spPr>
      </p:pic>
      <p:sp>
        <p:nvSpPr>
          <p:cNvPr id="11" name="TextBox 10"/>
          <p:cNvSpPr txBox="1"/>
          <p:nvPr/>
        </p:nvSpPr>
        <p:spPr>
          <a:xfrm>
            <a:off x="5211375" y="4817437"/>
            <a:ext cx="1548122" cy="527358"/>
          </a:xfrm>
          <a:prstGeom prst="rect">
            <a:avLst/>
          </a:prstGeom>
          <a:noFill/>
        </p:spPr>
        <p:txBody>
          <a:bodyPr wrap="square" lIns="186521" tIns="149217" rIns="186521" bIns="149217" rtlCol="0">
            <a:spAutoFit/>
          </a:bodyPr>
          <a:lstStyle/>
          <a:p>
            <a:pPr algn="ctr" defTabSz="932597">
              <a:lnSpc>
                <a:spcPct val="90000"/>
              </a:lnSpc>
              <a:spcAft>
                <a:spcPts val="612"/>
              </a:spcAft>
            </a:pPr>
            <a:r>
              <a:rPr lang="en-US" sz="1632" kern="0" dirty="0">
                <a:gradFill>
                  <a:gsLst>
                    <a:gs pos="2917">
                      <a:schemeClr val="tx1"/>
                    </a:gs>
                    <a:gs pos="30000">
                      <a:schemeClr val="tx1"/>
                    </a:gs>
                  </a:gsLst>
                  <a:lin ang="5400000" scaled="0"/>
                </a:gradFill>
              </a:rPr>
              <a:t>Data Factory</a:t>
            </a:r>
          </a:p>
        </p:txBody>
      </p:sp>
      <p:sp>
        <p:nvSpPr>
          <p:cNvPr id="12" name="TextBox 11"/>
          <p:cNvSpPr txBox="1"/>
          <p:nvPr/>
        </p:nvSpPr>
        <p:spPr>
          <a:xfrm>
            <a:off x="7172070" y="4800559"/>
            <a:ext cx="1548122" cy="753395"/>
          </a:xfrm>
          <a:prstGeom prst="rect">
            <a:avLst/>
          </a:prstGeom>
          <a:noFill/>
        </p:spPr>
        <p:txBody>
          <a:bodyPr wrap="square" lIns="186521" tIns="149217" rIns="186521" bIns="149217" rtlCol="0">
            <a:spAutoFit/>
          </a:bodyPr>
          <a:lstStyle/>
          <a:p>
            <a:pPr algn="ctr" defTabSz="932597">
              <a:lnSpc>
                <a:spcPct val="90000"/>
              </a:lnSpc>
              <a:spcAft>
                <a:spcPts val="612"/>
              </a:spcAft>
            </a:pPr>
            <a:r>
              <a:rPr lang="en-US" sz="1632" kern="0" dirty="0">
                <a:gradFill>
                  <a:gsLst>
                    <a:gs pos="2917">
                      <a:schemeClr val="tx1"/>
                    </a:gs>
                    <a:gs pos="30000">
                      <a:schemeClr val="tx1"/>
                    </a:gs>
                  </a:gsLst>
                  <a:lin ang="5400000" scaled="0"/>
                </a:gradFill>
              </a:rPr>
              <a:t>Data Lake Store</a:t>
            </a:r>
          </a:p>
        </p:txBody>
      </p:sp>
      <p:sp>
        <p:nvSpPr>
          <p:cNvPr id="13" name="TextBox 12"/>
          <p:cNvSpPr txBox="1"/>
          <p:nvPr/>
        </p:nvSpPr>
        <p:spPr>
          <a:xfrm>
            <a:off x="9130537" y="4817436"/>
            <a:ext cx="1548122" cy="753395"/>
          </a:xfrm>
          <a:prstGeom prst="rect">
            <a:avLst/>
          </a:prstGeom>
          <a:noFill/>
        </p:spPr>
        <p:txBody>
          <a:bodyPr wrap="square" lIns="186521" tIns="149217" rIns="186521" bIns="149217" rtlCol="0">
            <a:spAutoFit/>
          </a:bodyPr>
          <a:lstStyle/>
          <a:p>
            <a:pPr algn="ctr" defTabSz="932597">
              <a:lnSpc>
                <a:spcPct val="90000"/>
              </a:lnSpc>
              <a:spcAft>
                <a:spcPts val="612"/>
              </a:spcAft>
            </a:pPr>
            <a:r>
              <a:rPr lang="en-US" sz="1632" kern="0" dirty="0">
                <a:gradFill>
                  <a:gsLst>
                    <a:gs pos="2917">
                      <a:schemeClr val="tx1"/>
                    </a:gs>
                    <a:gs pos="30000">
                      <a:schemeClr val="tx1"/>
                    </a:gs>
                  </a:gsLst>
                  <a:lin ang="5400000" scaled="0"/>
                </a:gradFill>
              </a:rPr>
              <a:t>Data Lake Analytics</a:t>
            </a:r>
          </a:p>
        </p:txBody>
      </p:sp>
      <p:pic>
        <p:nvPicPr>
          <p:cNvPr id="14" name="Picture 13"/>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9298405" y="3581389"/>
            <a:ext cx="1204457" cy="1204457"/>
          </a:xfrm>
          <a:prstGeom prst="rect">
            <a:avLst/>
          </a:prstGeom>
        </p:spPr>
      </p:pic>
      <p:pic>
        <p:nvPicPr>
          <p:cNvPr id="15" name="Picture 14"/>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7339938" y="3581388"/>
            <a:ext cx="1204457" cy="1204457"/>
          </a:xfrm>
          <a:prstGeom prst="rect">
            <a:avLst/>
          </a:prstGeom>
        </p:spPr>
      </p:pic>
    </p:spTree>
    <p:extLst>
      <p:ext uri="{BB962C8B-B14F-4D97-AF65-F5344CB8AC3E}">
        <p14:creationId xmlns:p14="http://schemas.microsoft.com/office/powerpoint/2010/main" val="113516361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6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Segoe UI Light" panose="020B0502040204020203" pitchFamily="34" charset="0"/>
                <a:cs typeface="Segoe UI Light" panose="020B0502040204020203" pitchFamily="34" charset="0"/>
              </a:rPr>
              <a:t>IoT Hub decisions</a:t>
            </a:r>
            <a:endParaRPr lang="en-US" dirty="0"/>
          </a:p>
        </p:txBody>
      </p:sp>
      <p:sp>
        <p:nvSpPr>
          <p:cNvPr id="8" name="Freeform: Shape 7"/>
          <p:cNvSpPr/>
          <p:nvPr/>
        </p:nvSpPr>
        <p:spPr>
          <a:xfrm>
            <a:off x="4416051" y="1466651"/>
            <a:ext cx="6012374" cy="2093808"/>
          </a:xfrm>
          <a:custGeom>
            <a:avLst/>
            <a:gdLst>
              <a:gd name="connsiteX0" fmla="*/ 0 w 6937384"/>
              <a:gd name="connsiteY0" fmla="*/ 171052 h 1368412"/>
              <a:gd name="connsiteX1" fmla="*/ 6253178 w 6937384"/>
              <a:gd name="connsiteY1" fmla="*/ 171052 h 1368412"/>
              <a:gd name="connsiteX2" fmla="*/ 6253178 w 6937384"/>
              <a:gd name="connsiteY2" fmla="*/ 0 h 1368412"/>
              <a:gd name="connsiteX3" fmla="*/ 6937384 w 6937384"/>
              <a:gd name="connsiteY3" fmla="*/ 684206 h 1368412"/>
              <a:gd name="connsiteX4" fmla="*/ 6253178 w 6937384"/>
              <a:gd name="connsiteY4" fmla="*/ 1368412 h 1368412"/>
              <a:gd name="connsiteX5" fmla="*/ 6253178 w 6937384"/>
              <a:gd name="connsiteY5" fmla="*/ 1197361 h 1368412"/>
              <a:gd name="connsiteX6" fmla="*/ 0 w 6937384"/>
              <a:gd name="connsiteY6" fmla="*/ 1197361 h 1368412"/>
              <a:gd name="connsiteX7" fmla="*/ 0 w 6937384"/>
              <a:gd name="connsiteY7" fmla="*/ 171052 h 13684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937384" h="1368412">
                <a:moveTo>
                  <a:pt x="0" y="171052"/>
                </a:moveTo>
                <a:lnTo>
                  <a:pt x="6253178" y="171052"/>
                </a:lnTo>
                <a:lnTo>
                  <a:pt x="6253178" y="0"/>
                </a:lnTo>
                <a:lnTo>
                  <a:pt x="6937384" y="684206"/>
                </a:lnTo>
                <a:lnTo>
                  <a:pt x="6253178" y="1368412"/>
                </a:lnTo>
                <a:lnTo>
                  <a:pt x="6253178" y="1197361"/>
                </a:lnTo>
                <a:lnTo>
                  <a:pt x="0" y="1197361"/>
                </a:lnTo>
                <a:lnTo>
                  <a:pt x="0" y="171052"/>
                </a:lnTo>
                <a:close/>
              </a:path>
            </a:pathLst>
          </a:custGeom>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228600" tIns="457200" rIns="365760" bIns="182481" numCol="1" spcCol="1270" anchor="t" anchorCtr="0">
            <a:noAutofit/>
          </a:bodyPr>
          <a:lstStyle/>
          <a:p>
            <a:pPr marL="285750" lvl="1" indent="-285750" defTabSz="800100">
              <a:lnSpc>
                <a:spcPct val="90000"/>
              </a:lnSpc>
              <a:spcBef>
                <a:spcPct val="0"/>
              </a:spcBef>
              <a:spcAft>
                <a:spcPct val="15000"/>
              </a:spcAft>
              <a:buFont typeface="Arial" panose="020B0604020202020204" pitchFamily="34" charset="0"/>
              <a:buChar char="•"/>
            </a:pPr>
            <a:r>
              <a:rPr lang="en-US" dirty="0"/>
              <a:t>Anticipate the number of messages you expect to receive per day. The current message limit is 6 million messages/unit/day. The maximum unit count for S2 IoT Hub is 200. If more units more required, you must contact Microsoft Support</a:t>
            </a:r>
          </a:p>
        </p:txBody>
      </p:sp>
      <p:sp>
        <p:nvSpPr>
          <p:cNvPr id="9" name="Freeform: Shape 8"/>
          <p:cNvSpPr/>
          <p:nvPr/>
        </p:nvSpPr>
        <p:spPr>
          <a:xfrm>
            <a:off x="1320269" y="1712685"/>
            <a:ext cx="3221976" cy="1587447"/>
          </a:xfrm>
          <a:custGeom>
            <a:avLst/>
            <a:gdLst>
              <a:gd name="connsiteX0" fmla="*/ 0 w 3221976"/>
              <a:gd name="connsiteY0" fmla="*/ 188426 h 1130532"/>
              <a:gd name="connsiteX1" fmla="*/ 188426 w 3221976"/>
              <a:gd name="connsiteY1" fmla="*/ 0 h 1130532"/>
              <a:gd name="connsiteX2" fmla="*/ 3033550 w 3221976"/>
              <a:gd name="connsiteY2" fmla="*/ 0 h 1130532"/>
              <a:gd name="connsiteX3" fmla="*/ 3221976 w 3221976"/>
              <a:gd name="connsiteY3" fmla="*/ 188426 h 1130532"/>
              <a:gd name="connsiteX4" fmla="*/ 3221976 w 3221976"/>
              <a:gd name="connsiteY4" fmla="*/ 942106 h 1130532"/>
              <a:gd name="connsiteX5" fmla="*/ 3033550 w 3221976"/>
              <a:gd name="connsiteY5" fmla="*/ 1130532 h 1130532"/>
              <a:gd name="connsiteX6" fmla="*/ 188426 w 3221976"/>
              <a:gd name="connsiteY6" fmla="*/ 1130532 h 1130532"/>
              <a:gd name="connsiteX7" fmla="*/ 0 w 3221976"/>
              <a:gd name="connsiteY7" fmla="*/ 942106 h 1130532"/>
              <a:gd name="connsiteX8" fmla="*/ 0 w 3221976"/>
              <a:gd name="connsiteY8" fmla="*/ 188426 h 11305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21976" h="1130532">
                <a:moveTo>
                  <a:pt x="0" y="188426"/>
                </a:moveTo>
                <a:cubicBezTo>
                  <a:pt x="0" y="84361"/>
                  <a:pt x="84361" y="0"/>
                  <a:pt x="188426" y="0"/>
                </a:cubicBezTo>
                <a:lnTo>
                  <a:pt x="3033550" y="0"/>
                </a:lnTo>
                <a:cubicBezTo>
                  <a:pt x="3137615" y="0"/>
                  <a:pt x="3221976" y="84361"/>
                  <a:pt x="3221976" y="188426"/>
                </a:cubicBezTo>
                <a:lnTo>
                  <a:pt x="3221976" y="942106"/>
                </a:lnTo>
                <a:cubicBezTo>
                  <a:pt x="3221976" y="1046171"/>
                  <a:pt x="3137615" y="1130532"/>
                  <a:pt x="3033550" y="1130532"/>
                </a:cubicBezTo>
                <a:lnTo>
                  <a:pt x="188426" y="1130532"/>
                </a:lnTo>
                <a:cubicBezTo>
                  <a:pt x="84361" y="1130532"/>
                  <a:pt x="0" y="1046171"/>
                  <a:pt x="0" y="942106"/>
                </a:cubicBezTo>
                <a:lnTo>
                  <a:pt x="0" y="188426"/>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77108" tIns="116148" rIns="177108" bIns="116148" numCol="1" spcCol="1270" anchor="ctr" anchorCtr="0">
            <a:noAutofit/>
          </a:bodyPr>
          <a:lstStyle/>
          <a:p>
            <a:pPr marL="0" lvl="0" indent="0" algn="ctr" defTabSz="1422400">
              <a:lnSpc>
                <a:spcPct val="90000"/>
              </a:lnSpc>
              <a:spcBef>
                <a:spcPct val="0"/>
              </a:spcBef>
              <a:spcAft>
                <a:spcPct val="35000"/>
              </a:spcAft>
              <a:buNone/>
            </a:pPr>
            <a:r>
              <a:rPr lang="en-US" sz="3200" b="0" kern="1200" dirty="0">
                <a:latin typeface="Segoe UI Semibold" panose="020B0702040204020203" pitchFamily="34" charset="0"/>
                <a:cs typeface="Segoe UI Semibold" panose="020B0702040204020203" pitchFamily="34" charset="0"/>
              </a:rPr>
              <a:t>Mandatory</a:t>
            </a:r>
          </a:p>
        </p:txBody>
      </p:sp>
      <p:sp>
        <p:nvSpPr>
          <p:cNvPr id="10" name="Freeform: Shape 9"/>
          <p:cNvSpPr/>
          <p:nvPr/>
        </p:nvSpPr>
        <p:spPr>
          <a:xfrm>
            <a:off x="4174858" y="3479535"/>
            <a:ext cx="6253655" cy="1769406"/>
          </a:xfrm>
          <a:custGeom>
            <a:avLst/>
            <a:gdLst>
              <a:gd name="connsiteX0" fmla="*/ 0 w 7091479"/>
              <a:gd name="connsiteY0" fmla="*/ 293845 h 2350760"/>
              <a:gd name="connsiteX1" fmla="*/ 5916099 w 7091479"/>
              <a:gd name="connsiteY1" fmla="*/ 293845 h 2350760"/>
              <a:gd name="connsiteX2" fmla="*/ 5916099 w 7091479"/>
              <a:gd name="connsiteY2" fmla="*/ 0 h 2350760"/>
              <a:gd name="connsiteX3" fmla="*/ 7091479 w 7091479"/>
              <a:gd name="connsiteY3" fmla="*/ 1175380 h 2350760"/>
              <a:gd name="connsiteX4" fmla="*/ 5916099 w 7091479"/>
              <a:gd name="connsiteY4" fmla="*/ 2350760 h 2350760"/>
              <a:gd name="connsiteX5" fmla="*/ 5916099 w 7091479"/>
              <a:gd name="connsiteY5" fmla="*/ 2056915 h 2350760"/>
              <a:gd name="connsiteX6" fmla="*/ 0 w 7091479"/>
              <a:gd name="connsiteY6" fmla="*/ 2056915 h 2350760"/>
              <a:gd name="connsiteX7" fmla="*/ 0 w 7091479"/>
              <a:gd name="connsiteY7" fmla="*/ 293845 h 2350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091479" h="2350760">
                <a:moveTo>
                  <a:pt x="0" y="293845"/>
                </a:moveTo>
                <a:lnTo>
                  <a:pt x="5916099" y="293845"/>
                </a:lnTo>
                <a:lnTo>
                  <a:pt x="5916099" y="0"/>
                </a:lnTo>
                <a:lnTo>
                  <a:pt x="7091479" y="1175380"/>
                </a:lnTo>
                <a:lnTo>
                  <a:pt x="5916099" y="2350760"/>
                </a:lnTo>
                <a:lnTo>
                  <a:pt x="5916099" y="2056915"/>
                </a:lnTo>
                <a:lnTo>
                  <a:pt x="0" y="2056915"/>
                </a:lnTo>
                <a:lnTo>
                  <a:pt x="0" y="293845"/>
                </a:lnTo>
                <a:close/>
              </a:path>
            </a:pathLst>
          </a:custGeom>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457200" tIns="365760" rIns="1064415" bIns="305275" numCol="1" spcCol="1270" anchor="t" anchorCtr="0">
            <a:noAutofit/>
          </a:bodyPr>
          <a:lstStyle/>
          <a:p>
            <a:pPr marL="285750" lvl="1" indent="-285750" defTabSz="800100">
              <a:lnSpc>
                <a:spcPct val="90000"/>
              </a:lnSpc>
              <a:spcBef>
                <a:spcPct val="0"/>
              </a:spcBef>
              <a:spcAft>
                <a:spcPct val="15000"/>
              </a:spcAft>
              <a:buFont typeface="Arial" panose="020B0604020202020204" pitchFamily="34" charset="0"/>
              <a:buChar char="•"/>
            </a:pPr>
            <a:r>
              <a:rPr lang="en-US" dirty="0"/>
              <a:t>If protocol translation is necessary, utilize the Azure Protocol Gateway as a starting point for your solution. The currently supported protocols are AMQP and MQTT 3.1.1</a:t>
            </a:r>
          </a:p>
        </p:txBody>
      </p:sp>
      <p:sp>
        <p:nvSpPr>
          <p:cNvPr id="11" name="Freeform: Shape 10"/>
          <p:cNvSpPr/>
          <p:nvPr/>
        </p:nvSpPr>
        <p:spPr>
          <a:xfrm>
            <a:off x="1328722" y="3692589"/>
            <a:ext cx="3213523" cy="1335313"/>
          </a:xfrm>
          <a:custGeom>
            <a:avLst/>
            <a:gdLst>
              <a:gd name="connsiteX0" fmla="*/ 0 w 3213523"/>
              <a:gd name="connsiteY0" fmla="*/ 295356 h 1772099"/>
              <a:gd name="connsiteX1" fmla="*/ 295356 w 3213523"/>
              <a:gd name="connsiteY1" fmla="*/ 0 h 1772099"/>
              <a:gd name="connsiteX2" fmla="*/ 2918167 w 3213523"/>
              <a:gd name="connsiteY2" fmla="*/ 0 h 1772099"/>
              <a:gd name="connsiteX3" fmla="*/ 3213523 w 3213523"/>
              <a:gd name="connsiteY3" fmla="*/ 295356 h 1772099"/>
              <a:gd name="connsiteX4" fmla="*/ 3213523 w 3213523"/>
              <a:gd name="connsiteY4" fmla="*/ 1476743 h 1772099"/>
              <a:gd name="connsiteX5" fmla="*/ 2918167 w 3213523"/>
              <a:gd name="connsiteY5" fmla="*/ 1772099 h 1772099"/>
              <a:gd name="connsiteX6" fmla="*/ 295356 w 3213523"/>
              <a:gd name="connsiteY6" fmla="*/ 1772099 h 1772099"/>
              <a:gd name="connsiteX7" fmla="*/ 0 w 3213523"/>
              <a:gd name="connsiteY7" fmla="*/ 1476743 h 1772099"/>
              <a:gd name="connsiteX8" fmla="*/ 0 w 3213523"/>
              <a:gd name="connsiteY8" fmla="*/ 295356 h 17720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13523" h="1772099">
                <a:moveTo>
                  <a:pt x="0" y="295356"/>
                </a:moveTo>
                <a:cubicBezTo>
                  <a:pt x="0" y="132235"/>
                  <a:pt x="132235" y="0"/>
                  <a:pt x="295356" y="0"/>
                </a:cubicBezTo>
                <a:lnTo>
                  <a:pt x="2918167" y="0"/>
                </a:lnTo>
                <a:cubicBezTo>
                  <a:pt x="3081288" y="0"/>
                  <a:pt x="3213523" y="132235"/>
                  <a:pt x="3213523" y="295356"/>
                </a:cubicBezTo>
                <a:lnTo>
                  <a:pt x="3213523" y="1476743"/>
                </a:lnTo>
                <a:cubicBezTo>
                  <a:pt x="3213523" y="1639864"/>
                  <a:pt x="3081288" y="1772099"/>
                  <a:pt x="2918167" y="1772099"/>
                </a:cubicBezTo>
                <a:lnTo>
                  <a:pt x="295356" y="1772099"/>
                </a:lnTo>
                <a:cubicBezTo>
                  <a:pt x="132235" y="1772099"/>
                  <a:pt x="0" y="1639864"/>
                  <a:pt x="0" y="1476743"/>
                </a:cubicBezTo>
                <a:lnTo>
                  <a:pt x="0" y="295356"/>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08427" tIns="147467" rIns="208427" bIns="147467" numCol="1" spcCol="1270" anchor="ctr" anchorCtr="0">
            <a:noAutofit/>
          </a:bodyPr>
          <a:lstStyle/>
          <a:p>
            <a:pPr marL="0" lvl="0" indent="0" algn="ctr" defTabSz="1422400">
              <a:lnSpc>
                <a:spcPct val="90000"/>
              </a:lnSpc>
              <a:spcBef>
                <a:spcPct val="0"/>
              </a:spcBef>
              <a:spcAft>
                <a:spcPct val="35000"/>
              </a:spcAft>
              <a:buNone/>
            </a:pPr>
            <a:r>
              <a:rPr lang="en-US" sz="3200" b="0" kern="1200" dirty="0">
                <a:solidFill>
                  <a:srgbClr val="FFFFFF"/>
                </a:solidFill>
                <a:latin typeface="Segoe UI Semibold" panose="020B0702040204020203" pitchFamily="34" charset="0"/>
                <a:ea typeface="+mn-ea"/>
                <a:cs typeface="Segoe UI Semibold" panose="020B0702040204020203" pitchFamily="34" charset="0"/>
              </a:rPr>
              <a:t>Recommended</a:t>
            </a:r>
          </a:p>
        </p:txBody>
      </p:sp>
      <p:sp>
        <p:nvSpPr>
          <p:cNvPr id="12" name="Freeform: Shape 11"/>
          <p:cNvSpPr/>
          <p:nvPr/>
        </p:nvSpPr>
        <p:spPr>
          <a:xfrm>
            <a:off x="4281381" y="5234419"/>
            <a:ext cx="6147044" cy="1556352"/>
          </a:xfrm>
          <a:custGeom>
            <a:avLst/>
            <a:gdLst>
              <a:gd name="connsiteX0" fmla="*/ 0 w 7125896"/>
              <a:gd name="connsiteY0" fmla="*/ 180910 h 1447281"/>
              <a:gd name="connsiteX1" fmla="*/ 6402256 w 7125896"/>
              <a:gd name="connsiteY1" fmla="*/ 180910 h 1447281"/>
              <a:gd name="connsiteX2" fmla="*/ 6402256 w 7125896"/>
              <a:gd name="connsiteY2" fmla="*/ 0 h 1447281"/>
              <a:gd name="connsiteX3" fmla="*/ 7125896 w 7125896"/>
              <a:gd name="connsiteY3" fmla="*/ 723641 h 1447281"/>
              <a:gd name="connsiteX4" fmla="*/ 6402256 w 7125896"/>
              <a:gd name="connsiteY4" fmla="*/ 1447281 h 1447281"/>
              <a:gd name="connsiteX5" fmla="*/ 6402256 w 7125896"/>
              <a:gd name="connsiteY5" fmla="*/ 1266371 h 1447281"/>
              <a:gd name="connsiteX6" fmla="*/ 0 w 7125896"/>
              <a:gd name="connsiteY6" fmla="*/ 1266371 h 1447281"/>
              <a:gd name="connsiteX7" fmla="*/ 0 w 7125896"/>
              <a:gd name="connsiteY7" fmla="*/ 180910 h 14472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125896" h="1447281">
                <a:moveTo>
                  <a:pt x="0" y="180910"/>
                </a:moveTo>
                <a:lnTo>
                  <a:pt x="6402256" y="180910"/>
                </a:lnTo>
                <a:lnTo>
                  <a:pt x="6402256" y="0"/>
                </a:lnTo>
                <a:lnTo>
                  <a:pt x="7125896" y="723641"/>
                </a:lnTo>
                <a:lnTo>
                  <a:pt x="6402256" y="1447281"/>
                </a:lnTo>
                <a:lnTo>
                  <a:pt x="6402256" y="1266371"/>
                </a:lnTo>
                <a:lnTo>
                  <a:pt x="0" y="1266371"/>
                </a:lnTo>
                <a:lnTo>
                  <a:pt x="0" y="180910"/>
                </a:lnTo>
                <a:close/>
              </a:path>
            </a:pathLst>
          </a:custGeom>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365760" tIns="365760" rIns="640080" bIns="192340" numCol="1" spcCol="1270" anchor="t" anchorCtr="0">
            <a:noAutofit/>
          </a:bodyPr>
          <a:lstStyle/>
          <a:p>
            <a:pPr marL="285750" lvl="0" indent="-285750">
              <a:buFont typeface="Arial" panose="020B0604020202020204" pitchFamily="34" charset="0"/>
              <a:buChar char="•"/>
            </a:pPr>
            <a:r>
              <a:rPr lang="en-US" dirty="0"/>
              <a:t>Understand the differences between IoT Hub and Event Hub to identify which service works best for your solution</a:t>
            </a:r>
          </a:p>
        </p:txBody>
      </p:sp>
      <p:sp>
        <p:nvSpPr>
          <p:cNvPr id="13" name="Freeform: Shape 12"/>
          <p:cNvSpPr/>
          <p:nvPr/>
        </p:nvSpPr>
        <p:spPr>
          <a:xfrm>
            <a:off x="1259112" y="5428343"/>
            <a:ext cx="3210524" cy="1161142"/>
          </a:xfrm>
          <a:custGeom>
            <a:avLst/>
            <a:gdLst>
              <a:gd name="connsiteX0" fmla="*/ 0 w 3210524"/>
              <a:gd name="connsiteY0" fmla="*/ 191185 h 1147089"/>
              <a:gd name="connsiteX1" fmla="*/ 191185 w 3210524"/>
              <a:gd name="connsiteY1" fmla="*/ 0 h 1147089"/>
              <a:gd name="connsiteX2" fmla="*/ 3019339 w 3210524"/>
              <a:gd name="connsiteY2" fmla="*/ 0 h 1147089"/>
              <a:gd name="connsiteX3" fmla="*/ 3210524 w 3210524"/>
              <a:gd name="connsiteY3" fmla="*/ 191185 h 1147089"/>
              <a:gd name="connsiteX4" fmla="*/ 3210524 w 3210524"/>
              <a:gd name="connsiteY4" fmla="*/ 955904 h 1147089"/>
              <a:gd name="connsiteX5" fmla="*/ 3019339 w 3210524"/>
              <a:gd name="connsiteY5" fmla="*/ 1147089 h 1147089"/>
              <a:gd name="connsiteX6" fmla="*/ 191185 w 3210524"/>
              <a:gd name="connsiteY6" fmla="*/ 1147089 h 1147089"/>
              <a:gd name="connsiteX7" fmla="*/ 0 w 3210524"/>
              <a:gd name="connsiteY7" fmla="*/ 955904 h 1147089"/>
              <a:gd name="connsiteX8" fmla="*/ 0 w 3210524"/>
              <a:gd name="connsiteY8" fmla="*/ 191185 h 1147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10524" h="1147089">
                <a:moveTo>
                  <a:pt x="0" y="191185"/>
                </a:moveTo>
                <a:cubicBezTo>
                  <a:pt x="0" y="85596"/>
                  <a:pt x="85596" y="0"/>
                  <a:pt x="191185" y="0"/>
                </a:cubicBezTo>
                <a:lnTo>
                  <a:pt x="3019339" y="0"/>
                </a:lnTo>
                <a:cubicBezTo>
                  <a:pt x="3124928" y="0"/>
                  <a:pt x="3210524" y="85596"/>
                  <a:pt x="3210524" y="191185"/>
                </a:cubicBezTo>
                <a:lnTo>
                  <a:pt x="3210524" y="955904"/>
                </a:lnTo>
                <a:cubicBezTo>
                  <a:pt x="3210524" y="1061493"/>
                  <a:pt x="3124928" y="1147089"/>
                  <a:pt x="3019339" y="1147089"/>
                </a:cubicBezTo>
                <a:lnTo>
                  <a:pt x="191185" y="1147089"/>
                </a:lnTo>
                <a:cubicBezTo>
                  <a:pt x="85596" y="1147089"/>
                  <a:pt x="0" y="1061493"/>
                  <a:pt x="0" y="955904"/>
                </a:cubicBezTo>
                <a:lnTo>
                  <a:pt x="0" y="191185"/>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77916" tIns="116956" rIns="177916" bIns="116956" numCol="1" spcCol="1270" anchor="ctr" anchorCtr="0">
            <a:noAutofit/>
          </a:bodyPr>
          <a:lstStyle/>
          <a:p>
            <a:pPr marL="0" lvl="0" indent="0" algn="ctr" defTabSz="1422400">
              <a:lnSpc>
                <a:spcPct val="90000"/>
              </a:lnSpc>
              <a:spcBef>
                <a:spcPct val="0"/>
              </a:spcBef>
              <a:spcAft>
                <a:spcPct val="35000"/>
              </a:spcAft>
              <a:buNone/>
            </a:pPr>
            <a:r>
              <a:rPr lang="en-US" sz="3200" b="0" kern="1200" dirty="0">
                <a:solidFill>
                  <a:srgbClr val="FFFFFF"/>
                </a:solidFill>
                <a:latin typeface="Segoe UI Semibold" panose="020B0702040204020203" pitchFamily="34" charset="0"/>
                <a:ea typeface="+mn-ea"/>
                <a:cs typeface="Segoe UI Semibold" panose="020B0702040204020203" pitchFamily="34" charset="0"/>
              </a:rPr>
              <a:t>Optional</a:t>
            </a:r>
          </a:p>
        </p:txBody>
      </p:sp>
      <p:sp>
        <p:nvSpPr>
          <p:cNvPr id="4" name="Octagon 3"/>
          <p:cNvSpPr/>
          <p:nvPr/>
        </p:nvSpPr>
        <p:spPr>
          <a:xfrm>
            <a:off x="1107200" y="3031964"/>
            <a:ext cx="443098" cy="439889"/>
          </a:xfrm>
          <a:prstGeom prst="octagon">
            <a:avLst/>
          </a:prstGeom>
          <a:solidFill>
            <a:srgbClr val="CC0000"/>
          </a:solidFill>
        </p:spPr>
        <p:style>
          <a:lnRef idx="1">
            <a:schemeClr val="accent2"/>
          </a:lnRef>
          <a:fillRef idx="3">
            <a:schemeClr val="accent2"/>
          </a:fillRef>
          <a:effectRef idx="2">
            <a:schemeClr val="accent2"/>
          </a:effectRef>
          <a:fontRef idx="minor">
            <a:schemeClr val="lt1"/>
          </a:fontRef>
        </p:style>
        <p:txBody>
          <a:bodyPr rot="0" spcFirstLastPara="0" vert="horz" wrap="square" lIns="68583" tIns="34291" rIns="68583" bIns="34291" numCol="1" spcCol="0" rtlCol="0" fromWordArt="0" anchor="ctr" anchorCtr="0" forceAA="0" compatLnSpc="1">
            <a:prstTxWarp prst="textNoShape">
              <a:avLst/>
            </a:prstTxWarp>
            <a:noAutofit/>
          </a:bodyPr>
          <a:lstStyle/>
          <a:p>
            <a:endParaRPr lang="en-US" sz="1350" dirty="0"/>
          </a:p>
        </p:txBody>
      </p:sp>
      <p:sp>
        <p:nvSpPr>
          <p:cNvPr id="5" name="Isosceles Triangle 4"/>
          <p:cNvSpPr>
            <a:spLocks/>
          </p:cNvSpPr>
          <p:nvPr/>
        </p:nvSpPr>
        <p:spPr>
          <a:xfrm>
            <a:off x="1038785" y="4729732"/>
            <a:ext cx="579874" cy="457219"/>
          </a:xfrm>
          <a:prstGeom prst="triangle">
            <a:avLst/>
          </a:prstGeom>
          <a:solidFill>
            <a:srgbClr val="FFFF00"/>
          </a:solidFill>
        </p:spPr>
        <p:style>
          <a:lnRef idx="1">
            <a:schemeClr val="accent6"/>
          </a:lnRef>
          <a:fillRef idx="3">
            <a:schemeClr val="accent6"/>
          </a:fillRef>
          <a:effectRef idx="2">
            <a:schemeClr val="accent6"/>
          </a:effectRef>
          <a:fontRef idx="minor">
            <a:schemeClr val="lt1"/>
          </a:fontRef>
        </p:style>
        <p:txBody>
          <a:bodyPr rot="0" spcFirstLastPara="0" vert="horz" wrap="square" lIns="68583" tIns="34291" rIns="68583" bIns="34291" numCol="1" spcCol="0" rtlCol="0" fromWordArt="0" anchor="ctr" anchorCtr="0" forceAA="0" compatLnSpc="1">
            <a:prstTxWarp prst="textNoShape">
              <a:avLst/>
            </a:prstTxWarp>
            <a:noAutofit/>
          </a:bodyPr>
          <a:lstStyle/>
          <a:p>
            <a:endParaRPr lang="en-US" sz="1350"/>
          </a:p>
        </p:txBody>
      </p:sp>
      <p:sp>
        <p:nvSpPr>
          <p:cNvPr id="6" name="Oval 5"/>
          <p:cNvSpPr>
            <a:spLocks/>
          </p:cNvSpPr>
          <p:nvPr/>
        </p:nvSpPr>
        <p:spPr>
          <a:xfrm>
            <a:off x="1038785" y="6264074"/>
            <a:ext cx="474539" cy="475477"/>
          </a:xfrm>
          <a:prstGeom prst="ellipse">
            <a:avLst/>
          </a:prstGeom>
          <a:solidFill>
            <a:srgbClr val="00B050"/>
          </a:solidFill>
        </p:spPr>
        <p:style>
          <a:lnRef idx="1">
            <a:schemeClr val="accent3"/>
          </a:lnRef>
          <a:fillRef idx="3">
            <a:schemeClr val="accent3"/>
          </a:fillRef>
          <a:effectRef idx="2">
            <a:schemeClr val="accent3"/>
          </a:effectRef>
          <a:fontRef idx="minor">
            <a:schemeClr val="lt1"/>
          </a:fontRef>
        </p:style>
        <p:txBody>
          <a:bodyPr rot="0" spcFirstLastPara="0" vert="horz" wrap="square" lIns="68583" tIns="34291" rIns="68583" bIns="34291" numCol="1" spcCol="0" rtlCol="0" fromWordArt="0" anchor="ctr" anchorCtr="0" forceAA="0" compatLnSpc="1">
            <a:prstTxWarp prst="textNoShape">
              <a:avLst/>
            </a:prstTxWarp>
            <a:noAutofit/>
          </a:bodyPr>
          <a:lstStyle/>
          <a:p>
            <a:endParaRPr lang="en-US" sz="1350"/>
          </a:p>
        </p:txBody>
      </p:sp>
    </p:spTree>
    <p:extLst>
      <p:ext uri="{BB962C8B-B14F-4D97-AF65-F5344CB8AC3E}">
        <p14:creationId xmlns:p14="http://schemas.microsoft.com/office/powerpoint/2010/main" val="2926831902"/>
      </p:ext>
    </p:extLst>
  </p:cSld>
  <p:clrMapOvr>
    <a:masterClrMapping/>
  </p:clrMapOvr>
  <p:transition>
    <p:fade/>
  </p:transition>
</p:sld>
</file>

<file path=ppt/slides/slide16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Segoe UI Light" panose="020B0502040204020203" pitchFamily="34" charset="0"/>
                <a:cs typeface="Segoe UI Light" panose="020B0502040204020203" pitchFamily="34" charset="0"/>
              </a:rPr>
              <a:t>Event Hubs decisions</a:t>
            </a:r>
            <a:endParaRPr lang="en-US" dirty="0"/>
          </a:p>
        </p:txBody>
      </p:sp>
      <p:sp>
        <p:nvSpPr>
          <p:cNvPr id="8" name="Freeform: Shape 7"/>
          <p:cNvSpPr/>
          <p:nvPr/>
        </p:nvSpPr>
        <p:spPr>
          <a:xfrm>
            <a:off x="4416051" y="1331911"/>
            <a:ext cx="6012374" cy="2093808"/>
          </a:xfrm>
          <a:custGeom>
            <a:avLst/>
            <a:gdLst>
              <a:gd name="connsiteX0" fmla="*/ 0 w 6937384"/>
              <a:gd name="connsiteY0" fmla="*/ 171052 h 1368412"/>
              <a:gd name="connsiteX1" fmla="*/ 6253178 w 6937384"/>
              <a:gd name="connsiteY1" fmla="*/ 171052 h 1368412"/>
              <a:gd name="connsiteX2" fmla="*/ 6253178 w 6937384"/>
              <a:gd name="connsiteY2" fmla="*/ 0 h 1368412"/>
              <a:gd name="connsiteX3" fmla="*/ 6937384 w 6937384"/>
              <a:gd name="connsiteY3" fmla="*/ 684206 h 1368412"/>
              <a:gd name="connsiteX4" fmla="*/ 6253178 w 6937384"/>
              <a:gd name="connsiteY4" fmla="*/ 1368412 h 1368412"/>
              <a:gd name="connsiteX5" fmla="*/ 6253178 w 6937384"/>
              <a:gd name="connsiteY5" fmla="*/ 1197361 h 1368412"/>
              <a:gd name="connsiteX6" fmla="*/ 0 w 6937384"/>
              <a:gd name="connsiteY6" fmla="*/ 1197361 h 1368412"/>
              <a:gd name="connsiteX7" fmla="*/ 0 w 6937384"/>
              <a:gd name="connsiteY7" fmla="*/ 171052 h 13684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937384" h="1368412">
                <a:moveTo>
                  <a:pt x="0" y="171052"/>
                </a:moveTo>
                <a:lnTo>
                  <a:pt x="6253178" y="171052"/>
                </a:lnTo>
                <a:lnTo>
                  <a:pt x="6253178" y="0"/>
                </a:lnTo>
                <a:lnTo>
                  <a:pt x="6937384" y="684206"/>
                </a:lnTo>
                <a:lnTo>
                  <a:pt x="6253178" y="1368412"/>
                </a:lnTo>
                <a:lnTo>
                  <a:pt x="6253178" y="1197361"/>
                </a:lnTo>
                <a:lnTo>
                  <a:pt x="0" y="1197361"/>
                </a:lnTo>
                <a:lnTo>
                  <a:pt x="0" y="171052"/>
                </a:lnTo>
                <a:close/>
              </a:path>
            </a:pathLst>
          </a:custGeom>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228600" tIns="457200" rIns="365760" bIns="182481" numCol="1" spcCol="1270" anchor="t" anchorCtr="0">
            <a:noAutofit/>
          </a:bodyPr>
          <a:lstStyle/>
          <a:p>
            <a:pPr marL="285750" lvl="1" indent="-285750" defTabSz="800100">
              <a:lnSpc>
                <a:spcPct val="90000"/>
              </a:lnSpc>
              <a:spcBef>
                <a:spcPct val="0"/>
              </a:spcBef>
              <a:spcAft>
                <a:spcPct val="15000"/>
              </a:spcAft>
              <a:buFont typeface="Arial" panose="020B0604020202020204" pitchFamily="34" charset="0"/>
              <a:buChar char="•"/>
            </a:pPr>
            <a:r>
              <a:rPr lang="en-US" dirty="0"/>
              <a:t>Event Hubs Standard tier currently supports a maximum retention period of 7 days. Note that Event Hubs are not intended as a permanent data store. Use Event Hub Archive to deliver the ingested data to a Blob storage account</a:t>
            </a:r>
          </a:p>
        </p:txBody>
      </p:sp>
      <p:sp>
        <p:nvSpPr>
          <p:cNvPr id="9" name="Freeform: Shape 8"/>
          <p:cNvSpPr/>
          <p:nvPr/>
        </p:nvSpPr>
        <p:spPr>
          <a:xfrm>
            <a:off x="1320269" y="1577945"/>
            <a:ext cx="3221976" cy="1587447"/>
          </a:xfrm>
          <a:custGeom>
            <a:avLst/>
            <a:gdLst>
              <a:gd name="connsiteX0" fmla="*/ 0 w 3221976"/>
              <a:gd name="connsiteY0" fmla="*/ 188426 h 1130532"/>
              <a:gd name="connsiteX1" fmla="*/ 188426 w 3221976"/>
              <a:gd name="connsiteY1" fmla="*/ 0 h 1130532"/>
              <a:gd name="connsiteX2" fmla="*/ 3033550 w 3221976"/>
              <a:gd name="connsiteY2" fmla="*/ 0 h 1130532"/>
              <a:gd name="connsiteX3" fmla="*/ 3221976 w 3221976"/>
              <a:gd name="connsiteY3" fmla="*/ 188426 h 1130532"/>
              <a:gd name="connsiteX4" fmla="*/ 3221976 w 3221976"/>
              <a:gd name="connsiteY4" fmla="*/ 942106 h 1130532"/>
              <a:gd name="connsiteX5" fmla="*/ 3033550 w 3221976"/>
              <a:gd name="connsiteY5" fmla="*/ 1130532 h 1130532"/>
              <a:gd name="connsiteX6" fmla="*/ 188426 w 3221976"/>
              <a:gd name="connsiteY6" fmla="*/ 1130532 h 1130532"/>
              <a:gd name="connsiteX7" fmla="*/ 0 w 3221976"/>
              <a:gd name="connsiteY7" fmla="*/ 942106 h 1130532"/>
              <a:gd name="connsiteX8" fmla="*/ 0 w 3221976"/>
              <a:gd name="connsiteY8" fmla="*/ 188426 h 11305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21976" h="1130532">
                <a:moveTo>
                  <a:pt x="0" y="188426"/>
                </a:moveTo>
                <a:cubicBezTo>
                  <a:pt x="0" y="84361"/>
                  <a:pt x="84361" y="0"/>
                  <a:pt x="188426" y="0"/>
                </a:cubicBezTo>
                <a:lnTo>
                  <a:pt x="3033550" y="0"/>
                </a:lnTo>
                <a:cubicBezTo>
                  <a:pt x="3137615" y="0"/>
                  <a:pt x="3221976" y="84361"/>
                  <a:pt x="3221976" y="188426"/>
                </a:cubicBezTo>
                <a:lnTo>
                  <a:pt x="3221976" y="942106"/>
                </a:lnTo>
                <a:cubicBezTo>
                  <a:pt x="3221976" y="1046171"/>
                  <a:pt x="3137615" y="1130532"/>
                  <a:pt x="3033550" y="1130532"/>
                </a:cubicBezTo>
                <a:lnTo>
                  <a:pt x="188426" y="1130532"/>
                </a:lnTo>
                <a:cubicBezTo>
                  <a:pt x="84361" y="1130532"/>
                  <a:pt x="0" y="1046171"/>
                  <a:pt x="0" y="942106"/>
                </a:cubicBezTo>
                <a:lnTo>
                  <a:pt x="0" y="188426"/>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77108" tIns="116148" rIns="177108" bIns="116148" numCol="1" spcCol="1270" anchor="ctr" anchorCtr="0">
            <a:noAutofit/>
          </a:bodyPr>
          <a:lstStyle/>
          <a:p>
            <a:pPr marL="0" lvl="0" indent="0" algn="ctr" defTabSz="1422400">
              <a:lnSpc>
                <a:spcPct val="90000"/>
              </a:lnSpc>
              <a:spcBef>
                <a:spcPct val="0"/>
              </a:spcBef>
              <a:spcAft>
                <a:spcPct val="35000"/>
              </a:spcAft>
              <a:buNone/>
            </a:pPr>
            <a:r>
              <a:rPr lang="en-US" sz="3200" b="0" kern="1200" dirty="0">
                <a:latin typeface="Segoe UI Semibold" panose="020B0702040204020203" pitchFamily="34" charset="0"/>
                <a:cs typeface="Segoe UI Semibold" panose="020B0702040204020203" pitchFamily="34" charset="0"/>
              </a:rPr>
              <a:t>Mandatory</a:t>
            </a:r>
          </a:p>
        </p:txBody>
      </p:sp>
      <p:sp>
        <p:nvSpPr>
          <p:cNvPr id="10" name="Freeform: Shape 9"/>
          <p:cNvSpPr/>
          <p:nvPr/>
        </p:nvSpPr>
        <p:spPr>
          <a:xfrm>
            <a:off x="4174858" y="3339901"/>
            <a:ext cx="6253655" cy="1440808"/>
          </a:xfrm>
          <a:custGeom>
            <a:avLst/>
            <a:gdLst>
              <a:gd name="connsiteX0" fmla="*/ 0 w 7091479"/>
              <a:gd name="connsiteY0" fmla="*/ 293845 h 2350760"/>
              <a:gd name="connsiteX1" fmla="*/ 5916099 w 7091479"/>
              <a:gd name="connsiteY1" fmla="*/ 293845 h 2350760"/>
              <a:gd name="connsiteX2" fmla="*/ 5916099 w 7091479"/>
              <a:gd name="connsiteY2" fmla="*/ 0 h 2350760"/>
              <a:gd name="connsiteX3" fmla="*/ 7091479 w 7091479"/>
              <a:gd name="connsiteY3" fmla="*/ 1175380 h 2350760"/>
              <a:gd name="connsiteX4" fmla="*/ 5916099 w 7091479"/>
              <a:gd name="connsiteY4" fmla="*/ 2350760 h 2350760"/>
              <a:gd name="connsiteX5" fmla="*/ 5916099 w 7091479"/>
              <a:gd name="connsiteY5" fmla="*/ 2056915 h 2350760"/>
              <a:gd name="connsiteX6" fmla="*/ 0 w 7091479"/>
              <a:gd name="connsiteY6" fmla="*/ 2056915 h 2350760"/>
              <a:gd name="connsiteX7" fmla="*/ 0 w 7091479"/>
              <a:gd name="connsiteY7" fmla="*/ 293845 h 2350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091479" h="2350760">
                <a:moveTo>
                  <a:pt x="0" y="293845"/>
                </a:moveTo>
                <a:lnTo>
                  <a:pt x="5916099" y="293845"/>
                </a:lnTo>
                <a:lnTo>
                  <a:pt x="5916099" y="0"/>
                </a:lnTo>
                <a:lnTo>
                  <a:pt x="7091479" y="1175380"/>
                </a:lnTo>
                <a:lnTo>
                  <a:pt x="5916099" y="2350760"/>
                </a:lnTo>
                <a:lnTo>
                  <a:pt x="5916099" y="2056915"/>
                </a:lnTo>
                <a:lnTo>
                  <a:pt x="0" y="2056915"/>
                </a:lnTo>
                <a:lnTo>
                  <a:pt x="0" y="293845"/>
                </a:lnTo>
                <a:close/>
              </a:path>
            </a:pathLst>
          </a:custGeom>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457200" tIns="365760" rIns="1064415" bIns="305275" numCol="1" spcCol="1270" anchor="t" anchorCtr="0">
            <a:noAutofit/>
          </a:bodyPr>
          <a:lstStyle/>
          <a:p>
            <a:pPr marL="285750" lvl="1" indent="-285750" defTabSz="800100">
              <a:lnSpc>
                <a:spcPct val="90000"/>
              </a:lnSpc>
              <a:spcBef>
                <a:spcPct val="0"/>
              </a:spcBef>
              <a:spcAft>
                <a:spcPct val="15000"/>
              </a:spcAft>
              <a:buFont typeface="Arial" panose="020B0604020202020204" pitchFamily="34" charset="0"/>
              <a:buChar char="•"/>
            </a:pPr>
            <a:r>
              <a:rPr lang="en-US" dirty="0"/>
              <a:t>Do not grant tokens with direct access that will be used by devices. This prevents blacklisting and throttling</a:t>
            </a:r>
          </a:p>
        </p:txBody>
      </p:sp>
      <p:sp>
        <p:nvSpPr>
          <p:cNvPr id="11" name="Freeform: Shape 10"/>
          <p:cNvSpPr/>
          <p:nvPr/>
        </p:nvSpPr>
        <p:spPr>
          <a:xfrm>
            <a:off x="1328722" y="3526143"/>
            <a:ext cx="3213523" cy="1095517"/>
          </a:xfrm>
          <a:custGeom>
            <a:avLst/>
            <a:gdLst>
              <a:gd name="connsiteX0" fmla="*/ 0 w 3213523"/>
              <a:gd name="connsiteY0" fmla="*/ 295356 h 1772099"/>
              <a:gd name="connsiteX1" fmla="*/ 295356 w 3213523"/>
              <a:gd name="connsiteY1" fmla="*/ 0 h 1772099"/>
              <a:gd name="connsiteX2" fmla="*/ 2918167 w 3213523"/>
              <a:gd name="connsiteY2" fmla="*/ 0 h 1772099"/>
              <a:gd name="connsiteX3" fmla="*/ 3213523 w 3213523"/>
              <a:gd name="connsiteY3" fmla="*/ 295356 h 1772099"/>
              <a:gd name="connsiteX4" fmla="*/ 3213523 w 3213523"/>
              <a:gd name="connsiteY4" fmla="*/ 1476743 h 1772099"/>
              <a:gd name="connsiteX5" fmla="*/ 2918167 w 3213523"/>
              <a:gd name="connsiteY5" fmla="*/ 1772099 h 1772099"/>
              <a:gd name="connsiteX6" fmla="*/ 295356 w 3213523"/>
              <a:gd name="connsiteY6" fmla="*/ 1772099 h 1772099"/>
              <a:gd name="connsiteX7" fmla="*/ 0 w 3213523"/>
              <a:gd name="connsiteY7" fmla="*/ 1476743 h 1772099"/>
              <a:gd name="connsiteX8" fmla="*/ 0 w 3213523"/>
              <a:gd name="connsiteY8" fmla="*/ 295356 h 17720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13523" h="1772099">
                <a:moveTo>
                  <a:pt x="0" y="295356"/>
                </a:moveTo>
                <a:cubicBezTo>
                  <a:pt x="0" y="132235"/>
                  <a:pt x="132235" y="0"/>
                  <a:pt x="295356" y="0"/>
                </a:cubicBezTo>
                <a:lnTo>
                  <a:pt x="2918167" y="0"/>
                </a:lnTo>
                <a:cubicBezTo>
                  <a:pt x="3081288" y="0"/>
                  <a:pt x="3213523" y="132235"/>
                  <a:pt x="3213523" y="295356"/>
                </a:cubicBezTo>
                <a:lnTo>
                  <a:pt x="3213523" y="1476743"/>
                </a:lnTo>
                <a:cubicBezTo>
                  <a:pt x="3213523" y="1639864"/>
                  <a:pt x="3081288" y="1772099"/>
                  <a:pt x="2918167" y="1772099"/>
                </a:cubicBezTo>
                <a:lnTo>
                  <a:pt x="295356" y="1772099"/>
                </a:lnTo>
                <a:cubicBezTo>
                  <a:pt x="132235" y="1772099"/>
                  <a:pt x="0" y="1639864"/>
                  <a:pt x="0" y="1476743"/>
                </a:cubicBezTo>
                <a:lnTo>
                  <a:pt x="0" y="295356"/>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08427" tIns="147467" rIns="208427" bIns="147467" numCol="1" spcCol="1270" anchor="ctr" anchorCtr="0">
            <a:noAutofit/>
          </a:bodyPr>
          <a:lstStyle/>
          <a:p>
            <a:pPr marL="0" lvl="0" indent="0" algn="ctr" defTabSz="1422400">
              <a:lnSpc>
                <a:spcPct val="90000"/>
              </a:lnSpc>
              <a:spcBef>
                <a:spcPct val="0"/>
              </a:spcBef>
              <a:spcAft>
                <a:spcPct val="35000"/>
              </a:spcAft>
              <a:buNone/>
            </a:pPr>
            <a:r>
              <a:rPr lang="en-US" sz="3200" b="0" kern="1200" dirty="0">
                <a:solidFill>
                  <a:srgbClr val="FFFFFF"/>
                </a:solidFill>
                <a:latin typeface="Segoe UI Semibold" panose="020B0702040204020203" pitchFamily="34" charset="0"/>
                <a:ea typeface="+mn-ea"/>
                <a:cs typeface="Segoe UI Semibold" panose="020B0702040204020203" pitchFamily="34" charset="0"/>
              </a:rPr>
              <a:t>Recommended</a:t>
            </a:r>
          </a:p>
        </p:txBody>
      </p:sp>
      <p:sp>
        <p:nvSpPr>
          <p:cNvPr id="12" name="Freeform: Shape 11"/>
          <p:cNvSpPr/>
          <p:nvPr/>
        </p:nvSpPr>
        <p:spPr>
          <a:xfrm>
            <a:off x="4281381" y="4688116"/>
            <a:ext cx="6147044" cy="2160712"/>
          </a:xfrm>
          <a:custGeom>
            <a:avLst/>
            <a:gdLst>
              <a:gd name="connsiteX0" fmla="*/ 0 w 7125896"/>
              <a:gd name="connsiteY0" fmla="*/ 180910 h 1447281"/>
              <a:gd name="connsiteX1" fmla="*/ 6402256 w 7125896"/>
              <a:gd name="connsiteY1" fmla="*/ 180910 h 1447281"/>
              <a:gd name="connsiteX2" fmla="*/ 6402256 w 7125896"/>
              <a:gd name="connsiteY2" fmla="*/ 0 h 1447281"/>
              <a:gd name="connsiteX3" fmla="*/ 7125896 w 7125896"/>
              <a:gd name="connsiteY3" fmla="*/ 723641 h 1447281"/>
              <a:gd name="connsiteX4" fmla="*/ 6402256 w 7125896"/>
              <a:gd name="connsiteY4" fmla="*/ 1447281 h 1447281"/>
              <a:gd name="connsiteX5" fmla="*/ 6402256 w 7125896"/>
              <a:gd name="connsiteY5" fmla="*/ 1266371 h 1447281"/>
              <a:gd name="connsiteX6" fmla="*/ 0 w 7125896"/>
              <a:gd name="connsiteY6" fmla="*/ 1266371 h 1447281"/>
              <a:gd name="connsiteX7" fmla="*/ 0 w 7125896"/>
              <a:gd name="connsiteY7" fmla="*/ 180910 h 14472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125896" h="1447281">
                <a:moveTo>
                  <a:pt x="0" y="180910"/>
                </a:moveTo>
                <a:lnTo>
                  <a:pt x="6402256" y="180910"/>
                </a:lnTo>
                <a:lnTo>
                  <a:pt x="6402256" y="0"/>
                </a:lnTo>
                <a:lnTo>
                  <a:pt x="7125896" y="723641"/>
                </a:lnTo>
                <a:lnTo>
                  <a:pt x="6402256" y="1447281"/>
                </a:lnTo>
                <a:lnTo>
                  <a:pt x="6402256" y="1266371"/>
                </a:lnTo>
                <a:lnTo>
                  <a:pt x="0" y="1266371"/>
                </a:lnTo>
                <a:lnTo>
                  <a:pt x="0" y="180910"/>
                </a:lnTo>
                <a:close/>
              </a:path>
            </a:pathLst>
          </a:custGeom>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365760" tIns="365760" rIns="640080" bIns="192340" numCol="1" spcCol="1270" anchor="t" anchorCtr="0">
            <a:noAutofit/>
          </a:bodyPr>
          <a:lstStyle/>
          <a:p>
            <a:pPr marL="285750" lvl="0" indent="-285750">
              <a:buFont typeface="Arial" panose="020B0604020202020204" pitchFamily="34" charset="0"/>
              <a:buChar char="•"/>
            </a:pPr>
            <a:r>
              <a:rPr lang="en-US" dirty="0"/>
              <a:t>Consider long term scale needs prior to creating the Event Hub as the partition count cannot be changed. The number of partitions must be between 2 and 32. You can increase the 32 partition limit by contacting support</a:t>
            </a:r>
          </a:p>
        </p:txBody>
      </p:sp>
      <p:sp>
        <p:nvSpPr>
          <p:cNvPr id="13" name="Freeform: Shape 12"/>
          <p:cNvSpPr/>
          <p:nvPr/>
        </p:nvSpPr>
        <p:spPr>
          <a:xfrm>
            <a:off x="1259112" y="4955218"/>
            <a:ext cx="3210524" cy="1634267"/>
          </a:xfrm>
          <a:custGeom>
            <a:avLst/>
            <a:gdLst>
              <a:gd name="connsiteX0" fmla="*/ 0 w 3210524"/>
              <a:gd name="connsiteY0" fmla="*/ 191185 h 1147089"/>
              <a:gd name="connsiteX1" fmla="*/ 191185 w 3210524"/>
              <a:gd name="connsiteY1" fmla="*/ 0 h 1147089"/>
              <a:gd name="connsiteX2" fmla="*/ 3019339 w 3210524"/>
              <a:gd name="connsiteY2" fmla="*/ 0 h 1147089"/>
              <a:gd name="connsiteX3" fmla="*/ 3210524 w 3210524"/>
              <a:gd name="connsiteY3" fmla="*/ 191185 h 1147089"/>
              <a:gd name="connsiteX4" fmla="*/ 3210524 w 3210524"/>
              <a:gd name="connsiteY4" fmla="*/ 955904 h 1147089"/>
              <a:gd name="connsiteX5" fmla="*/ 3019339 w 3210524"/>
              <a:gd name="connsiteY5" fmla="*/ 1147089 h 1147089"/>
              <a:gd name="connsiteX6" fmla="*/ 191185 w 3210524"/>
              <a:gd name="connsiteY6" fmla="*/ 1147089 h 1147089"/>
              <a:gd name="connsiteX7" fmla="*/ 0 w 3210524"/>
              <a:gd name="connsiteY7" fmla="*/ 955904 h 1147089"/>
              <a:gd name="connsiteX8" fmla="*/ 0 w 3210524"/>
              <a:gd name="connsiteY8" fmla="*/ 191185 h 1147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10524" h="1147089">
                <a:moveTo>
                  <a:pt x="0" y="191185"/>
                </a:moveTo>
                <a:cubicBezTo>
                  <a:pt x="0" y="85596"/>
                  <a:pt x="85596" y="0"/>
                  <a:pt x="191185" y="0"/>
                </a:cubicBezTo>
                <a:lnTo>
                  <a:pt x="3019339" y="0"/>
                </a:lnTo>
                <a:cubicBezTo>
                  <a:pt x="3124928" y="0"/>
                  <a:pt x="3210524" y="85596"/>
                  <a:pt x="3210524" y="191185"/>
                </a:cubicBezTo>
                <a:lnTo>
                  <a:pt x="3210524" y="955904"/>
                </a:lnTo>
                <a:cubicBezTo>
                  <a:pt x="3210524" y="1061493"/>
                  <a:pt x="3124928" y="1147089"/>
                  <a:pt x="3019339" y="1147089"/>
                </a:cubicBezTo>
                <a:lnTo>
                  <a:pt x="191185" y="1147089"/>
                </a:lnTo>
                <a:cubicBezTo>
                  <a:pt x="85596" y="1147089"/>
                  <a:pt x="0" y="1061493"/>
                  <a:pt x="0" y="955904"/>
                </a:cubicBezTo>
                <a:lnTo>
                  <a:pt x="0" y="191185"/>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77916" tIns="116956" rIns="177916" bIns="116956" numCol="1" spcCol="1270" anchor="ctr" anchorCtr="0">
            <a:noAutofit/>
          </a:bodyPr>
          <a:lstStyle/>
          <a:p>
            <a:pPr marL="0" lvl="0" indent="0" algn="ctr" defTabSz="1422400">
              <a:lnSpc>
                <a:spcPct val="90000"/>
              </a:lnSpc>
              <a:spcBef>
                <a:spcPct val="0"/>
              </a:spcBef>
              <a:spcAft>
                <a:spcPct val="35000"/>
              </a:spcAft>
              <a:buNone/>
            </a:pPr>
            <a:r>
              <a:rPr lang="en-US" sz="3200" b="0" kern="1200" dirty="0">
                <a:solidFill>
                  <a:srgbClr val="FFFFFF"/>
                </a:solidFill>
                <a:latin typeface="Segoe UI Semibold" panose="020B0702040204020203" pitchFamily="34" charset="0"/>
                <a:ea typeface="+mn-ea"/>
                <a:cs typeface="Segoe UI Semibold" panose="020B0702040204020203" pitchFamily="34" charset="0"/>
              </a:rPr>
              <a:t>Optional</a:t>
            </a:r>
          </a:p>
        </p:txBody>
      </p:sp>
      <p:sp>
        <p:nvSpPr>
          <p:cNvPr id="4" name="Octagon 3"/>
          <p:cNvSpPr/>
          <p:nvPr/>
        </p:nvSpPr>
        <p:spPr>
          <a:xfrm>
            <a:off x="1107200" y="2913360"/>
            <a:ext cx="443098" cy="439889"/>
          </a:xfrm>
          <a:prstGeom prst="octagon">
            <a:avLst/>
          </a:prstGeom>
          <a:solidFill>
            <a:srgbClr val="CC0000"/>
          </a:solidFill>
        </p:spPr>
        <p:style>
          <a:lnRef idx="1">
            <a:schemeClr val="accent2"/>
          </a:lnRef>
          <a:fillRef idx="3">
            <a:schemeClr val="accent2"/>
          </a:fillRef>
          <a:effectRef idx="2">
            <a:schemeClr val="accent2"/>
          </a:effectRef>
          <a:fontRef idx="minor">
            <a:schemeClr val="lt1"/>
          </a:fontRef>
        </p:style>
        <p:txBody>
          <a:bodyPr rot="0" spcFirstLastPara="0" vert="horz" wrap="square" lIns="68583" tIns="34291" rIns="68583" bIns="34291" numCol="1" spcCol="0" rtlCol="0" fromWordArt="0" anchor="ctr" anchorCtr="0" forceAA="0" compatLnSpc="1">
            <a:prstTxWarp prst="textNoShape">
              <a:avLst/>
            </a:prstTxWarp>
            <a:noAutofit/>
          </a:bodyPr>
          <a:lstStyle/>
          <a:p>
            <a:endParaRPr lang="en-US" sz="1350" dirty="0"/>
          </a:p>
        </p:txBody>
      </p:sp>
      <p:sp>
        <p:nvSpPr>
          <p:cNvPr id="5" name="Isosceles Triangle 4"/>
          <p:cNvSpPr>
            <a:spLocks/>
          </p:cNvSpPr>
          <p:nvPr/>
        </p:nvSpPr>
        <p:spPr>
          <a:xfrm>
            <a:off x="1038785" y="4323490"/>
            <a:ext cx="579874" cy="457219"/>
          </a:xfrm>
          <a:prstGeom prst="triangle">
            <a:avLst/>
          </a:prstGeom>
          <a:solidFill>
            <a:srgbClr val="FFFF00"/>
          </a:solidFill>
        </p:spPr>
        <p:style>
          <a:lnRef idx="1">
            <a:schemeClr val="accent6"/>
          </a:lnRef>
          <a:fillRef idx="3">
            <a:schemeClr val="accent6"/>
          </a:fillRef>
          <a:effectRef idx="2">
            <a:schemeClr val="accent6"/>
          </a:effectRef>
          <a:fontRef idx="minor">
            <a:schemeClr val="lt1"/>
          </a:fontRef>
        </p:style>
        <p:txBody>
          <a:bodyPr rot="0" spcFirstLastPara="0" vert="horz" wrap="square" lIns="68583" tIns="34291" rIns="68583" bIns="34291" numCol="1" spcCol="0" rtlCol="0" fromWordArt="0" anchor="ctr" anchorCtr="0" forceAA="0" compatLnSpc="1">
            <a:prstTxWarp prst="textNoShape">
              <a:avLst/>
            </a:prstTxWarp>
            <a:noAutofit/>
          </a:bodyPr>
          <a:lstStyle/>
          <a:p>
            <a:endParaRPr lang="en-US" sz="1350"/>
          </a:p>
        </p:txBody>
      </p:sp>
      <p:sp>
        <p:nvSpPr>
          <p:cNvPr id="6" name="Oval 5"/>
          <p:cNvSpPr>
            <a:spLocks/>
          </p:cNvSpPr>
          <p:nvPr/>
        </p:nvSpPr>
        <p:spPr>
          <a:xfrm>
            <a:off x="1038785" y="6264074"/>
            <a:ext cx="474539" cy="475477"/>
          </a:xfrm>
          <a:prstGeom prst="ellipse">
            <a:avLst/>
          </a:prstGeom>
          <a:solidFill>
            <a:srgbClr val="00B050"/>
          </a:solidFill>
        </p:spPr>
        <p:style>
          <a:lnRef idx="1">
            <a:schemeClr val="accent3"/>
          </a:lnRef>
          <a:fillRef idx="3">
            <a:schemeClr val="accent3"/>
          </a:fillRef>
          <a:effectRef idx="2">
            <a:schemeClr val="accent3"/>
          </a:effectRef>
          <a:fontRef idx="minor">
            <a:schemeClr val="lt1"/>
          </a:fontRef>
        </p:style>
        <p:txBody>
          <a:bodyPr rot="0" spcFirstLastPara="0" vert="horz" wrap="square" lIns="68583" tIns="34291" rIns="68583" bIns="34291" numCol="1" spcCol="0" rtlCol="0" fromWordArt="0" anchor="ctr" anchorCtr="0" forceAA="0" compatLnSpc="1">
            <a:prstTxWarp prst="textNoShape">
              <a:avLst/>
            </a:prstTxWarp>
            <a:noAutofit/>
          </a:bodyPr>
          <a:lstStyle/>
          <a:p>
            <a:endParaRPr lang="en-US" sz="1350"/>
          </a:p>
        </p:txBody>
      </p:sp>
    </p:spTree>
    <p:extLst>
      <p:ext uri="{BB962C8B-B14F-4D97-AF65-F5344CB8AC3E}">
        <p14:creationId xmlns:p14="http://schemas.microsoft.com/office/powerpoint/2010/main" val="364426308"/>
      </p:ext>
    </p:extLst>
  </p:cSld>
  <p:clrMapOvr>
    <a:masterClrMapping/>
  </p:clrMapOvr>
  <p:transition>
    <p:fade/>
  </p:transition>
</p:sld>
</file>

<file path=ppt/slides/slide16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9" name="Table 8"/>
          <p:cNvGraphicFramePr>
            <a:graphicFrameLocks noGrp="1"/>
          </p:cNvGraphicFramePr>
          <p:nvPr>
            <p:extLst/>
          </p:nvPr>
        </p:nvGraphicFramePr>
        <p:xfrm>
          <a:off x="547010" y="4705837"/>
          <a:ext cx="10971594" cy="1966218"/>
        </p:xfrm>
        <a:graphic>
          <a:graphicData uri="http://schemas.openxmlformats.org/drawingml/2006/table">
            <a:tbl>
              <a:tblPr firstRow="1" bandRow="1">
                <a:tableStyleId>{F2DE63D5-997A-4646-A377-4702673A728D}</a:tableStyleId>
              </a:tblPr>
              <a:tblGrid>
                <a:gridCol w="2460656">
                  <a:extLst>
                    <a:ext uri="{9D8B030D-6E8A-4147-A177-3AD203B41FA5}">
                      <a16:colId xmlns:a16="http://schemas.microsoft.com/office/drawing/2014/main" val="3323723136"/>
                    </a:ext>
                  </a:extLst>
                </a:gridCol>
                <a:gridCol w="3516336">
                  <a:extLst>
                    <a:ext uri="{9D8B030D-6E8A-4147-A177-3AD203B41FA5}">
                      <a16:colId xmlns:a16="http://schemas.microsoft.com/office/drawing/2014/main" val="3937888222"/>
                    </a:ext>
                  </a:extLst>
                </a:gridCol>
                <a:gridCol w="4994602">
                  <a:extLst>
                    <a:ext uri="{9D8B030D-6E8A-4147-A177-3AD203B41FA5}">
                      <a16:colId xmlns:a16="http://schemas.microsoft.com/office/drawing/2014/main" val="1410519535"/>
                    </a:ext>
                  </a:extLst>
                </a:gridCol>
              </a:tblGrid>
              <a:tr h="430361">
                <a:tc>
                  <a:txBody>
                    <a:bodyPr/>
                    <a:lstStyle/>
                    <a:p>
                      <a:r>
                        <a:rPr lang="en-US" sz="2200" b="0" i="0" dirty="0">
                          <a:latin typeface="Segoe UI Semibold" panose="020B0702040204020203" pitchFamily="34" charset="0"/>
                          <a:cs typeface="Segoe UI Semibold" panose="020B0702040204020203" pitchFamily="34" charset="0"/>
                        </a:rPr>
                        <a:t>Service name</a:t>
                      </a:r>
                    </a:p>
                  </a:txBody>
                  <a:tcPr marL="86072" marR="86072" marT="43036" marB="43036">
                    <a:solidFill>
                      <a:schemeClr val="accent1"/>
                    </a:solidFill>
                  </a:tcPr>
                </a:tc>
                <a:tc>
                  <a:txBody>
                    <a:bodyPr/>
                    <a:lstStyle/>
                    <a:p>
                      <a:r>
                        <a:rPr lang="en-US" sz="2200" b="0" i="0" dirty="0">
                          <a:latin typeface="Segoe UI Semibold" panose="020B0702040204020203" pitchFamily="34" charset="0"/>
                          <a:cs typeface="Segoe UI Semibold" panose="020B0702040204020203" pitchFamily="34" charset="0"/>
                        </a:rPr>
                        <a:t>Service level</a:t>
                      </a:r>
                    </a:p>
                  </a:txBody>
                  <a:tcPr marL="86072" marR="86072" marT="43036" marB="43036">
                    <a:solidFill>
                      <a:schemeClr val="accent1"/>
                    </a:solidFill>
                  </a:tcPr>
                </a:tc>
                <a:tc>
                  <a:txBody>
                    <a:bodyPr/>
                    <a:lstStyle/>
                    <a:p>
                      <a:r>
                        <a:rPr lang="en-US" sz="2200" b="0" i="0" dirty="0">
                          <a:latin typeface="Segoe UI Semibold" panose="020B0702040204020203" pitchFamily="34" charset="0"/>
                          <a:cs typeface="Segoe UI Semibold" panose="020B0702040204020203" pitchFamily="34" charset="0"/>
                        </a:rPr>
                        <a:t>Subscription</a:t>
                      </a:r>
                      <a:r>
                        <a:rPr lang="en-US" sz="2200" b="0" i="0" baseline="0" dirty="0">
                          <a:latin typeface="Segoe UI Semibold" panose="020B0702040204020203" pitchFamily="34" charset="0"/>
                          <a:cs typeface="Segoe UI Semibold" panose="020B0702040204020203" pitchFamily="34" charset="0"/>
                        </a:rPr>
                        <a:t> level</a:t>
                      </a:r>
                      <a:endParaRPr lang="en-US" sz="2200" b="0" i="0" dirty="0">
                        <a:latin typeface="Segoe UI Semibold" panose="020B0702040204020203" pitchFamily="34" charset="0"/>
                        <a:cs typeface="Segoe UI Semibold" panose="020B0702040204020203" pitchFamily="34" charset="0"/>
                      </a:endParaRPr>
                    </a:p>
                  </a:txBody>
                  <a:tcPr marL="86072" marR="86072" marT="43036" marB="43036">
                    <a:solidFill>
                      <a:schemeClr val="accent1"/>
                    </a:solidFill>
                  </a:tcPr>
                </a:tc>
                <a:extLst>
                  <a:ext uri="{0D108BD9-81ED-4DB2-BD59-A6C34878D82A}">
                    <a16:rowId xmlns:a16="http://schemas.microsoft.com/office/drawing/2014/main" val="3157971493"/>
                  </a:ext>
                </a:extLst>
              </a:tr>
              <a:tr h="761208">
                <a:tc>
                  <a:txBody>
                    <a:bodyPr/>
                    <a:lstStyle/>
                    <a:p>
                      <a:r>
                        <a:rPr lang="en-US" sz="2200" b="0" i="0" dirty="0">
                          <a:latin typeface="Segoe UI Semibold" panose="020B0702040204020203" pitchFamily="34" charset="0"/>
                          <a:cs typeface="Segoe UI Semibold" panose="020B0702040204020203" pitchFamily="34" charset="0"/>
                        </a:rPr>
                        <a:t>IoT Hubs</a:t>
                      </a:r>
                    </a:p>
                  </a:txBody>
                  <a:tcPr marL="86072" marR="86072" marT="43036" marB="43036"/>
                </a:tc>
                <a:tc>
                  <a:txBody>
                    <a:bodyPr/>
                    <a:lstStyle/>
                    <a:p>
                      <a:r>
                        <a:rPr lang="en-US" sz="2200" dirty="0"/>
                        <a:t>-</a:t>
                      </a:r>
                    </a:p>
                  </a:txBody>
                  <a:tcPr marL="86072" marR="86072" marT="43036" marB="43036"/>
                </a:tc>
                <a:tc>
                  <a:txBody>
                    <a:bodyPr/>
                    <a:lstStyle/>
                    <a:p>
                      <a:r>
                        <a:rPr lang="en-US" sz="2200" dirty="0"/>
                        <a:t>Message size for device-to-cloud = 256KB</a:t>
                      </a:r>
                    </a:p>
                  </a:txBody>
                  <a:tcPr marL="86072" marR="86072" marT="43036" marB="43036"/>
                </a:tc>
                <a:extLst>
                  <a:ext uri="{0D108BD9-81ED-4DB2-BD59-A6C34878D82A}">
                    <a16:rowId xmlns:a16="http://schemas.microsoft.com/office/drawing/2014/main" val="4133688658"/>
                  </a:ext>
                </a:extLst>
              </a:tr>
              <a:tr h="774649">
                <a:tc>
                  <a:txBody>
                    <a:bodyPr/>
                    <a:lstStyle/>
                    <a:p>
                      <a:r>
                        <a:rPr lang="en-US" sz="2200" b="0" i="0" dirty="0">
                          <a:latin typeface="Segoe UI Semibold" panose="020B0702040204020203" pitchFamily="34" charset="0"/>
                          <a:cs typeface="Segoe UI Semibold" panose="020B0702040204020203" pitchFamily="34" charset="0"/>
                        </a:rPr>
                        <a:t>Event Hubs</a:t>
                      </a:r>
                    </a:p>
                  </a:txBody>
                  <a:tcPr marL="86072" marR="86072" marT="43036" marB="43036"/>
                </a:tc>
                <a:tc>
                  <a:txBody>
                    <a:bodyPr/>
                    <a:lstStyle/>
                    <a:p>
                      <a:r>
                        <a:rPr lang="en-US" sz="2200" dirty="0"/>
                        <a:t>-</a:t>
                      </a:r>
                    </a:p>
                  </a:txBody>
                  <a:tcPr marL="86072" marR="86072" marT="43036" marB="43036"/>
                </a:tc>
                <a:tc>
                  <a:txBody>
                    <a:bodyPr/>
                    <a:lstStyle/>
                    <a:p>
                      <a:pPr marL="0" marR="0" lvl="0" indent="0" algn="l" defTabSz="699446" rtl="0" eaLnBrk="1" fontAlgn="auto" latinLnBrk="0" hangingPunct="1">
                        <a:lnSpc>
                          <a:spcPct val="100000"/>
                        </a:lnSpc>
                        <a:spcBef>
                          <a:spcPts val="0"/>
                        </a:spcBef>
                        <a:spcAft>
                          <a:spcPts val="0"/>
                        </a:spcAft>
                        <a:buClrTx/>
                        <a:buSzTx/>
                        <a:buFontTx/>
                        <a:buNone/>
                        <a:tabLst/>
                        <a:defRPr/>
                      </a:pPr>
                      <a:r>
                        <a:rPr lang="en-US" sz="2200" dirty="0"/>
                        <a:t>Max size of Event Hubs event = 256KB</a:t>
                      </a:r>
                    </a:p>
                  </a:txBody>
                  <a:tcPr marL="86072" marR="86072" marT="43036" marB="43036"/>
                </a:tc>
                <a:extLst>
                  <a:ext uri="{0D108BD9-81ED-4DB2-BD59-A6C34878D82A}">
                    <a16:rowId xmlns:a16="http://schemas.microsoft.com/office/drawing/2014/main" val="1987288546"/>
                  </a:ext>
                </a:extLst>
              </a:tr>
            </a:tbl>
          </a:graphicData>
        </a:graphic>
      </p:graphicFrame>
      <p:sp>
        <p:nvSpPr>
          <p:cNvPr id="5" name="Title 4"/>
          <p:cNvSpPr>
            <a:spLocks noGrp="1"/>
          </p:cNvSpPr>
          <p:nvPr>
            <p:ph type="title"/>
          </p:nvPr>
        </p:nvSpPr>
        <p:spPr>
          <a:xfrm>
            <a:off x="366169" y="295278"/>
            <a:ext cx="11702551" cy="917575"/>
          </a:xfrm>
        </p:spPr>
        <p:txBody>
          <a:bodyPr/>
          <a:lstStyle/>
          <a:p>
            <a:r>
              <a:rPr lang="en-US" dirty="0" err="1"/>
              <a:t>IoT</a:t>
            </a:r>
            <a:r>
              <a:rPr lang="en-US" dirty="0"/>
              <a:t> – Key decision points</a:t>
            </a:r>
          </a:p>
        </p:txBody>
      </p:sp>
      <p:graphicFrame>
        <p:nvGraphicFramePr>
          <p:cNvPr id="6" name="Table 5"/>
          <p:cNvGraphicFramePr>
            <a:graphicFrameLocks noGrp="1"/>
          </p:cNvGraphicFramePr>
          <p:nvPr>
            <p:extLst/>
          </p:nvPr>
        </p:nvGraphicFramePr>
        <p:xfrm>
          <a:off x="547010" y="1389322"/>
          <a:ext cx="10971594" cy="1979659"/>
        </p:xfrm>
        <a:graphic>
          <a:graphicData uri="http://schemas.openxmlformats.org/drawingml/2006/table">
            <a:tbl>
              <a:tblPr firstRow="1" bandRow="1">
                <a:tableStyleId>{F2DE63D5-997A-4646-A377-4702673A728D}</a:tableStyleId>
              </a:tblPr>
              <a:tblGrid>
                <a:gridCol w="2179349">
                  <a:extLst>
                    <a:ext uri="{9D8B030D-6E8A-4147-A177-3AD203B41FA5}">
                      <a16:colId xmlns:a16="http://schemas.microsoft.com/office/drawing/2014/main" val="3323723136"/>
                    </a:ext>
                  </a:extLst>
                </a:gridCol>
                <a:gridCol w="2543748">
                  <a:extLst>
                    <a:ext uri="{9D8B030D-6E8A-4147-A177-3AD203B41FA5}">
                      <a16:colId xmlns:a16="http://schemas.microsoft.com/office/drawing/2014/main" val="3937888222"/>
                    </a:ext>
                  </a:extLst>
                </a:gridCol>
                <a:gridCol w="2316122">
                  <a:extLst>
                    <a:ext uri="{9D8B030D-6E8A-4147-A177-3AD203B41FA5}">
                      <a16:colId xmlns:a16="http://schemas.microsoft.com/office/drawing/2014/main" val="1410519535"/>
                    </a:ext>
                  </a:extLst>
                </a:gridCol>
                <a:gridCol w="3932375">
                  <a:extLst>
                    <a:ext uri="{9D8B030D-6E8A-4147-A177-3AD203B41FA5}">
                      <a16:colId xmlns:a16="http://schemas.microsoft.com/office/drawing/2014/main" val="3764866363"/>
                    </a:ext>
                  </a:extLst>
                </a:gridCol>
              </a:tblGrid>
              <a:tr h="774649">
                <a:tc>
                  <a:txBody>
                    <a:bodyPr/>
                    <a:lstStyle/>
                    <a:p>
                      <a:r>
                        <a:rPr lang="en-US" sz="2200" b="0" i="0" dirty="0">
                          <a:latin typeface="Segoe UI Semibold" panose="020B0702040204020203" pitchFamily="34" charset="0"/>
                          <a:cs typeface="Segoe UI Semibold" panose="020B0702040204020203" pitchFamily="34" charset="0"/>
                        </a:rPr>
                        <a:t>Service name</a:t>
                      </a:r>
                    </a:p>
                  </a:txBody>
                  <a:tcPr marL="86072" marR="86072" marT="43036" marB="43036">
                    <a:solidFill>
                      <a:schemeClr val="accent1"/>
                    </a:solidFill>
                  </a:tcPr>
                </a:tc>
                <a:tc>
                  <a:txBody>
                    <a:bodyPr/>
                    <a:lstStyle/>
                    <a:p>
                      <a:r>
                        <a:rPr lang="en-US" sz="2200" b="0" i="0" dirty="0">
                          <a:latin typeface="Segoe UI Semibold" panose="020B0702040204020203" pitchFamily="34" charset="0"/>
                          <a:cs typeface="Segoe UI Semibold" panose="020B0702040204020203" pitchFamily="34" charset="0"/>
                        </a:rPr>
                        <a:t>Management</a:t>
                      </a:r>
                    </a:p>
                  </a:txBody>
                  <a:tcPr marL="86072" marR="86072" marT="43036" marB="43036">
                    <a:solidFill>
                      <a:schemeClr val="accent1"/>
                    </a:solidFill>
                  </a:tcPr>
                </a:tc>
                <a:tc>
                  <a:txBody>
                    <a:bodyPr/>
                    <a:lstStyle/>
                    <a:p>
                      <a:r>
                        <a:rPr lang="en-US" sz="2200" b="0" i="0" dirty="0">
                          <a:latin typeface="Segoe UI Semibold" panose="020B0702040204020203" pitchFamily="34" charset="0"/>
                          <a:cs typeface="Segoe UI Semibold" panose="020B0702040204020203" pitchFamily="34" charset="0"/>
                        </a:rPr>
                        <a:t>Peering (public, private, both)</a:t>
                      </a:r>
                    </a:p>
                  </a:txBody>
                  <a:tcPr marL="86072" marR="86072" marT="43036" marB="43036">
                    <a:solidFill>
                      <a:schemeClr val="accent1"/>
                    </a:solidFill>
                  </a:tcPr>
                </a:tc>
                <a:tc>
                  <a:txBody>
                    <a:bodyPr/>
                    <a:lstStyle/>
                    <a:p>
                      <a:r>
                        <a:rPr lang="en-US" sz="2200" b="0" i="0" dirty="0">
                          <a:latin typeface="Segoe UI Semibold" panose="020B0702040204020203" pitchFamily="34" charset="0"/>
                          <a:cs typeface="Segoe UI Semibold" panose="020B0702040204020203" pitchFamily="34" charset="0"/>
                        </a:rPr>
                        <a:t>Connectivity options</a:t>
                      </a:r>
                    </a:p>
                    <a:p>
                      <a:r>
                        <a:rPr lang="en-US" sz="2200" b="0" i="0" dirty="0">
                          <a:latin typeface="Segoe UI Semibold" panose="020B0702040204020203" pitchFamily="34" charset="0"/>
                          <a:cs typeface="Segoe UI Semibold" panose="020B0702040204020203" pitchFamily="34" charset="0"/>
                        </a:rPr>
                        <a:t>(To on-</a:t>
                      </a:r>
                      <a:r>
                        <a:rPr lang="en-US" sz="2200" b="0" i="0" dirty="0" err="1">
                          <a:latin typeface="Segoe UI Semibold" panose="020B0702040204020203" pitchFamily="34" charset="0"/>
                          <a:cs typeface="Segoe UI Semibold" panose="020B0702040204020203" pitchFamily="34" charset="0"/>
                        </a:rPr>
                        <a:t>prem</a:t>
                      </a:r>
                      <a:r>
                        <a:rPr lang="en-US" sz="2200" b="0" i="0" dirty="0">
                          <a:latin typeface="Segoe UI Semibold" panose="020B0702040204020203" pitchFamily="34" charset="0"/>
                          <a:cs typeface="Segoe UI Semibold" panose="020B0702040204020203" pitchFamily="34" charset="0"/>
                        </a:rPr>
                        <a:t> resources)</a:t>
                      </a:r>
                    </a:p>
                  </a:txBody>
                  <a:tcPr marL="86072" marR="86072" marT="43036" marB="43036">
                    <a:solidFill>
                      <a:schemeClr val="accent1"/>
                    </a:solidFill>
                  </a:tcPr>
                </a:tc>
                <a:extLst>
                  <a:ext uri="{0D108BD9-81ED-4DB2-BD59-A6C34878D82A}">
                    <a16:rowId xmlns:a16="http://schemas.microsoft.com/office/drawing/2014/main" val="3157971493"/>
                  </a:ext>
                </a:extLst>
              </a:tr>
              <a:tr h="430361">
                <a:tc>
                  <a:txBody>
                    <a:bodyPr/>
                    <a:lstStyle/>
                    <a:p>
                      <a:r>
                        <a:rPr lang="en-US" sz="2200" b="0" i="0" dirty="0">
                          <a:latin typeface="Segoe UI Semibold" panose="020B0702040204020203" pitchFamily="34" charset="0"/>
                          <a:cs typeface="Segoe UI Semibold" panose="020B0702040204020203" pitchFamily="34" charset="0"/>
                        </a:rPr>
                        <a:t>IoT Hubs</a:t>
                      </a:r>
                    </a:p>
                  </a:txBody>
                  <a:tcPr marL="86072" marR="86072" marT="43036" marB="43036"/>
                </a:tc>
                <a:tc>
                  <a:txBody>
                    <a:bodyPr/>
                    <a:lstStyle/>
                    <a:p>
                      <a:r>
                        <a:rPr lang="en-US" sz="2200" dirty="0"/>
                        <a:t>ARM (template)</a:t>
                      </a:r>
                    </a:p>
                  </a:txBody>
                  <a:tcPr marL="86072" marR="86072" marT="43036" marB="43036"/>
                </a:tc>
                <a:tc>
                  <a:txBody>
                    <a:bodyPr/>
                    <a:lstStyle/>
                    <a:p>
                      <a:r>
                        <a:rPr lang="en-US" sz="2200" dirty="0"/>
                        <a:t>Public</a:t>
                      </a:r>
                    </a:p>
                  </a:txBody>
                  <a:tcPr marL="86072" marR="86072" marT="43036" marB="43036"/>
                </a:tc>
                <a:tc>
                  <a:txBody>
                    <a:bodyPr/>
                    <a:lstStyle/>
                    <a:p>
                      <a:pPr marL="0" marR="0" lvl="0" indent="0" algn="l" defTabSz="768113" rtl="0" eaLnBrk="1" fontAlgn="auto" latinLnBrk="0" hangingPunct="1">
                        <a:lnSpc>
                          <a:spcPct val="100000"/>
                        </a:lnSpc>
                        <a:spcBef>
                          <a:spcPts val="0"/>
                        </a:spcBef>
                        <a:spcAft>
                          <a:spcPts val="0"/>
                        </a:spcAft>
                        <a:buClrTx/>
                        <a:buSzTx/>
                        <a:buFontTx/>
                        <a:buNone/>
                        <a:tabLst/>
                        <a:defRPr/>
                      </a:pPr>
                      <a:r>
                        <a:rPr lang="en-US" sz="2200" dirty="0"/>
                        <a:t>-</a:t>
                      </a:r>
                    </a:p>
                  </a:txBody>
                  <a:tcPr marL="86072" marR="86072" marT="43036" marB="43036"/>
                </a:tc>
                <a:extLst>
                  <a:ext uri="{0D108BD9-81ED-4DB2-BD59-A6C34878D82A}">
                    <a16:rowId xmlns:a16="http://schemas.microsoft.com/office/drawing/2014/main" val="4133688658"/>
                  </a:ext>
                </a:extLst>
              </a:tr>
              <a:tr h="774649">
                <a:tc>
                  <a:txBody>
                    <a:bodyPr/>
                    <a:lstStyle/>
                    <a:p>
                      <a:r>
                        <a:rPr lang="en-US" sz="2200" b="0" i="0" dirty="0">
                          <a:latin typeface="Segoe UI Semibold" panose="020B0702040204020203" pitchFamily="34" charset="0"/>
                          <a:cs typeface="Segoe UI Semibold" panose="020B0702040204020203" pitchFamily="34" charset="0"/>
                        </a:rPr>
                        <a:t>Event Hubs</a:t>
                      </a:r>
                    </a:p>
                  </a:txBody>
                  <a:tcPr marL="86072" marR="86072" marT="43036" marB="43036"/>
                </a:tc>
                <a:tc>
                  <a:txBody>
                    <a:bodyPr/>
                    <a:lstStyle/>
                    <a:p>
                      <a:r>
                        <a:rPr lang="en-US" sz="2200" dirty="0"/>
                        <a:t>ARM (template)</a:t>
                      </a:r>
                    </a:p>
                  </a:txBody>
                  <a:tcPr marL="86072" marR="86072" marT="43036" marB="43036"/>
                </a:tc>
                <a:tc>
                  <a:txBody>
                    <a:bodyPr/>
                    <a:lstStyle/>
                    <a:p>
                      <a:r>
                        <a:rPr lang="en-US" sz="2200" dirty="0"/>
                        <a:t>Public</a:t>
                      </a:r>
                    </a:p>
                  </a:txBody>
                  <a:tcPr marL="86072" marR="86072" marT="43036" marB="43036"/>
                </a:tc>
                <a:tc>
                  <a:txBody>
                    <a:bodyPr/>
                    <a:lstStyle/>
                    <a:p>
                      <a:r>
                        <a:rPr lang="en-US" sz="2200" dirty="0"/>
                        <a:t>-</a:t>
                      </a:r>
                    </a:p>
                  </a:txBody>
                  <a:tcPr marL="86072" marR="86072" marT="43036" marB="43036"/>
                </a:tc>
                <a:extLst>
                  <a:ext uri="{0D108BD9-81ED-4DB2-BD59-A6C34878D82A}">
                    <a16:rowId xmlns:a16="http://schemas.microsoft.com/office/drawing/2014/main" val="1987288546"/>
                  </a:ext>
                </a:extLst>
              </a:tr>
            </a:tbl>
          </a:graphicData>
        </a:graphic>
      </p:graphicFrame>
      <p:sp>
        <p:nvSpPr>
          <p:cNvPr id="7" name="Title 4"/>
          <p:cNvSpPr txBox="1">
            <a:spLocks/>
          </p:cNvSpPr>
          <p:nvPr/>
        </p:nvSpPr>
        <p:spPr>
          <a:xfrm>
            <a:off x="366169" y="3611792"/>
            <a:ext cx="11702551" cy="917575"/>
          </a:xfrm>
          <a:prstGeom prst="rect">
            <a:avLst/>
          </a:prstGeom>
        </p:spPr>
        <p:txBody>
          <a:bodyPr vert="horz" wrap="square" lIns="146304" tIns="91440" rIns="146304" bIns="91440" rtlCol="0" anchor="t">
            <a:noAutofit/>
          </a:bodyPr>
          <a:lstStyle>
            <a:lvl1pPr algn="l" defTabSz="932594" rtl="0" eaLnBrk="1" latinLnBrk="0" hangingPunct="1">
              <a:lnSpc>
                <a:spcPct val="90000"/>
              </a:lnSpc>
              <a:spcBef>
                <a:spcPct val="0"/>
              </a:spcBef>
              <a:buNone/>
              <a:defRPr lang="en-US" sz="4800" b="0" kern="1200" cap="none" spc="-101" baseline="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dirty="0" err="1"/>
              <a:t>IoT</a:t>
            </a:r>
            <a:r>
              <a:rPr lang="en-US" dirty="0"/>
              <a:t> – Quotas, limits</a:t>
            </a:r>
          </a:p>
        </p:txBody>
      </p:sp>
    </p:spTree>
    <p:extLst>
      <p:ext uri="{BB962C8B-B14F-4D97-AF65-F5344CB8AC3E}">
        <p14:creationId xmlns:p14="http://schemas.microsoft.com/office/powerpoint/2010/main" val="245753638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6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Segoe UI Light" panose="020B0502040204020203" pitchFamily="34" charset="0"/>
                <a:cs typeface="Segoe UI Light" panose="020B0502040204020203" pitchFamily="34" charset="0"/>
              </a:rPr>
              <a:t>Media Service decisions</a:t>
            </a:r>
            <a:endParaRPr lang="en-US" dirty="0"/>
          </a:p>
        </p:txBody>
      </p:sp>
      <p:sp>
        <p:nvSpPr>
          <p:cNvPr id="8" name="Freeform: Shape 7"/>
          <p:cNvSpPr/>
          <p:nvPr/>
        </p:nvSpPr>
        <p:spPr>
          <a:xfrm>
            <a:off x="4416051" y="1331911"/>
            <a:ext cx="6012374" cy="1390024"/>
          </a:xfrm>
          <a:custGeom>
            <a:avLst/>
            <a:gdLst>
              <a:gd name="connsiteX0" fmla="*/ 0 w 6937384"/>
              <a:gd name="connsiteY0" fmla="*/ 171052 h 1368412"/>
              <a:gd name="connsiteX1" fmla="*/ 6253178 w 6937384"/>
              <a:gd name="connsiteY1" fmla="*/ 171052 h 1368412"/>
              <a:gd name="connsiteX2" fmla="*/ 6253178 w 6937384"/>
              <a:gd name="connsiteY2" fmla="*/ 0 h 1368412"/>
              <a:gd name="connsiteX3" fmla="*/ 6937384 w 6937384"/>
              <a:gd name="connsiteY3" fmla="*/ 684206 h 1368412"/>
              <a:gd name="connsiteX4" fmla="*/ 6253178 w 6937384"/>
              <a:gd name="connsiteY4" fmla="*/ 1368412 h 1368412"/>
              <a:gd name="connsiteX5" fmla="*/ 6253178 w 6937384"/>
              <a:gd name="connsiteY5" fmla="*/ 1197361 h 1368412"/>
              <a:gd name="connsiteX6" fmla="*/ 0 w 6937384"/>
              <a:gd name="connsiteY6" fmla="*/ 1197361 h 1368412"/>
              <a:gd name="connsiteX7" fmla="*/ 0 w 6937384"/>
              <a:gd name="connsiteY7" fmla="*/ 171052 h 13684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937384" h="1368412">
                <a:moveTo>
                  <a:pt x="0" y="171052"/>
                </a:moveTo>
                <a:lnTo>
                  <a:pt x="6253178" y="171052"/>
                </a:lnTo>
                <a:lnTo>
                  <a:pt x="6253178" y="0"/>
                </a:lnTo>
                <a:lnTo>
                  <a:pt x="6937384" y="684206"/>
                </a:lnTo>
                <a:lnTo>
                  <a:pt x="6253178" y="1368412"/>
                </a:lnTo>
                <a:lnTo>
                  <a:pt x="6253178" y="1197361"/>
                </a:lnTo>
                <a:lnTo>
                  <a:pt x="0" y="1197361"/>
                </a:lnTo>
                <a:lnTo>
                  <a:pt x="0" y="171052"/>
                </a:lnTo>
                <a:close/>
              </a:path>
            </a:pathLst>
          </a:custGeom>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228600" tIns="457200" rIns="365760" bIns="182481" numCol="1" spcCol="1270" anchor="t" anchorCtr="0">
            <a:noAutofit/>
          </a:bodyPr>
          <a:lstStyle/>
          <a:p>
            <a:pPr marL="285750" lvl="1" indent="-285750" defTabSz="800100">
              <a:lnSpc>
                <a:spcPct val="90000"/>
              </a:lnSpc>
              <a:spcBef>
                <a:spcPct val="0"/>
              </a:spcBef>
              <a:spcAft>
                <a:spcPct val="15000"/>
              </a:spcAft>
              <a:buFont typeface="Arial" panose="020B0604020202020204" pitchFamily="34" charset="0"/>
              <a:buChar char="•"/>
            </a:pPr>
            <a:r>
              <a:rPr lang="en-US" dirty="0"/>
              <a:t>After you regenerate a storage key, you must </a:t>
            </a:r>
            <a:br>
              <a:rPr lang="en-US" dirty="0"/>
            </a:br>
            <a:r>
              <a:rPr lang="en-US" dirty="0"/>
              <a:t>make sure to synchronize the update with Media Services</a:t>
            </a:r>
          </a:p>
        </p:txBody>
      </p:sp>
      <p:sp>
        <p:nvSpPr>
          <p:cNvPr id="9" name="Freeform: Shape 8"/>
          <p:cNvSpPr/>
          <p:nvPr/>
        </p:nvSpPr>
        <p:spPr>
          <a:xfrm>
            <a:off x="1320269" y="1486041"/>
            <a:ext cx="3221976" cy="1076072"/>
          </a:xfrm>
          <a:custGeom>
            <a:avLst/>
            <a:gdLst>
              <a:gd name="connsiteX0" fmla="*/ 0 w 3221976"/>
              <a:gd name="connsiteY0" fmla="*/ 188426 h 1130532"/>
              <a:gd name="connsiteX1" fmla="*/ 188426 w 3221976"/>
              <a:gd name="connsiteY1" fmla="*/ 0 h 1130532"/>
              <a:gd name="connsiteX2" fmla="*/ 3033550 w 3221976"/>
              <a:gd name="connsiteY2" fmla="*/ 0 h 1130532"/>
              <a:gd name="connsiteX3" fmla="*/ 3221976 w 3221976"/>
              <a:gd name="connsiteY3" fmla="*/ 188426 h 1130532"/>
              <a:gd name="connsiteX4" fmla="*/ 3221976 w 3221976"/>
              <a:gd name="connsiteY4" fmla="*/ 942106 h 1130532"/>
              <a:gd name="connsiteX5" fmla="*/ 3033550 w 3221976"/>
              <a:gd name="connsiteY5" fmla="*/ 1130532 h 1130532"/>
              <a:gd name="connsiteX6" fmla="*/ 188426 w 3221976"/>
              <a:gd name="connsiteY6" fmla="*/ 1130532 h 1130532"/>
              <a:gd name="connsiteX7" fmla="*/ 0 w 3221976"/>
              <a:gd name="connsiteY7" fmla="*/ 942106 h 1130532"/>
              <a:gd name="connsiteX8" fmla="*/ 0 w 3221976"/>
              <a:gd name="connsiteY8" fmla="*/ 188426 h 11305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21976" h="1130532">
                <a:moveTo>
                  <a:pt x="0" y="188426"/>
                </a:moveTo>
                <a:cubicBezTo>
                  <a:pt x="0" y="84361"/>
                  <a:pt x="84361" y="0"/>
                  <a:pt x="188426" y="0"/>
                </a:cubicBezTo>
                <a:lnTo>
                  <a:pt x="3033550" y="0"/>
                </a:lnTo>
                <a:cubicBezTo>
                  <a:pt x="3137615" y="0"/>
                  <a:pt x="3221976" y="84361"/>
                  <a:pt x="3221976" y="188426"/>
                </a:cubicBezTo>
                <a:lnTo>
                  <a:pt x="3221976" y="942106"/>
                </a:lnTo>
                <a:cubicBezTo>
                  <a:pt x="3221976" y="1046171"/>
                  <a:pt x="3137615" y="1130532"/>
                  <a:pt x="3033550" y="1130532"/>
                </a:cubicBezTo>
                <a:lnTo>
                  <a:pt x="188426" y="1130532"/>
                </a:lnTo>
                <a:cubicBezTo>
                  <a:pt x="84361" y="1130532"/>
                  <a:pt x="0" y="1046171"/>
                  <a:pt x="0" y="942106"/>
                </a:cubicBezTo>
                <a:lnTo>
                  <a:pt x="0" y="188426"/>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77108" tIns="116148" rIns="177108" bIns="116148" numCol="1" spcCol="1270" anchor="ctr" anchorCtr="0">
            <a:noAutofit/>
          </a:bodyPr>
          <a:lstStyle/>
          <a:p>
            <a:pPr marL="0" lvl="0" indent="0" algn="ctr" defTabSz="1422400">
              <a:lnSpc>
                <a:spcPct val="90000"/>
              </a:lnSpc>
              <a:spcBef>
                <a:spcPct val="0"/>
              </a:spcBef>
              <a:spcAft>
                <a:spcPct val="35000"/>
              </a:spcAft>
              <a:buNone/>
            </a:pPr>
            <a:r>
              <a:rPr lang="en-US" sz="3200" b="0" kern="1200" dirty="0">
                <a:latin typeface="Segoe UI Semibold" panose="020B0702040204020203" pitchFamily="34" charset="0"/>
                <a:cs typeface="Segoe UI Semibold" panose="020B0702040204020203" pitchFamily="34" charset="0"/>
              </a:rPr>
              <a:t>Mandatory</a:t>
            </a:r>
          </a:p>
        </p:txBody>
      </p:sp>
      <p:sp>
        <p:nvSpPr>
          <p:cNvPr id="10" name="Freeform: Shape 9"/>
          <p:cNvSpPr/>
          <p:nvPr/>
        </p:nvSpPr>
        <p:spPr>
          <a:xfrm>
            <a:off x="4174858" y="2844489"/>
            <a:ext cx="6253655" cy="2453023"/>
          </a:xfrm>
          <a:custGeom>
            <a:avLst/>
            <a:gdLst>
              <a:gd name="connsiteX0" fmla="*/ 0 w 7091479"/>
              <a:gd name="connsiteY0" fmla="*/ 293845 h 2350760"/>
              <a:gd name="connsiteX1" fmla="*/ 5916099 w 7091479"/>
              <a:gd name="connsiteY1" fmla="*/ 293845 h 2350760"/>
              <a:gd name="connsiteX2" fmla="*/ 5916099 w 7091479"/>
              <a:gd name="connsiteY2" fmla="*/ 0 h 2350760"/>
              <a:gd name="connsiteX3" fmla="*/ 7091479 w 7091479"/>
              <a:gd name="connsiteY3" fmla="*/ 1175380 h 2350760"/>
              <a:gd name="connsiteX4" fmla="*/ 5916099 w 7091479"/>
              <a:gd name="connsiteY4" fmla="*/ 2350760 h 2350760"/>
              <a:gd name="connsiteX5" fmla="*/ 5916099 w 7091479"/>
              <a:gd name="connsiteY5" fmla="*/ 2056915 h 2350760"/>
              <a:gd name="connsiteX6" fmla="*/ 0 w 7091479"/>
              <a:gd name="connsiteY6" fmla="*/ 2056915 h 2350760"/>
              <a:gd name="connsiteX7" fmla="*/ 0 w 7091479"/>
              <a:gd name="connsiteY7" fmla="*/ 293845 h 2350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091479" h="2350760">
                <a:moveTo>
                  <a:pt x="0" y="293845"/>
                </a:moveTo>
                <a:lnTo>
                  <a:pt x="5916099" y="293845"/>
                </a:lnTo>
                <a:lnTo>
                  <a:pt x="5916099" y="0"/>
                </a:lnTo>
                <a:lnTo>
                  <a:pt x="7091479" y="1175380"/>
                </a:lnTo>
                <a:lnTo>
                  <a:pt x="5916099" y="2350760"/>
                </a:lnTo>
                <a:lnTo>
                  <a:pt x="5916099" y="2056915"/>
                </a:lnTo>
                <a:lnTo>
                  <a:pt x="0" y="2056915"/>
                </a:lnTo>
                <a:lnTo>
                  <a:pt x="0" y="293845"/>
                </a:lnTo>
                <a:close/>
              </a:path>
            </a:pathLst>
          </a:custGeom>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457200" tIns="457200" rIns="1064415" bIns="305275" numCol="1" spcCol="1270" anchor="t" anchorCtr="0">
            <a:noAutofit/>
          </a:bodyPr>
          <a:lstStyle/>
          <a:p>
            <a:pPr marL="285750" lvl="1" indent="-285750" defTabSz="800100">
              <a:lnSpc>
                <a:spcPct val="90000"/>
              </a:lnSpc>
              <a:spcBef>
                <a:spcPct val="0"/>
              </a:spcBef>
              <a:spcAft>
                <a:spcPct val="15000"/>
              </a:spcAft>
              <a:buFont typeface="Arial" panose="020B0604020202020204" pitchFamily="34" charset="0"/>
              <a:buChar char="•"/>
            </a:pPr>
            <a:r>
              <a:rPr lang="en-US" dirty="0"/>
              <a:t>If you are just looking to store JPEG or PNG images, you should keep those in Azure Blob Storage. There is no benefit to putting them in your Media Services account unless you want to keep them associated with your Video or Audio Assets</a:t>
            </a:r>
          </a:p>
        </p:txBody>
      </p:sp>
      <p:sp>
        <p:nvSpPr>
          <p:cNvPr id="11" name="Freeform: Shape 10"/>
          <p:cNvSpPr/>
          <p:nvPr/>
        </p:nvSpPr>
        <p:spPr>
          <a:xfrm>
            <a:off x="1328722" y="3136800"/>
            <a:ext cx="3213523" cy="1854252"/>
          </a:xfrm>
          <a:custGeom>
            <a:avLst/>
            <a:gdLst>
              <a:gd name="connsiteX0" fmla="*/ 0 w 3213523"/>
              <a:gd name="connsiteY0" fmla="*/ 295356 h 1772099"/>
              <a:gd name="connsiteX1" fmla="*/ 295356 w 3213523"/>
              <a:gd name="connsiteY1" fmla="*/ 0 h 1772099"/>
              <a:gd name="connsiteX2" fmla="*/ 2918167 w 3213523"/>
              <a:gd name="connsiteY2" fmla="*/ 0 h 1772099"/>
              <a:gd name="connsiteX3" fmla="*/ 3213523 w 3213523"/>
              <a:gd name="connsiteY3" fmla="*/ 295356 h 1772099"/>
              <a:gd name="connsiteX4" fmla="*/ 3213523 w 3213523"/>
              <a:gd name="connsiteY4" fmla="*/ 1476743 h 1772099"/>
              <a:gd name="connsiteX5" fmla="*/ 2918167 w 3213523"/>
              <a:gd name="connsiteY5" fmla="*/ 1772099 h 1772099"/>
              <a:gd name="connsiteX6" fmla="*/ 295356 w 3213523"/>
              <a:gd name="connsiteY6" fmla="*/ 1772099 h 1772099"/>
              <a:gd name="connsiteX7" fmla="*/ 0 w 3213523"/>
              <a:gd name="connsiteY7" fmla="*/ 1476743 h 1772099"/>
              <a:gd name="connsiteX8" fmla="*/ 0 w 3213523"/>
              <a:gd name="connsiteY8" fmla="*/ 295356 h 17720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13523" h="1772099">
                <a:moveTo>
                  <a:pt x="0" y="295356"/>
                </a:moveTo>
                <a:cubicBezTo>
                  <a:pt x="0" y="132235"/>
                  <a:pt x="132235" y="0"/>
                  <a:pt x="295356" y="0"/>
                </a:cubicBezTo>
                <a:lnTo>
                  <a:pt x="2918167" y="0"/>
                </a:lnTo>
                <a:cubicBezTo>
                  <a:pt x="3081288" y="0"/>
                  <a:pt x="3213523" y="132235"/>
                  <a:pt x="3213523" y="295356"/>
                </a:cubicBezTo>
                <a:lnTo>
                  <a:pt x="3213523" y="1476743"/>
                </a:lnTo>
                <a:cubicBezTo>
                  <a:pt x="3213523" y="1639864"/>
                  <a:pt x="3081288" y="1772099"/>
                  <a:pt x="2918167" y="1772099"/>
                </a:cubicBezTo>
                <a:lnTo>
                  <a:pt x="295356" y="1772099"/>
                </a:lnTo>
                <a:cubicBezTo>
                  <a:pt x="132235" y="1772099"/>
                  <a:pt x="0" y="1639864"/>
                  <a:pt x="0" y="1476743"/>
                </a:cubicBezTo>
                <a:lnTo>
                  <a:pt x="0" y="295356"/>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08427" tIns="147467" rIns="208427" bIns="147467" numCol="1" spcCol="1270" anchor="ctr" anchorCtr="0">
            <a:noAutofit/>
          </a:bodyPr>
          <a:lstStyle/>
          <a:p>
            <a:pPr marL="0" lvl="0" indent="0" algn="ctr" defTabSz="1422400">
              <a:lnSpc>
                <a:spcPct val="90000"/>
              </a:lnSpc>
              <a:spcBef>
                <a:spcPct val="0"/>
              </a:spcBef>
              <a:spcAft>
                <a:spcPct val="35000"/>
              </a:spcAft>
              <a:buNone/>
            </a:pPr>
            <a:r>
              <a:rPr lang="en-US" sz="3200" b="0" kern="1200" dirty="0">
                <a:solidFill>
                  <a:srgbClr val="FFFFFF"/>
                </a:solidFill>
                <a:latin typeface="Segoe UI Semibold" panose="020B0702040204020203" pitchFamily="34" charset="0"/>
                <a:ea typeface="+mn-ea"/>
                <a:cs typeface="Segoe UI Semibold" panose="020B0702040204020203" pitchFamily="34" charset="0"/>
              </a:rPr>
              <a:t>Recommended</a:t>
            </a:r>
          </a:p>
        </p:txBody>
      </p:sp>
      <p:sp>
        <p:nvSpPr>
          <p:cNvPr id="12" name="Freeform: Shape 11"/>
          <p:cNvSpPr/>
          <p:nvPr/>
        </p:nvSpPr>
        <p:spPr>
          <a:xfrm>
            <a:off x="4281381" y="5440918"/>
            <a:ext cx="6147044" cy="1312809"/>
          </a:xfrm>
          <a:custGeom>
            <a:avLst/>
            <a:gdLst>
              <a:gd name="connsiteX0" fmla="*/ 0 w 7125896"/>
              <a:gd name="connsiteY0" fmla="*/ 180910 h 1447281"/>
              <a:gd name="connsiteX1" fmla="*/ 6402256 w 7125896"/>
              <a:gd name="connsiteY1" fmla="*/ 180910 h 1447281"/>
              <a:gd name="connsiteX2" fmla="*/ 6402256 w 7125896"/>
              <a:gd name="connsiteY2" fmla="*/ 0 h 1447281"/>
              <a:gd name="connsiteX3" fmla="*/ 7125896 w 7125896"/>
              <a:gd name="connsiteY3" fmla="*/ 723641 h 1447281"/>
              <a:gd name="connsiteX4" fmla="*/ 6402256 w 7125896"/>
              <a:gd name="connsiteY4" fmla="*/ 1447281 h 1447281"/>
              <a:gd name="connsiteX5" fmla="*/ 6402256 w 7125896"/>
              <a:gd name="connsiteY5" fmla="*/ 1266371 h 1447281"/>
              <a:gd name="connsiteX6" fmla="*/ 0 w 7125896"/>
              <a:gd name="connsiteY6" fmla="*/ 1266371 h 1447281"/>
              <a:gd name="connsiteX7" fmla="*/ 0 w 7125896"/>
              <a:gd name="connsiteY7" fmla="*/ 180910 h 14472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125896" h="1447281">
                <a:moveTo>
                  <a:pt x="0" y="180910"/>
                </a:moveTo>
                <a:lnTo>
                  <a:pt x="6402256" y="180910"/>
                </a:lnTo>
                <a:lnTo>
                  <a:pt x="6402256" y="0"/>
                </a:lnTo>
                <a:lnTo>
                  <a:pt x="7125896" y="723641"/>
                </a:lnTo>
                <a:lnTo>
                  <a:pt x="6402256" y="1447281"/>
                </a:lnTo>
                <a:lnTo>
                  <a:pt x="6402256" y="1266371"/>
                </a:lnTo>
                <a:lnTo>
                  <a:pt x="0" y="1266371"/>
                </a:lnTo>
                <a:lnTo>
                  <a:pt x="0" y="180910"/>
                </a:lnTo>
                <a:close/>
              </a:path>
            </a:pathLst>
          </a:custGeom>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365760" tIns="365760" rIns="640080" bIns="192340" numCol="1" spcCol="1270" anchor="t" anchorCtr="0">
            <a:noAutofit/>
          </a:bodyPr>
          <a:lstStyle/>
          <a:p>
            <a:pPr marL="285750" lvl="0" indent="-285750">
              <a:buFont typeface="Arial" panose="020B0604020202020204" pitchFamily="34" charset="0"/>
              <a:buChar char="•"/>
            </a:pPr>
            <a:r>
              <a:rPr lang="en-US" dirty="0"/>
              <a:t>Currently, the max recommended duration </a:t>
            </a:r>
            <a:br>
              <a:rPr lang="en-US" dirty="0"/>
            </a:br>
            <a:r>
              <a:rPr lang="en-US" dirty="0"/>
              <a:t>of a live event is 8 hours</a:t>
            </a:r>
          </a:p>
        </p:txBody>
      </p:sp>
      <p:sp>
        <p:nvSpPr>
          <p:cNvPr id="13" name="Freeform: Shape 12"/>
          <p:cNvSpPr/>
          <p:nvPr/>
        </p:nvSpPr>
        <p:spPr>
          <a:xfrm>
            <a:off x="1259112" y="5592726"/>
            <a:ext cx="3210524" cy="996759"/>
          </a:xfrm>
          <a:custGeom>
            <a:avLst/>
            <a:gdLst>
              <a:gd name="connsiteX0" fmla="*/ 0 w 3210524"/>
              <a:gd name="connsiteY0" fmla="*/ 191185 h 1147089"/>
              <a:gd name="connsiteX1" fmla="*/ 191185 w 3210524"/>
              <a:gd name="connsiteY1" fmla="*/ 0 h 1147089"/>
              <a:gd name="connsiteX2" fmla="*/ 3019339 w 3210524"/>
              <a:gd name="connsiteY2" fmla="*/ 0 h 1147089"/>
              <a:gd name="connsiteX3" fmla="*/ 3210524 w 3210524"/>
              <a:gd name="connsiteY3" fmla="*/ 191185 h 1147089"/>
              <a:gd name="connsiteX4" fmla="*/ 3210524 w 3210524"/>
              <a:gd name="connsiteY4" fmla="*/ 955904 h 1147089"/>
              <a:gd name="connsiteX5" fmla="*/ 3019339 w 3210524"/>
              <a:gd name="connsiteY5" fmla="*/ 1147089 h 1147089"/>
              <a:gd name="connsiteX6" fmla="*/ 191185 w 3210524"/>
              <a:gd name="connsiteY6" fmla="*/ 1147089 h 1147089"/>
              <a:gd name="connsiteX7" fmla="*/ 0 w 3210524"/>
              <a:gd name="connsiteY7" fmla="*/ 955904 h 1147089"/>
              <a:gd name="connsiteX8" fmla="*/ 0 w 3210524"/>
              <a:gd name="connsiteY8" fmla="*/ 191185 h 1147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10524" h="1147089">
                <a:moveTo>
                  <a:pt x="0" y="191185"/>
                </a:moveTo>
                <a:cubicBezTo>
                  <a:pt x="0" y="85596"/>
                  <a:pt x="85596" y="0"/>
                  <a:pt x="191185" y="0"/>
                </a:cubicBezTo>
                <a:lnTo>
                  <a:pt x="3019339" y="0"/>
                </a:lnTo>
                <a:cubicBezTo>
                  <a:pt x="3124928" y="0"/>
                  <a:pt x="3210524" y="85596"/>
                  <a:pt x="3210524" y="191185"/>
                </a:cubicBezTo>
                <a:lnTo>
                  <a:pt x="3210524" y="955904"/>
                </a:lnTo>
                <a:cubicBezTo>
                  <a:pt x="3210524" y="1061493"/>
                  <a:pt x="3124928" y="1147089"/>
                  <a:pt x="3019339" y="1147089"/>
                </a:cubicBezTo>
                <a:lnTo>
                  <a:pt x="191185" y="1147089"/>
                </a:lnTo>
                <a:cubicBezTo>
                  <a:pt x="85596" y="1147089"/>
                  <a:pt x="0" y="1061493"/>
                  <a:pt x="0" y="955904"/>
                </a:cubicBezTo>
                <a:lnTo>
                  <a:pt x="0" y="191185"/>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77916" tIns="116956" rIns="177916" bIns="116956" numCol="1" spcCol="1270" anchor="ctr" anchorCtr="0">
            <a:noAutofit/>
          </a:bodyPr>
          <a:lstStyle/>
          <a:p>
            <a:pPr marL="0" lvl="0" indent="0" algn="ctr" defTabSz="1422400">
              <a:lnSpc>
                <a:spcPct val="90000"/>
              </a:lnSpc>
              <a:spcBef>
                <a:spcPct val="0"/>
              </a:spcBef>
              <a:spcAft>
                <a:spcPct val="35000"/>
              </a:spcAft>
              <a:buNone/>
            </a:pPr>
            <a:r>
              <a:rPr lang="en-US" sz="3200" b="0" kern="1200" dirty="0">
                <a:solidFill>
                  <a:srgbClr val="FFFFFF"/>
                </a:solidFill>
                <a:latin typeface="Segoe UI Semibold" panose="020B0702040204020203" pitchFamily="34" charset="0"/>
                <a:ea typeface="+mn-ea"/>
                <a:cs typeface="Segoe UI Semibold" panose="020B0702040204020203" pitchFamily="34" charset="0"/>
              </a:rPr>
              <a:t>Optional</a:t>
            </a:r>
          </a:p>
        </p:txBody>
      </p:sp>
      <p:sp>
        <p:nvSpPr>
          <p:cNvPr id="4" name="Octagon 3"/>
          <p:cNvSpPr/>
          <p:nvPr/>
        </p:nvSpPr>
        <p:spPr>
          <a:xfrm>
            <a:off x="1107200" y="2301764"/>
            <a:ext cx="443098" cy="439889"/>
          </a:xfrm>
          <a:prstGeom prst="octagon">
            <a:avLst/>
          </a:prstGeom>
          <a:solidFill>
            <a:srgbClr val="CC0000"/>
          </a:solidFill>
        </p:spPr>
        <p:style>
          <a:lnRef idx="1">
            <a:schemeClr val="accent2"/>
          </a:lnRef>
          <a:fillRef idx="3">
            <a:schemeClr val="accent2"/>
          </a:fillRef>
          <a:effectRef idx="2">
            <a:schemeClr val="accent2"/>
          </a:effectRef>
          <a:fontRef idx="minor">
            <a:schemeClr val="lt1"/>
          </a:fontRef>
        </p:style>
        <p:txBody>
          <a:bodyPr rot="0" spcFirstLastPara="0" vert="horz" wrap="square" lIns="68583" tIns="34291" rIns="68583" bIns="34291" numCol="1" spcCol="0" rtlCol="0" fromWordArt="0" anchor="ctr" anchorCtr="0" forceAA="0" compatLnSpc="1">
            <a:prstTxWarp prst="textNoShape">
              <a:avLst/>
            </a:prstTxWarp>
            <a:noAutofit/>
          </a:bodyPr>
          <a:lstStyle/>
          <a:p>
            <a:endParaRPr lang="en-US" sz="1350" dirty="0"/>
          </a:p>
        </p:txBody>
      </p:sp>
      <p:sp>
        <p:nvSpPr>
          <p:cNvPr id="5" name="Isosceles Triangle 4"/>
          <p:cNvSpPr>
            <a:spLocks/>
          </p:cNvSpPr>
          <p:nvPr/>
        </p:nvSpPr>
        <p:spPr>
          <a:xfrm>
            <a:off x="1038785" y="4665785"/>
            <a:ext cx="579874" cy="457219"/>
          </a:xfrm>
          <a:prstGeom prst="triangle">
            <a:avLst/>
          </a:prstGeom>
          <a:solidFill>
            <a:srgbClr val="FFFF00"/>
          </a:solidFill>
        </p:spPr>
        <p:style>
          <a:lnRef idx="1">
            <a:schemeClr val="accent6"/>
          </a:lnRef>
          <a:fillRef idx="3">
            <a:schemeClr val="accent6"/>
          </a:fillRef>
          <a:effectRef idx="2">
            <a:schemeClr val="accent6"/>
          </a:effectRef>
          <a:fontRef idx="minor">
            <a:schemeClr val="lt1"/>
          </a:fontRef>
        </p:style>
        <p:txBody>
          <a:bodyPr rot="0" spcFirstLastPara="0" vert="horz" wrap="square" lIns="68583" tIns="34291" rIns="68583" bIns="34291" numCol="1" spcCol="0" rtlCol="0" fromWordArt="0" anchor="ctr" anchorCtr="0" forceAA="0" compatLnSpc="1">
            <a:prstTxWarp prst="textNoShape">
              <a:avLst/>
            </a:prstTxWarp>
            <a:noAutofit/>
          </a:bodyPr>
          <a:lstStyle/>
          <a:p>
            <a:endParaRPr lang="en-US" sz="1350"/>
          </a:p>
        </p:txBody>
      </p:sp>
      <p:sp>
        <p:nvSpPr>
          <p:cNvPr id="6" name="Oval 5"/>
          <p:cNvSpPr>
            <a:spLocks/>
          </p:cNvSpPr>
          <p:nvPr/>
        </p:nvSpPr>
        <p:spPr>
          <a:xfrm>
            <a:off x="1038785" y="6264074"/>
            <a:ext cx="474539" cy="475477"/>
          </a:xfrm>
          <a:prstGeom prst="ellipse">
            <a:avLst/>
          </a:prstGeom>
          <a:solidFill>
            <a:srgbClr val="00B050"/>
          </a:solidFill>
        </p:spPr>
        <p:style>
          <a:lnRef idx="1">
            <a:schemeClr val="accent3"/>
          </a:lnRef>
          <a:fillRef idx="3">
            <a:schemeClr val="accent3"/>
          </a:fillRef>
          <a:effectRef idx="2">
            <a:schemeClr val="accent3"/>
          </a:effectRef>
          <a:fontRef idx="minor">
            <a:schemeClr val="lt1"/>
          </a:fontRef>
        </p:style>
        <p:txBody>
          <a:bodyPr rot="0" spcFirstLastPara="0" vert="horz" wrap="square" lIns="68583" tIns="34291" rIns="68583" bIns="34291" numCol="1" spcCol="0" rtlCol="0" fromWordArt="0" anchor="ctr" anchorCtr="0" forceAA="0" compatLnSpc="1">
            <a:prstTxWarp prst="textNoShape">
              <a:avLst/>
            </a:prstTxWarp>
            <a:noAutofit/>
          </a:bodyPr>
          <a:lstStyle/>
          <a:p>
            <a:endParaRPr lang="en-US" sz="1350"/>
          </a:p>
        </p:txBody>
      </p:sp>
    </p:spTree>
    <p:extLst>
      <p:ext uri="{BB962C8B-B14F-4D97-AF65-F5344CB8AC3E}">
        <p14:creationId xmlns:p14="http://schemas.microsoft.com/office/powerpoint/2010/main" val="1021889309"/>
      </p:ext>
    </p:extLst>
  </p:cSld>
  <p:clrMapOvr>
    <a:masterClrMapping/>
  </p:clrMapOvr>
  <p:transition>
    <p:fade/>
  </p:transition>
</p:sld>
</file>

<file path=ppt/slides/slide16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Segoe UI Light" panose="020B0502040204020203" pitchFamily="34" charset="0"/>
                <a:cs typeface="Segoe UI Light" panose="020B0502040204020203" pitchFamily="34" charset="0"/>
              </a:rPr>
              <a:t>Content Delivery Network decisions</a:t>
            </a:r>
            <a:endParaRPr lang="en-US" dirty="0"/>
          </a:p>
        </p:txBody>
      </p:sp>
      <p:sp>
        <p:nvSpPr>
          <p:cNvPr id="8" name="Freeform: Shape 7"/>
          <p:cNvSpPr/>
          <p:nvPr/>
        </p:nvSpPr>
        <p:spPr>
          <a:xfrm>
            <a:off x="4416051" y="2176130"/>
            <a:ext cx="6259036" cy="1592582"/>
          </a:xfrm>
          <a:custGeom>
            <a:avLst/>
            <a:gdLst>
              <a:gd name="connsiteX0" fmla="*/ 0 w 6937384"/>
              <a:gd name="connsiteY0" fmla="*/ 171052 h 1368412"/>
              <a:gd name="connsiteX1" fmla="*/ 6253178 w 6937384"/>
              <a:gd name="connsiteY1" fmla="*/ 171052 h 1368412"/>
              <a:gd name="connsiteX2" fmla="*/ 6253178 w 6937384"/>
              <a:gd name="connsiteY2" fmla="*/ 0 h 1368412"/>
              <a:gd name="connsiteX3" fmla="*/ 6937384 w 6937384"/>
              <a:gd name="connsiteY3" fmla="*/ 684206 h 1368412"/>
              <a:gd name="connsiteX4" fmla="*/ 6253178 w 6937384"/>
              <a:gd name="connsiteY4" fmla="*/ 1368412 h 1368412"/>
              <a:gd name="connsiteX5" fmla="*/ 6253178 w 6937384"/>
              <a:gd name="connsiteY5" fmla="*/ 1197361 h 1368412"/>
              <a:gd name="connsiteX6" fmla="*/ 0 w 6937384"/>
              <a:gd name="connsiteY6" fmla="*/ 1197361 h 1368412"/>
              <a:gd name="connsiteX7" fmla="*/ 0 w 6937384"/>
              <a:gd name="connsiteY7" fmla="*/ 171052 h 13684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937384" h="1368412">
                <a:moveTo>
                  <a:pt x="0" y="171052"/>
                </a:moveTo>
                <a:lnTo>
                  <a:pt x="6253178" y="171052"/>
                </a:lnTo>
                <a:lnTo>
                  <a:pt x="6253178" y="0"/>
                </a:lnTo>
                <a:lnTo>
                  <a:pt x="6937384" y="684206"/>
                </a:lnTo>
                <a:lnTo>
                  <a:pt x="6253178" y="1368412"/>
                </a:lnTo>
                <a:lnTo>
                  <a:pt x="6253178" y="1197361"/>
                </a:lnTo>
                <a:lnTo>
                  <a:pt x="0" y="1197361"/>
                </a:lnTo>
                <a:lnTo>
                  <a:pt x="0" y="171052"/>
                </a:lnTo>
                <a:close/>
              </a:path>
            </a:pathLst>
          </a:custGeom>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228600" tIns="457200" rIns="365760" bIns="182481" numCol="1" spcCol="1270" anchor="t" anchorCtr="0">
            <a:noAutofit/>
          </a:bodyPr>
          <a:lstStyle/>
          <a:p>
            <a:pPr marL="285750" lvl="1" indent="-285750" defTabSz="800100">
              <a:lnSpc>
                <a:spcPct val="90000"/>
              </a:lnSpc>
              <a:spcBef>
                <a:spcPct val="0"/>
              </a:spcBef>
              <a:spcAft>
                <a:spcPct val="15000"/>
              </a:spcAft>
              <a:buFont typeface="Arial" panose="020B0604020202020204" pitchFamily="34" charset="0"/>
              <a:buChar char="•"/>
            </a:pPr>
            <a:r>
              <a:rPr lang="en-US" dirty="0"/>
              <a:t>Determine regions to target for CDN and update application to use root URI of CDN network as opposed to local content</a:t>
            </a:r>
          </a:p>
        </p:txBody>
      </p:sp>
      <p:sp>
        <p:nvSpPr>
          <p:cNvPr id="9" name="Freeform: Shape 8"/>
          <p:cNvSpPr/>
          <p:nvPr/>
        </p:nvSpPr>
        <p:spPr>
          <a:xfrm>
            <a:off x="1320269" y="2361143"/>
            <a:ext cx="3221976" cy="1247747"/>
          </a:xfrm>
          <a:custGeom>
            <a:avLst/>
            <a:gdLst>
              <a:gd name="connsiteX0" fmla="*/ 0 w 3221976"/>
              <a:gd name="connsiteY0" fmla="*/ 188426 h 1130532"/>
              <a:gd name="connsiteX1" fmla="*/ 188426 w 3221976"/>
              <a:gd name="connsiteY1" fmla="*/ 0 h 1130532"/>
              <a:gd name="connsiteX2" fmla="*/ 3033550 w 3221976"/>
              <a:gd name="connsiteY2" fmla="*/ 0 h 1130532"/>
              <a:gd name="connsiteX3" fmla="*/ 3221976 w 3221976"/>
              <a:gd name="connsiteY3" fmla="*/ 188426 h 1130532"/>
              <a:gd name="connsiteX4" fmla="*/ 3221976 w 3221976"/>
              <a:gd name="connsiteY4" fmla="*/ 942106 h 1130532"/>
              <a:gd name="connsiteX5" fmla="*/ 3033550 w 3221976"/>
              <a:gd name="connsiteY5" fmla="*/ 1130532 h 1130532"/>
              <a:gd name="connsiteX6" fmla="*/ 188426 w 3221976"/>
              <a:gd name="connsiteY6" fmla="*/ 1130532 h 1130532"/>
              <a:gd name="connsiteX7" fmla="*/ 0 w 3221976"/>
              <a:gd name="connsiteY7" fmla="*/ 942106 h 1130532"/>
              <a:gd name="connsiteX8" fmla="*/ 0 w 3221976"/>
              <a:gd name="connsiteY8" fmla="*/ 188426 h 11305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21976" h="1130532">
                <a:moveTo>
                  <a:pt x="0" y="188426"/>
                </a:moveTo>
                <a:cubicBezTo>
                  <a:pt x="0" y="84361"/>
                  <a:pt x="84361" y="0"/>
                  <a:pt x="188426" y="0"/>
                </a:cubicBezTo>
                <a:lnTo>
                  <a:pt x="3033550" y="0"/>
                </a:lnTo>
                <a:cubicBezTo>
                  <a:pt x="3137615" y="0"/>
                  <a:pt x="3221976" y="84361"/>
                  <a:pt x="3221976" y="188426"/>
                </a:cubicBezTo>
                <a:lnTo>
                  <a:pt x="3221976" y="942106"/>
                </a:lnTo>
                <a:cubicBezTo>
                  <a:pt x="3221976" y="1046171"/>
                  <a:pt x="3137615" y="1130532"/>
                  <a:pt x="3033550" y="1130532"/>
                </a:cubicBezTo>
                <a:lnTo>
                  <a:pt x="188426" y="1130532"/>
                </a:lnTo>
                <a:cubicBezTo>
                  <a:pt x="84361" y="1130532"/>
                  <a:pt x="0" y="1046171"/>
                  <a:pt x="0" y="942106"/>
                </a:cubicBezTo>
                <a:lnTo>
                  <a:pt x="0" y="188426"/>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77108" tIns="116148" rIns="177108" bIns="116148" numCol="1" spcCol="1270" anchor="ctr" anchorCtr="0">
            <a:noAutofit/>
          </a:bodyPr>
          <a:lstStyle/>
          <a:p>
            <a:pPr marL="0" lvl="0" indent="0" algn="ctr" defTabSz="1422400">
              <a:lnSpc>
                <a:spcPct val="90000"/>
              </a:lnSpc>
              <a:spcBef>
                <a:spcPct val="0"/>
              </a:spcBef>
              <a:spcAft>
                <a:spcPct val="35000"/>
              </a:spcAft>
              <a:buNone/>
            </a:pPr>
            <a:r>
              <a:rPr lang="en-US" sz="3200" b="0" kern="1200" dirty="0">
                <a:latin typeface="Segoe UI Semibold" panose="020B0702040204020203" pitchFamily="34" charset="0"/>
                <a:cs typeface="Segoe UI Semibold" panose="020B0702040204020203" pitchFamily="34" charset="0"/>
              </a:rPr>
              <a:t>Mandatory</a:t>
            </a:r>
          </a:p>
        </p:txBody>
      </p:sp>
      <p:sp>
        <p:nvSpPr>
          <p:cNvPr id="10" name="Freeform: Shape 9"/>
          <p:cNvSpPr/>
          <p:nvPr/>
        </p:nvSpPr>
        <p:spPr>
          <a:xfrm>
            <a:off x="4174858" y="3931836"/>
            <a:ext cx="6500229" cy="1365676"/>
          </a:xfrm>
          <a:custGeom>
            <a:avLst/>
            <a:gdLst>
              <a:gd name="connsiteX0" fmla="*/ 0 w 7091479"/>
              <a:gd name="connsiteY0" fmla="*/ 293845 h 2350760"/>
              <a:gd name="connsiteX1" fmla="*/ 5916099 w 7091479"/>
              <a:gd name="connsiteY1" fmla="*/ 293845 h 2350760"/>
              <a:gd name="connsiteX2" fmla="*/ 5916099 w 7091479"/>
              <a:gd name="connsiteY2" fmla="*/ 0 h 2350760"/>
              <a:gd name="connsiteX3" fmla="*/ 7091479 w 7091479"/>
              <a:gd name="connsiteY3" fmla="*/ 1175380 h 2350760"/>
              <a:gd name="connsiteX4" fmla="*/ 5916099 w 7091479"/>
              <a:gd name="connsiteY4" fmla="*/ 2350760 h 2350760"/>
              <a:gd name="connsiteX5" fmla="*/ 5916099 w 7091479"/>
              <a:gd name="connsiteY5" fmla="*/ 2056915 h 2350760"/>
              <a:gd name="connsiteX6" fmla="*/ 0 w 7091479"/>
              <a:gd name="connsiteY6" fmla="*/ 2056915 h 2350760"/>
              <a:gd name="connsiteX7" fmla="*/ 0 w 7091479"/>
              <a:gd name="connsiteY7" fmla="*/ 293845 h 2350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091479" h="2350760">
                <a:moveTo>
                  <a:pt x="0" y="293845"/>
                </a:moveTo>
                <a:lnTo>
                  <a:pt x="5916099" y="293845"/>
                </a:lnTo>
                <a:lnTo>
                  <a:pt x="5916099" y="0"/>
                </a:lnTo>
                <a:lnTo>
                  <a:pt x="7091479" y="1175380"/>
                </a:lnTo>
                <a:lnTo>
                  <a:pt x="5916099" y="2350760"/>
                </a:lnTo>
                <a:lnTo>
                  <a:pt x="5916099" y="2056915"/>
                </a:lnTo>
                <a:lnTo>
                  <a:pt x="0" y="2056915"/>
                </a:lnTo>
                <a:lnTo>
                  <a:pt x="0" y="293845"/>
                </a:lnTo>
                <a:close/>
              </a:path>
            </a:pathLst>
          </a:custGeom>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457200" tIns="457200" rIns="1064415" bIns="305275" numCol="1" spcCol="1270" anchor="t" anchorCtr="0">
            <a:noAutofit/>
          </a:bodyPr>
          <a:lstStyle/>
          <a:p>
            <a:pPr marL="285750" lvl="1" indent="-285750" defTabSz="800100">
              <a:lnSpc>
                <a:spcPct val="90000"/>
              </a:lnSpc>
              <a:spcBef>
                <a:spcPct val="0"/>
              </a:spcBef>
              <a:spcAft>
                <a:spcPct val="15000"/>
              </a:spcAft>
              <a:buFont typeface="Arial" panose="020B0604020202020204" pitchFamily="34" charset="0"/>
              <a:buChar char="•"/>
            </a:pPr>
            <a:r>
              <a:rPr lang="en-US" dirty="0"/>
              <a:t>Leverage parameters to vary the caching characteristics and lifetime of content cache</a:t>
            </a:r>
          </a:p>
        </p:txBody>
      </p:sp>
      <p:sp>
        <p:nvSpPr>
          <p:cNvPr id="11" name="Freeform: Shape 10"/>
          <p:cNvSpPr/>
          <p:nvPr/>
        </p:nvSpPr>
        <p:spPr>
          <a:xfrm>
            <a:off x="1328722" y="4091658"/>
            <a:ext cx="3213523" cy="1053066"/>
          </a:xfrm>
          <a:custGeom>
            <a:avLst/>
            <a:gdLst>
              <a:gd name="connsiteX0" fmla="*/ 0 w 3213523"/>
              <a:gd name="connsiteY0" fmla="*/ 295356 h 1772099"/>
              <a:gd name="connsiteX1" fmla="*/ 295356 w 3213523"/>
              <a:gd name="connsiteY1" fmla="*/ 0 h 1772099"/>
              <a:gd name="connsiteX2" fmla="*/ 2918167 w 3213523"/>
              <a:gd name="connsiteY2" fmla="*/ 0 h 1772099"/>
              <a:gd name="connsiteX3" fmla="*/ 3213523 w 3213523"/>
              <a:gd name="connsiteY3" fmla="*/ 295356 h 1772099"/>
              <a:gd name="connsiteX4" fmla="*/ 3213523 w 3213523"/>
              <a:gd name="connsiteY4" fmla="*/ 1476743 h 1772099"/>
              <a:gd name="connsiteX5" fmla="*/ 2918167 w 3213523"/>
              <a:gd name="connsiteY5" fmla="*/ 1772099 h 1772099"/>
              <a:gd name="connsiteX6" fmla="*/ 295356 w 3213523"/>
              <a:gd name="connsiteY6" fmla="*/ 1772099 h 1772099"/>
              <a:gd name="connsiteX7" fmla="*/ 0 w 3213523"/>
              <a:gd name="connsiteY7" fmla="*/ 1476743 h 1772099"/>
              <a:gd name="connsiteX8" fmla="*/ 0 w 3213523"/>
              <a:gd name="connsiteY8" fmla="*/ 295356 h 17720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13523" h="1772099">
                <a:moveTo>
                  <a:pt x="0" y="295356"/>
                </a:moveTo>
                <a:cubicBezTo>
                  <a:pt x="0" y="132235"/>
                  <a:pt x="132235" y="0"/>
                  <a:pt x="295356" y="0"/>
                </a:cubicBezTo>
                <a:lnTo>
                  <a:pt x="2918167" y="0"/>
                </a:lnTo>
                <a:cubicBezTo>
                  <a:pt x="3081288" y="0"/>
                  <a:pt x="3213523" y="132235"/>
                  <a:pt x="3213523" y="295356"/>
                </a:cubicBezTo>
                <a:lnTo>
                  <a:pt x="3213523" y="1476743"/>
                </a:lnTo>
                <a:cubicBezTo>
                  <a:pt x="3213523" y="1639864"/>
                  <a:pt x="3081288" y="1772099"/>
                  <a:pt x="2918167" y="1772099"/>
                </a:cubicBezTo>
                <a:lnTo>
                  <a:pt x="295356" y="1772099"/>
                </a:lnTo>
                <a:cubicBezTo>
                  <a:pt x="132235" y="1772099"/>
                  <a:pt x="0" y="1639864"/>
                  <a:pt x="0" y="1476743"/>
                </a:cubicBezTo>
                <a:lnTo>
                  <a:pt x="0" y="295356"/>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08427" tIns="147467" rIns="208427" bIns="147467" numCol="1" spcCol="1270" anchor="ctr" anchorCtr="0">
            <a:noAutofit/>
          </a:bodyPr>
          <a:lstStyle/>
          <a:p>
            <a:pPr marL="0" lvl="0" indent="0" algn="ctr" defTabSz="1422400">
              <a:lnSpc>
                <a:spcPct val="90000"/>
              </a:lnSpc>
              <a:spcBef>
                <a:spcPct val="0"/>
              </a:spcBef>
              <a:spcAft>
                <a:spcPct val="35000"/>
              </a:spcAft>
              <a:buNone/>
            </a:pPr>
            <a:r>
              <a:rPr lang="en-US" sz="3200" b="0" kern="1200" dirty="0">
                <a:solidFill>
                  <a:srgbClr val="FFFFFF"/>
                </a:solidFill>
                <a:latin typeface="Segoe UI Semibold" panose="020B0702040204020203" pitchFamily="34" charset="0"/>
                <a:ea typeface="+mn-ea"/>
                <a:cs typeface="Segoe UI Semibold" panose="020B0702040204020203" pitchFamily="34" charset="0"/>
              </a:rPr>
              <a:t>Recommended</a:t>
            </a:r>
          </a:p>
        </p:txBody>
      </p:sp>
      <p:sp>
        <p:nvSpPr>
          <p:cNvPr id="12" name="Freeform: Shape 11"/>
          <p:cNvSpPr/>
          <p:nvPr/>
        </p:nvSpPr>
        <p:spPr>
          <a:xfrm>
            <a:off x="4281380" y="5440918"/>
            <a:ext cx="6393707" cy="1016589"/>
          </a:xfrm>
          <a:custGeom>
            <a:avLst/>
            <a:gdLst>
              <a:gd name="connsiteX0" fmla="*/ 0 w 7125896"/>
              <a:gd name="connsiteY0" fmla="*/ 180910 h 1447281"/>
              <a:gd name="connsiteX1" fmla="*/ 6402256 w 7125896"/>
              <a:gd name="connsiteY1" fmla="*/ 180910 h 1447281"/>
              <a:gd name="connsiteX2" fmla="*/ 6402256 w 7125896"/>
              <a:gd name="connsiteY2" fmla="*/ 0 h 1447281"/>
              <a:gd name="connsiteX3" fmla="*/ 7125896 w 7125896"/>
              <a:gd name="connsiteY3" fmla="*/ 723641 h 1447281"/>
              <a:gd name="connsiteX4" fmla="*/ 6402256 w 7125896"/>
              <a:gd name="connsiteY4" fmla="*/ 1447281 h 1447281"/>
              <a:gd name="connsiteX5" fmla="*/ 6402256 w 7125896"/>
              <a:gd name="connsiteY5" fmla="*/ 1266371 h 1447281"/>
              <a:gd name="connsiteX6" fmla="*/ 0 w 7125896"/>
              <a:gd name="connsiteY6" fmla="*/ 1266371 h 1447281"/>
              <a:gd name="connsiteX7" fmla="*/ 0 w 7125896"/>
              <a:gd name="connsiteY7" fmla="*/ 180910 h 14472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125896" h="1447281">
                <a:moveTo>
                  <a:pt x="0" y="180910"/>
                </a:moveTo>
                <a:lnTo>
                  <a:pt x="6402256" y="180910"/>
                </a:lnTo>
                <a:lnTo>
                  <a:pt x="6402256" y="0"/>
                </a:lnTo>
                <a:lnTo>
                  <a:pt x="7125896" y="723641"/>
                </a:lnTo>
                <a:lnTo>
                  <a:pt x="6402256" y="1447281"/>
                </a:lnTo>
                <a:lnTo>
                  <a:pt x="6402256" y="1266371"/>
                </a:lnTo>
                <a:lnTo>
                  <a:pt x="0" y="1266371"/>
                </a:lnTo>
                <a:lnTo>
                  <a:pt x="0" y="180910"/>
                </a:lnTo>
                <a:close/>
              </a:path>
            </a:pathLst>
          </a:custGeom>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365760" tIns="365760" rIns="640080" bIns="192340" numCol="1" spcCol="1270" anchor="t" anchorCtr="0">
            <a:noAutofit/>
          </a:bodyPr>
          <a:lstStyle/>
          <a:p>
            <a:pPr marL="285750" lvl="0" indent="-285750">
              <a:buFont typeface="Arial" panose="020B0604020202020204" pitchFamily="34" charset="0"/>
              <a:buChar char="•"/>
            </a:pPr>
            <a:r>
              <a:rPr lang="en-US" dirty="0"/>
              <a:t>Map the CDN content to a custom domain name</a:t>
            </a:r>
          </a:p>
        </p:txBody>
      </p:sp>
      <p:sp>
        <p:nvSpPr>
          <p:cNvPr id="13" name="Freeform: Shape 12"/>
          <p:cNvSpPr/>
          <p:nvPr/>
        </p:nvSpPr>
        <p:spPr>
          <a:xfrm>
            <a:off x="1255786" y="5555284"/>
            <a:ext cx="3283133" cy="773256"/>
          </a:xfrm>
          <a:custGeom>
            <a:avLst/>
            <a:gdLst>
              <a:gd name="connsiteX0" fmla="*/ 0 w 3210524"/>
              <a:gd name="connsiteY0" fmla="*/ 191185 h 1147089"/>
              <a:gd name="connsiteX1" fmla="*/ 191185 w 3210524"/>
              <a:gd name="connsiteY1" fmla="*/ 0 h 1147089"/>
              <a:gd name="connsiteX2" fmla="*/ 3019339 w 3210524"/>
              <a:gd name="connsiteY2" fmla="*/ 0 h 1147089"/>
              <a:gd name="connsiteX3" fmla="*/ 3210524 w 3210524"/>
              <a:gd name="connsiteY3" fmla="*/ 191185 h 1147089"/>
              <a:gd name="connsiteX4" fmla="*/ 3210524 w 3210524"/>
              <a:gd name="connsiteY4" fmla="*/ 955904 h 1147089"/>
              <a:gd name="connsiteX5" fmla="*/ 3019339 w 3210524"/>
              <a:gd name="connsiteY5" fmla="*/ 1147089 h 1147089"/>
              <a:gd name="connsiteX6" fmla="*/ 191185 w 3210524"/>
              <a:gd name="connsiteY6" fmla="*/ 1147089 h 1147089"/>
              <a:gd name="connsiteX7" fmla="*/ 0 w 3210524"/>
              <a:gd name="connsiteY7" fmla="*/ 955904 h 1147089"/>
              <a:gd name="connsiteX8" fmla="*/ 0 w 3210524"/>
              <a:gd name="connsiteY8" fmla="*/ 191185 h 1147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10524" h="1147089">
                <a:moveTo>
                  <a:pt x="0" y="191185"/>
                </a:moveTo>
                <a:cubicBezTo>
                  <a:pt x="0" y="85596"/>
                  <a:pt x="85596" y="0"/>
                  <a:pt x="191185" y="0"/>
                </a:cubicBezTo>
                <a:lnTo>
                  <a:pt x="3019339" y="0"/>
                </a:lnTo>
                <a:cubicBezTo>
                  <a:pt x="3124928" y="0"/>
                  <a:pt x="3210524" y="85596"/>
                  <a:pt x="3210524" y="191185"/>
                </a:cubicBezTo>
                <a:lnTo>
                  <a:pt x="3210524" y="955904"/>
                </a:lnTo>
                <a:cubicBezTo>
                  <a:pt x="3210524" y="1061493"/>
                  <a:pt x="3124928" y="1147089"/>
                  <a:pt x="3019339" y="1147089"/>
                </a:cubicBezTo>
                <a:lnTo>
                  <a:pt x="191185" y="1147089"/>
                </a:lnTo>
                <a:cubicBezTo>
                  <a:pt x="85596" y="1147089"/>
                  <a:pt x="0" y="1061493"/>
                  <a:pt x="0" y="955904"/>
                </a:cubicBezTo>
                <a:lnTo>
                  <a:pt x="0" y="191185"/>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77916" tIns="116956" rIns="177916" bIns="116956" numCol="1" spcCol="1270" anchor="ctr" anchorCtr="0">
            <a:noAutofit/>
          </a:bodyPr>
          <a:lstStyle/>
          <a:p>
            <a:pPr marL="0" lvl="0" indent="0" algn="ctr" defTabSz="1422400">
              <a:lnSpc>
                <a:spcPct val="90000"/>
              </a:lnSpc>
              <a:spcBef>
                <a:spcPct val="0"/>
              </a:spcBef>
              <a:spcAft>
                <a:spcPct val="35000"/>
              </a:spcAft>
              <a:buNone/>
            </a:pPr>
            <a:r>
              <a:rPr lang="en-US" sz="3200" b="0" kern="1200" dirty="0">
                <a:solidFill>
                  <a:srgbClr val="FFFFFF"/>
                </a:solidFill>
                <a:latin typeface="Segoe UI Semibold" panose="020B0702040204020203" pitchFamily="34" charset="0"/>
                <a:ea typeface="+mn-ea"/>
                <a:cs typeface="Segoe UI Semibold" panose="020B0702040204020203" pitchFamily="34" charset="0"/>
              </a:rPr>
              <a:t>Optional</a:t>
            </a:r>
          </a:p>
        </p:txBody>
      </p:sp>
      <p:sp>
        <p:nvSpPr>
          <p:cNvPr id="4" name="Octagon 3"/>
          <p:cNvSpPr/>
          <p:nvPr/>
        </p:nvSpPr>
        <p:spPr>
          <a:xfrm>
            <a:off x="1107200" y="3348541"/>
            <a:ext cx="443098" cy="439889"/>
          </a:xfrm>
          <a:prstGeom prst="octagon">
            <a:avLst/>
          </a:prstGeom>
          <a:solidFill>
            <a:srgbClr val="CC0000"/>
          </a:solidFill>
        </p:spPr>
        <p:style>
          <a:lnRef idx="1">
            <a:schemeClr val="accent2"/>
          </a:lnRef>
          <a:fillRef idx="3">
            <a:schemeClr val="accent2"/>
          </a:fillRef>
          <a:effectRef idx="2">
            <a:schemeClr val="accent2"/>
          </a:effectRef>
          <a:fontRef idx="minor">
            <a:schemeClr val="lt1"/>
          </a:fontRef>
        </p:style>
        <p:txBody>
          <a:bodyPr rot="0" spcFirstLastPara="0" vert="horz" wrap="square" lIns="68583" tIns="34291" rIns="68583" bIns="34291" numCol="1" spcCol="0" rtlCol="0" fromWordArt="0" anchor="ctr" anchorCtr="0" forceAA="0" compatLnSpc="1">
            <a:prstTxWarp prst="textNoShape">
              <a:avLst/>
            </a:prstTxWarp>
            <a:noAutofit/>
          </a:bodyPr>
          <a:lstStyle/>
          <a:p>
            <a:endParaRPr lang="en-US" sz="1350" dirty="0"/>
          </a:p>
        </p:txBody>
      </p:sp>
      <p:sp>
        <p:nvSpPr>
          <p:cNvPr id="5" name="Isosceles Triangle 4"/>
          <p:cNvSpPr>
            <a:spLocks/>
          </p:cNvSpPr>
          <p:nvPr/>
        </p:nvSpPr>
        <p:spPr>
          <a:xfrm>
            <a:off x="1038785" y="4819457"/>
            <a:ext cx="579874" cy="457219"/>
          </a:xfrm>
          <a:prstGeom prst="triangle">
            <a:avLst/>
          </a:prstGeom>
          <a:solidFill>
            <a:srgbClr val="FFFF00"/>
          </a:solidFill>
        </p:spPr>
        <p:style>
          <a:lnRef idx="1">
            <a:schemeClr val="accent6"/>
          </a:lnRef>
          <a:fillRef idx="3">
            <a:schemeClr val="accent6"/>
          </a:fillRef>
          <a:effectRef idx="2">
            <a:schemeClr val="accent6"/>
          </a:effectRef>
          <a:fontRef idx="minor">
            <a:schemeClr val="lt1"/>
          </a:fontRef>
        </p:style>
        <p:txBody>
          <a:bodyPr rot="0" spcFirstLastPara="0" vert="horz" wrap="square" lIns="68583" tIns="34291" rIns="68583" bIns="34291" numCol="1" spcCol="0" rtlCol="0" fromWordArt="0" anchor="ctr" anchorCtr="0" forceAA="0" compatLnSpc="1">
            <a:prstTxWarp prst="textNoShape">
              <a:avLst/>
            </a:prstTxWarp>
            <a:noAutofit/>
          </a:bodyPr>
          <a:lstStyle/>
          <a:p>
            <a:endParaRPr lang="en-US" sz="1350"/>
          </a:p>
        </p:txBody>
      </p:sp>
      <p:sp>
        <p:nvSpPr>
          <p:cNvPr id="6" name="Oval 5"/>
          <p:cNvSpPr>
            <a:spLocks/>
          </p:cNvSpPr>
          <p:nvPr/>
        </p:nvSpPr>
        <p:spPr>
          <a:xfrm>
            <a:off x="1038785" y="6069964"/>
            <a:ext cx="474539" cy="475477"/>
          </a:xfrm>
          <a:prstGeom prst="ellipse">
            <a:avLst/>
          </a:prstGeom>
          <a:solidFill>
            <a:srgbClr val="00B050"/>
          </a:solidFill>
        </p:spPr>
        <p:style>
          <a:lnRef idx="1">
            <a:schemeClr val="accent3"/>
          </a:lnRef>
          <a:fillRef idx="3">
            <a:schemeClr val="accent3"/>
          </a:fillRef>
          <a:effectRef idx="2">
            <a:schemeClr val="accent3"/>
          </a:effectRef>
          <a:fontRef idx="minor">
            <a:schemeClr val="lt1"/>
          </a:fontRef>
        </p:style>
        <p:txBody>
          <a:bodyPr rot="0" spcFirstLastPara="0" vert="horz" wrap="square" lIns="68583" tIns="34291" rIns="68583" bIns="34291" numCol="1" spcCol="0" rtlCol="0" fromWordArt="0" anchor="ctr" anchorCtr="0" forceAA="0" compatLnSpc="1">
            <a:prstTxWarp prst="textNoShape">
              <a:avLst/>
            </a:prstTxWarp>
            <a:noAutofit/>
          </a:bodyPr>
          <a:lstStyle/>
          <a:p>
            <a:endParaRPr lang="en-US" sz="1350"/>
          </a:p>
        </p:txBody>
      </p:sp>
    </p:spTree>
    <p:extLst>
      <p:ext uri="{BB962C8B-B14F-4D97-AF65-F5344CB8AC3E}">
        <p14:creationId xmlns:p14="http://schemas.microsoft.com/office/powerpoint/2010/main" val="2701945897"/>
      </p:ext>
    </p:extLst>
  </p:cSld>
  <p:clrMapOvr>
    <a:masterClrMapping/>
  </p:clrMapOvr>
  <p:transition>
    <p:fade/>
  </p:transition>
</p:sld>
</file>

<file path=ppt/slides/slide16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8" name="Table 7"/>
          <p:cNvGraphicFramePr>
            <a:graphicFrameLocks noGrp="1"/>
          </p:cNvGraphicFramePr>
          <p:nvPr>
            <p:extLst/>
          </p:nvPr>
        </p:nvGraphicFramePr>
        <p:xfrm>
          <a:off x="547010" y="1389322"/>
          <a:ext cx="10971594" cy="1979659"/>
        </p:xfrm>
        <a:graphic>
          <a:graphicData uri="http://schemas.openxmlformats.org/drawingml/2006/table">
            <a:tbl>
              <a:tblPr firstRow="1" bandRow="1">
                <a:tableStyleId>{F2DE63D5-997A-4646-A377-4702673A728D}</a:tableStyleId>
              </a:tblPr>
              <a:tblGrid>
                <a:gridCol w="2742898">
                  <a:extLst>
                    <a:ext uri="{9D8B030D-6E8A-4147-A177-3AD203B41FA5}">
                      <a16:colId xmlns:a16="http://schemas.microsoft.com/office/drawing/2014/main" val="3323723136"/>
                    </a:ext>
                  </a:extLst>
                </a:gridCol>
                <a:gridCol w="1980199">
                  <a:extLst>
                    <a:ext uri="{9D8B030D-6E8A-4147-A177-3AD203B41FA5}">
                      <a16:colId xmlns:a16="http://schemas.microsoft.com/office/drawing/2014/main" val="3937888222"/>
                    </a:ext>
                  </a:extLst>
                </a:gridCol>
                <a:gridCol w="2316122">
                  <a:extLst>
                    <a:ext uri="{9D8B030D-6E8A-4147-A177-3AD203B41FA5}">
                      <a16:colId xmlns:a16="http://schemas.microsoft.com/office/drawing/2014/main" val="1410519535"/>
                    </a:ext>
                  </a:extLst>
                </a:gridCol>
                <a:gridCol w="3932375">
                  <a:extLst>
                    <a:ext uri="{9D8B030D-6E8A-4147-A177-3AD203B41FA5}">
                      <a16:colId xmlns:a16="http://schemas.microsoft.com/office/drawing/2014/main" val="3764866363"/>
                    </a:ext>
                  </a:extLst>
                </a:gridCol>
              </a:tblGrid>
              <a:tr h="774649">
                <a:tc>
                  <a:txBody>
                    <a:bodyPr/>
                    <a:lstStyle/>
                    <a:p>
                      <a:r>
                        <a:rPr lang="en-US" sz="2200" b="0" i="0" dirty="0">
                          <a:latin typeface="Segoe UI Semibold" panose="020B0702040204020203" pitchFamily="34" charset="0"/>
                          <a:cs typeface="Segoe UI Semibold" panose="020B0702040204020203" pitchFamily="34" charset="0"/>
                        </a:rPr>
                        <a:t>Service name</a:t>
                      </a:r>
                    </a:p>
                  </a:txBody>
                  <a:tcPr marL="86072" marR="86072" marT="43036" marB="43036">
                    <a:solidFill>
                      <a:schemeClr val="accent1"/>
                    </a:solidFill>
                  </a:tcPr>
                </a:tc>
                <a:tc>
                  <a:txBody>
                    <a:bodyPr/>
                    <a:lstStyle/>
                    <a:p>
                      <a:r>
                        <a:rPr lang="en-US" sz="2200" b="0" i="0" dirty="0">
                          <a:latin typeface="Segoe UI Semibold" panose="020B0702040204020203" pitchFamily="34" charset="0"/>
                          <a:cs typeface="Segoe UI Semibold" panose="020B0702040204020203" pitchFamily="34" charset="0"/>
                        </a:rPr>
                        <a:t>Management</a:t>
                      </a:r>
                    </a:p>
                  </a:txBody>
                  <a:tcPr marL="86072" marR="86072" marT="43036" marB="43036">
                    <a:solidFill>
                      <a:schemeClr val="accent1"/>
                    </a:solidFill>
                  </a:tcPr>
                </a:tc>
                <a:tc>
                  <a:txBody>
                    <a:bodyPr/>
                    <a:lstStyle/>
                    <a:p>
                      <a:r>
                        <a:rPr lang="en-US" sz="2200" b="0" i="0" dirty="0">
                          <a:latin typeface="Segoe UI Semibold" panose="020B0702040204020203" pitchFamily="34" charset="0"/>
                          <a:cs typeface="Segoe UI Semibold" panose="020B0702040204020203" pitchFamily="34" charset="0"/>
                        </a:rPr>
                        <a:t>Peering (public, private, both)</a:t>
                      </a:r>
                    </a:p>
                  </a:txBody>
                  <a:tcPr marL="86072" marR="86072" marT="43036" marB="43036">
                    <a:solidFill>
                      <a:schemeClr val="accent1"/>
                    </a:solidFill>
                  </a:tcPr>
                </a:tc>
                <a:tc>
                  <a:txBody>
                    <a:bodyPr/>
                    <a:lstStyle/>
                    <a:p>
                      <a:r>
                        <a:rPr lang="en-US" sz="2200" b="0" i="0" dirty="0">
                          <a:latin typeface="Segoe UI Semibold" panose="020B0702040204020203" pitchFamily="34" charset="0"/>
                          <a:cs typeface="Segoe UI Semibold" panose="020B0702040204020203" pitchFamily="34" charset="0"/>
                        </a:rPr>
                        <a:t>Connectivity options</a:t>
                      </a:r>
                    </a:p>
                    <a:p>
                      <a:r>
                        <a:rPr lang="en-US" sz="2200" b="0" i="0" dirty="0">
                          <a:latin typeface="Segoe UI Semibold" panose="020B0702040204020203" pitchFamily="34" charset="0"/>
                          <a:cs typeface="Segoe UI Semibold" panose="020B0702040204020203" pitchFamily="34" charset="0"/>
                        </a:rPr>
                        <a:t>(To on-</a:t>
                      </a:r>
                      <a:r>
                        <a:rPr lang="en-US" sz="2200" b="0" i="0" dirty="0" err="1">
                          <a:latin typeface="Segoe UI Semibold" panose="020B0702040204020203" pitchFamily="34" charset="0"/>
                          <a:cs typeface="Segoe UI Semibold" panose="020B0702040204020203" pitchFamily="34" charset="0"/>
                        </a:rPr>
                        <a:t>prem</a:t>
                      </a:r>
                      <a:r>
                        <a:rPr lang="en-US" sz="2200" b="0" i="0" dirty="0">
                          <a:latin typeface="Segoe UI Semibold" panose="020B0702040204020203" pitchFamily="34" charset="0"/>
                          <a:cs typeface="Segoe UI Semibold" panose="020B0702040204020203" pitchFamily="34" charset="0"/>
                        </a:rPr>
                        <a:t> resources)</a:t>
                      </a:r>
                    </a:p>
                  </a:txBody>
                  <a:tcPr marL="86072" marR="86072" marT="43036" marB="43036">
                    <a:solidFill>
                      <a:schemeClr val="accent1"/>
                    </a:solidFill>
                  </a:tcPr>
                </a:tc>
                <a:extLst>
                  <a:ext uri="{0D108BD9-81ED-4DB2-BD59-A6C34878D82A}">
                    <a16:rowId xmlns:a16="http://schemas.microsoft.com/office/drawing/2014/main" val="3157971493"/>
                  </a:ext>
                </a:extLst>
              </a:tr>
              <a:tr h="430361">
                <a:tc>
                  <a:txBody>
                    <a:bodyPr/>
                    <a:lstStyle/>
                    <a:p>
                      <a:r>
                        <a:rPr lang="en-US" sz="2200" b="0" i="0" dirty="0">
                          <a:latin typeface="Segoe UI Semibold" panose="020B0702040204020203" pitchFamily="34" charset="0"/>
                          <a:cs typeface="Segoe UI Semibold" panose="020B0702040204020203" pitchFamily="34" charset="0"/>
                        </a:rPr>
                        <a:t>Media Services</a:t>
                      </a:r>
                    </a:p>
                  </a:txBody>
                  <a:tcPr marL="86072" marR="86072" marT="43036" marB="43036"/>
                </a:tc>
                <a:tc>
                  <a:txBody>
                    <a:bodyPr/>
                    <a:lstStyle/>
                    <a:p>
                      <a:r>
                        <a:rPr lang="en-US" sz="2200" dirty="0"/>
                        <a:t>ARM</a:t>
                      </a:r>
                    </a:p>
                  </a:txBody>
                  <a:tcPr marL="86072" marR="86072" marT="43036" marB="43036"/>
                </a:tc>
                <a:tc>
                  <a:txBody>
                    <a:bodyPr/>
                    <a:lstStyle/>
                    <a:p>
                      <a:r>
                        <a:rPr lang="en-US" sz="2200" dirty="0"/>
                        <a:t>Public</a:t>
                      </a:r>
                    </a:p>
                  </a:txBody>
                  <a:tcPr marL="86072" marR="86072" marT="43036" marB="43036"/>
                </a:tc>
                <a:tc>
                  <a:txBody>
                    <a:bodyPr/>
                    <a:lstStyle/>
                    <a:p>
                      <a:pPr marL="0" marR="0" lvl="0" indent="0" algn="l" defTabSz="768113" rtl="0" eaLnBrk="1" fontAlgn="auto" latinLnBrk="0" hangingPunct="1">
                        <a:lnSpc>
                          <a:spcPct val="100000"/>
                        </a:lnSpc>
                        <a:spcBef>
                          <a:spcPts val="0"/>
                        </a:spcBef>
                        <a:spcAft>
                          <a:spcPts val="0"/>
                        </a:spcAft>
                        <a:buClrTx/>
                        <a:buSzTx/>
                        <a:buFontTx/>
                        <a:buNone/>
                        <a:tabLst/>
                        <a:defRPr/>
                      </a:pPr>
                      <a:r>
                        <a:rPr lang="en-US" sz="2200" dirty="0"/>
                        <a:t>-</a:t>
                      </a:r>
                    </a:p>
                  </a:txBody>
                  <a:tcPr marL="86072" marR="86072" marT="43036" marB="43036"/>
                </a:tc>
                <a:extLst>
                  <a:ext uri="{0D108BD9-81ED-4DB2-BD59-A6C34878D82A}">
                    <a16:rowId xmlns:a16="http://schemas.microsoft.com/office/drawing/2014/main" val="4133688658"/>
                  </a:ext>
                </a:extLst>
              </a:tr>
              <a:tr h="774649">
                <a:tc>
                  <a:txBody>
                    <a:bodyPr/>
                    <a:lstStyle/>
                    <a:p>
                      <a:r>
                        <a:rPr lang="en-US" sz="2200" b="0" i="0" dirty="0">
                          <a:latin typeface="Segoe UI Semibold" panose="020B0702040204020203" pitchFamily="34" charset="0"/>
                          <a:cs typeface="Segoe UI Semibold" panose="020B0702040204020203" pitchFamily="34" charset="0"/>
                        </a:rPr>
                        <a:t>Content Delivery Network (CDN)</a:t>
                      </a:r>
                    </a:p>
                  </a:txBody>
                  <a:tcPr marL="86072" marR="86072" marT="43036" marB="43036"/>
                </a:tc>
                <a:tc>
                  <a:txBody>
                    <a:bodyPr/>
                    <a:lstStyle/>
                    <a:p>
                      <a:r>
                        <a:rPr lang="en-US" sz="2200" dirty="0"/>
                        <a:t>ARM</a:t>
                      </a:r>
                    </a:p>
                  </a:txBody>
                  <a:tcPr marL="86072" marR="86072" marT="43036" marB="43036"/>
                </a:tc>
                <a:tc>
                  <a:txBody>
                    <a:bodyPr/>
                    <a:lstStyle/>
                    <a:p>
                      <a:r>
                        <a:rPr lang="en-US" sz="2200" dirty="0"/>
                        <a:t>Public</a:t>
                      </a:r>
                    </a:p>
                  </a:txBody>
                  <a:tcPr marL="86072" marR="86072" marT="43036" marB="43036"/>
                </a:tc>
                <a:tc>
                  <a:txBody>
                    <a:bodyPr/>
                    <a:lstStyle/>
                    <a:p>
                      <a:r>
                        <a:rPr lang="en-US" sz="2200" dirty="0"/>
                        <a:t>-</a:t>
                      </a:r>
                    </a:p>
                  </a:txBody>
                  <a:tcPr marL="86072" marR="86072" marT="43036" marB="43036"/>
                </a:tc>
                <a:extLst>
                  <a:ext uri="{0D108BD9-81ED-4DB2-BD59-A6C34878D82A}">
                    <a16:rowId xmlns:a16="http://schemas.microsoft.com/office/drawing/2014/main" val="1987288546"/>
                  </a:ext>
                </a:extLst>
              </a:tr>
            </a:tbl>
          </a:graphicData>
        </a:graphic>
      </p:graphicFrame>
      <p:sp>
        <p:nvSpPr>
          <p:cNvPr id="5" name="Title 4"/>
          <p:cNvSpPr>
            <a:spLocks noGrp="1"/>
          </p:cNvSpPr>
          <p:nvPr>
            <p:ph type="title"/>
          </p:nvPr>
        </p:nvSpPr>
        <p:spPr>
          <a:xfrm>
            <a:off x="366169" y="295278"/>
            <a:ext cx="11702551" cy="917575"/>
          </a:xfrm>
        </p:spPr>
        <p:txBody>
          <a:bodyPr/>
          <a:lstStyle/>
          <a:p>
            <a:r>
              <a:rPr lang="en-US" dirty="0"/>
              <a:t>Media and CDN – Key decision points</a:t>
            </a:r>
          </a:p>
        </p:txBody>
      </p:sp>
      <p:sp>
        <p:nvSpPr>
          <p:cNvPr id="7" name="Title 4"/>
          <p:cNvSpPr txBox="1">
            <a:spLocks/>
          </p:cNvSpPr>
          <p:nvPr/>
        </p:nvSpPr>
        <p:spPr>
          <a:xfrm>
            <a:off x="366169" y="3611792"/>
            <a:ext cx="11702551" cy="917575"/>
          </a:xfrm>
          <a:prstGeom prst="rect">
            <a:avLst/>
          </a:prstGeom>
        </p:spPr>
        <p:txBody>
          <a:bodyPr vert="horz" wrap="square" lIns="146304" tIns="91440" rIns="146304" bIns="91440" rtlCol="0" anchor="t">
            <a:noAutofit/>
          </a:bodyPr>
          <a:lstStyle>
            <a:lvl1pPr algn="l" defTabSz="932594" rtl="0" eaLnBrk="1" latinLnBrk="0" hangingPunct="1">
              <a:lnSpc>
                <a:spcPct val="90000"/>
              </a:lnSpc>
              <a:spcBef>
                <a:spcPct val="0"/>
              </a:spcBef>
              <a:buNone/>
              <a:defRPr lang="en-US" sz="4800" b="0" kern="1200" cap="none" spc="-101" baseline="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dirty="0"/>
              <a:t>Media and CDN – Quotas, limits</a:t>
            </a:r>
          </a:p>
        </p:txBody>
      </p:sp>
      <p:graphicFrame>
        <p:nvGraphicFramePr>
          <p:cNvPr id="10" name="Table 9"/>
          <p:cNvGraphicFramePr>
            <a:graphicFrameLocks noGrp="1"/>
          </p:cNvGraphicFramePr>
          <p:nvPr>
            <p:extLst/>
          </p:nvPr>
        </p:nvGraphicFramePr>
        <p:xfrm>
          <a:off x="547010" y="4598388"/>
          <a:ext cx="10971594" cy="1635371"/>
        </p:xfrm>
        <a:graphic>
          <a:graphicData uri="http://schemas.openxmlformats.org/drawingml/2006/table">
            <a:tbl>
              <a:tblPr firstRow="1" bandRow="1">
                <a:tableStyleId>{F2DE63D5-997A-4646-A377-4702673A728D}</a:tableStyleId>
              </a:tblPr>
              <a:tblGrid>
                <a:gridCol w="3068221">
                  <a:extLst>
                    <a:ext uri="{9D8B030D-6E8A-4147-A177-3AD203B41FA5}">
                      <a16:colId xmlns:a16="http://schemas.microsoft.com/office/drawing/2014/main" val="3323723136"/>
                    </a:ext>
                  </a:extLst>
                </a:gridCol>
                <a:gridCol w="3709586">
                  <a:extLst>
                    <a:ext uri="{9D8B030D-6E8A-4147-A177-3AD203B41FA5}">
                      <a16:colId xmlns:a16="http://schemas.microsoft.com/office/drawing/2014/main" val="3937888222"/>
                    </a:ext>
                  </a:extLst>
                </a:gridCol>
                <a:gridCol w="4193787">
                  <a:extLst>
                    <a:ext uri="{9D8B030D-6E8A-4147-A177-3AD203B41FA5}">
                      <a16:colId xmlns:a16="http://schemas.microsoft.com/office/drawing/2014/main" val="1410519535"/>
                    </a:ext>
                  </a:extLst>
                </a:gridCol>
              </a:tblGrid>
              <a:tr h="430361">
                <a:tc>
                  <a:txBody>
                    <a:bodyPr/>
                    <a:lstStyle/>
                    <a:p>
                      <a:r>
                        <a:rPr lang="en-US" sz="2200" b="0" i="0" dirty="0">
                          <a:latin typeface="Segoe UI Semibold" panose="020B0702040204020203" pitchFamily="34" charset="0"/>
                          <a:cs typeface="Segoe UI Semibold" panose="020B0702040204020203" pitchFamily="34" charset="0"/>
                        </a:rPr>
                        <a:t>Service name</a:t>
                      </a:r>
                    </a:p>
                  </a:txBody>
                  <a:tcPr marL="86072" marR="86072" marT="43036" marB="43036">
                    <a:solidFill>
                      <a:schemeClr val="accent1"/>
                    </a:solidFill>
                  </a:tcPr>
                </a:tc>
                <a:tc>
                  <a:txBody>
                    <a:bodyPr/>
                    <a:lstStyle/>
                    <a:p>
                      <a:r>
                        <a:rPr lang="en-US" sz="2200" b="0" i="0" dirty="0">
                          <a:latin typeface="Segoe UI Semibold" panose="020B0702040204020203" pitchFamily="34" charset="0"/>
                          <a:cs typeface="Segoe UI Semibold" panose="020B0702040204020203" pitchFamily="34" charset="0"/>
                        </a:rPr>
                        <a:t>Service level</a:t>
                      </a:r>
                    </a:p>
                  </a:txBody>
                  <a:tcPr marL="86072" marR="86072" marT="43036" marB="43036">
                    <a:solidFill>
                      <a:schemeClr val="accent1"/>
                    </a:solidFill>
                  </a:tcPr>
                </a:tc>
                <a:tc>
                  <a:txBody>
                    <a:bodyPr/>
                    <a:lstStyle/>
                    <a:p>
                      <a:r>
                        <a:rPr lang="en-US" sz="2200" b="0" i="0" dirty="0">
                          <a:latin typeface="Segoe UI Semibold" panose="020B0702040204020203" pitchFamily="34" charset="0"/>
                          <a:cs typeface="Segoe UI Semibold" panose="020B0702040204020203" pitchFamily="34" charset="0"/>
                        </a:rPr>
                        <a:t>Subscription</a:t>
                      </a:r>
                      <a:r>
                        <a:rPr lang="en-US" sz="2200" b="0" i="0" baseline="0" dirty="0">
                          <a:latin typeface="Segoe UI Semibold" panose="020B0702040204020203" pitchFamily="34" charset="0"/>
                          <a:cs typeface="Segoe UI Semibold" panose="020B0702040204020203" pitchFamily="34" charset="0"/>
                        </a:rPr>
                        <a:t> level</a:t>
                      </a:r>
                      <a:endParaRPr lang="en-US" sz="2200" b="0" i="0" dirty="0">
                        <a:latin typeface="Segoe UI Semibold" panose="020B0702040204020203" pitchFamily="34" charset="0"/>
                        <a:cs typeface="Segoe UI Semibold" panose="020B0702040204020203" pitchFamily="34" charset="0"/>
                      </a:endParaRPr>
                    </a:p>
                  </a:txBody>
                  <a:tcPr marL="86072" marR="86072" marT="43036" marB="43036">
                    <a:solidFill>
                      <a:schemeClr val="accent1"/>
                    </a:solidFill>
                  </a:tcPr>
                </a:tc>
                <a:extLst>
                  <a:ext uri="{0D108BD9-81ED-4DB2-BD59-A6C34878D82A}">
                    <a16:rowId xmlns:a16="http://schemas.microsoft.com/office/drawing/2014/main" val="3157971493"/>
                  </a:ext>
                </a:extLst>
              </a:tr>
              <a:tr h="430361">
                <a:tc>
                  <a:txBody>
                    <a:bodyPr/>
                    <a:lstStyle/>
                    <a:p>
                      <a:r>
                        <a:rPr lang="en-US" sz="2200" b="0" i="0" dirty="0">
                          <a:latin typeface="Segoe UI Semibold" panose="020B0702040204020203" pitchFamily="34" charset="0"/>
                          <a:cs typeface="Segoe UI Semibold" panose="020B0702040204020203" pitchFamily="34" charset="0"/>
                        </a:rPr>
                        <a:t>Media Services</a:t>
                      </a:r>
                    </a:p>
                  </a:txBody>
                  <a:tcPr marL="86072" marR="86072" marT="43036" marB="43036"/>
                </a:tc>
                <a:tc>
                  <a:txBody>
                    <a:bodyPr/>
                    <a:lstStyle/>
                    <a:p>
                      <a:r>
                        <a:rPr lang="en-US" sz="2200" dirty="0"/>
                        <a:t>Assets</a:t>
                      </a:r>
                      <a:r>
                        <a:rPr lang="en-US" sz="2200" baseline="0" dirty="0"/>
                        <a:t>/account = 1,000,000</a:t>
                      </a:r>
                      <a:endParaRPr lang="en-US" sz="2200" dirty="0"/>
                    </a:p>
                  </a:txBody>
                  <a:tcPr marL="86072" marR="86072" marT="43036" marB="43036"/>
                </a:tc>
                <a:tc>
                  <a:txBody>
                    <a:bodyPr/>
                    <a:lstStyle/>
                    <a:p>
                      <a:r>
                        <a:rPr lang="en-US" sz="2200" dirty="0"/>
                        <a:t>Max accounts/subscription = 25</a:t>
                      </a:r>
                    </a:p>
                  </a:txBody>
                  <a:tcPr marL="86072" marR="86072" marT="43036" marB="43036"/>
                </a:tc>
                <a:extLst>
                  <a:ext uri="{0D108BD9-81ED-4DB2-BD59-A6C34878D82A}">
                    <a16:rowId xmlns:a16="http://schemas.microsoft.com/office/drawing/2014/main" val="4133688658"/>
                  </a:ext>
                </a:extLst>
              </a:tr>
              <a:tr h="774649">
                <a:tc>
                  <a:txBody>
                    <a:bodyPr/>
                    <a:lstStyle/>
                    <a:p>
                      <a:r>
                        <a:rPr lang="en-US" sz="2200" b="0" i="0" dirty="0">
                          <a:latin typeface="Segoe UI Semibold" panose="020B0702040204020203" pitchFamily="34" charset="0"/>
                          <a:cs typeface="Segoe UI Semibold" panose="020B0702040204020203" pitchFamily="34" charset="0"/>
                        </a:rPr>
                        <a:t>Content Delivery Network (CDN)</a:t>
                      </a:r>
                    </a:p>
                  </a:txBody>
                  <a:tcPr marL="86072" marR="86072" marT="43036" marB="43036"/>
                </a:tc>
                <a:tc>
                  <a:txBody>
                    <a:bodyPr/>
                    <a:lstStyle/>
                    <a:p>
                      <a:r>
                        <a:rPr lang="en-US" sz="2200" dirty="0"/>
                        <a:t>-</a:t>
                      </a:r>
                    </a:p>
                  </a:txBody>
                  <a:tcPr marL="86072" marR="86072" marT="43036" marB="43036"/>
                </a:tc>
                <a:tc>
                  <a:txBody>
                    <a:bodyPr/>
                    <a:lstStyle/>
                    <a:p>
                      <a:r>
                        <a:rPr lang="en-US" sz="2200" dirty="0"/>
                        <a:t>-</a:t>
                      </a:r>
                    </a:p>
                  </a:txBody>
                  <a:tcPr marL="86072" marR="86072" marT="43036" marB="43036"/>
                </a:tc>
                <a:extLst>
                  <a:ext uri="{0D108BD9-81ED-4DB2-BD59-A6C34878D82A}">
                    <a16:rowId xmlns:a16="http://schemas.microsoft.com/office/drawing/2014/main" val="1987288546"/>
                  </a:ext>
                </a:extLst>
              </a:tr>
            </a:tbl>
          </a:graphicData>
        </a:graphic>
      </p:graphicFrame>
    </p:spTree>
    <p:extLst>
      <p:ext uri="{BB962C8B-B14F-4D97-AF65-F5344CB8AC3E}">
        <p14:creationId xmlns:p14="http://schemas.microsoft.com/office/powerpoint/2010/main" val="225831856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PI Apps Features</a:t>
            </a:r>
          </a:p>
        </p:txBody>
      </p:sp>
      <p:sp>
        <p:nvSpPr>
          <p:cNvPr id="6" name="Text Placeholder 5"/>
          <p:cNvSpPr>
            <a:spLocks noGrp="1"/>
          </p:cNvSpPr>
          <p:nvPr>
            <p:ph type="body" sz="quarter" idx="10"/>
          </p:nvPr>
        </p:nvSpPr>
        <p:spPr>
          <a:xfrm>
            <a:off x="365598" y="1211287"/>
            <a:ext cx="5085634" cy="3853363"/>
          </a:xfrm>
        </p:spPr>
        <p:txBody>
          <a:bodyPr/>
          <a:lstStyle/>
          <a:p>
            <a:pPr marL="0" indent="0">
              <a:buNone/>
            </a:pPr>
            <a:r>
              <a:rPr lang="en-US" sz="3600" dirty="0"/>
              <a:t>Easy consumption</a:t>
            </a:r>
          </a:p>
          <a:p>
            <a:pPr marL="342900" lvl="1" indent="-342900"/>
            <a:r>
              <a:rPr lang="en-US" sz="2000" dirty="0"/>
              <a:t>Integrated Support for Swagger Metadata</a:t>
            </a:r>
          </a:p>
          <a:p>
            <a:endParaRPr lang="en-US" dirty="0"/>
          </a:p>
          <a:p>
            <a:pPr marL="0" indent="0">
              <a:buNone/>
            </a:pPr>
            <a:r>
              <a:rPr lang="en-US" sz="3600" dirty="0"/>
              <a:t>Simple access control</a:t>
            </a:r>
          </a:p>
          <a:p>
            <a:pPr marL="342900" lvl="1" indent="-342900"/>
            <a:r>
              <a:rPr lang="en-US" sz="2000" dirty="0"/>
              <a:t>AAD, Facebook, Twitter, Google, Microsoft Account</a:t>
            </a:r>
          </a:p>
          <a:p>
            <a:endParaRPr lang="en-US" dirty="0"/>
          </a:p>
        </p:txBody>
      </p:sp>
      <p:sp>
        <p:nvSpPr>
          <p:cNvPr id="7" name="Text Placeholder 6"/>
          <p:cNvSpPr>
            <a:spLocks noGrp="1"/>
          </p:cNvSpPr>
          <p:nvPr>
            <p:ph type="body" sz="quarter" idx="11"/>
          </p:nvPr>
        </p:nvSpPr>
        <p:spPr>
          <a:xfrm>
            <a:off x="6461209" y="1211287"/>
            <a:ext cx="5608081" cy="3182410"/>
          </a:xfrm>
        </p:spPr>
        <p:txBody>
          <a:bodyPr/>
          <a:lstStyle/>
          <a:p>
            <a:pPr marL="0" indent="0">
              <a:buNone/>
            </a:pPr>
            <a:r>
              <a:rPr lang="en-US" sz="3600" dirty="0"/>
              <a:t>Visual Studio integration</a:t>
            </a:r>
          </a:p>
          <a:p>
            <a:pPr marL="0" indent="0">
              <a:buNone/>
            </a:pPr>
            <a:endParaRPr lang="en-US" dirty="0"/>
          </a:p>
          <a:p>
            <a:pPr marL="0" indent="0">
              <a:buNone/>
            </a:pPr>
            <a:r>
              <a:rPr lang="en-US" sz="3600" dirty="0"/>
              <a:t>Integration with Logic Apps</a:t>
            </a:r>
          </a:p>
          <a:p>
            <a:pPr marL="0" indent="0">
              <a:buNone/>
            </a:pPr>
            <a:endParaRPr lang="en-US" dirty="0"/>
          </a:p>
          <a:p>
            <a:pPr marL="0" indent="0">
              <a:buNone/>
            </a:pPr>
            <a:r>
              <a:rPr lang="en-US" sz="3600" dirty="0"/>
              <a:t>Bring your existing API as-is</a:t>
            </a:r>
          </a:p>
        </p:txBody>
      </p:sp>
    </p:spTree>
    <p:extLst>
      <p:ext uri="{BB962C8B-B14F-4D97-AF65-F5344CB8AC3E}">
        <p14:creationId xmlns:p14="http://schemas.microsoft.com/office/powerpoint/2010/main" val="352977831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7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Core CDN traffic flow and values </a:t>
            </a:r>
          </a:p>
        </p:txBody>
      </p:sp>
      <p:sp>
        <p:nvSpPr>
          <p:cNvPr id="21" name="Rectangle 20"/>
          <p:cNvSpPr/>
          <p:nvPr/>
        </p:nvSpPr>
        <p:spPr bwMode="auto">
          <a:xfrm>
            <a:off x="2309959" y="3496221"/>
            <a:ext cx="3943014" cy="429264"/>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5" rIns="0" bIns="34975" numCol="1" rtlCol="0" anchor="ctr" anchorCtr="0" compatLnSpc="1">
            <a:prstTxWarp prst="textNoShape">
              <a:avLst/>
            </a:prstTxWarp>
          </a:bodyPr>
          <a:lstStyle/>
          <a:p>
            <a:pPr algn="ctr" defTabSz="699212" fontAlgn="base">
              <a:spcBef>
                <a:spcPct val="0"/>
              </a:spcBef>
              <a:spcAft>
                <a:spcPct val="0"/>
              </a:spcAft>
            </a:pPr>
            <a:endParaRPr lang="en-US" sz="1500" dirty="0">
              <a:gradFill>
                <a:gsLst>
                  <a:gs pos="16814">
                    <a:srgbClr val="FFFFFF"/>
                  </a:gs>
                  <a:gs pos="46000">
                    <a:srgbClr val="FFFFFF"/>
                  </a:gs>
                </a:gsLst>
                <a:lin ang="5400000" scaled="0"/>
              </a:gradFill>
            </a:endParaRPr>
          </a:p>
        </p:txBody>
      </p:sp>
      <p:sp>
        <p:nvSpPr>
          <p:cNvPr id="22" name="Rectangle 21"/>
          <p:cNvSpPr/>
          <p:nvPr/>
        </p:nvSpPr>
        <p:spPr bwMode="auto">
          <a:xfrm>
            <a:off x="2081379" y="1799597"/>
            <a:ext cx="1371484" cy="1371484"/>
          </a:xfrm>
          <a:prstGeom prst="rect">
            <a:avLst/>
          </a:prstGeom>
          <a:ln>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0" tIns="34975" rIns="0" bIns="34975" numCol="1" rtlCol="0" anchor="ctr" anchorCtr="0" compatLnSpc="1">
            <a:prstTxWarp prst="textNoShape">
              <a:avLst/>
            </a:prstTxWarp>
          </a:bodyPr>
          <a:lstStyle/>
          <a:p>
            <a:pPr algn="ctr" defTabSz="699212" fontAlgn="base">
              <a:spcBef>
                <a:spcPct val="0"/>
              </a:spcBef>
              <a:spcAft>
                <a:spcPct val="0"/>
              </a:spcAft>
            </a:pPr>
            <a:r>
              <a:rPr lang="en-US" sz="1500" dirty="0">
                <a:gradFill>
                  <a:gsLst>
                    <a:gs pos="16814">
                      <a:srgbClr val="FFFFFF"/>
                    </a:gs>
                    <a:gs pos="46000">
                      <a:srgbClr val="FFFFFF"/>
                    </a:gs>
                  </a:gsLst>
                  <a:lin ang="5400000" scaled="0"/>
                </a:gradFill>
              </a:rPr>
              <a:t>Customer Origin Server</a:t>
            </a:r>
          </a:p>
        </p:txBody>
      </p:sp>
      <p:sp>
        <p:nvSpPr>
          <p:cNvPr id="23" name="Rectangle 22"/>
          <p:cNvSpPr/>
          <p:nvPr/>
        </p:nvSpPr>
        <p:spPr bwMode="auto">
          <a:xfrm>
            <a:off x="3624297" y="1799597"/>
            <a:ext cx="1371484" cy="1371484"/>
          </a:xfrm>
          <a:prstGeom prst="rect">
            <a:avLst/>
          </a:prstGeom>
          <a:ln>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0" tIns="34975" rIns="0" bIns="34975" numCol="1" rtlCol="0" anchor="ctr" anchorCtr="0" compatLnSpc="1">
            <a:prstTxWarp prst="textNoShape">
              <a:avLst/>
            </a:prstTxWarp>
          </a:bodyPr>
          <a:lstStyle/>
          <a:p>
            <a:pPr algn="ctr" defTabSz="699212" fontAlgn="base">
              <a:spcBef>
                <a:spcPct val="0"/>
              </a:spcBef>
              <a:spcAft>
                <a:spcPct val="0"/>
              </a:spcAft>
            </a:pPr>
            <a:r>
              <a:rPr lang="en-US" sz="1500" dirty="0">
                <a:gradFill>
                  <a:gsLst>
                    <a:gs pos="16814">
                      <a:srgbClr val="FFFFFF"/>
                    </a:gs>
                    <a:gs pos="46000">
                      <a:srgbClr val="FFFFFF"/>
                    </a:gs>
                  </a:gsLst>
                  <a:lin ang="5400000" scaled="0"/>
                </a:gradFill>
              </a:rPr>
              <a:t>CDN Edge Network</a:t>
            </a:r>
          </a:p>
        </p:txBody>
      </p:sp>
      <p:sp>
        <p:nvSpPr>
          <p:cNvPr id="24" name="Rectangle 23"/>
          <p:cNvSpPr/>
          <p:nvPr/>
        </p:nvSpPr>
        <p:spPr bwMode="auto">
          <a:xfrm>
            <a:off x="5167216" y="1799597"/>
            <a:ext cx="1371484" cy="1371484"/>
          </a:xfrm>
          <a:prstGeom prst="rect">
            <a:avLst/>
          </a:prstGeom>
          <a:ln>
            <a:headEnd type="none" w="med" len="med"/>
            <a:tailEnd type="none" w="med" len="med"/>
          </a:ln>
        </p:spPr>
        <p:style>
          <a:lnRef idx="1">
            <a:schemeClr val="accent3"/>
          </a:lnRef>
          <a:fillRef idx="3">
            <a:schemeClr val="accent3"/>
          </a:fillRef>
          <a:effectRef idx="2">
            <a:schemeClr val="accent3"/>
          </a:effectRef>
          <a:fontRef idx="minor">
            <a:schemeClr val="lt1"/>
          </a:fontRef>
        </p:style>
        <p:txBody>
          <a:bodyPr vert="horz" wrap="square" lIns="0" tIns="34975" rIns="0" bIns="34975" numCol="1" rtlCol="0" anchor="ctr" anchorCtr="0" compatLnSpc="1">
            <a:prstTxWarp prst="textNoShape">
              <a:avLst/>
            </a:prstTxWarp>
          </a:bodyPr>
          <a:lstStyle/>
          <a:p>
            <a:pPr algn="ctr" defTabSz="699212" fontAlgn="base">
              <a:spcBef>
                <a:spcPct val="0"/>
              </a:spcBef>
              <a:spcAft>
                <a:spcPct val="0"/>
              </a:spcAft>
            </a:pPr>
            <a:r>
              <a:rPr lang="en-US" sz="1500" dirty="0">
                <a:gradFill>
                  <a:gsLst>
                    <a:gs pos="16814">
                      <a:srgbClr val="FFFFFF"/>
                    </a:gs>
                    <a:gs pos="46000">
                      <a:srgbClr val="FFFFFF"/>
                    </a:gs>
                  </a:gsLst>
                  <a:lin ang="5400000" scaled="0"/>
                </a:gradFill>
              </a:rPr>
              <a:t>HTTP Client</a:t>
            </a:r>
          </a:p>
        </p:txBody>
      </p:sp>
      <p:sp>
        <p:nvSpPr>
          <p:cNvPr id="25" name="TextBox 24"/>
          <p:cNvSpPr txBox="1"/>
          <p:nvPr/>
        </p:nvSpPr>
        <p:spPr>
          <a:xfrm>
            <a:off x="214900" y="3570317"/>
            <a:ext cx="2006447" cy="729410"/>
          </a:xfrm>
          <a:prstGeom prst="rect">
            <a:avLst/>
          </a:prstGeom>
          <a:noFill/>
        </p:spPr>
        <p:txBody>
          <a:bodyPr wrap="square" lIns="137149" tIns="109718" rIns="137149" bIns="109718" rtlCol="0">
            <a:spAutoFit/>
          </a:bodyPr>
          <a:lstStyle/>
          <a:p>
            <a:pPr algn="ctr">
              <a:spcAft>
                <a:spcPts val="450"/>
              </a:spcAft>
            </a:pPr>
            <a:r>
              <a:rPr lang="en-US" sz="1650" dirty="0"/>
              <a:t>First </a:t>
            </a:r>
            <a:br>
              <a:rPr lang="en-US" sz="1650" dirty="0"/>
            </a:br>
            <a:r>
              <a:rPr lang="en-US" sz="1650" dirty="0"/>
              <a:t>Request</a:t>
            </a:r>
          </a:p>
        </p:txBody>
      </p:sp>
      <p:sp>
        <p:nvSpPr>
          <p:cNvPr id="26" name="TextBox 25"/>
          <p:cNvSpPr txBox="1"/>
          <p:nvPr/>
        </p:nvSpPr>
        <p:spPr>
          <a:xfrm>
            <a:off x="307906" y="4873247"/>
            <a:ext cx="2006447" cy="729410"/>
          </a:xfrm>
          <a:prstGeom prst="rect">
            <a:avLst/>
          </a:prstGeom>
          <a:noFill/>
        </p:spPr>
        <p:txBody>
          <a:bodyPr wrap="square" lIns="137149" tIns="109718" rIns="137149" bIns="109718" rtlCol="0">
            <a:spAutoFit/>
          </a:bodyPr>
          <a:lstStyle/>
          <a:p>
            <a:pPr algn="ctr">
              <a:spcAft>
                <a:spcPts val="450"/>
              </a:spcAft>
            </a:pPr>
            <a:r>
              <a:rPr lang="en-US" sz="1650" dirty="0"/>
              <a:t>Subsequent Requests</a:t>
            </a:r>
          </a:p>
        </p:txBody>
      </p:sp>
      <p:sp>
        <p:nvSpPr>
          <p:cNvPr id="27" name="Rectangle 26"/>
          <p:cNvSpPr/>
          <p:nvPr/>
        </p:nvSpPr>
        <p:spPr bwMode="auto">
          <a:xfrm rot="10800000">
            <a:off x="2309964" y="4034121"/>
            <a:ext cx="3943013" cy="427513"/>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5" rIns="0" bIns="34975" numCol="1" rtlCol="0" anchor="ctr" anchorCtr="0" compatLnSpc="1">
            <a:prstTxWarp prst="textNoShape">
              <a:avLst/>
            </a:prstTxWarp>
          </a:bodyPr>
          <a:lstStyle/>
          <a:p>
            <a:pPr algn="ctr" defTabSz="699212" fontAlgn="base">
              <a:spcBef>
                <a:spcPct val="0"/>
              </a:spcBef>
              <a:spcAft>
                <a:spcPct val="0"/>
              </a:spcAft>
            </a:pPr>
            <a:endParaRPr lang="en-US" sz="1500" dirty="0">
              <a:gradFill>
                <a:gsLst>
                  <a:gs pos="16814">
                    <a:srgbClr val="FFFFFF"/>
                  </a:gs>
                  <a:gs pos="46000">
                    <a:srgbClr val="FFFFFF"/>
                  </a:gs>
                </a:gsLst>
                <a:lin ang="5400000" scaled="0"/>
              </a:gradFill>
            </a:endParaRPr>
          </a:p>
        </p:txBody>
      </p:sp>
      <p:pic>
        <p:nvPicPr>
          <p:cNvPr id="28" name="Picture 27"/>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rot="10800000">
            <a:off x="2884889" y="4056156"/>
            <a:ext cx="473850" cy="383445"/>
          </a:xfrm>
          <a:prstGeom prst="rect">
            <a:avLst/>
          </a:prstGeom>
        </p:spPr>
      </p:pic>
      <p:pic>
        <p:nvPicPr>
          <p:cNvPr id="29" name="Picture 28"/>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5273162" y="3496748"/>
            <a:ext cx="473850" cy="383445"/>
          </a:xfrm>
          <a:prstGeom prst="rect">
            <a:avLst/>
          </a:prstGeom>
        </p:spPr>
      </p:pic>
      <p:pic>
        <p:nvPicPr>
          <p:cNvPr id="30" name="Picture 29"/>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rot="10800000">
            <a:off x="5246673" y="4056156"/>
            <a:ext cx="473850" cy="383445"/>
          </a:xfrm>
          <a:prstGeom prst="rect">
            <a:avLst/>
          </a:prstGeom>
        </p:spPr>
      </p:pic>
      <p:pic>
        <p:nvPicPr>
          <p:cNvPr id="31" name="Picture 30"/>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2935025" y="3508264"/>
            <a:ext cx="473850" cy="383445"/>
          </a:xfrm>
          <a:prstGeom prst="rect">
            <a:avLst/>
          </a:prstGeom>
        </p:spPr>
      </p:pic>
      <p:sp>
        <p:nvSpPr>
          <p:cNvPr id="32" name="Rectangle 31"/>
          <p:cNvSpPr/>
          <p:nvPr/>
        </p:nvSpPr>
        <p:spPr bwMode="auto">
          <a:xfrm>
            <a:off x="4252897" y="4678892"/>
            <a:ext cx="2057225" cy="429264"/>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5" rIns="0" bIns="34975" numCol="1" rtlCol="0" anchor="ctr" anchorCtr="0" compatLnSpc="1">
            <a:prstTxWarp prst="textNoShape">
              <a:avLst/>
            </a:prstTxWarp>
          </a:bodyPr>
          <a:lstStyle/>
          <a:p>
            <a:pPr algn="ctr" defTabSz="699212" fontAlgn="base">
              <a:spcBef>
                <a:spcPct val="0"/>
              </a:spcBef>
              <a:spcAft>
                <a:spcPct val="0"/>
              </a:spcAft>
            </a:pPr>
            <a:endParaRPr lang="en-US" sz="1500" dirty="0">
              <a:gradFill>
                <a:gsLst>
                  <a:gs pos="16814">
                    <a:srgbClr val="FFFFFF"/>
                  </a:gs>
                  <a:gs pos="46000">
                    <a:srgbClr val="FFFFFF"/>
                  </a:gs>
                </a:gsLst>
                <a:lin ang="5400000" scaled="0"/>
              </a:gradFill>
            </a:endParaRPr>
          </a:p>
        </p:txBody>
      </p:sp>
      <p:pic>
        <p:nvPicPr>
          <p:cNvPr id="33" name="Picture 32"/>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5006491" y="4690936"/>
            <a:ext cx="473850" cy="383445"/>
          </a:xfrm>
          <a:prstGeom prst="rect">
            <a:avLst/>
          </a:prstGeom>
        </p:spPr>
      </p:pic>
      <p:sp>
        <p:nvSpPr>
          <p:cNvPr id="34" name="Rectangle 33"/>
          <p:cNvSpPr/>
          <p:nvPr/>
        </p:nvSpPr>
        <p:spPr bwMode="auto">
          <a:xfrm rot="10800000">
            <a:off x="4252897" y="5228310"/>
            <a:ext cx="2057225" cy="427513"/>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5" rIns="0" bIns="34975" numCol="1" rtlCol="0" anchor="ctr" anchorCtr="0" compatLnSpc="1">
            <a:prstTxWarp prst="textNoShape">
              <a:avLst/>
            </a:prstTxWarp>
          </a:bodyPr>
          <a:lstStyle/>
          <a:p>
            <a:pPr algn="ctr" defTabSz="699212" fontAlgn="base">
              <a:spcBef>
                <a:spcPct val="0"/>
              </a:spcBef>
              <a:spcAft>
                <a:spcPct val="0"/>
              </a:spcAft>
            </a:pPr>
            <a:endParaRPr lang="en-US" sz="1500" dirty="0">
              <a:gradFill>
                <a:gsLst>
                  <a:gs pos="16814">
                    <a:srgbClr val="FFFFFF"/>
                  </a:gs>
                  <a:gs pos="46000">
                    <a:srgbClr val="FFFFFF"/>
                  </a:gs>
                </a:gsLst>
                <a:lin ang="5400000" scaled="0"/>
              </a:gradFill>
            </a:endParaRPr>
          </a:p>
        </p:txBody>
      </p:sp>
      <p:pic>
        <p:nvPicPr>
          <p:cNvPr id="35" name="Picture 34"/>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rot="10800000">
            <a:off x="4980002" y="5250343"/>
            <a:ext cx="473850" cy="383445"/>
          </a:xfrm>
          <a:prstGeom prst="rect">
            <a:avLst/>
          </a:prstGeom>
        </p:spPr>
      </p:pic>
      <p:cxnSp>
        <p:nvCxnSpPr>
          <p:cNvPr id="36" name="Straight Connector 35"/>
          <p:cNvCxnSpPr/>
          <p:nvPr/>
        </p:nvCxnSpPr>
        <p:spPr>
          <a:xfrm>
            <a:off x="1681366" y="3342516"/>
            <a:ext cx="5314497"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7" name="Straight Connector 36"/>
          <p:cNvCxnSpPr/>
          <p:nvPr/>
        </p:nvCxnSpPr>
        <p:spPr>
          <a:xfrm>
            <a:off x="1681366" y="4599709"/>
            <a:ext cx="5314497"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pic>
        <p:nvPicPr>
          <p:cNvPr id="38" name="Picture 37"/>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4122555" y="3523824"/>
            <a:ext cx="473850" cy="383445"/>
          </a:xfrm>
          <a:prstGeom prst="rect">
            <a:avLst/>
          </a:prstGeom>
        </p:spPr>
      </p:pic>
      <p:pic>
        <p:nvPicPr>
          <p:cNvPr id="39" name="Picture 38"/>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rot="10800000">
            <a:off x="4147622" y="4052049"/>
            <a:ext cx="473850" cy="383445"/>
          </a:xfrm>
          <a:prstGeom prst="rect">
            <a:avLst/>
          </a:prstGeom>
        </p:spPr>
      </p:pic>
    </p:spTree>
    <p:extLst>
      <p:ext uri="{BB962C8B-B14F-4D97-AF65-F5344CB8AC3E}">
        <p14:creationId xmlns:p14="http://schemas.microsoft.com/office/powerpoint/2010/main" val="412765327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1"/>
                                        </p:tgtEl>
                                        <p:attrNameLst>
                                          <p:attrName>style.visibility</p:attrName>
                                        </p:attrNameLst>
                                      </p:cBhvr>
                                      <p:to>
                                        <p:strVal val="visible"/>
                                      </p:to>
                                    </p:set>
                                    <p:animEffect transition="in" filter="fade">
                                      <p:cBhvr>
                                        <p:cTn id="7" dur="500"/>
                                        <p:tgtEl>
                                          <p:spTgt spid="21"/>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7"/>
                                        </p:tgtEl>
                                        <p:attrNameLst>
                                          <p:attrName>style.visibility</p:attrName>
                                        </p:attrNameLst>
                                      </p:cBhvr>
                                      <p:to>
                                        <p:strVal val="visible"/>
                                      </p:to>
                                    </p:set>
                                    <p:animEffect transition="in" filter="fade">
                                      <p:cBhvr>
                                        <p:cTn id="10" dur="500"/>
                                        <p:tgtEl>
                                          <p:spTgt spid="27"/>
                                        </p:tgtEl>
                                      </p:cBhvr>
                                    </p:animEffect>
                                  </p:childTnLst>
                                </p:cTn>
                              </p:par>
                              <p:par>
                                <p:cTn id="11" presetID="10" presetClass="entr" presetSubtype="0" fill="hold" nodeType="withEffect">
                                  <p:stCondLst>
                                    <p:cond delay="0"/>
                                  </p:stCondLst>
                                  <p:childTnLst>
                                    <p:set>
                                      <p:cBhvr>
                                        <p:cTn id="12" dur="1" fill="hold">
                                          <p:stCondLst>
                                            <p:cond delay="0"/>
                                          </p:stCondLst>
                                        </p:cTn>
                                        <p:tgtEl>
                                          <p:spTgt spid="28"/>
                                        </p:tgtEl>
                                        <p:attrNameLst>
                                          <p:attrName>style.visibility</p:attrName>
                                        </p:attrNameLst>
                                      </p:cBhvr>
                                      <p:to>
                                        <p:strVal val="visible"/>
                                      </p:to>
                                    </p:set>
                                    <p:animEffect transition="in" filter="fade">
                                      <p:cBhvr>
                                        <p:cTn id="13" dur="500"/>
                                        <p:tgtEl>
                                          <p:spTgt spid="28"/>
                                        </p:tgtEl>
                                      </p:cBhvr>
                                    </p:animEffect>
                                  </p:childTnLst>
                                </p:cTn>
                              </p:par>
                              <p:par>
                                <p:cTn id="14" presetID="10" presetClass="entr" presetSubtype="0" fill="hold" nodeType="withEffect">
                                  <p:stCondLst>
                                    <p:cond delay="0"/>
                                  </p:stCondLst>
                                  <p:childTnLst>
                                    <p:set>
                                      <p:cBhvr>
                                        <p:cTn id="15" dur="1" fill="hold">
                                          <p:stCondLst>
                                            <p:cond delay="0"/>
                                          </p:stCondLst>
                                        </p:cTn>
                                        <p:tgtEl>
                                          <p:spTgt spid="29"/>
                                        </p:tgtEl>
                                        <p:attrNameLst>
                                          <p:attrName>style.visibility</p:attrName>
                                        </p:attrNameLst>
                                      </p:cBhvr>
                                      <p:to>
                                        <p:strVal val="visible"/>
                                      </p:to>
                                    </p:set>
                                    <p:animEffect transition="in" filter="fade">
                                      <p:cBhvr>
                                        <p:cTn id="16" dur="500"/>
                                        <p:tgtEl>
                                          <p:spTgt spid="29"/>
                                        </p:tgtEl>
                                      </p:cBhvr>
                                    </p:animEffect>
                                  </p:childTnLst>
                                </p:cTn>
                              </p:par>
                              <p:par>
                                <p:cTn id="17" presetID="10" presetClass="entr" presetSubtype="0" fill="hold" nodeType="withEffect">
                                  <p:stCondLst>
                                    <p:cond delay="0"/>
                                  </p:stCondLst>
                                  <p:childTnLst>
                                    <p:set>
                                      <p:cBhvr>
                                        <p:cTn id="18" dur="1" fill="hold">
                                          <p:stCondLst>
                                            <p:cond delay="0"/>
                                          </p:stCondLst>
                                        </p:cTn>
                                        <p:tgtEl>
                                          <p:spTgt spid="30"/>
                                        </p:tgtEl>
                                        <p:attrNameLst>
                                          <p:attrName>style.visibility</p:attrName>
                                        </p:attrNameLst>
                                      </p:cBhvr>
                                      <p:to>
                                        <p:strVal val="visible"/>
                                      </p:to>
                                    </p:set>
                                    <p:animEffect transition="in" filter="fade">
                                      <p:cBhvr>
                                        <p:cTn id="19" dur="500"/>
                                        <p:tgtEl>
                                          <p:spTgt spid="30"/>
                                        </p:tgtEl>
                                      </p:cBhvr>
                                    </p:animEffect>
                                  </p:childTnLst>
                                </p:cTn>
                              </p:par>
                              <p:par>
                                <p:cTn id="20" presetID="10" presetClass="entr" presetSubtype="0" fill="hold" nodeType="withEffect">
                                  <p:stCondLst>
                                    <p:cond delay="0"/>
                                  </p:stCondLst>
                                  <p:childTnLst>
                                    <p:set>
                                      <p:cBhvr>
                                        <p:cTn id="21" dur="1" fill="hold">
                                          <p:stCondLst>
                                            <p:cond delay="0"/>
                                          </p:stCondLst>
                                        </p:cTn>
                                        <p:tgtEl>
                                          <p:spTgt spid="31"/>
                                        </p:tgtEl>
                                        <p:attrNameLst>
                                          <p:attrName>style.visibility</p:attrName>
                                        </p:attrNameLst>
                                      </p:cBhvr>
                                      <p:to>
                                        <p:strVal val="visible"/>
                                      </p:to>
                                    </p:set>
                                    <p:animEffect transition="in" filter="fade">
                                      <p:cBhvr>
                                        <p:cTn id="22" dur="500"/>
                                        <p:tgtEl>
                                          <p:spTgt spid="31"/>
                                        </p:tgtEl>
                                      </p:cBhvr>
                                    </p:animEffect>
                                  </p:childTnLst>
                                </p:cTn>
                              </p:par>
                              <p:par>
                                <p:cTn id="23" presetID="10" presetClass="entr" presetSubtype="0" fill="hold" nodeType="withEffect">
                                  <p:stCondLst>
                                    <p:cond delay="0"/>
                                  </p:stCondLst>
                                  <p:childTnLst>
                                    <p:set>
                                      <p:cBhvr>
                                        <p:cTn id="24" dur="1" fill="hold">
                                          <p:stCondLst>
                                            <p:cond delay="0"/>
                                          </p:stCondLst>
                                        </p:cTn>
                                        <p:tgtEl>
                                          <p:spTgt spid="36"/>
                                        </p:tgtEl>
                                        <p:attrNameLst>
                                          <p:attrName>style.visibility</p:attrName>
                                        </p:attrNameLst>
                                      </p:cBhvr>
                                      <p:to>
                                        <p:strVal val="visible"/>
                                      </p:to>
                                    </p:set>
                                    <p:animEffect transition="in" filter="fade">
                                      <p:cBhvr>
                                        <p:cTn id="25" dur="500"/>
                                        <p:tgtEl>
                                          <p:spTgt spid="36"/>
                                        </p:tgtEl>
                                      </p:cBhvr>
                                    </p:animEffect>
                                  </p:childTnLst>
                                </p:cTn>
                              </p:par>
                              <p:par>
                                <p:cTn id="26" presetID="10" presetClass="entr" presetSubtype="0" fill="hold" nodeType="withEffect">
                                  <p:stCondLst>
                                    <p:cond delay="0"/>
                                  </p:stCondLst>
                                  <p:childTnLst>
                                    <p:set>
                                      <p:cBhvr>
                                        <p:cTn id="27" dur="1" fill="hold">
                                          <p:stCondLst>
                                            <p:cond delay="0"/>
                                          </p:stCondLst>
                                        </p:cTn>
                                        <p:tgtEl>
                                          <p:spTgt spid="38"/>
                                        </p:tgtEl>
                                        <p:attrNameLst>
                                          <p:attrName>style.visibility</p:attrName>
                                        </p:attrNameLst>
                                      </p:cBhvr>
                                      <p:to>
                                        <p:strVal val="visible"/>
                                      </p:to>
                                    </p:set>
                                    <p:animEffect transition="in" filter="fade">
                                      <p:cBhvr>
                                        <p:cTn id="28" dur="500"/>
                                        <p:tgtEl>
                                          <p:spTgt spid="38"/>
                                        </p:tgtEl>
                                      </p:cBhvr>
                                    </p:animEffect>
                                  </p:childTnLst>
                                </p:cTn>
                              </p:par>
                              <p:par>
                                <p:cTn id="29" presetID="10" presetClass="entr" presetSubtype="0" fill="hold" nodeType="withEffect">
                                  <p:stCondLst>
                                    <p:cond delay="0"/>
                                  </p:stCondLst>
                                  <p:childTnLst>
                                    <p:set>
                                      <p:cBhvr>
                                        <p:cTn id="30" dur="1" fill="hold">
                                          <p:stCondLst>
                                            <p:cond delay="0"/>
                                          </p:stCondLst>
                                        </p:cTn>
                                        <p:tgtEl>
                                          <p:spTgt spid="39"/>
                                        </p:tgtEl>
                                        <p:attrNameLst>
                                          <p:attrName>style.visibility</p:attrName>
                                        </p:attrNameLst>
                                      </p:cBhvr>
                                      <p:to>
                                        <p:strVal val="visible"/>
                                      </p:to>
                                    </p:set>
                                    <p:animEffect transition="in" filter="fade">
                                      <p:cBhvr>
                                        <p:cTn id="31" dur="500"/>
                                        <p:tgtEl>
                                          <p:spTgt spid="39"/>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25"/>
                                        </p:tgtEl>
                                        <p:attrNameLst>
                                          <p:attrName>style.visibility</p:attrName>
                                        </p:attrNameLst>
                                      </p:cBhvr>
                                      <p:to>
                                        <p:strVal val="visible"/>
                                      </p:to>
                                    </p:set>
                                    <p:animEffect transition="in" filter="fade">
                                      <p:cBhvr>
                                        <p:cTn id="34" dur="500"/>
                                        <p:tgtEl>
                                          <p:spTgt spid="25"/>
                                        </p:tgtEl>
                                      </p:cBhvr>
                                    </p:animEffect>
                                  </p:childTnLst>
                                </p:cTn>
                              </p:par>
                            </p:childTnLst>
                          </p:cTn>
                        </p:par>
                      </p:childTnLst>
                    </p:cTn>
                  </p:par>
                  <p:par>
                    <p:cTn id="35" fill="hold">
                      <p:stCondLst>
                        <p:cond delay="indefinite"/>
                      </p:stCondLst>
                      <p:childTnLst>
                        <p:par>
                          <p:cTn id="36" fill="hold">
                            <p:stCondLst>
                              <p:cond delay="0"/>
                            </p:stCondLst>
                            <p:childTnLst>
                              <p:par>
                                <p:cTn id="37" presetID="10" presetClass="entr" presetSubtype="0" fill="hold" grpId="0" nodeType="clickEffect">
                                  <p:stCondLst>
                                    <p:cond delay="0"/>
                                  </p:stCondLst>
                                  <p:childTnLst>
                                    <p:set>
                                      <p:cBhvr>
                                        <p:cTn id="38" dur="1" fill="hold">
                                          <p:stCondLst>
                                            <p:cond delay="0"/>
                                          </p:stCondLst>
                                        </p:cTn>
                                        <p:tgtEl>
                                          <p:spTgt spid="26"/>
                                        </p:tgtEl>
                                        <p:attrNameLst>
                                          <p:attrName>style.visibility</p:attrName>
                                        </p:attrNameLst>
                                      </p:cBhvr>
                                      <p:to>
                                        <p:strVal val="visible"/>
                                      </p:to>
                                    </p:set>
                                    <p:animEffect transition="in" filter="fade">
                                      <p:cBhvr>
                                        <p:cTn id="39" dur="500"/>
                                        <p:tgtEl>
                                          <p:spTgt spid="26"/>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32"/>
                                        </p:tgtEl>
                                        <p:attrNameLst>
                                          <p:attrName>style.visibility</p:attrName>
                                        </p:attrNameLst>
                                      </p:cBhvr>
                                      <p:to>
                                        <p:strVal val="visible"/>
                                      </p:to>
                                    </p:set>
                                    <p:animEffect transition="in" filter="fade">
                                      <p:cBhvr>
                                        <p:cTn id="42" dur="500"/>
                                        <p:tgtEl>
                                          <p:spTgt spid="32"/>
                                        </p:tgtEl>
                                      </p:cBhvr>
                                    </p:animEffect>
                                  </p:childTnLst>
                                </p:cTn>
                              </p:par>
                              <p:par>
                                <p:cTn id="43" presetID="10" presetClass="entr" presetSubtype="0" fill="hold" nodeType="withEffect">
                                  <p:stCondLst>
                                    <p:cond delay="0"/>
                                  </p:stCondLst>
                                  <p:childTnLst>
                                    <p:set>
                                      <p:cBhvr>
                                        <p:cTn id="44" dur="1" fill="hold">
                                          <p:stCondLst>
                                            <p:cond delay="0"/>
                                          </p:stCondLst>
                                        </p:cTn>
                                        <p:tgtEl>
                                          <p:spTgt spid="33"/>
                                        </p:tgtEl>
                                        <p:attrNameLst>
                                          <p:attrName>style.visibility</p:attrName>
                                        </p:attrNameLst>
                                      </p:cBhvr>
                                      <p:to>
                                        <p:strVal val="visible"/>
                                      </p:to>
                                    </p:set>
                                    <p:animEffect transition="in" filter="fade">
                                      <p:cBhvr>
                                        <p:cTn id="45" dur="500"/>
                                        <p:tgtEl>
                                          <p:spTgt spid="33"/>
                                        </p:tgtEl>
                                      </p:cBhvr>
                                    </p:animEffect>
                                  </p:childTnLst>
                                </p:cTn>
                              </p:par>
                              <p:par>
                                <p:cTn id="46" presetID="10" presetClass="entr" presetSubtype="0" fill="hold" grpId="0" nodeType="withEffect">
                                  <p:stCondLst>
                                    <p:cond delay="0"/>
                                  </p:stCondLst>
                                  <p:childTnLst>
                                    <p:set>
                                      <p:cBhvr>
                                        <p:cTn id="47" dur="1" fill="hold">
                                          <p:stCondLst>
                                            <p:cond delay="0"/>
                                          </p:stCondLst>
                                        </p:cTn>
                                        <p:tgtEl>
                                          <p:spTgt spid="34"/>
                                        </p:tgtEl>
                                        <p:attrNameLst>
                                          <p:attrName>style.visibility</p:attrName>
                                        </p:attrNameLst>
                                      </p:cBhvr>
                                      <p:to>
                                        <p:strVal val="visible"/>
                                      </p:to>
                                    </p:set>
                                    <p:animEffect transition="in" filter="fade">
                                      <p:cBhvr>
                                        <p:cTn id="48" dur="500"/>
                                        <p:tgtEl>
                                          <p:spTgt spid="34"/>
                                        </p:tgtEl>
                                      </p:cBhvr>
                                    </p:animEffect>
                                  </p:childTnLst>
                                </p:cTn>
                              </p:par>
                              <p:par>
                                <p:cTn id="49" presetID="10" presetClass="entr" presetSubtype="0" fill="hold" nodeType="withEffect">
                                  <p:stCondLst>
                                    <p:cond delay="0"/>
                                  </p:stCondLst>
                                  <p:childTnLst>
                                    <p:set>
                                      <p:cBhvr>
                                        <p:cTn id="50" dur="1" fill="hold">
                                          <p:stCondLst>
                                            <p:cond delay="0"/>
                                          </p:stCondLst>
                                        </p:cTn>
                                        <p:tgtEl>
                                          <p:spTgt spid="35"/>
                                        </p:tgtEl>
                                        <p:attrNameLst>
                                          <p:attrName>style.visibility</p:attrName>
                                        </p:attrNameLst>
                                      </p:cBhvr>
                                      <p:to>
                                        <p:strVal val="visible"/>
                                      </p:to>
                                    </p:set>
                                    <p:animEffect transition="in" filter="fade">
                                      <p:cBhvr>
                                        <p:cTn id="51" dur="500"/>
                                        <p:tgtEl>
                                          <p:spTgt spid="35"/>
                                        </p:tgtEl>
                                      </p:cBhvr>
                                    </p:animEffect>
                                  </p:childTnLst>
                                </p:cTn>
                              </p:par>
                              <p:par>
                                <p:cTn id="52" presetID="10" presetClass="entr" presetSubtype="0" fill="hold" nodeType="withEffect">
                                  <p:stCondLst>
                                    <p:cond delay="0"/>
                                  </p:stCondLst>
                                  <p:childTnLst>
                                    <p:set>
                                      <p:cBhvr>
                                        <p:cTn id="53" dur="1" fill="hold">
                                          <p:stCondLst>
                                            <p:cond delay="0"/>
                                          </p:stCondLst>
                                        </p:cTn>
                                        <p:tgtEl>
                                          <p:spTgt spid="37"/>
                                        </p:tgtEl>
                                        <p:attrNameLst>
                                          <p:attrName>style.visibility</p:attrName>
                                        </p:attrNameLst>
                                      </p:cBhvr>
                                      <p:to>
                                        <p:strVal val="visible"/>
                                      </p:to>
                                    </p:set>
                                    <p:animEffect transition="in" filter="fade">
                                      <p:cBhvr>
                                        <p:cTn id="54" dur="500"/>
                                        <p:tgtEl>
                                          <p:spTgt spid="3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animBg="1"/>
      <p:bldP spid="25" grpId="0"/>
      <p:bldP spid="26" grpId="0"/>
      <p:bldP spid="27" grpId="0" animBg="1"/>
      <p:bldP spid="32" grpId="0" animBg="1"/>
      <p:bldP spid="34" grpId="0" animBg="1"/>
    </p:bldLst>
  </p:timing>
</p:sld>
</file>

<file path=ppt/slides/slide17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Segoe UI Light" panose="020B0502040204020203" pitchFamily="34" charset="0"/>
                <a:cs typeface="Segoe UI Light" panose="020B0502040204020203" pitchFamily="34" charset="0"/>
              </a:rPr>
              <a:t>Storage Queues decisions</a:t>
            </a:r>
            <a:endParaRPr lang="en-US" dirty="0"/>
          </a:p>
        </p:txBody>
      </p:sp>
      <p:sp>
        <p:nvSpPr>
          <p:cNvPr id="8" name="Freeform: Shape 7"/>
          <p:cNvSpPr/>
          <p:nvPr/>
        </p:nvSpPr>
        <p:spPr>
          <a:xfrm>
            <a:off x="4416051" y="2176130"/>
            <a:ext cx="6259036" cy="1172411"/>
          </a:xfrm>
          <a:custGeom>
            <a:avLst/>
            <a:gdLst>
              <a:gd name="connsiteX0" fmla="*/ 0 w 6937384"/>
              <a:gd name="connsiteY0" fmla="*/ 171052 h 1368412"/>
              <a:gd name="connsiteX1" fmla="*/ 6253178 w 6937384"/>
              <a:gd name="connsiteY1" fmla="*/ 171052 h 1368412"/>
              <a:gd name="connsiteX2" fmla="*/ 6253178 w 6937384"/>
              <a:gd name="connsiteY2" fmla="*/ 0 h 1368412"/>
              <a:gd name="connsiteX3" fmla="*/ 6937384 w 6937384"/>
              <a:gd name="connsiteY3" fmla="*/ 684206 h 1368412"/>
              <a:gd name="connsiteX4" fmla="*/ 6253178 w 6937384"/>
              <a:gd name="connsiteY4" fmla="*/ 1368412 h 1368412"/>
              <a:gd name="connsiteX5" fmla="*/ 6253178 w 6937384"/>
              <a:gd name="connsiteY5" fmla="*/ 1197361 h 1368412"/>
              <a:gd name="connsiteX6" fmla="*/ 0 w 6937384"/>
              <a:gd name="connsiteY6" fmla="*/ 1197361 h 1368412"/>
              <a:gd name="connsiteX7" fmla="*/ 0 w 6937384"/>
              <a:gd name="connsiteY7" fmla="*/ 171052 h 13684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937384" h="1368412">
                <a:moveTo>
                  <a:pt x="0" y="171052"/>
                </a:moveTo>
                <a:lnTo>
                  <a:pt x="6253178" y="171052"/>
                </a:lnTo>
                <a:lnTo>
                  <a:pt x="6253178" y="0"/>
                </a:lnTo>
                <a:lnTo>
                  <a:pt x="6937384" y="684206"/>
                </a:lnTo>
                <a:lnTo>
                  <a:pt x="6253178" y="1368412"/>
                </a:lnTo>
                <a:lnTo>
                  <a:pt x="6253178" y="1197361"/>
                </a:lnTo>
                <a:lnTo>
                  <a:pt x="0" y="1197361"/>
                </a:lnTo>
                <a:lnTo>
                  <a:pt x="0" y="171052"/>
                </a:lnTo>
                <a:close/>
              </a:path>
            </a:pathLst>
          </a:custGeom>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228600" tIns="457200" rIns="365760" bIns="182481" numCol="1" spcCol="1270" anchor="t" anchorCtr="0">
            <a:noAutofit/>
          </a:bodyPr>
          <a:lstStyle/>
          <a:p>
            <a:pPr marL="285750" lvl="1" indent="-285750" defTabSz="800100">
              <a:lnSpc>
                <a:spcPct val="90000"/>
              </a:lnSpc>
              <a:spcBef>
                <a:spcPct val="0"/>
              </a:spcBef>
              <a:spcAft>
                <a:spcPct val="15000"/>
              </a:spcAft>
              <a:buFont typeface="Arial" panose="020B0604020202020204" pitchFamily="34" charset="0"/>
              <a:buChar char="•"/>
            </a:pPr>
            <a:r>
              <a:rPr lang="en-US" dirty="0"/>
              <a:t>Queue names must be lower case</a:t>
            </a:r>
          </a:p>
        </p:txBody>
      </p:sp>
      <p:sp>
        <p:nvSpPr>
          <p:cNvPr id="9" name="Freeform: Shape 8"/>
          <p:cNvSpPr/>
          <p:nvPr/>
        </p:nvSpPr>
        <p:spPr>
          <a:xfrm>
            <a:off x="1320269" y="2317514"/>
            <a:ext cx="3221976" cy="899076"/>
          </a:xfrm>
          <a:custGeom>
            <a:avLst/>
            <a:gdLst>
              <a:gd name="connsiteX0" fmla="*/ 0 w 3221976"/>
              <a:gd name="connsiteY0" fmla="*/ 188426 h 1130532"/>
              <a:gd name="connsiteX1" fmla="*/ 188426 w 3221976"/>
              <a:gd name="connsiteY1" fmla="*/ 0 h 1130532"/>
              <a:gd name="connsiteX2" fmla="*/ 3033550 w 3221976"/>
              <a:gd name="connsiteY2" fmla="*/ 0 h 1130532"/>
              <a:gd name="connsiteX3" fmla="*/ 3221976 w 3221976"/>
              <a:gd name="connsiteY3" fmla="*/ 188426 h 1130532"/>
              <a:gd name="connsiteX4" fmla="*/ 3221976 w 3221976"/>
              <a:gd name="connsiteY4" fmla="*/ 942106 h 1130532"/>
              <a:gd name="connsiteX5" fmla="*/ 3033550 w 3221976"/>
              <a:gd name="connsiteY5" fmla="*/ 1130532 h 1130532"/>
              <a:gd name="connsiteX6" fmla="*/ 188426 w 3221976"/>
              <a:gd name="connsiteY6" fmla="*/ 1130532 h 1130532"/>
              <a:gd name="connsiteX7" fmla="*/ 0 w 3221976"/>
              <a:gd name="connsiteY7" fmla="*/ 942106 h 1130532"/>
              <a:gd name="connsiteX8" fmla="*/ 0 w 3221976"/>
              <a:gd name="connsiteY8" fmla="*/ 188426 h 11305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21976" h="1130532">
                <a:moveTo>
                  <a:pt x="0" y="188426"/>
                </a:moveTo>
                <a:cubicBezTo>
                  <a:pt x="0" y="84361"/>
                  <a:pt x="84361" y="0"/>
                  <a:pt x="188426" y="0"/>
                </a:cubicBezTo>
                <a:lnTo>
                  <a:pt x="3033550" y="0"/>
                </a:lnTo>
                <a:cubicBezTo>
                  <a:pt x="3137615" y="0"/>
                  <a:pt x="3221976" y="84361"/>
                  <a:pt x="3221976" y="188426"/>
                </a:cubicBezTo>
                <a:lnTo>
                  <a:pt x="3221976" y="942106"/>
                </a:lnTo>
                <a:cubicBezTo>
                  <a:pt x="3221976" y="1046171"/>
                  <a:pt x="3137615" y="1130532"/>
                  <a:pt x="3033550" y="1130532"/>
                </a:cubicBezTo>
                <a:lnTo>
                  <a:pt x="188426" y="1130532"/>
                </a:lnTo>
                <a:cubicBezTo>
                  <a:pt x="84361" y="1130532"/>
                  <a:pt x="0" y="1046171"/>
                  <a:pt x="0" y="942106"/>
                </a:cubicBezTo>
                <a:lnTo>
                  <a:pt x="0" y="188426"/>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77108" tIns="116148" rIns="177108" bIns="116148" numCol="1" spcCol="1270" anchor="ctr" anchorCtr="0">
            <a:noAutofit/>
          </a:bodyPr>
          <a:lstStyle/>
          <a:p>
            <a:pPr marL="0" lvl="0" indent="0" algn="ctr" defTabSz="1422400">
              <a:lnSpc>
                <a:spcPct val="90000"/>
              </a:lnSpc>
              <a:spcBef>
                <a:spcPct val="0"/>
              </a:spcBef>
              <a:spcAft>
                <a:spcPct val="35000"/>
              </a:spcAft>
              <a:buNone/>
            </a:pPr>
            <a:r>
              <a:rPr lang="en-US" sz="3200" b="0" kern="1200" dirty="0">
                <a:latin typeface="Segoe UI Semibold" panose="020B0702040204020203" pitchFamily="34" charset="0"/>
                <a:cs typeface="Segoe UI Semibold" panose="020B0702040204020203" pitchFamily="34" charset="0"/>
              </a:rPr>
              <a:t>Mandatory</a:t>
            </a:r>
          </a:p>
        </p:txBody>
      </p:sp>
      <p:sp>
        <p:nvSpPr>
          <p:cNvPr id="10" name="Freeform: Shape 9"/>
          <p:cNvSpPr/>
          <p:nvPr/>
        </p:nvSpPr>
        <p:spPr>
          <a:xfrm>
            <a:off x="4174858" y="3461921"/>
            <a:ext cx="6500229" cy="1652777"/>
          </a:xfrm>
          <a:custGeom>
            <a:avLst/>
            <a:gdLst>
              <a:gd name="connsiteX0" fmla="*/ 0 w 7091479"/>
              <a:gd name="connsiteY0" fmla="*/ 293845 h 2350760"/>
              <a:gd name="connsiteX1" fmla="*/ 5916099 w 7091479"/>
              <a:gd name="connsiteY1" fmla="*/ 293845 h 2350760"/>
              <a:gd name="connsiteX2" fmla="*/ 5916099 w 7091479"/>
              <a:gd name="connsiteY2" fmla="*/ 0 h 2350760"/>
              <a:gd name="connsiteX3" fmla="*/ 7091479 w 7091479"/>
              <a:gd name="connsiteY3" fmla="*/ 1175380 h 2350760"/>
              <a:gd name="connsiteX4" fmla="*/ 5916099 w 7091479"/>
              <a:gd name="connsiteY4" fmla="*/ 2350760 h 2350760"/>
              <a:gd name="connsiteX5" fmla="*/ 5916099 w 7091479"/>
              <a:gd name="connsiteY5" fmla="*/ 2056915 h 2350760"/>
              <a:gd name="connsiteX6" fmla="*/ 0 w 7091479"/>
              <a:gd name="connsiteY6" fmla="*/ 2056915 h 2350760"/>
              <a:gd name="connsiteX7" fmla="*/ 0 w 7091479"/>
              <a:gd name="connsiteY7" fmla="*/ 293845 h 2350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091479" h="2350760">
                <a:moveTo>
                  <a:pt x="0" y="293845"/>
                </a:moveTo>
                <a:lnTo>
                  <a:pt x="5916099" y="293845"/>
                </a:lnTo>
                <a:lnTo>
                  <a:pt x="5916099" y="0"/>
                </a:lnTo>
                <a:lnTo>
                  <a:pt x="7091479" y="1175380"/>
                </a:lnTo>
                <a:lnTo>
                  <a:pt x="5916099" y="2350760"/>
                </a:lnTo>
                <a:lnTo>
                  <a:pt x="5916099" y="2056915"/>
                </a:lnTo>
                <a:lnTo>
                  <a:pt x="0" y="2056915"/>
                </a:lnTo>
                <a:lnTo>
                  <a:pt x="0" y="293845"/>
                </a:lnTo>
                <a:close/>
              </a:path>
            </a:pathLst>
          </a:custGeom>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457200" tIns="457200" rIns="1064415" bIns="305275" numCol="1" spcCol="1270" anchor="t" anchorCtr="0">
            <a:noAutofit/>
          </a:bodyPr>
          <a:lstStyle/>
          <a:p>
            <a:pPr marL="285750" lvl="1" indent="-285750" defTabSz="800100">
              <a:lnSpc>
                <a:spcPct val="90000"/>
              </a:lnSpc>
              <a:spcBef>
                <a:spcPct val="0"/>
              </a:spcBef>
              <a:spcAft>
                <a:spcPct val="15000"/>
              </a:spcAft>
              <a:buFont typeface="Arial" panose="020B0604020202020204" pitchFamily="34" charset="0"/>
              <a:buChar char="•"/>
            </a:pPr>
            <a:r>
              <a:rPr lang="en-US" dirty="0"/>
              <a:t>To avoid performance bottlenecks, use the </a:t>
            </a:r>
            <a:r>
              <a:rPr lang="en-US" dirty="0" err="1"/>
              <a:t>Async</a:t>
            </a:r>
            <a:r>
              <a:rPr lang="en-US" dirty="0"/>
              <a:t>/Await pattern whenever using the Storage Queue APIs</a:t>
            </a:r>
          </a:p>
        </p:txBody>
      </p:sp>
      <p:sp>
        <p:nvSpPr>
          <p:cNvPr id="11" name="Freeform: Shape 10"/>
          <p:cNvSpPr/>
          <p:nvPr/>
        </p:nvSpPr>
        <p:spPr>
          <a:xfrm>
            <a:off x="1328722" y="3667201"/>
            <a:ext cx="3213523" cy="1294709"/>
          </a:xfrm>
          <a:custGeom>
            <a:avLst/>
            <a:gdLst>
              <a:gd name="connsiteX0" fmla="*/ 0 w 3213523"/>
              <a:gd name="connsiteY0" fmla="*/ 295356 h 1772099"/>
              <a:gd name="connsiteX1" fmla="*/ 295356 w 3213523"/>
              <a:gd name="connsiteY1" fmla="*/ 0 h 1772099"/>
              <a:gd name="connsiteX2" fmla="*/ 2918167 w 3213523"/>
              <a:gd name="connsiteY2" fmla="*/ 0 h 1772099"/>
              <a:gd name="connsiteX3" fmla="*/ 3213523 w 3213523"/>
              <a:gd name="connsiteY3" fmla="*/ 295356 h 1772099"/>
              <a:gd name="connsiteX4" fmla="*/ 3213523 w 3213523"/>
              <a:gd name="connsiteY4" fmla="*/ 1476743 h 1772099"/>
              <a:gd name="connsiteX5" fmla="*/ 2918167 w 3213523"/>
              <a:gd name="connsiteY5" fmla="*/ 1772099 h 1772099"/>
              <a:gd name="connsiteX6" fmla="*/ 295356 w 3213523"/>
              <a:gd name="connsiteY6" fmla="*/ 1772099 h 1772099"/>
              <a:gd name="connsiteX7" fmla="*/ 0 w 3213523"/>
              <a:gd name="connsiteY7" fmla="*/ 1476743 h 1772099"/>
              <a:gd name="connsiteX8" fmla="*/ 0 w 3213523"/>
              <a:gd name="connsiteY8" fmla="*/ 295356 h 17720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13523" h="1772099">
                <a:moveTo>
                  <a:pt x="0" y="295356"/>
                </a:moveTo>
                <a:cubicBezTo>
                  <a:pt x="0" y="132235"/>
                  <a:pt x="132235" y="0"/>
                  <a:pt x="295356" y="0"/>
                </a:cubicBezTo>
                <a:lnTo>
                  <a:pt x="2918167" y="0"/>
                </a:lnTo>
                <a:cubicBezTo>
                  <a:pt x="3081288" y="0"/>
                  <a:pt x="3213523" y="132235"/>
                  <a:pt x="3213523" y="295356"/>
                </a:cubicBezTo>
                <a:lnTo>
                  <a:pt x="3213523" y="1476743"/>
                </a:lnTo>
                <a:cubicBezTo>
                  <a:pt x="3213523" y="1639864"/>
                  <a:pt x="3081288" y="1772099"/>
                  <a:pt x="2918167" y="1772099"/>
                </a:cubicBezTo>
                <a:lnTo>
                  <a:pt x="295356" y="1772099"/>
                </a:lnTo>
                <a:cubicBezTo>
                  <a:pt x="132235" y="1772099"/>
                  <a:pt x="0" y="1639864"/>
                  <a:pt x="0" y="1476743"/>
                </a:cubicBezTo>
                <a:lnTo>
                  <a:pt x="0" y="295356"/>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08427" tIns="147467" rIns="208427" bIns="147467" numCol="1" spcCol="1270" anchor="ctr" anchorCtr="0">
            <a:noAutofit/>
          </a:bodyPr>
          <a:lstStyle/>
          <a:p>
            <a:pPr marL="0" lvl="0" indent="0" algn="ctr" defTabSz="1422400">
              <a:lnSpc>
                <a:spcPct val="90000"/>
              </a:lnSpc>
              <a:spcBef>
                <a:spcPct val="0"/>
              </a:spcBef>
              <a:spcAft>
                <a:spcPct val="35000"/>
              </a:spcAft>
              <a:buNone/>
            </a:pPr>
            <a:r>
              <a:rPr lang="en-US" sz="3200" b="0" kern="1200" dirty="0">
                <a:solidFill>
                  <a:srgbClr val="FFFFFF"/>
                </a:solidFill>
                <a:latin typeface="Segoe UI Semibold" panose="020B0702040204020203" pitchFamily="34" charset="0"/>
                <a:ea typeface="+mn-ea"/>
                <a:cs typeface="Segoe UI Semibold" panose="020B0702040204020203" pitchFamily="34" charset="0"/>
              </a:rPr>
              <a:t>Recommended</a:t>
            </a:r>
          </a:p>
        </p:txBody>
      </p:sp>
      <p:sp>
        <p:nvSpPr>
          <p:cNvPr id="12" name="Freeform: Shape 11"/>
          <p:cNvSpPr/>
          <p:nvPr/>
        </p:nvSpPr>
        <p:spPr>
          <a:xfrm>
            <a:off x="4281380" y="5167190"/>
            <a:ext cx="6393707" cy="1290317"/>
          </a:xfrm>
          <a:custGeom>
            <a:avLst/>
            <a:gdLst>
              <a:gd name="connsiteX0" fmla="*/ 0 w 7125896"/>
              <a:gd name="connsiteY0" fmla="*/ 180910 h 1447281"/>
              <a:gd name="connsiteX1" fmla="*/ 6402256 w 7125896"/>
              <a:gd name="connsiteY1" fmla="*/ 180910 h 1447281"/>
              <a:gd name="connsiteX2" fmla="*/ 6402256 w 7125896"/>
              <a:gd name="connsiteY2" fmla="*/ 0 h 1447281"/>
              <a:gd name="connsiteX3" fmla="*/ 7125896 w 7125896"/>
              <a:gd name="connsiteY3" fmla="*/ 723641 h 1447281"/>
              <a:gd name="connsiteX4" fmla="*/ 6402256 w 7125896"/>
              <a:gd name="connsiteY4" fmla="*/ 1447281 h 1447281"/>
              <a:gd name="connsiteX5" fmla="*/ 6402256 w 7125896"/>
              <a:gd name="connsiteY5" fmla="*/ 1266371 h 1447281"/>
              <a:gd name="connsiteX6" fmla="*/ 0 w 7125896"/>
              <a:gd name="connsiteY6" fmla="*/ 1266371 h 1447281"/>
              <a:gd name="connsiteX7" fmla="*/ 0 w 7125896"/>
              <a:gd name="connsiteY7" fmla="*/ 180910 h 14472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125896" h="1447281">
                <a:moveTo>
                  <a:pt x="0" y="180910"/>
                </a:moveTo>
                <a:lnTo>
                  <a:pt x="6402256" y="180910"/>
                </a:lnTo>
                <a:lnTo>
                  <a:pt x="6402256" y="0"/>
                </a:lnTo>
                <a:lnTo>
                  <a:pt x="7125896" y="723641"/>
                </a:lnTo>
                <a:lnTo>
                  <a:pt x="6402256" y="1447281"/>
                </a:lnTo>
                <a:lnTo>
                  <a:pt x="6402256" y="1266371"/>
                </a:lnTo>
                <a:lnTo>
                  <a:pt x="0" y="1266371"/>
                </a:lnTo>
                <a:lnTo>
                  <a:pt x="0" y="180910"/>
                </a:lnTo>
                <a:close/>
              </a:path>
            </a:pathLst>
          </a:custGeom>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365760" tIns="365760" rIns="640080" bIns="192340" numCol="1" spcCol="1270" anchor="t" anchorCtr="0">
            <a:noAutofit/>
          </a:bodyPr>
          <a:lstStyle/>
          <a:p>
            <a:pPr marL="285750" lvl="0" indent="-285750">
              <a:buFont typeface="Arial" panose="020B0604020202020204" pitchFamily="34" charset="0"/>
              <a:buChar char="•"/>
            </a:pPr>
            <a:r>
              <a:rPr lang="en-US" dirty="0"/>
              <a:t>Messages can only be stored for 7 days. Consider offloading messages if longer storage is required</a:t>
            </a:r>
          </a:p>
        </p:txBody>
      </p:sp>
      <p:sp>
        <p:nvSpPr>
          <p:cNvPr id="13" name="Freeform: Shape 12"/>
          <p:cNvSpPr/>
          <p:nvPr/>
        </p:nvSpPr>
        <p:spPr>
          <a:xfrm>
            <a:off x="1255786" y="5319978"/>
            <a:ext cx="3283133" cy="1008562"/>
          </a:xfrm>
          <a:custGeom>
            <a:avLst/>
            <a:gdLst>
              <a:gd name="connsiteX0" fmla="*/ 0 w 3210524"/>
              <a:gd name="connsiteY0" fmla="*/ 191185 h 1147089"/>
              <a:gd name="connsiteX1" fmla="*/ 191185 w 3210524"/>
              <a:gd name="connsiteY1" fmla="*/ 0 h 1147089"/>
              <a:gd name="connsiteX2" fmla="*/ 3019339 w 3210524"/>
              <a:gd name="connsiteY2" fmla="*/ 0 h 1147089"/>
              <a:gd name="connsiteX3" fmla="*/ 3210524 w 3210524"/>
              <a:gd name="connsiteY3" fmla="*/ 191185 h 1147089"/>
              <a:gd name="connsiteX4" fmla="*/ 3210524 w 3210524"/>
              <a:gd name="connsiteY4" fmla="*/ 955904 h 1147089"/>
              <a:gd name="connsiteX5" fmla="*/ 3019339 w 3210524"/>
              <a:gd name="connsiteY5" fmla="*/ 1147089 h 1147089"/>
              <a:gd name="connsiteX6" fmla="*/ 191185 w 3210524"/>
              <a:gd name="connsiteY6" fmla="*/ 1147089 h 1147089"/>
              <a:gd name="connsiteX7" fmla="*/ 0 w 3210524"/>
              <a:gd name="connsiteY7" fmla="*/ 955904 h 1147089"/>
              <a:gd name="connsiteX8" fmla="*/ 0 w 3210524"/>
              <a:gd name="connsiteY8" fmla="*/ 191185 h 1147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10524" h="1147089">
                <a:moveTo>
                  <a:pt x="0" y="191185"/>
                </a:moveTo>
                <a:cubicBezTo>
                  <a:pt x="0" y="85596"/>
                  <a:pt x="85596" y="0"/>
                  <a:pt x="191185" y="0"/>
                </a:cubicBezTo>
                <a:lnTo>
                  <a:pt x="3019339" y="0"/>
                </a:lnTo>
                <a:cubicBezTo>
                  <a:pt x="3124928" y="0"/>
                  <a:pt x="3210524" y="85596"/>
                  <a:pt x="3210524" y="191185"/>
                </a:cubicBezTo>
                <a:lnTo>
                  <a:pt x="3210524" y="955904"/>
                </a:lnTo>
                <a:cubicBezTo>
                  <a:pt x="3210524" y="1061493"/>
                  <a:pt x="3124928" y="1147089"/>
                  <a:pt x="3019339" y="1147089"/>
                </a:cubicBezTo>
                <a:lnTo>
                  <a:pt x="191185" y="1147089"/>
                </a:lnTo>
                <a:cubicBezTo>
                  <a:pt x="85596" y="1147089"/>
                  <a:pt x="0" y="1061493"/>
                  <a:pt x="0" y="955904"/>
                </a:cubicBezTo>
                <a:lnTo>
                  <a:pt x="0" y="191185"/>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77916" tIns="116956" rIns="177916" bIns="116956" numCol="1" spcCol="1270" anchor="ctr" anchorCtr="0">
            <a:noAutofit/>
          </a:bodyPr>
          <a:lstStyle/>
          <a:p>
            <a:pPr marL="0" lvl="0" indent="0" algn="ctr" defTabSz="1422400">
              <a:lnSpc>
                <a:spcPct val="90000"/>
              </a:lnSpc>
              <a:spcBef>
                <a:spcPct val="0"/>
              </a:spcBef>
              <a:spcAft>
                <a:spcPct val="35000"/>
              </a:spcAft>
              <a:buNone/>
            </a:pPr>
            <a:r>
              <a:rPr lang="en-US" sz="3200" b="0" kern="1200" dirty="0">
                <a:solidFill>
                  <a:srgbClr val="FFFFFF"/>
                </a:solidFill>
                <a:latin typeface="Segoe UI Semibold" panose="020B0702040204020203" pitchFamily="34" charset="0"/>
                <a:ea typeface="+mn-ea"/>
                <a:cs typeface="Segoe UI Semibold" panose="020B0702040204020203" pitchFamily="34" charset="0"/>
              </a:rPr>
              <a:t>Optional</a:t>
            </a:r>
          </a:p>
        </p:txBody>
      </p:sp>
      <p:sp>
        <p:nvSpPr>
          <p:cNvPr id="4" name="Octagon 3"/>
          <p:cNvSpPr/>
          <p:nvPr/>
        </p:nvSpPr>
        <p:spPr>
          <a:xfrm>
            <a:off x="1107200" y="2981981"/>
            <a:ext cx="443098" cy="439889"/>
          </a:xfrm>
          <a:prstGeom prst="octagon">
            <a:avLst/>
          </a:prstGeom>
          <a:solidFill>
            <a:srgbClr val="CC0000"/>
          </a:solidFill>
        </p:spPr>
        <p:style>
          <a:lnRef idx="1">
            <a:schemeClr val="accent2"/>
          </a:lnRef>
          <a:fillRef idx="3">
            <a:schemeClr val="accent2"/>
          </a:fillRef>
          <a:effectRef idx="2">
            <a:schemeClr val="accent2"/>
          </a:effectRef>
          <a:fontRef idx="minor">
            <a:schemeClr val="lt1"/>
          </a:fontRef>
        </p:style>
        <p:txBody>
          <a:bodyPr rot="0" spcFirstLastPara="0" vert="horz" wrap="square" lIns="68583" tIns="34291" rIns="68583" bIns="34291" numCol="1" spcCol="0" rtlCol="0" fromWordArt="0" anchor="ctr" anchorCtr="0" forceAA="0" compatLnSpc="1">
            <a:prstTxWarp prst="textNoShape">
              <a:avLst/>
            </a:prstTxWarp>
            <a:noAutofit/>
          </a:bodyPr>
          <a:lstStyle/>
          <a:p>
            <a:endParaRPr lang="en-US" sz="1350" dirty="0"/>
          </a:p>
        </p:txBody>
      </p:sp>
      <p:sp>
        <p:nvSpPr>
          <p:cNvPr id="5" name="Isosceles Triangle 4"/>
          <p:cNvSpPr>
            <a:spLocks/>
          </p:cNvSpPr>
          <p:nvPr/>
        </p:nvSpPr>
        <p:spPr>
          <a:xfrm>
            <a:off x="1038785" y="4636643"/>
            <a:ext cx="579874" cy="457219"/>
          </a:xfrm>
          <a:prstGeom prst="triangle">
            <a:avLst/>
          </a:prstGeom>
          <a:solidFill>
            <a:srgbClr val="FFFF00"/>
          </a:solidFill>
        </p:spPr>
        <p:style>
          <a:lnRef idx="1">
            <a:schemeClr val="accent6"/>
          </a:lnRef>
          <a:fillRef idx="3">
            <a:schemeClr val="accent6"/>
          </a:fillRef>
          <a:effectRef idx="2">
            <a:schemeClr val="accent6"/>
          </a:effectRef>
          <a:fontRef idx="minor">
            <a:schemeClr val="lt1"/>
          </a:fontRef>
        </p:style>
        <p:txBody>
          <a:bodyPr rot="0" spcFirstLastPara="0" vert="horz" wrap="square" lIns="68583" tIns="34291" rIns="68583" bIns="34291" numCol="1" spcCol="0" rtlCol="0" fromWordArt="0" anchor="ctr" anchorCtr="0" forceAA="0" compatLnSpc="1">
            <a:prstTxWarp prst="textNoShape">
              <a:avLst/>
            </a:prstTxWarp>
            <a:noAutofit/>
          </a:bodyPr>
          <a:lstStyle/>
          <a:p>
            <a:endParaRPr lang="en-US" sz="1350"/>
          </a:p>
        </p:txBody>
      </p:sp>
      <p:sp>
        <p:nvSpPr>
          <p:cNvPr id="6" name="Oval 5"/>
          <p:cNvSpPr>
            <a:spLocks/>
          </p:cNvSpPr>
          <p:nvPr/>
        </p:nvSpPr>
        <p:spPr>
          <a:xfrm>
            <a:off x="1038785" y="6069964"/>
            <a:ext cx="474539" cy="475477"/>
          </a:xfrm>
          <a:prstGeom prst="ellipse">
            <a:avLst/>
          </a:prstGeom>
          <a:solidFill>
            <a:srgbClr val="00B050"/>
          </a:solidFill>
        </p:spPr>
        <p:style>
          <a:lnRef idx="1">
            <a:schemeClr val="accent3"/>
          </a:lnRef>
          <a:fillRef idx="3">
            <a:schemeClr val="accent3"/>
          </a:fillRef>
          <a:effectRef idx="2">
            <a:schemeClr val="accent3"/>
          </a:effectRef>
          <a:fontRef idx="minor">
            <a:schemeClr val="lt1"/>
          </a:fontRef>
        </p:style>
        <p:txBody>
          <a:bodyPr rot="0" spcFirstLastPara="0" vert="horz" wrap="square" lIns="68583" tIns="34291" rIns="68583" bIns="34291" numCol="1" spcCol="0" rtlCol="0" fromWordArt="0" anchor="ctr" anchorCtr="0" forceAA="0" compatLnSpc="1">
            <a:prstTxWarp prst="textNoShape">
              <a:avLst/>
            </a:prstTxWarp>
            <a:noAutofit/>
          </a:bodyPr>
          <a:lstStyle/>
          <a:p>
            <a:endParaRPr lang="en-US" sz="1350"/>
          </a:p>
        </p:txBody>
      </p:sp>
    </p:spTree>
    <p:extLst>
      <p:ext uri="{BB962C8B-B14F-4D97-AF65-F5344CB8AC3E}">
        <p14:creationId xmlns:p14="http://schemas.microsoft.com/office/powerpoint/2010/main" val="3237603627"/>
      </p:ext>
    </p:extLst>
  </p:cSld>
  <p:clrMapOvr>
    <a:masterClrMapping/>
  </p:clrMapOvr>
  <p:transition>
    <p:fade/>
  </p:transition>
</p:sld>
</file>

<file path=ppt/slides/slide17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366168" y="1212852"/>
            <a:ext cx="11535100" cy="5207579"/>
          </a:xfrm>
        </p:spPr>
        <p:txBody>
          <a:bodyPr/>
          <a:lstStyle/>
          <a:p>
            <a:pPr marL="0" indent="0">
              <a:buNone/>
            </a:pPr>
            <a:r>
              <a:rPr lang="en-US" sz="3200" dirty="0"/>
              <a:t>The Azure Relay service facilitates hybrid applications by enabling you to securely expose services that reside within a corporate enterprise network to the public cloud, without having to open a firewall connection, or require intrusive changes to a corporate network infrastructure. Relay supports a variety of different transport protocols and web services standards.</a:t>
            </a:r>
          </a:p>
          <a:p>
            <a:pPr marL="0" indent="0">
              <a:lnSpc>
                <a:spcPct val="100000"/>
              </a:lnSpc>
              <a:buNone/>
            </a:pPr>
            <a:r>
              <a:rPr lang="en-US" sz="3200" dirty="0"/>
              <a:t>Azure Relay has two features:</a:t>
            </a:r>
          </a:p>
          <a:p>
            <a:pPr marL="342900" lvl="1" indent="-342900"/>
            <a:r>
              <a:rPr lang="en-US" dirty="0"/>
              <a:t>Hybrid Connections – Uses the open standard web sockets enabling multi-platform scenarios</a:t>
            </a:r>
          </a:p>
          <a:p>
            <a:pPr marL="342900" lvl="1" indent="-342900"/>
            <a:r>
              <a:rPr lang="en-US" dirty="0"/>
              <a:t>WCF Relays – Uses Windows Communication Foundation (WCF) to enable remote procedure calls. WCF Relay is the legacy Relay offering that many customers may already use with their WCF programming models</a:t>
            </a:r>
          </a:p>
          <a:p>
            <a:pPr marL="0" indent="0">
              <a:buNone/>
            </a:pPr>
            <a:endParaRPr lang="en-US" sz="3200" dirty="0"/>
          </a:p>
        </p:txBody>
      </p:sp>
      <p:sp>
        <p:nvSpPr>
          <p:cNvPr id="2" name="Title 1"/>
          <p:cNvSpPr>
            <a:spLocks noGrp="1"/>
          </p:cNvSpPr>
          <p:nvPr>
            <p:ph type="title"/>
          </p:nvPr>
        </p:nvSpPr>
        <p:spPr/>
        <p:txBody>
          <a:bodyPr/>
          <a:lstStyle/>
          <a:p>
            <a:r>
              <a:rPr lang="en-US" dirty="0"/>
              <a:t>Azure Relay Service</a:t>
            </a:r>
          </a:p>
        </p:txBody>
      </p:sp>
    </p:spTree>
    <p:extLst>
      <p:ext uri="{BB962C8B-B14F-4D97-AF65-F5344CB8AC3E}">
        <p14:creationId xmlns:p14="http://schemas.microsoft.com/office/powerpoint/2010/main" val="370728606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7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366168" y="1212852"/>
            <a:ext cx="11422558" cy="2843855"/>
          </a:xfrm>
        </p:spPr>
        <p:txBody>
          <a:bodyPr/>
          <a:lstStyle/>
          <a:p>
            <a:pPr marL="0" indent="0">
              <a:buNone/>
            </a:pPr>
            <a:r>
              <a:rPr lang="en-US" sz="2400" dirty="0"/>
              <a:t>The Service Bus relay enables you to host WCF services within your existing enterprise environment. You can then delegate listening for incoming sessions and requests to these WCF services to the Service Bus service running within Azure. This enables you to expose these services to application code running in Azure, or to mobile workers or extranet partner environments. Service Bus enables you to securely control who can access these services at a fine-grained level. It provides a powerful and secure way to expose application functionality and data from your existing enterprise solutions and take advantage of it from the cloud.</a:t>
            </a:r>
          </a:p>
        </p:txBody>
      </p:sp>
      <p:sp>
        <p:nvSpPr>
          <p:cNvPr id="2" name="Title 1"/>
          <p:cNvSpPr>
            <a:spLocks noGrp="1"/>
          </p:cNvSpPr>
          <p:nvPr>
            <p:ph type="title"/>
          </p:nvPr>
        </p:nvSpPr>
        <p:spPr/>
        <p:txBody>
          <a:bodyPr/>
          <a:lstStyle/>
          <a:p>
            <a:r>
              <a:rPr lang="en-US" dirty="0"/>
              <a:t>Service Bus (WCF) Relay</a:t>
            </a:r>
          </a:p>
        </p:txBody>
      </p:sp>
      <p:pic>
        <p:nvPicPr>
          <p:cNvPr id="4" name="Picture 3" descr="WCF Relay Concepts"/>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5538678" y="3843265"/>
            <a:ext cx="5715000" cy="28670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2761851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7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Segoe UI Light" panose="020B0502040204020203" pitchFamily="34" charset="0"/>
                <a:cs typeface="Segoe UI Light" panose="020B0502040204020203" pitchFamily="34" charset="0"/>
              </a:rPr>
              <a:t>Relay Hybrid Connections decisions</a:t>
            </a:r>
            <a:endParaRPr lang="en-US" dirty="0"/>
          </a:p>
        </p:txBody>
      </p:sp>
      <p:sp>
        <p:nvSpPr>
          <p:cNvPr id="8" name="Freeform: Shape 7"/>
          <p:cNvSpPr/>
          <p:nvPr/>
        </p:nvSpPr>
        <p:spPr>
          <a:xfrm>
            <a:off x="4416051" y="1683758"/>
            <a:ext cx="6259036" cy="1172411"/>
          </a:xfrm>
          <a:custGeom>
            <a:avLst/>
            <a:gdLst>
              <a:gd name="connsiteX0" fmla="*/ 0 w 6937384"/>
              <a:gd name="connsiteY0" fmla="*/ 171052 h 1368412"/>
              <a:gd name="connsiteX1" fmla="*/ 6253178 w 6937384"/>
              <a:gd name="connsiteY1" fmla="*/ 171052 h 1368412"/>
              <a:gd name="connsiteX2" fmla="*/ 6253178 w 6937384"/>
              <a:gd name="connsiteY2" fmla="*/ 0 h 1368412"/>
              <a:gd name="connsiteX3" fmla="*/ 6937384 w 6937384"/>
              <a:gd name="connsiteY3" fmla="*/ 684206 h 1368412"/>
              <a:gd name="connsiteX4" fmla="*/ 6253178 w 6937384"/>
              <a:gd name="connsiteY4" fmla="*/ 1368412 h 1368412"/>
              <a:gd name="connsiteX5" fmla="*/ 6253178 w 6937384"/>
              <a:gd name="connsiteY5" fmla="*/ 1197361 h 1368412"/>
              <a:gd name="connsiteX6" fmla="*/ 0 w 6937384"/>
              <a:gd name="connsiteY6" fmla="*/ 1197361 h 1368412"/>
              <a:gd name="connsiteX7" fmla="*/ 0 w 6937384"/>
              <a:gd name="connsiteY7" fmla="*/ 171052 h 13684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937384" h="1368412">
                <a:moveTo>
                  <a:pt x="0" y="171052"/>
                </a:moveTo>
                <a:lnTo>
                  <a:pt x="6253178" y="171052"/>
                </a:lnTo>
                <a:lnTo>
                  <a:pt x="6253178" y="0"/>
                </a:lnTo>
                <a:lnTo>
                  <a:pt x="6937384" y="684206"/>
                </a:lnTo>
                <a:lnTo>
                  <a:pt x="6253178" y="1368412"/>
                </a:lnTo>
                <a:lnTo>
                  <a:pt x="6253178" y="1197361"/>
                </a:lnTo>
                <a:lnTo>
                  <a:pt x="0" y="1197361"/>
                </a:lnTo>
                <a:lnTo>
                  <a:pt x="0" y="171052"/>
                </a:lnTo>
                <a:close/>
              </a:path>
            </a:pathLst>
          </a:custGeom>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228600" tIns="457200" rIns="365760" bIns="182481" numCol="1" spcCol="1270" anchor="t" anchorCtr="0">
            <a:noAutofit/>
          </a:bodyPr>
          <a:lstStyle/>
          <a:p>
            <a:pPr marL="285750" lvl="1" indent="-285750" defTabSz="800100">
              <a:lnSpc>
                <a:spcPct val="90000"/>
              </a:lnSpc>
              <a:spcBef>
                <a:spcPct val="0"/>
              </a:spcBef>
              <a:spcAft>
                <a:spcPct val="15000"/>
              </a:spcAft>
              <a:buFont typeface="Arial" panose="020B0604020202020204" pitchFamily="34" charset="0"/>
              <a:buChar char="•"/>
            </a:pPr>
            <a:r>
              <a:rPr lang="en-US" dirty="0"/>
              <a:t>Message size limit varies by relay binding type</a:t>
            </a:r>
          </a:p>
        </p:txBody>
      </p:sp>
      <p:sp>
        <p:nvSpPr>
          <p:cNvPr id="9" name="Freeform: Shape 8"/>
          <p:cNvSpPr/>
          <p:nvPr/>
        </p:nvSpPr>
        <p:spPr>
          <a:xfrm>
            <a:off x="1320269" y="1825142"/>
            <a:ext cx="3221976" cy="899076"/>
          </a:xfrm>
          <a:custGeom>
            <a:avLst/>
            <a:gdLst>
              <a:gd name="connsiteX0" fmla="*/ 0 w 3221976"/>
              <a:gd name="connsiteY0" fmla="*/ 188426 h 1130532"/>
              <a:gd name="connsiteX1" fmla="*/ 188426 w 3221976"/>
              <a:gd name="connsiteY1" fmla="*/ 0 h 1130532"/>
              <a:gd name="connsiteX2" fmla="*/ 3033550 w 3221976"/>
              <a:gd name="connsiteY2" fmla="*/ 0 h 1130532"/>
              <a:gd name="connsiteX3" fmla="*/ 3221976 w 3221976"/>
              <a:gd name="connsiteY3" fmla="*/ 188426 h 1130532"/>
              <a:gd name="connsiteX4" fmla="*/ 3221976 w 3221976"/>
              <a:gd name="connsiteY4" fmla="*/ 942106 h 1130532"/>
              <a:gd name="connsiteX5" fmla="*/ 3033550 w 3221976"/>
              <a:gd name="connsiteY5" fmla="*/ 1130532 h 1130532"/>
              <a:gd name="connsiteX6" fmla="*/ 188426 w 3221976"/>
              <a:gd name="connsiteY6" fmla="*/ 1130532 h 1130532"/>
              <a:gd name="connsiteX7" fmla="*/ 0 w 3221976"/>
              <a:gd name="connsiteY7" fmla="*/ 942106 h 1130532"/>
              <a:gd name="connsiteX8" fmla="*/ 0 w 3221976"/>
              <a:gd name="connsiteY8" fmla="*/ 188426 h 11305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21976" h="1130532">
                <a:moveTo>
                  <a:pt x="0" y="188426"/>
                </a:moveTo>
                <a:cubicBezTo>
                  <a:pt x="0" y="84361"/>
                  <a:pt x="84361" y="0"/>
                  <a:pt x="188426" y="0"/>
                </a:cubicBezTo>
                <a:lnTo>
                  <a:pt x="3033550" y="0"/>
                </a:lnTo>
                <a:cubicBezTo>
                  <a:pt x="3137615" y="0"/>
                  <a:pt x="3221976" y="84361"/>
                  <a:pt x="3221976" y="188426"/>
                </a:cubicBezTo>
                <a:lnTo>
                  <a:pt x="3221976" y="942106"/>
                </a:lnTo>
                <a:cubicBezTo>
                  <a:pt x="3221976" y="1046171"/>
                  <a:pt x="3137615" y="1130532"/>
                  <a:pt x="3033550" y="1130532"/>
                </a:cubicBezTo>
                <a:lnTo>
                  <a:pt x="188426" y="1130532"/>
                </a:lnTo>
                <a:cubicBezTo>
                  <a:pt x="84361" y="1130532"/>
                  <a:pt x="0" y="1046171"/>
                  <a:pt x="0" y="942106"/>
                </a:cubicBezTo>
                <a:lnTo>
                  <a:pt x="0" y="188426"/>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77108" tIns="116148" rIns="177108" bIns="116148" numCol="1" spcCol="1270" anchor="ctr" anchorCtr="0">
            <a:noAutofit/>
          </a:bodyPr>
          <a:lstStyle/>
          <a:p>
            <a:pPr marL="0" lvl="0" indent="0" algn="ctr" defTabSz="1422400">
              <a:lnSpc>
                <a:spcPct val="90000"/>
              </a:lnSpc>
              <a:spcBef>
                <a:spcPct val="0"/>
              </a:spcBef>
              <a:spcAft>
                <a:spcPct val="35000"/>
              </a:spcAft>
              <a:buNone/>
            </a:pPr>
            <a:r>
              <a:rPr lang="en-US" sz="3200" b="0" kern="1200" dirty="0">
                <a:latin typeface="Segoe UI Semibold" panose="020B0702040204020203" pitchFamily="34" charset="0"/>
                <a:cs typeface="Segoe UI Semibold" panose="020B0702040204020203" pitchFamily="34" charset="0"/>
              </a:rPr>
              <a:t>Mandatory</a:t>
            </a:r>
          </a:p>
        </p:txBody>
      </p:sp>
      <p:sp>
        <p:nvSpPr>
          <p:cNvPr id="10" name="Freeform: Shape 9"/>
          <p:cNvSpPr/>
          <p:nvPr/>
        </p:nvSpPr>
        <p:spPr>
          <a:xfrm>
            <a:off x="4174858" y="2856169"/>
            <a:ext cx="6500229" cy="2258529"/>
          </a:xfrm>
          <a:custGeom>
            <a:avLst/>
            <a:gdLst>
              <a:gd name="connsiteX0" fmla="*/ 0 w 7091479"/>
              <a:gd name="connsiteY0" fmla="*/ 293845 h 2350760"/>
              <a:gd name="connsiteX1" fmla="*/ 5916099 w 7091479"/>
              <a:gd name="connsiteY1" fmla="*/ 293845 h 2350760"/>
              <a:gd name="connsiteX2" fmla="*/ 5916099 w 7091479"/>
              <a:gd name="connsiteY2" fmla="*/ 0 h 2350760"/>
              <a:gd name="connsiteX3" fmla="*/ 7091479 w 7091479"/>
              <a:gd name="connsiteY3" fmla="*/ 1175380 h 2350760"/>
              <a:gd name="connsiteX4" fmla="*/ 5916099 w 7091479"/>
              <a:gd name="connsiteY4" fmla="*/ 2350760 h 2350760"/>
              <a:gd name="connsiteX5" fmla="*/ 5916099 w 7091479"/>
              <a:gd name="connsiteY5" fmla="*/ 2056915 h 2350760"/>
              <a:gd name="connsiteX6" fmla="*/ 0 w 7091479"/>
              <a:gd name="connsiteY6" fmla="*/ 2056915 h 2350760"/>
              <a:gd name="connsiteX7" fmla="*/ 0 w 7091479"/>
              <a:gd name="connsiteY7" fmla="*/ 293845 h 2350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091479" h="2350760">
                <a:moveTo>
                  <a:pt x="0" y="293845"/>
                </a:moveTo>
                <a:lnTo>
                  <a:pt x="5916099" y="293845"/>
                </a:lnTo>
                <a:lnTo>
                  <a:pt x="5916099" y="0"/>
                </a:lnTo>
                <a:lnTo>
                  <a:pt x="7091479" y="1175380"/>
                </a:lnTo>
                <a:lnTo>
                  <a:pt x="5916099" y="2350760"/>
                </a:lnTo>
                <a:lnTo>
                  <a:pt x="5916099" y="2056915"/>
                </a:lnTo>
                <a:lnTo>
                  <a:pt x="0" y="2056915"/>
                </a:lnTo>
                <a:lnTo>
                  <a:pt x="0" y="293845"/>
                </a:lnTo>
                <a:close/>
              </a:path>
            </a:pathLst>
          </a:custGeom>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457200" tIns="457200" rIns="1064415" bIns="305275" numCol="1" spcCol="1270" anchor="t" anchorCtr="0">
            <a:noAutofit/>
          </a:bodyPr>
          <a:lstStyle/>
          <a:p>
            <a:pPr marL="285750" lvl="1" indent="-285750" defTabSz="800100">
              <a:lnSpc>
                <a:spcPct val="90000"/>
              </a:lnSpc>
              <a:spcBef>
                <a:spcPct val="0"/>
              </a:spcBef>
              <a:spcAft>
                <a:spcPct val="15000"/>
              </a:spcAft>
              <a:buFont typeface="Arial" panose="020B0604020202020204" pitchFamily="34" charset="0"/>
              <a:buChar char="•"/>
            </a:pPr>
            <a:r>
              <a:rPr lang="en-US" dirty="0"/>
              <a:t>Applications can authenticate to Azure Service Bus using either Shared Access Signature (SAS) authentication, or through Azure Active Directory Access Control (also known as Access Control Service or ACS). SAS is recommended over ACS</a:t>
            </a:r>
          </a:p>
        </p:txBody>
      </p:sp>
      <p:sp>
        <p:nvSpPr>
          <p:cNvPr id="11" name="Freeform: Shape 10"/>
          <p:cNvSpPr/>
          <p:nvPr/>
        </p:nvSpPr>
        <p:spPr>
          <a:xfrm>
            <a:off x="1328722" y="3061449"/>
            <a:ext cx="3213523" cy="1900461"/>
          </a:xfrm>
          <a:custGeom>
            <a:avLst/>
            <a:gdLst>
              <a:gd name="connsiteX0" fmla="*/ 0 w 3213523"/>
              <a:gd name="connsiteY0" fmla="*/ 295356 h 1772099"/>
              <a:gd name="connsiteX1" fmla="*/ 295356 w 3213523"/>
              <a:gd name="connsiteY1" fmla="*/ 0 h 1772099"/>
              <a:gd name="connsiteX2" fmla="*/ 2918167 w 3213523"/>
              <a:gd name="connsiteY2" fmla="*/ 0 h 1772099"/>
              <a:gd name="connsiteX3" fmla="*/ 3213523 w 3213523"/>
              <a:gd name="connsiteY3" fmla="*/ 295356 h 1772099"/>
              <a:gd name="connsiteX4" fmla="*/ 3213523 w 3213523"/>
              <a:gd name="connsiteY4" fmla="*/ 1476743 h 1772099"/>
              <a:gd name="connsiteX5" fmla="*/ 2918167 w 3213523"/>
              <a:gd name="connsiteY5" fmla="*/ 1772099 h 1772099"/>
              <a:gd name="connsiteX6" fmla="*/ 295356 w 3213523"/>
              <a:gd name="connsiteY6" fmla="*/ 1772099 h 1772099"/>
              <a:gd name="connsiteX7" fmla="*/ 0 w 3213523"/>
              <a:gd name="connsiteY7" fmla="*/ 1476743 h 1772099"/>
              <a:gd name="connsiteX8" fmla="*/ 0 w 3213523"/>
              <a:gd name="connsiteY8" fmla="*/ 295356 h 17720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13523" h="1772099">
                <a:moveTo>
                  <a:pt x="0" y="295356"/>
                </a:moveTo>
                <a:cubicBezTo>
                  <a:pt x="0" y="132235"/>
                  <a:pt x="132235" y="0"/>
                  <a:pt x="295356" y="0"/>
                </a:cubicBezTo>
                <a:lnTo>
                  <a:pt x="2918167" y="0"/>
                </a:lnTo>
                <a:cubicBezTo>
                  <a:pt x="3081288" y="0"/>
                  <a:pt x="3213523" y="132235"/>
                  <a:pt x="3213523" y="295356"/>
                </a:cubicBezTo>
                <a:lnTo>
                  <a:pt x="3213523" y="1476743"/>
                </a:lnTo>
                <a:cubicBezTo>
                  <a:pt x="3213523" y="1639864"/>
                  <a:pt x="3081288" y="1772099"/>
                  <a:pt x="2918167" y="1772099"/>
                </a:cubicBezTo>
                <a:lnTo>
                  <a:pt x="295356" y="1772099"/>
                </a:lnTo>
                <a:cubicBezTo>
                  <a:pt x="132235" y="1772099"/>
                  <a:pt x="0" y="1639864"/>
                  <a:pt x="0" y="1476743"/>
                </a:cubicBezTo>
                <a:lnTo>
                  <a:pt x="0" y="295356"/>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08427" tIns="147467" rIns="208427" bIns="147467" numCol="1" spcCol="1270" anchor="ctr" anchorCtr="0">
            <a:noAutofit/>
          </a:bodyPr>
          <a:lstStyle/>
          <a:p>
            <a:pPr marL="0" lvl="0" indent="0" algn="ctr" defTabSz="1422400">
              <a:lnSpc>
                <a:spcPct val="90000"/>
              </a:lnSpc>
              <a:spcBef>
                <a:spcPct val="0"/>
              </a:spcBef>
              <a:spcAft>
                <a:spcPct val="35000"/>
              </a:spcAft>
              <a:buNone/>
            </a:pPr>
            <a:r>
              <a:rPr lang="en-US" sz="3200" b="0" kern="1200" dirty="0">
                <a:solidFill>
                  <a:srgbClr val="FFFFFF"/>
                </a:solidFill>
                <a:latin typeface="Segoe UI Semibold" panose="020B0702040204020203" pitchFamily="34" charset="0"/>
                <a:ea typeface="+mn-ea"/>
                <a:cs typeface="Segoe UI Semibold" panose="020B0702040204020203" pitchFamily="34" charset="0"/>
              </a:rPr>
              <a:t>Recommended</a:t>
            </a:r>
          </a:p>
        </p:txBody>
      </p:sp>
      <p:sp>
        <p:nvSpPr>
          <p:cNvPr id="12" name="Freeform: Shape 11"/>
          <p:cNvSpPr/>
          <p:nvPr/>
        </p:nvSpPr>
        <p:spPr>
          <a:xfrm>
            <a:off x="4281380" y="5014665"/>
            <a:ext cx="6393707" cy="1495597"/>
          </a:xfrm>
          <a:custGeom>
            <a:avLst/>
            <a:gdLst>
              <a:gd name="connsiteX0" fmla="*/ 0 w 7125896"/>
              <a:gd name="connsiteY0" fmla="*/ 180910 h 1447281"/>
              <a:gd name="connsiteX1" fmla="*/ 6402256 w 7125896"/>
              <a:gd name="connsiteY1" fmla="*/ 180910 h 1447281"/>
              <a:gd name="connsiteX2" fmla="*/ 6402256 w 7125896"/>
              <a:gd name="connsiteY2" fmla="*/ 0 h 1447281"/>
              <a:gd name="connsiteX3" fmla="*/ 7125896 w 7125896"/>
              <a:gd name="connsiteY3" fmla="*/ 723641 h 1447281"/>
              <a:gd name="connsiteX4" fmla="*/ 6402256 w 7125896"/>
              <a:gd name="connsiteY4" fmla="*/ 1447281 h 1447281"/>
              <a:gd name="connsiteX5" fmla="*/ 6402256 w 7125896"/>
              <a:gd name="connsiteY5" fmla="*/ 1266371 h 1447281"/>
              <a:gd name="connsiteX6" fmla="*/ 0 w 7125896"/>
              <a:gd name="connsiteY6" fmla="*/ 1266371 h 1447281"/>
              <a:gd name="connsiteX7" fmla="*/ 0 w 7125896"/>
              <a:gd name="connsiteY7" fmla="*/ 180910 h 14472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125896" h="1447281">
                <a:moveTo>
                  <a:pt x="0" y="180910"/>
                </a:moveTo>
                <a:lnTo>
                  <a:pt x="6402256" y="180910"/>
                </a:lnTo>
                <a:lnTo>
                  <a:pt x="6402256" y="0"/>
                </a:lnTo>
                <a:lnTo>
                  <a:pt x="7125896" y="723641"/>
                </a:lnTo>
                <a:lnTo>
                  <a:pt x="6402256" y="1447281"/>
                </a:lnTo>
                <a:lnTo>
                  <a:pt x="6402256" y="1266371"/>
                </a:lnTo>
                <a:lnTo>
                  <a:pt x="0" y="1266371"/>
                </a:lnTo>
                <a:lnTo>
                  <a:pt x="0" y="180910"/>
                </a:lnTo>
                <a:close/>
              </a:path>
            </a:pathLst>
          </a:custGeom>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365760" tIns="365760" rIns="640080" bIns="192340" numCol="1" spcCol="1270" anchor="t" anchorCtr="0">
            <a:noAutofit/>
          </a:bodyPr>
          <a:lstStyle/>
          <a:p>
            <a:pPr marL="285750" lvl="0" indent="-285750">
              <a:buFont typeface="Arial" panose="020B0604020202020204" pitchFamily="34" charset="0"/>
              <a:buChar char="•"/>
            </a:pPr>
            <a:r>
              <a:rPr lang="en-US" dirty="0"/>
              <a:t>Outages and disaster planning is handled by having multiple relays. Consider adding retry logic to the application</a:t>
            </a:r>
          </a:p>
        </p:txBody>
      </p:sp>
      <p:sp>
        <p:nvSpPr>
          <p:cNvPr id="13" name="Freeform: Shape 12"/>
          <p:cNvSpPr/>
          <p:nvPr/>
        </p:nvSpPr>
        <p:spPr>
          <a:xfrm>
            <a:off x="1255786" y="5167453"/>
            <a:ext cx="3283133" cy="1213842"/>
          </a:xfrm>
          <a:custGeom>
            <a:avLst/>
            <a:gdLst>
              <a:gd name="connsiteX0" fmla="*/ 0 w 3210524"/>
              <a:gd name="connsiteY0" fmla="*/ 191185 h 1147089"/>
              <a:gd name="connsiteX1" fmla="*/ 191185 w 3210524"/>
              <a:gd name="connsiteY1" fmla="*/ 0 h 1147089"/>
              <a:gd name="connsiteX2" fmla="*/ 3019339 w 3210524"/>
              <a:gd name="connsiteY2" fmla="*/ 0 h 1147089"/>
              <a:gd name="connsiteX3" fmla="*/ 3210524 w 3210524"/>
              <a:gd name="connsiteY3" fmla="*/ 191185 h 1147089"/>
              <a:gd name="connsiteX4" fmla="*/ 3210524 w 3210524"/>
              <a:gd name="connsiteY4" fmla="*/ 955904 h 1147089"/>
              <a:gd name="connsiteX5" fmla="*/ 3019339 w 3210524"/>
              <a:gd name="connsiteY5" fmla="*/ 1147089 h 1147089"/>
              <a:gd name="connsiteX6" fmla="*/ 191185 w 3210524"/>
              <a:gd name="connsiteY6" fmla="*/ 1147089 h 1147089"/>
              <a:gd name="connsiteX7" fmla="*/ 0 w 3210524"/>
              <a:gd name="connsiteY7" fmla="*/ 955904 h 1147089"/>
              <a:gd name="connsiteX8" fmla="*/ 0 w 3210524"/>
              <a:gd name="connsiteY8" fmla="*/ 191185 h 1147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10524" h="1147089">
                <a:moveTo>
                  <a:pt x="0" y="191185"/>
                </a:moveTo>
                <a:cubicBezTo>
                  <a:pt x="0" y="85596"/>
                  <a:pt x="85596" y="0"/>
                  <a:pt x="191185" y="0"/>
                </a:cubicBezTo>
                <a:lnTo>
                  <a:pt x="3019339" y="0"/>
                </a:lnTo>
                <a:cubicBezTo>
                  <a:pt x="3124928" y="0"/>
                  <a:pt x="3210524" y="85596"/>
                  <a:pt x="3210524" y="191185"/>
                </a:cubicBezTo>
                <a:lnTo>
                  <a:pt x="3210524" y="955904"/>
                </a:lnTo>
                <a:cubicBezTo>
                  <a:pt x="3210524" y="1061493"/>
                  <a:pt x="3124928" y="1147089"/>
                  <a:pt x="3019339" y="1147089"/>
                </a:cubicBezTo>
                <a:lnTo>
                  <a:pt x="191185" y="1147089"/>
                </a:lnTo>
                <a:cubicBezTo>
                  <a:pt x="85596" y="1147089"/>
                  <a:pt x="0" y="1061493"/>
                  <a:pt x="0" y="955904"/>
                </a:cubicBezTo>
                <a:lnTo>
                  <a:pt x="0" y="191185"/>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77916" tIns="116956" rIns="177916" bIns="116956" numCol="1" spcCol="1270" anchor="ctr" anchorCtr="0">
            <a:noAutofit/>
          </a:bodyPr>
          <a:lstStyle/>
          <a:p>
            <a:pPr marL="0" lvl="0" indent="0" algn="ctr" defTabSz="1422400">
              <a:lnSpc>
                <a:spcPct val="90000"/>
              </a:lnSpc>
              <a:spcBef>
                <a:spcPct val="0"/>
              </a:spcBef>
              <a:spcAft>
                <a:spcPct val="35000"/>
              </a:spcAft>
              <a:buNone/>
            </a:pPr>
            <a:r>
              <a:rPr lang="en-US" sz="3200" b="0" kern="1200" dirty="0">
                <a:solidFill>
                  <a:srgbClr val="FFFFFF"/>
                </a:solidFill>
                <a:latin typeface="Segoe UI Semibold" panose="020B0702040204020203" pitchFamily="34" charset="0"/>
                <a:ea typeface="+mn-ea"/>
                <a:cs typeface="Segoe UI Semibold" panose="020B0702040204020203" pitchFamily="34" charset="0"/>
              </a:rPr>
              <a:t>Optional</a:t>
            </a:r>
          </a:p>
        </p:txBody>
      </p:sp>
      <p:sp>
        <p:nvSpPr>
          <p:cNvPr id="4" name="Octagon 3"/>
          <p:cNvSpPr/>
          <p:nvPr/>
        </p:nvSpPr>
        <p:spPr>
          <a:xfrm>
            <a:off x="1107200" y="2489609"/>
            <a:ext cx="443098" cy="439889"/>
          </a:xfrm>
          <a:prstGeom prst="octagon">
            <a:avLst/>
          </a:prstGeom>
          <a:solidFill>
            <a:srgbClr val="CC0000"/>
          </a:solidFill>
        </p:spPr>
        <p:style>
          <a:lnRef idx="1">
            <a:schemeClr val="accent2"/>
          </a:lnRef>
          <a:fillRef idx="3">
            <a:schemeClr val="accent2"/>
          </a:fillRef>
          <a:effectRef idx="2">
            <a:schemeClr val="accent2"/>
          </a:effectRef>
          <a:fontRef idx="minor">
            <a:schemeClr val="lt1"/>
          </a:fontRef>
        </p:style>
        <p:txBody>
          <a:bodyPr rot="0" spcFirstLastPara="0" vert="horz" wrap="square" lIns="68583" tIns="34291" rIns="68583" bIns="34291" numCol="1" spcCol="0" rtlCol="0" fromWordArt="0" anchor="ctr" anchorCtr="0" forceAA="0" compatLnSpc="1">
            <a:prstTxWarp prst="textNoShape">
              <a:avLst/>
            </a:prstTxWarp>
            <a:noAutofit/>
          </a:bodyPr>
          <a:lstStyle/>
          <a:p>
            <a:endParaRPr lang="en-US" sz="1350" dirty="0"/>
          </a:p>
        </p:txBody>
      </p:sp>
      <p:sp>
        <p:nvSpPr>
          <p:cNvPr id="5" name="Isosceles Triangle 4"/>
          <p:cNvSpPr>
            <a:spLocks/>
          </p:cNvSpPr>
          <p:nvPr/>
        </p:nvSpPr>
        <p:spPr>
          <a:xfrm>
            <a:off x="1038785" y="4569174"/>
            <a:ext cx="579874" cy="457219"/>
          </a:xfrm>
          <a:prstGeom prst="triangle">
            <a:avLst/>
          </a:prstGeom>
          <a:solidFill>
            <a:srgbClr val="FFFF00"/>
          </a:solidFill>
        </p:spPr>
        <p:style>
          <a:lnRef idx="1">
            <a:schemeClr val="accent6"/>
          </a:lnRef>
          <a:fillRef idx="3">
            <a:schemeClr val="accent6"/>
          </a:fillRef>
          <a:effectRef idx="2">
            <a:schemeClr val="accent6"/>
          </a:effectRef>
          <a:fontRef idx="minor">
            <a:schemeClr val="lt1"/>
          </a:fontRef>
        </p:style>
        <p:txBody>
          <a:bodyPr rot="0" spcFirstLastPara="0" vert="horz" wrap="square" lIns="68583" tIns="34291" rIns="68583" bIns="34291" numCol="1" spcCol="0" rtlCol="0" fromWordArt="0" anchor="ctr" anchorCtr="0" forceAA="0" compatLnSpc="1">
            <a:prstTxWarp prst="textNoShape">
              <a:avLst/>
            </a:prstTxWarp>
            <a:noAutofit/>
          </a:bodyPr>
          <a:lstStyle/>
          <a:p>
            <a:endParaRPr lang="en-US" sz="1350"/>
          </a:p>
        </p:txBody>
      </p:sp>
      <p:sp>
        <p:nvSpPr>
          <p:cNvPr id="6" name="Oval 5"/>
          <p:cNvSpPr>
            <a:spLocks/>
          </p:cNvSpPr>
          <p:nvPr/>
        </p:nvSpPr>
        <p:spPr>
          <a:xfrm>
            <a:off x="1038785" y="6140304"/>
            <a:ext cx="474539" cy="475477"/>
          </a:xfrm>
          <a:prstGeom prst="ellipse">
            <a:avLst/>
          </a:prstGeom>
          <a:solidFill>
            <a:srgbClr val="00B050"/>
          </a:solidFill>
        </p:spPr>
        <p:style>
          <a:lnRef idx="1">
            <a:schemeClr val="accent3"/>
          </a:lnRef>
          <a:fillRef idx="3">
            <a:schemeClr val="accent3"/>
          </a:fillRef>
          <a:effectRef idx="2">
            <a:schemeClr val="accent3"/>
          </a:effectRef>
          <a:fontRef idx="minor">
            <a:schemeClr val="lt1"/>
          </a:fontRef>
        </p:style>
        <p:txBody>
          <a:bodyPr rot="0" spcFirstLastPara="0" vert="horz" wrap="square" lIns="68583" tIns="34291" rIns="68583" bIns="34291" numCol="1" spcCol="0" rtlCol="0" fromWordArt="0" anchor="ctr" anchorCtr="0" forceAA="0" compatLnSpc="1">
            <a:prstTxWarp prst="textNoShape">
              <a:avLst/>
            </a:prstTxWarp>
            <a:noAutofit/>
          </a:bodyPr>
          <a:lstStyle/>
          <a:p>
            <a:endParaRPr lang="en-US" sz="1350"/>
          </a:p>
        </p:txBody>
      </p:sp>
    </p:spTree>
    <p:extLst>
      <p:ext uri="{BB962C8B-B14F-4D97-AF65-F5344CB8AC3E}">
        <p14:creationId xmlns:p14="http://schemas.microsoft.com/office/powerpoint/2010/main" val="3508795631"/>
      </p:ext>
    </p:extLst>
  </p:cSld>
  <p:clrMapOvr>
    <a:masterClrMapping/>
  </p:clrMapOvr>
  <p:transition>
    <p:fade/>
  </p:transition>
</p:sld>
</file>

<file path=ppt/slides/slide17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366168" y="1212851"/>
            <a:ext cx="10788061" cy="1982081"/>
          </a:xfrm>
        </p:spPr>
        <p:txBody>
          <a:bodyPr/>
          <a:lstStyle/>
          <a:p>
            <a:pPr marL="0" lvl="0" indent="0">
              <a:buNone/>
            </a:pPr>
            <a:r>
              <a:rPr lang="en-US" sz="3200" dirty="0">
                <a:gradFill>
                  <a:gsLst>
                    <a:gs pos="1250">
                      <a:srgbClr val="0078D7"/>
                    </a:gs>
                    <a:gs pos="99000">
                      <a:srgbClr val="0078D7"/>
                    </a:gs>
                  </a:gsLst>
                  <a:lin ang="5400000" scaled="0"/>
                </a:gradFill>
              </a:rPr>
              <a:t>Choice of Windows or Linux clusters</a:t>
            </a:r>
          </a:p>
          <a:p>
            <a:pPr marL="342900" lvl="1" indent="-342900"/>
            <a:r>
              <a:rPr lang="en-US" dirty="0"/>
              <a:t>Managed and supported by Microsoft</a:t>
            </a:r>
          </a:p>
          <a:p>
            <a:pPr marL="342900" lvl="1" indent="-342900"/>
            <a:r>
              <a:rPr lang="en-US" dirty="0"/>
              <a:t>Re-use common tools, documentation, samples from Hadoop/Linux ecosystem</a:t>
            </a:r>
          </a:p>
          <a:p>
            <a:pPr marL="342900" lvl="1" indent="-342900"/>
            <a:r>
              <a:rPr lang="en-US" dirty="0"/>
              <a:t>Add Hadoop projects that were authored on Linux to HDInsight</a:t>
            </a:r>
          </a:p>
          <a:p>
            <a:pPr marL="342900" lvl="1" indent="-342900"/>
            <a:r>
              <a:rPr lang="en-US" dirty="0"/>
              <a:t>Easier transition from on-premises to cloud</a:t>
            </a:r>
          </a:p>
        </p:txBody>
      </p:sp>
      <p:sp>
        <p:nvSpPr>
          <p:cNvPr id="2" name="Title 1"/>
          <p:cNvSpPr>
            <a:spLocks noGrp="1"/>
          </p:cNvSpPr>
          <p:nvPr>
            <p:ph type="title"/>
          </p:nvPr>
        </p:nvSpPr>
        <p:spPr/>
        <p:txBody>
          <a:bodyPr/>
          <a:lstStyle/>
          <a:p>
            <a:r>
              <a:rPr lang="en-US" dirty="0"/>
              <a:t>Azure HDInsight running Linux</a:t>
            </a:r>
          </a:p>
        </p:txBody>
      </p:sp>
      <p:pic>
        <p:nvPicPr>
          <p:cNvPr id="4" name="Picture 3"/>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4147768" y="4684328"/>
            <a:ext cx="5106932" cy="1828803"/>
          </a:xfrm>
          <a:prstGeom prst="rect">
            <a:avLst/>
          </a:prstGeom>
        </p:spPr>
      </p:pic>
      <p:sp>
        <p:nvSpPr>
          <p:cNvPr id="5" name="Rectangle 4"/>
          <p:cNvSpPr/>
          <p:nvPr/>
        </p:nvSpPr>
        <p:spPr>
          <a:xfrm>
            <a:off x="2970440" y="4016947"/>
            <a:ext cx="2926362" cy="653402"/>
          </a:xfrm>
          <a:prstGeom prst="rect">
            <a:avLst/>
          </a:prstGeom>
          <a:noFill/>
          <a:ln w="44450" cap="flat" cmpd="sng" algn="ctr">
            <a:noFill/>
            <a:prstDash val="solid"/>
          </a:ln>
          <a:effectLst/>
        </p:spPr>
        <p:txBody>
          <a:bodyPr wrap="square" lIns="134452" tIns="100840" rIns="134452" bIns="10084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72206">
              <a:defRPr/>
            </a:pPr>
            <a:endParaRPr lang="en-US" sz="2059" kern="0" dirty="0">
              <a:gradFill>
                <a:gsLst>
                  <a:gs pos="6299">
                    <a:srgbClr val="FFFFFF"/>
                  </a:gs>
                  <a:gs pos="28000">
                    <a:srgbClr val="FFFFFF"/>
                  </a:gs>
                </a:gsLst>
                <a:lin ang="5400000" scaled="0"/>
              </a:gradFill>
              <a:latin typeface="Segoe UI Light"/>
            </a:endParaRPr>
          </a:p>
        </p:txBody>
      </p:sp>
      <p:pic>
        <p:nvPicPr>
          <p:cNvPr id="6" name="Picture 5"/>
          <p:cNvPicPr>
            <a:picLocks noChangeAspect="1"/>
          </p:cNvPicPr>
          <p:nvPr/>
        </p:nvPicPr>
        <p:blipFill>
          <a:blip r:embed="rId4" cstate="screen">
            <a:biLevel thresh="75000"/>
            <a:extLst>
              <a:ext uri="{28A0092B-C50C-407E-A947-70E740481C1C}">
                <a14:useLocalDpi xmlns:a14="http://schemas.microsoft.com/office/drawing/2010/main"/>
              </a:ext>
            </a:extLst>
          </a:blip>
          <a:stretch>
            <a:fillRect/>
          </a:stretch>
        </p:blipFill>
        <p:spPr>
          <a:xfrm>
            <a:off x="3900147" y="4710311"/>
            <a:ext cx="1909109" cy="494855"/>
          </a:xfrm>
          <a:prstGeom prst="rect">
            <a:avLst/>
          </a:prstGeom>
        </p:spPr>
      </p:pic>
      <p:sp>
        <p:nvSpPr>
          <p:cNvPr id="7" name="Rectangle 6"/>
          <p:cNvSpPr/>
          <p:nvPr/>
        </p:nvSpPr>
        <p:spPr>
          <a:xfrm>
            <a:off x="2970440" y="4678470"/>
            <a:ext cx="2926362" cy="653402"/>
          </a:xfrm>
          <a:prstGeom prst="rect">
            <a:avLst/>
          </a:prstGeom>
          <a:noFill/>
          <a:ln w="44450" cap="flat" cmpd="sng" algn="ctr">
            <a:noFill/>
            <a:prstDash val="solid"/>
          </a:ln>
          <a:effectLst/>
        </p:spPr>
        <p:txBody>
          <a:bodyPr wrap="square" lIns="134452" tIns="100840" rIns="134452" bIns="10084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72206">
              <a:defRPr/>
            </a:pPr>
            <a:endParaRPr lang="en-US" sz="2059" kern="0" dirty="0">
              <a:gradFill>
                <a:gsLst>
                  <a:gs pos="6299">
                    <a:srgbClr val="FFFFFF"/>
                  </a:gs>
                  <a:gs pos="28000">
                    <a:srgbClr val="FFFFFF"/>
                  </a:gs>
                </a:gsLst>
                <a:lin ang="5400000" scaled="0"/>
              </a:gradFill>
              <a:latin typeface="Segoe UI Light"/>
            </a:endParaRPr>
          </a:p>
        </p:txBody>
      </p:sp>
      <p:sp>
        <p:nvSpPr>
          <p:cNvPr id="8" name="Freeform 142"/>
          <p:cNvSpPr>
            <a:spLocks/>
          </p:cNvSpPr>
          <p:nvPr/>
        </p:nvSpPr>
        <p:spPr bwMode="auto">
          <a:xfrm>
            <a:off x="2109905" y="4111237"/>
            <a:ext cx="1644983" cy="1118231"/>
          </a:xfrm>
          <a:custGeom>
            <a:avLst/>
            <a:gdLst>
              <a:gd name="T0" fmla="*/ 33 w 206"/>
              <a:gd name="T1" fmla="*/ 59 h 135"/>
              <a:gd name="T2" fmla="*/ 33 w 206"/>
              <a:gd name="T3" fmla="*/ 57 h 135"/>
              <a:gd name="T4" fmla="*/ 90 w 206"/>
              <a:gd name="T5" fmla="*/ 0 h 135"/>
              <a:gd name="T6" fmla="*/ 137 w 206"/>
              <a:gd name="T7" fmla="*/ 25 h 135"/>
              <a:gd name="T8" fmla="*/ 153 w 206"/>
              <a:gd name="T9" fmla="*/ 21 h 135"/>
              <a:gd name="T10" fmla="*/ 171 w 206"/>
              <a:gd name="T11" fmla="*/ 27 h 135"/>
              <a:gd name="T12" fmla="*/ 186 w 206"/>
              <a:gd name="T13" fmla="*/ 53 h 135"/>
              <a:gd name="T14" fmla="*/ 206 w 206"/>
              <a:gd name="T15" fmla="*/ 91 h 135"/>
              <a:gd name="T16" fmla="*/ 166 w 206"/>
              <a:gd name="T17" fmla="*/ 135 h 135"/>
              <a:gd name="T18" fmla="*/ 161 w 206"/>
              <a:gd name="T19" fmla="*/ 135 h 135"/>
              <a:gd name="T20" fmla="*/ 157 w 206"/>
              <a:gd name="T21" fmla="*/ 135 h 135"/>
              <a:gd name="T22" fmla="*/ 64 w 206"/>
              <a:gd name="T23" fmla="*/ 135 h 135"/>
              <a:gd name="T24" fmla="*/ 62 w 206"/>
              <a:gd name="T25" fmla="*/ 135 h 135"/>
              <a:gd name="T26" fmla="*/ 60 w 206"/>
              <a:gd name="T27" fmla="*/ 135 h 135"/>
              <a:gd name="T28" fmla="*/ 53 w 206"/>
              <a:gd name="T29" fmla="*/ 135 h 135"/>
              <a:gd name="T30" fmla="*/ 38 w 206"/>
              <a:gd name="T31" fmla="*/ 135 h 135"/>
              <a:gd name="T32" fmla="*/ 0 w 206"/>
              <a:gd name="T33" fmla="*/ 97 h 135"/>
              <a:gd name="T34" fmla="*/ 33 w 206"/>
              <a:gd name="T35" fmla="*/ 59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6" h="135">
                <a:moveTo>
                  <a:pt x="33" y="59"/>
                </a:moveTo>
                <a:cubicBezTo>
                  <a:pt x="33" y="59"/>
                  <a:pt x="33" y="57"/>
                  <a:pt x="33" y="57"/>
                </a:cubicBezTo>
                <a:cubicBezTo>
                  <a:pt x="33" y="25"/>
                  <a:pt x="58" y="0"/>
                  <a:pt x="90" y="0"/>
                </a:cubicBezTo>
                <a:cubicBezTo>
                  <a:pt x="109" y="0"/>
                  <a:pt x="127" y="10"/>
                  <a:pt x="137" y="25"/>
                </a:cubicBezTo>
                <a:cubicBezTo>
                  <a:pt x="142" y="23"/>
                  <a:pt x="147" y="21"/>
                  <a:pt x="153" y="21"/>
                </a:cubicBezTo>
                <a:cubicBezTo>
                  <a:pt x="159" y="21"/>
                  <a:pt x="166" y="23"/>
                  <a:pt x="171" y="27"/>
                </a:cubicBezTo>
                <a:cubicBezTo>
                  <a:pt x="180" y="33"/>
                  <a:pt x="185" y="42"/>
                  <a:pt x="186" y="53"/>
                </a:cubicBezTo>
                <a:cubicBezTo>
                  <a:pt x="198" y="61"/>
                  <a:pt x="206" y="75"/>
                  <a:pt x="206" y="91"/>
                </a:cubicBezTo>
                <a:cubicBezTo>
                  <a:pt x="206" y="114"/>
                  <a:pt x="189" y="133"/>
                  <a:pt x="166" y="135"/>
                </a:cubicBezTo>
                <a:cubicBezTo>
                  <a:pt x="165" y="135"/>
                  <a:pt x="163" y="135"/>
                  <a:pt x="161" y="135"/>
                </a:cubicBezTo>
                <a:cubicBezTo>
                  <a:pt x="160" y="135"/>
                  <a:pt x="158" y="135"/>
                  <a:pt x="157" y="135"/>
                </a:cubicBezTo>
                <a:cubicBezTo>
                  <a:pt x="136" y="135"/>
                  <a:pt x="87" y="135"/>
                  <a:pt x="64" y="135"/>
                </a:cubicBezTo>
                <a:cubicBezTo>
                  <a:pt x="63" y="135"/>
                  <a:pt x="62" y="135"/>
                  <a:pt x="62" y="135"/>
                </a:cubicBezTo>
                <a:cubicBezTo>
                  <a:pt x="60" y="135"/>
                  <a:pt x="60" y="135"/>
                  <a:pt x="60" y="135"/>
                </a:cubicBezTo>
                <a:cubicBezTo>
                  <a:pt x="58" y="135"/>
                  <a:pt x="55" y="135"/>
                  <a:pt x="53" y="135"/>
                </a:cubicBezTo>
                <a:cubicBezTo>
                  <a:pt x="38" y="135"/>
                  <a:pt x="38" y="135"/>
                  <a:pt x="38" y="135"/>
                </a:cubicBezTo>
                <a:cubicBezTo>
                  <a:pt x="17" y="135"/>
                  <a:pt x="0" y="118"/>
                  <a:pt x="0" y="97"/>
                </a:cubicBezTo>
                <a:cubicBezTo>
                  <a:pt x="0" y="78"/>
                  <a:pt x="14" y="62"/>
                  <a:pt x="33" y="59"/>
                </a:cubicBezTo>
                <a:close/>
              </a:path>
            </a:pathLst>
          </a:custGeom>
          <a:solidFill>
            <a:srgbClr val="00B0F0"/>
          </a:solidFill>
          <a:ln>
            <a:noFill/>
          </a:ln>
          <a:extLst/>
        </p:spPr>
        <p:txBody>
          <a:bodyPr vert="horz" wrap="square" lIns="68574" tIns="34287" rIns="68574" bIns="34287"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687"/>
            <a:endParaRPr lang="en-US" sz="1350" dirty="0">
              <a:solidFill>
                <a:srgbClr val="000000"/>
              </a:solidFill>
            </a:endParaRPr>
          </a:p>
        </p:txBody>
      </p:sp>
      <p:sp>
        <p:nvSpPr>
          <p:cNvPr id="9" name="Freeform 143"/>
          <p:cNvSpPr>
            <a:spLocks noEditPoints="1"/>
          </p:cNvSpPr>
          <p:nvPr/>
        </p:nvSpPr>
        <p:spPr bwMode="auto">
          <a:xfrm>
            <a:off x="2401795" y="4362521"/>
            <a:ext cx="984636" cy="741657"/>
          </a:xfrm>
          <a:custGeom>
            <a:avLst/>
            <a:gdLst>
              <a:gd name="T0" fmla="*/ 475 w 718"/>
              <a:gd name="T1" fmla="*/ 424 h 539"/>
              <a:gd name="T2" fmla="*/ 426 w 718"/>
              <a:gd name="T3" fmla="*/ 486 h 539"/>
              <a:gd name="T4" fmla="*/ 515 w 718"/>
              <a:gd name="T5" fmla="*/ 303 h 539"/>
              <a:gd name="T6" fmla="*/ 526 w 718"/>
              <a:gd name="T7" fmla="*/ 369 h 539"/>
              <a:gd name="T8" fmla="*/ 562 w 718"/>
              <a:gd name="T9" fmla="*/ 334 h 539"/>
              <a:gd name="T10" fmla="*/ 493 w 718"/>
              <a:gd name="T11" fmla="*/ 363 h 539"/>
              <a:gd name="T12" fmla="*/ 440 w 718"/>
              <a:gd name="T13" fmla="*/ 416 h 539"/>
              <a:gd name="T14" fmla="*/ 296 w 718"/>
              <a:gd name="T15" fmla="*/ 500 h 539"/>
              <a:gd name="T16" fmla="*/ 327 w 718"/>
              <a:gd name="T17" fmla="*/ 452 h 539"/>
              <a:gd name="T18" fmla="*/ 325 w 718"/>
              <a:gd name="T19" fmla="*/ 423 h 539"/>
              <a:gd name="T20" fmla="*/ 236 w 718"/>
              <a:gd name="T21" fmla="*/ 431 h 539"/>
              <a:gd name="T22" fmla="*/ 211 w 718"/>
              <a:gd name="T23" fmla="*/ 493 h 539"/>
              <a:gd name="T24" fmla="*/ 137 w 718"/>
              <a:gd name="T25" fmla="*/ 440 h 539"/>
              <a:gd name="T26" fmla="*/ 253 w 718"/>
              <a:gd name="T27" fmla="*/ 130 h 539"/>
              <a:gd name="T28" fmla="*/ 219 w 718"/>
              <a:gd name="T29" fmla="*/ 306 h 539"/>
              <a:gd name="T30" fmla="*/ 380 w 718"/>
              <a:gd name="T31" fmla="*/ 328 h 539"/>
              <a:gd name="T32" fmla="*/ 370 w 718"/>
              <a:gd name="T33" fmla="*/ 318 h 539"/>
              <a:gd name="T34" fmla="*/ 235 w 718"/>
              <a:gd name="T35" fmla="*/ 298 h 539"/>
              <a:gd name="T36" fmla="*/ 202 w 718"/>
              <a:gd name="T37" fmla="*/ 222 h 539"/>
              <a:gd name="T38" fmla="*/ 385 w 718"/>
              <a:gd name="T39" fmla="*/ 75 h 539"/>
              <a:gd name="T40" fmla="*/ 535 w 718"/>
              <a:gd name="T41" fmla="*/ 47 h 539"/>
              <a:gd name="T42" fmla="*/ 584 w 718"/>
              <a:gd name="T43" fmla="*/ 85 h 539"/>
              <a:gd name="T44" fmla="*/ 607 w 718"/>
              <a:gd name="T45" fmla="*/ 125 h 539"/>
              <a:gd name="T46" fmla="*/ 589 w 718"/>
              <a:gd name="T47" fmla="*/ 134 h 539"/>
              <a:gd name="T48" fmla="*/ 590 w 718"/>
              <a:gd name="T49" fmla="*/ 151 h 539"/>
              <a:gd name="T50" fmla="*/ 619 w 718"/>
              <a:gd name="T51" fmla="*/ 167 h 539"/>
              <a:gd name="T52" fmla="*/ 566 w 718"/>
              <a:gd name="T53" fmla="*/ 206 h 539"/>
              <a:gd name="T54" fmla="*/ 586 w 718"/>
              <a:gd name="T55" fmla="*/ 223 h 539"/>
              <a:gd name="T56" fmla="*/ 622 w 718"/>
              <a:gd name="T57" fmla="*/ 197 h 539"/>
              <a:gd name="T58" fmla="*/ 655 w 718"/>
              <a:gd name="T59" fmla="*/ 129 h 539"/>
              <a:gd name="T60" fmla="*/ 663 w 718"/>
              <a:gd name="T61" fmla="*/ 319 h 539"/>
              <a:gd name="T62" fmla="*/ 654 w 718"/>
              <a:gd name="T63" fmla="*/ 142 h 539"/>
              <a:gd name="T64" fmla="*/ 379 w 718"/>
              <a:gd name="T65" fmla="*/ 103 h 539"/>
              <a:gd name="T66" fmla="*/ 321 w 718"/>
              <a:gd name="T67" fmla="*/ 124 h 539"/>
              <a:gd name="T68" fmla="*/ 379 w 718"/>
              <a:gd name="T69" fmla="*/ 103 h 539"/>
              <a:gd name="T70" fmla="*/ 478 w 718"/>
              <a:gd name="T71" fmla="*/ 102 h 539"/>
              <a:gd name="T72" fmla="*/ 508 w 718"/>
              <a:gd name="T73" fmla="*/ 151 h 539"/>
              <a:gd name="T74" fmla="*/ 478 w 718"/>
              <a:gd name="T75" fmla="*/ 173 h 539"/>
              <a:gd name="T76" fmla="*/ 543 w 718"/>
              <a:gd name="T77" fmla="*/ 166 h 539"/>
              <a:gd name="T78" fmla="*/ 495 w 718"/>
              <a:gd name="T79" fmla="*/ 322 h 539"/>
              <a:gd name="T80" fmla="*/ 526 w 718"/>
              <a:gd name="T81" fmla="*/ 288 h 539"/>
              <a:gd name="T82" fmla="*/ 79 w 718"/>
              <a:gd name="T83" fmla="*/ 200 h 539"/>
              <a:gd name="T84" fmla="*/ 124 w 718"/>
              <a:gd name="T85" fmla="*/ 442 h 539"/>
              <a:gd name="T86" fmla="*/ 60 w 718"/>
              <a:gd name="T87" fmla="*/ 395 h 539"/>
              <a:gd name="T88" fmla="*/ 620 w 718"/>
              <a:gd name="T89" fmla="*/ 130 h 539"/>
              <a:gd name="T90" fmla="*/ 47 w 718"/>
              <a:gd name="T91" fmla="*/ 233 h 539"/>
              <a:gd name="T92" fmla="*/ 90 w 718"/>
              <a:gd name="T93" fmla="*/ 235 h 539"/>
              <a:gd name="T94" fmla="*/ 70 w 718"/>
              <a:gd name="T95" fmla="*/ 180 h 539"/>
              <a:gd name="T96" fmla="*/ 502 w 718"/>
              <a:gd name="T97" fmla="*/ 181 h 539"/>
              <a:gd name="T98" fmla="*/ 589 w 718"/>
              <a:gd name="T99" fmla="*/ 147 h 539"/>
              <a:gd name="T100" fmla="*/ 597 w 718"/>
              <a:gd name="T101" fmla="*/ 140 h 539"/>
              <a:gd name="T102" fmla="*/ 8 w 718"/>
              <a:gd name="T103" fmla="*/ 233 h 539"/>
              <a:gd name="T104" fmla="*/ 341 w 718"/>
              <a:gd name="T105" fmla="*/ 3 h 539"/>
              <a:gd name="T106" fmla="*/ 1 w 718"/>
              <a:gd name="T107" fmla="*/ 207 h 5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718" h="539">
                <a:moveTo>
                  <a:pt x="450" y="420"/>
                </a:moveTo>
                <a:cubicBezTo>
                  <a:pt x="455" y="406"/>
                  <a:pt x="460" y="393"/>
                  <a:pt x="463" y="380"/>
                </a:cubicBezTo>
                <a:cubicBezTo>
                  <a:pt x="465" y="385"/>
                  <a:pt x="466" y="391"/>
                  <a:pt x="469" y="397"/>
                </a:cubicBezTo>
                <a:cubicBezTo>
                  <a:pt x="473" y="407"/>
                  <a:pt x="475" y="413"/>
                  <a:pt x="475" y="424"/>
                </a:cubicBezTo>
                <a:cubicBezTo>
                  <a:pt x="476" y="435"/>
                  <a:pt x="476" y="446"/>
                  <a:pt x="476" y="457"/>
                </a:cubicBezTo>
                <a:cubicBezTo>
                  <a:pt x="480" y="463"/>
                  <a:pt x="480" y="465"/>
                  <a:pt x="480" y="472"/>
                </a:cubicBezTo>
                <a:cubicBezTo>
                  <a:pt x="479" y="486"/>
                  <a:pt x="474" y="487"/>
                  <a:pt x="461" y="487"/>
                </a:cubicBezTo>
                <a:cubicBezTo>
                  <a:pt x="455" y="487"/>
                  <a:pt x="432" y="487"/>
                  <a:pt x="426" y="486"/>
                </a:cubicBezTo>
                <a:cubicBezTo>
                  <a:pt x="418" y="486"/>
                  <a:pt x="413" y="485"/>
                  <a:pt x="410" y="483"/>
                </a:cubicBezTo>
                <a:cubicBezTo>
                  <a:pt x="423" y="474"/>
                  <a:pt x="446" y="434"/>
                  <a:pt x="450" y="420"/>
                </a:cubicBezTo>
                <a:close/>
                <a:moveTo>
                  <a:pt x="536" y="314"/>
                </a:moveTo>
                <a:cubicBezTo>
                  <a:pt x="528" y="312"/>
                  <a:pt x="522" y="307"/>
                  <a:pt x="515" y="303"/>
                </a:cubicBezTo>
                <a:cubicBezTo>
                  <a:pt x="517" y="312"/>
                  <a:pt x="518" y="322"/>
                  <a:pt x="515" y="331"/>
                </a:cubicBezTo>
                <a:cubicBezTo>
                  <a:pt x="511" y="345"/>
                  <a:pt x="504" y="369"/>
                  <a:pt x="523" y="373"/>
                </a:cubicBezTo>
                <a:cubicBezTo>
                  <a:pt x="531" y="375"/>
                  <a:pt x="534" y="374"/>
                  <a:pt x="545" y="369"/>
                </a:cubicBezTo>
                <a:cubicBezTo>
                  <a:pt x="536" y="371"/>
                  <a:pt x="532" y="370"/>
                  <a:pt x="526" y="369"/>
                </a:cubicBezTo>
                <a:cubicBezTo>
                  <a:pt x="521" y="368"/>
                  <a:pt x="518" y="365"/>
                  <a:pt x="516" y="361"/>
                </a:cubicBezTo>
                <a:cubicBezTo>
                  <a:pt x="518" y="362"/>
                  <a:pt x="521" y="363"/>
                  <a:pt x="527" y="364"/>
                </a:cubicBezTo>
                <a:cubicBezTo>
                  <a:pt x="541" y="368"/>
                  <a:pt x="555" y="361"/>
                  <a:pt x="558" y="351"/>
                </a:cubicBezTo>
                <a:cubicBezTo>
                  <a:pt x="559" y="345"/>
                  <a:pt x="559" y="342"/>
                  <a:pt x="562" y="334"/>
                </a:cubicBezTo>
                <a:cubicBezTo>
                  <a:pt x="565" y="335"/>
                  <a:pt x="568" y="336"/>
                  <a:pt x="572" y="336"/>
                </a:cubicBezTo>
                <a:cubicBezTo>
                  <a:pt x="570" y="342"/>
                  <a:pt x="568" y="348"/>
                  <a:pt x="566" y="354"/>
                </a:cubicBezTo>
                <a:cubicBezTo>
                  <a:pt x="561" y="369"/>
                  <a:pt x="543" y="381"/>
                  <a:pt x="527" y="381"/>
                </a:cubicBezTo>
                <a:cubicBezTo>
                  <a:pt x="512" y="381"/>
                  <a:pt x="503" y="372"/>
                  <a:pt x="493" y="363"/>
                </a:cubicBezTo>
                <a:cubicBezTo>
                  <a:pt x="486" y="356"/>
                  <a:pt x="479" y="350"/>
                  <a:pt x="472" y="344"/>
                </a:cubicBezTo>
                <a:cubicBezTo>
                  <a:pt x="454" y="338"/>
                  <a:pt x="439" y="332"/>
                  <a:pt x="422" y="319"/>
                </a:cubicBezTo>
                <a:cubicBezTo>
                  <a:pt x="434" y="333"/>
                  <a:pt x="442" y="341"/>
                  <a:pt x="459" y="348"/>
                </a:cubicBezTo>
                <a:cubicBezTo>
                  <a:pt x="457" y="374"/>
                  <a:pt x="448" y="392"/>
                  <a:pt x="440" y="416"/>
                </a:cubicBezTo>
                <a:cubicBezTo>
                  <a:pt x="437" y="427"/>
                  <a:pt x="410" y="471"/>
                  <a:pt x="403" y="475"/>
                </a:cubicBezTo>
                <a:cubicBezTo>
                  <a:pt x="398" y="478"/>
                  <a:pt x="365" y="506"/>
                  <a:pt x="358" y="510"/>
                </a:cubicBezTo>
                <a:cubicBezTo>
                  <a:pt x="354" y="516"/>
                  <a:pt x="350" y="524"/>
                  <a:pt x="343" y="528"/>
                </a:cubicBezTo>
                <a:cubicBezTo>
                  <a:pt x="322" y="539"/>
                  <a:pt x="308" y="518"/>
                  <a:pt x="296" y="500"/>
                </a:cubicBezTo>
                <a:cubicBezTo>
                  <a:pt x="291" y="491"/>
                  <a:pt x="277" y="468"/>
                  <a:pt x="289" y="461"/>
                </a:cubicBezTo>
                <a:cubicBezTo>
                  <a:pt x="301" y="455"/>
                  <a:pt x="308" y="450"/>
                  <a:pt x="320" y="442"/>
                </a:cubicBezTo>
                <a:cubicBezTo>
                  <a:pt x="322" y="445"/>
                  <a:pt x="325" y="448"/>
                  <a:pt x="327" y="452"/>
                </a:cubicBezTo>
                <a:cubicBezTo>
                  <a:pt x="327" y="452"/>
                  <a:pt x="327" y="452"/>
                  <a:pt x="327" y="452"/>
                </a:cubicBezTo>
                <a:cubicBezTo>
                  <a:pt x="327" y="452"/>
                  <a:pt x="327" y="452"/>
                  <a:pt x="327" y="452"/>
                </a:cubicBezTo>
                <a:cubicBezTo>
                  <a:pt x="327" y="452"/>
                  <a:pt x="327" y="452"/>
                  <a:pt x="327" y="452"/>
                </a:cubicBezTo>
                <a:cubicBezTo>
                  <a:pt x="327" y="448"/>
                  <a:pt x="326" y="445"/>
                  <a:pt x="326" y="441"/>
                </a:cubicBezTo>
                <a:cubicBezTo>
                  <a:pt x="325" y="435"/>
                  <a:pt x="325" y="429"/>
                  <a:pt x="325" y="423"/>
                </a:cubicBezTo>
                <a:cubicBezTo>
                  <a:pt x="326" y="417"/>
                  <a:pt x="326" y="410"/>
                  <a:pt x="327" y="404"/>
                </a:cubicBezTo>
                <a:cubicBezTo>
                  <a:pt x="325" y="410"/>
                  <a:pt x="321" y="417"/>
                  <a:pt x="320" y="423"/>
                </a:cubicBezTo>
                <a:cubicBezTo>
                  <a:pt x="319" y="426"/>
                  <a:pt x="318" y="428"/>
                  <a:pt x="318" y="430"/>
                </a:cubicBezTo>
                <a:cubicBezTo>
                  <a:pt x="291" y="435"/>
                  <a:pt x="264" y="436"/>
                  <a:pt x="236" y="431"/>
                </a:cubicBezTo>
                <a:cubicBezTo>
                  <a:pt x="235" y="421"/>
                  <a:pt x="232" y="410"/>
                  <a:pt x="231" y="403"/>
                </a:cubicBezTo>
                <a:cubicBezTo>
                  <a:pt x="230" y="411"/>
                  <a:pt x="230" y="434"/>
                  <a:pt x="230" y="447"/>
                </a:cubicBezTo>
                <a:cubicBezTo>
                  <a:pt x="230" y="458"/>
                  <a:pt x="230" y="461"/>
                  <a:pt x="225" y="470"/>
                </a:cubicBezTo>
                <a:cubicBezTo>
                  <a:pt x="220" y="478"/>
                  <a:pt x="218" y="480"/>
                  <a:pt x="211" y="493"/>
                </a:cubicBezTo>
                <a:cubicBezTo>
                  <a:pt x="211" y="502"/>
                  <a:pt x="212" y="507"/>
                  <a:pt x="209" y="516"/>
                </a:cubicBezTo>
                <a:cubicBezTo>
                  <a:pt x="205" y="529"/>
                  <a:pt x="167" y="519"/>
                  <a:pt x="157" y="516"/>
                </a:cubicBezTo>
                <a:cubicBezTo>
                  <a:pt x="145" y="513"/>
                  <a:pt x="119" y="507"/>
                  <a:pt x="125" y="491"/>
                </a:cubicBezTo>
                <a:cubicBezTo>
                  <a:pt x="131" y="476"/>
                  <a:pt x="135" y="461"/>
                  <a:pt x="137" y="440"/>
                </a:cubicBezTo>
                <a:cubicBezTo>
                  <a:pt x="115" y="408"/>
                  <a:pt x="93" y="363"/>
                  <a:pt x="89" y="323"/>
                </a:cubicBezTo>
                <a:cubicBezTo>
                  <a:pt x="86" y="292"/>
                  <a:pt x="88" y="273"/>
                  <a:pt x="95" y="254"/>
                </a:cubicBezTo>
                <a:cubicBezTo>
                  <a:pt x="105" y="224"/>
                  <a:pt x="120" y="198"/>
                  <a:pt x="144" y="177"/>
                </a:cubicBezTo>
                <a:cubicBezTo>
                  <a:pt x="176" y="148"/>
                  <a:pt x="206" y="137"/>
                  <a:pt x="253" y="130"/>
                </a:cubicBezTo>
                <a:cubicBezTo>
                  <a:pt x="242" y="143"/>
                  <a:pt x="231" y="156"/>
                  <a:pt x="219" y="170"/>
                </a:cubicBezTo>
                <a:cubicBezTo>
                  <a:pt x="206" y="185"/>
                  <a:pt x="199" y="200"/>
                  <a:pt x="191" y="216"/>
                </a:cubicBezTo>
                <a:cubicBezTo>
                  <a:pt x="180" y="238"/>
                  <a:pt x="180" y="246"/>
                  <a:pt x="195" y="265"/>
                </a:cubicBezTo>
                <a:cubicBezTo>
                  <a:pt x="207" y="282"/>
                  <a:pt x="214" y="289"/>
                  <a:pt x="219" y="306"/>
                </a:cubicBezTo>
                <a:cubicBezTo>
                  <a:pt x="215" y="315"/>
                  <a:pt x="213" y="323"/>
                  <a:pt x="212" y="335"/>
                </a:cubicBezTo>
                <a:cubicBezTo>
                  <a:pt x="227" y="352"/>
                  <a:pt x="238" y="363"/>
                  <a:pt x="253" y="367"/>
                </a:cubicBezTo>
                <a:cubicBezTo>
                  <a:pt x="267" y="370"/>
                  <a:pt x="279" y="369"/>
                  <a:pt x="292" y="363"/>
                </a:cubicBezTo>
                <a:cubicBezTo>
                  <a:pt x="321" y="348"/>
                  <a:pt x="348" y="329"/>
                  <a:pt x="380" y="328"/>
                </a:cubicBezTo>
                <a:cubicBezTo>
                  <a:pt x="395" y="291"/>
                  <a:pt x="393" y="261"/>
                  <a:pt x="386" y="225"/>
                </a:cubicBezTo>
                <a:cubicBezTo>
                  <a:pt x="381" y="201"/>
                  <a:pt x="379" y="178"/>
                  <a:pt x="378" y="153"/>
                </a:cubicBezTo>
                <a:cubicBezTo>
                  <a:pt x="372" y="178"/>
                  <a:pt x="371" y="201"/>
                  <a:pt x="375" y="226"/>
                </a:cubicBezTo>
                <a:cubicBezTo>
                  <a:pt x="381" y="257"/>
                  <a:pt x="385" y="291"/>
                  <a:pt x="370" y="318"/>
                </a:cubicBezTo>
                <a:cubicBezTo>
                  <a:pt x="340" y="320"/>
                  <a:pt x="315" y="338"/>
                  <a:pt x="289" y="352"/>
                </a:cubicBezTo>
                <a:cubicBezTo>
                  <a:pt x="278" y="357"/>
                  <a:pt x="267" y="358"/>
                  <a:pt x="256" y="354"/>
                </a:cubicBezTo>
                <a:cubicBezTo>
                  <a:pt x="245" y="351"/>
                  <a:pt x="237" y="344"/>
                  <a:pt x="226" y="331"/>
                </a:cubicBezTo>
                <a:cubicBezTo>
                  <a:pt x="225" y="317"/>
                  <a:pt x="228" y="311"/>
                  <a:pt x="235" y="298"/>
                </a:cubicBezTo>
                <a:cubicBezTo>
                  <a:pt x="245" y="279"/>
                  <a:pt x="256" y="260"/>
                  <a:pt x="268" y="241"/>
                </a:cubicBezTo>
                <a:cubicBezTo>
                  <a:pt x="253" y="259"/>
                  <a:pt x="239" y="274"/>
                  <a:pt x="227" y="292"/>
                </a:cubicBezTo>
                <a:cubicBezTo>
                  <a:pt x="223" y="279"/>
                  <a:pt x="216" y="273"/>
                  <a:pt x="206" y="258"/>
                </a:cubicBezTo>
                <a:cubicBezTo>
                  <a:pt x="195" y="244"/>
                  <a:pt x="194" y="238"/>
                  <a:pt x="202" y="222"/>
                </a:cubicBezTo>
                <a:cubicBezTo>
                  <a:pt x="210" y="206"/>
                  <a:pt x="216" y="191"/>
                  <a:pt x="230" y="177"/>
                </a:cubicBezTo>
                <a:cubicBezTo>
                  <a:pt x="253" y="152"/>
                  <a:pt x="274" y="125"/>
                  <a:pt x="299" y="100"/>
                </a:cubicBezTo>
                <a:cubicBezTo>
                  <a:pt x="312" y="87"/>
                  <a:pt x="318" y="88"/>
                  <a:pt x="336" y="85"/>
                </a:cubicBezTo>
                <a:cubicBezTo>
                  <a:pt x="352" y="82"/>
                  <a:pt x="368" y="79"/>
                  <a:pt x="385" y="75"/>
                </a:cubicBezTo>
                <a:cubicBezTo>
                  <a:pt x="368" y="77"/>
                  <a:pt x="353" y="78"/>
                  <a:pt x="337" y="78"/>
                </a:cubicBezTo>
                <a:cubicBezTo>
                  <a:pt x="337" y="78"/>
                  <a:pt x="337" y="78"/>
                  <a:pt x="337" y="78"/>
                </a:cubicBezTo>
                <a:cubicBezTo>
                  <a:pt x="352" y="58"/>
                  <a:pt x="361" y="47"/>
                  <a:pt x="386" y="36"/>
                </a:cubicBezTo>
                <a:cubicBezTo>
                  <a:pt x="448" y="10"/>
                  <a:pt x="487" y="7"/>
                  <a:pt x="535" y="47"/>
                </a:cubicBezTo>
                <a:cubicBezTo>
                  <a:pt x="548" y="58"/>
                  <a:pt x="559" y="68"/>
                  <a:pt x="571" y="77"/>
                </a:cubicBezTo>
                <a:cubicBezTo>
                  <a:pt x="567" y="78"/>
                  <a:pt x="563" y="79"/>
                  <a:pt x="557" y="81"/>
                </a:cubicBezTo>
                <a:cubicBezTo>
                  <a:pt x="564" y="79"/>
                  <a:pt x="571" y="81"/>
                  <a:pt x="578" y="82"/>
                </a:cubicBezTo>
                <a:cubicBezTo>
                  <a:pt x="580" y="83"/>
                  <a:pt x="582" y="84"/>
                  <a:pt x="584" y="85"/>
                </a:cubicBezTo>
                <a:cubicBezTo>
                  <a:pt x="593" y="91"/>
                  <a:pt x="598" y="94"/>
                  <a:pt x="604" y="102"/>
                </a:cubicBezTo>
                <a:cubicBezTo>
                  <a:pt x="610" y="111"/>
                  <a:pt x="615" y="120"/>
                  <a:pt x="620" y="130"/>
                </a:cubicBezTo>
                <a:cubicBezTo>
                  <a:pt x="617" y="129"/>
                  <a:pt x="615" y="128"/>
                  <a:pt x="612" y="127"/>
                </a:cubicBezTo>
                <a:cubicBezTo>
                  <a:pt x="611" y="126"/>
                  <a:pt x="609" y="126"/>
                  <a:pt x="607" y="125"/>
                </a:cubicBezTo>
                <a:cubicBezTo>
                  <a:pt x="603" y="125"/>
                  <a:pt x="599" y="126"/>
                  <a:pt x="596" y="128"/>
                </a:cubicBezTo>
                <a:cubicBezTo>
                  <a:pt x="596" y="128"/>
                  <a:pt x="596" y="128"/>
                  <a:pt x="596" y="128"/>
                </a:cubicBezTo>
                <a:cubicBezTo>
                  <a:pt x="591" y="131"/>
                  <a:pt x="583" y="133"/>
                  <a:pt x="578" y="134"/>
                </a:cubicBezTo>
                <a:cubicBezTo>
                  <a:pt x="580" y="135"/>
                  <a:pt x="586" y="135"/>
                  <a:pt x="589" y="134"/>
                </a:cubicBezTo>
                <a:cubicBezTo>
                  <a:pt x="589" y="134"/>
                  <a:pt x="590" y="134"/>
                  <a:pt x="590" y="134"/>
                </a:cubicBezTo>
                <a:cubicBezTo>
                  <a:pt x="589" y="136"/>
                  <a:pt x="588" y="138"/>
                  <a:pt x="588" y="141"/>
                </a:cubicBezTo>
                <a:cubicBezTo>
                  <a:pt x="588" y="144"/>
                  <a:pt x="588" y="148"/>
                  <a:pt x="590" y="151"/>
                </a:cubicBezTo>
                <a:cubicBezTo>
                  <a:pt x="590" y="151"/>
                  <a:pt x="590" y="151"/>
                  <a:pt x="590" y="151"/>
                </a:cubicBezTo>
                <a:cubicBezTo>
                  <a:pt x="590" y="152"/>
                  <a:pt x="591" y="153"/>
                  <a:pt x="592" y="153"/>
                </a:cubicBezTo>
                <a:cubicBezTo>
                  <a:pt x="589" y="154"/>
                  <a:pt x="587" y="155"/>
                  <a:pt x="584" y="156"/>
                </a:cubicBezTo>
                <a:cubicBezTo>
                  <a:pt x="596" y="155"/>
                  <a:pt x="606" y="154"/>
                  <a:pt x="617" y="156"/>
                </a:cubicBezTo>
                <a:cubicBezTo>
                  <a:pt x="618" y="159"/>
                  <a:pt x="619" y="163"/>
                  <a:pt x="619" y="167"/>
                </a:cubicBezTo>
                <a:cubicBezTo>
                  <a:pt x="618" y="167"/>
                  <a:pt x="617" y="167"/>
                  <a:pt x="615" y="167"/>
                </a:cubicBezTo>
                <a:cubicBezTo>
                  <a:pt x="615" y="167"/>
                  <a:pt x="615" y="167"/>
                  <a:pt x="615" y="167"/>
                </a:cubicBezTo>
                <a:cubicBezTo>
                  <a:pt x="610" y="163"/>
                  <a:pt x="604" y="164"/>
                  <a:pt x="596" y="166"/>
                </a:cubicBezTo>
                <a:cubicBezTo>
                  <a:pt x="571" y="171"/>
                  <a:pt x="577" y="185"/>
                  <a:pt x="566" y="206"/>
                </a:cubicBezTo>
                <a:cubicBezTo>
                  <a:pt x="577" y="191"/>
                  <a:pt x="577" y="176"/>
                  <a:pt x="596" y="172"/>
                </a:cubicBezTo>
                <a:cubicBezTo>
                  <a:pt x="600" y="171"/>
                  <a:pt x="603" y="169"/>
                  <a:pt x="606" y="170"/>
                </a:cubicBezTo>
                <a:cubicBezTo>
                  <a:pt x="601" y="173"/>
                  <a:pt x="596" y="177"/>
                  <a:pt x="594" y="182"/>
                </a:cubicBezTo>
                <a:cubicBezTo>
                  <a:pt x="589" y="197"/>
                  <a:pt x="592" y="210"/>
                  <a:pt x="586" y="223"/>
                </a:cubicBezTo>
                <a:cubicBezTo>
                  <a:pt x="594" y="211"/>
                  <a:pt x="594" y="199"/>
                  <a:pt x="600" y="186"/>
                </a:cubicBezTo>
                <a:cubicBezTo>
                  <a:pt x="603" y="181"/>
                  <a:pt x="611" y="174"/>
                  <a:pt x="616" y="174"/>
                </a:cubicBezTo>
                <a:cubicBezTo>
                  <a:pt x="618" y="174"/>
                  <a:pt x="619" y="174"/>
                  <a:pt x="621" y="174"/>
                </a:cubicBezTo>
                <a:cubicBezTo>
                  <a:pt x="622" y="182"/>
                  <a:pt x="623" y="190"/>
                  <a:pt x="622" y="197"/>
                </a:cubicBezTo>
                <a:cubicBezTo>
                  <a:pt x="621" y="209"/>
                  <a:pt x="618" y="228"/>
                  <a:pt x="616" y="235"/>
                </a:cubicBezTo>
                <a:cubicBezTo>
                  <a:pt x="623" y="226"/>
                  <a:pt x="626" y="209"/>
                  <a:pt x="628" y="196"/>
                </a:cubicBezTo>
                <a:cubicBezTo>
                  <a:pt x="631" y="183"/>
                  <a:pt x="631" y="168"/>
                  <a:pt x="628" y="154"/>
                </a:cubicBezTo>
                <a:cubicBezTo>
                  <a:pt x="624" y="135"/>
                  <a:pt x="644" y="138"/>
                  <a:pt x="655" y="129"/>
                </a:cubicBezTo>
                <a:cubicBezTo>
                  <a:pt x="664" y="123"/>
                  <a:pt x="669" y="112"/>
                  <a:pt x="677" y="105"/>
                </a:cubicBezTo>
                <a:cubicBezTo>
                  <a:pt x="685" y="97"/>
                  <a:pt x="697" y="108"/>
                  <a:pt x="700" y="115"/>
                </a:cubicBezTo>
                <a:cubicBezTo>
                  <a:pt x="713" y="147"/>
                  <a:pt x="718" y="196"/>
                  <a:pt x="715" y="228"/>
                </a:cubicBezTo>
                <a:cubicBezTo>
                  <a:pt x="711" y="263"/>
                  <a:pt x="694" y="302"/>
                  <a:pt x="663" y="319"/>
                </a:cubicBezTo>
                <a:cubicBezTo>
                  <a:pt x="623" y="341"/>
                  <a:pt x="576" y="328"/>
                  <a:pt x="536" y="314"/>
                </a:cubicBezTo>
                <a:close/>
                <a:moveTo>
                  <a:pt x="656" y="147"/>
                </a:moveTo>
                <a:cubicBezTo>
                  <a:pt x="675" y="140"/>
                  <a:pt x="685" y="124"/>
                  <a:pt x="690" y="105"/>
                </a:cubicBezTo>
                <a:cubicBezTo>
                  <a:pt x="682" y="121"/>
                  <a:pt x="670" y="134"/>
                  <a:pt x="654" y="142"/>
                </a:cubicBezTo>
                <a:cubicBezTo>
                  <a:pt x="645" y="146"/>
                  <a:pt x="639" y="145"/>
                  <a:pt x="630" y="144"/>
                </a:cubicBezTo>
                <a:cubicBezTo>
                  <a:pt x="640" y="147"/>
                  <a:pt x="646" y="150"/>
                  <a:pt x="656" y="147"/>
                </a:cubicBezTo>
                <a:close/>
                <a:moveTo>
                  <a:pt x="379" y="103"/>
                </a:moveTo>
                <a:cubicBezTo>
                  <a:pt x="379" y="103"/>
                  <a:pt x="379" y="103"/>
                  <a:pt x="379" y="103"/>
                </a:cubicBezTo>
                <a:cubicBezTo>
                  <a:pt x="365" y="105"/>
                  <a:pt x="352" y="106"/>
                  <a:pt x="338" y="108"/>
                </a:cubicBezTo>
                <a:cubicBezTo>
                  <a:pt x="327" y="109"/>
                  <a:pt x="325" y="108"/>
                  <a:pt x="317" y="116"/>
                </a:cubicBezTo>
                <a:cubicBezTo>
                  <a:pt x="305" y="129"/>
                  <a:pt x="293" y="170"/>
                  <a:pt x="289" y="187"/>
                </a:cubicBezTo>
                <a:cubicBezTo>
                  <a:pt x="295" y="173"/>
                  <a:pt x="310" y="134"/>
                  <a:pt x="321" y="124"/>
                </a:cubicBezTo>
                <a:cubicBezTo>
                  <a:pt x="325" y="122"/>
                  <a:pt x="327" y="120"/>
                  <a:pt x="329" y="119"/>
                </a:cubicBezTo>
                <a:cubicBezTo>
                  <a:pt x="321" y="133"/>
                  <a:pt x="322" y="136"/>
                  <a:pt x="324" y="155"/>
                </a:cubicBezTo>
                <a:cubicBezTo>
                  <a:pt x="327" y="136"/>
                  <a:pt x="333" y="129"/>
                  <a:pt x="344" y="115"/>
                </a:cubicBezTo>
                <a:cubicBezTo>
                  <a:pt x="356" y="112"/>
                  <a:pt x="367" y="108"/>
                  <a:pt x="379" y="103"/>
                </a:cubicBezTo>
                <a:cubicBezTo>
                  <a:pt x="379" y="103"/>
                  <a:pt x="379" y="103"/>
                  <a:pt x="379" y="103"/>
                </a:cubicBezTo>
                <a:close/>
                <a:moveTo>
                  <a:pt x="478" y="102"/>
                </a:moveTo>
                <a:cubicBezTo>
                  <a:pt x="445" y="110"/>
                  <a:pt x="438" y="124"/>
                  <a:pt x="443" y="146"/>
                </a:cubicBezTo>
                <a:cubicBezTo>
                  <a:pt x="446" y="129"/>
                  <a:pt x="453" y="114"/>
                  <a:pt x="478" y="102"/>
                </a:cubicBezTo>
                <a:close/>
                <a:moveTo>
                  <a:pt x="543" y="166"/>
                </a:moveTo>
                <a:cubicBezTo>
                  <a:pt x="537" y="166"/>
                  <a:pt x="530" y="167"/>
                  <a:pt x="523" y="170"/>
                </a:cubicBezTo>
                <a:cubicBezTo>
                  <a:pt x="522" y="167"/>
                  <a:pt x="522" y="165"/>
                  <a:pt x="521" y="163"/>
                </a:cubicBezTo>
                <a:cubicBezTo>
                  <a:pt x="518" y="157"/>
                  <a:pt x="513" y="153"/>
                  <a:pt x="508" y="151"/>
                </a:cubicBezTo>
                <a:cubicBezTo>
                  <a:pt x="513" y="149"/>
                  <a:pt x="518" y="146"/>
                  <a:pt x="521" y="142"/>
                </a:cubicBezTo>
                <a:cubicBezTo>
                  <a:pt x="510" y="148"/>
                  <a:pt x="498" y="146"/>
                  <a:pt x="488" y="153"/>
                </a:cubicBezTo>
                <a:cubicBezTo>
                  <a:pt x="480" y="158"/>
                  <a:pt x="469" y="176"/>
                  <a:pt x="460" y="183"/>
                </a:cubicBezTo>
                <a:cubicBezTo>
                  <a:pt x="466" y="181"/>
                  <a:pt x="472" y="177"/>
                  <a:pt x="478" y="173"/>
                </a:cubicBezTo>
                <a:cubicBezTo>
                  <a:pt x="478" y="176"/>
                  <a:pt x="478" y="179"/>
                  <a:pt x="480" y="182"/>
                </a:cubicBezTo>
                <a:cubicBezTo>
                  <a:pt x="482" y="187"/>
                  <a:pt x="486" y="190"/>
                  <a:pt x="490" y="192"/>
                </a:cubicBezTo>
                <a:cubicBezTo>
                  <a:pt x="487" y="196"/>
                  <a:pt x="484" y="201"/>
                  <a:pt x="482" y="206"/>
                </a:cubicBezTo>
                <a:cubicBezTo>
                  <a:pt x="498" y="187"/>
                  <a:pt x="521" y="173"/>
                  <a:pt x="543" y="166"/>
                </a:cubicBezTo>
                <a:close/>
                <a:moveTo>
                  <a:pt x="526" y="288"/>
                </a:moveTo>
                <a:cubicBezTo>
                  <a:pt x="522" y="289"/>
                  <a:pt x="515" y="290"/>
                  <a:pt x="511" y="291"/>
                </a:cubicBezTo>
                <a:cubicBezTo>
                  <a:pt x="500" y="293"/>
                  <a:pt x="499" y="295"/>
                  <a:pt x="498" y="306"/>
                </a:cubicBezTo>
                <a:cubicBezTo>
                  <a:pt x="497" y="311"/>
                  <a:pt x="496" y="317"/>
                  <a:pt x="495" y="322"/>
                </a:cubicBezTo>
                <a:cubicBezTo>
                  <a:pt x="497" y="316"/>
                  <a:pt x="500" y="310"/>
                  <a:pt x="502" y="304"/>
                </a:cubicBezTo>
                <a:cubicBezTo>
                  <a:pt x="505" y="299"/>
                  <a:pt x="506" y="298"/>
                  <a:pt x="511" y="295"/>
                </a:cubicBezTo>
                <a:cubicBezTo>
                  <a:pt x="511" y="295"/>
                  <a:pt x="511" y="295"/>
                  <a:pt x="511" y="295"/>
                </a:cubicBezTo>
                <a:cubicBezTo>
                  <a:pt x="515" y="293"/>
                  <a:pt x="522" y="290"/>
                  <a:pt x="526" y="288"/>
                </a:cubicBezTo>
                <a:close/>
                <a:moveTo>
                  <a:pt x="74" y="189"/>
                </a:moveTo>
                <a:cubicBezTo>
                  <a:pt x="74" y="190"/>
                  <a:pt x="73" y="190"/>
                  <a:pt x="73" y="191"/>
                </a:cubicBezTo>
                <a:cubicBezTo>
                  <a:pt x="73" y="193"/>
                  <a:pt x="72" y="195"/>
                  <a:pt x="72" y="197"/>
                </a:cubicBezTo>
                <a:cubicBezTo>
                  <a:pt x="75" y="196"/>
                  <a:pt x="77" y="198"/>
                  <a:pt x="79" y="200"/>
                </a:cubicBezTo>
                <a:cubicBezTo>
                  <a:pt x="79" y="195"/>
                  <a:pt x="78" y="191"/>
                  <a:pt x="74" y="189"/>
                </a:cubicBezTo>
                <a:close/>
                <a:moveTo>
                  <a:pt x="72" y="438"/>
                </a:moveTo>
                <a:cubicBezTo>
                  <a:pt x="80" y="446"/>
                  <a:pt x="109" y="468"/>
                  <a:pt x="120" y="453"/>
                </a:cubicBezTo>
                <a:cubicBezTo>
                  <a:pt x="122" y="450"/>
                  <a:pt x="123" y="446"/>
                  <a:pt x="124" y="442"/>
                </a:cubicBezTo>
                <a:cubicBezTo>
                  <a:pt x="124" y="442"/>
                  <a:pt x="124" y="442"/>
                  <a:pt x="124" y="442"/>
                </a:cubicBezTo>
                <a:cubicBezTo>
                  <a:pt x="109" y="418"/>
                  <a:pt x="94" y="390"/>
                  <a:pt x="86" y="361"/>
                </a:cubicBezTo>
                <a:cubicBezTo>
                  <a:pt x="85" y="365"/>
                  <a:pt x="83" y="369"/>
                  <a:pt x="81" y="373"/>
                </a:cubicBezTo>
                <a:cubicBezTo>
                  <a:pt x="74" y="381"/>
                  <a:pt x="67" y="388"/>
                  <a:pt x="60" y="395"/>
                </a:cubicBezTo>
                <a:cubicBezTo>
                  <a:pt x="55" y="400"/>
                  <a:pt x="54" y="400"/>
                  <a:pt x="55" y="408"/>
                </a:cubicBezTo>
                <a:cubicBezTo>
                  <a:pt x="57" y="418"/>
                  <a:pt x="63" y="429"/>
                  <a:pt x="72" y="438"/>
                </a:cubicBezTo>
                <a:close/>
                <a:moveTo>
                  <a:pt x="622" y="135"/>
                </a:moveTo>
                <a:cubicBezTo>
                  <a:pt x="622" y="133"/>
                  <a:pt x="621" y="132"/>
                  <a:pt x="620" y="130"/>
                </a:cubicBezTo>
                <a:cubicBezTo>
                  <a:pt x="619" y="130"/>
                  <a:pt x="618" y="130"/>
                  <a:pt x="617" y="130"/>
                </a:cubicBezTo>
                <a:cubicBezTo>
                  <a:pt x="619" y="132"/>
                  <a:pt x="620" y="134"/>
                  <a:pt x="621" y="136"/>
                </a:cubicBezTo>
                <a:cubicBezTo>
                  <a:pt x="621" y="135"/>
                  <a:pt x="622" y="135"/>
                  <a:pt x="622" y="135"/>
                </a:cubicBezTo>
                <a:close/>
                <a:moveTo>
                  <a:pt x="47" y="233"/>
                </a:moveTo>
                <a:cubicBezTo>
                  <a:pt x="49" y="240"/>
                  <a:pt x="50" y="245"/>
                  <a:pt x="53" y="251"/>
                </a:cubicBezTo>
                <a:cubicBezTo>
                  <a:pt x="58" y="262"/>
                  <a:pt x="73" y="259"/>
                  <a:pt x="84" y="255"/>
                </a:cubicBezTo>
                <a:cubicBezTo>
                  <a:pt x="84" y="254"/>
                  <a:pt x="84" y="253"/>
                  <a:pt x="85" y="252"/>
                </a:cubicBezTo>
                <a:cubicBezTo>
                  <a:pt x="86" y="246"/>
                  <a:pt x="88" y="241"/>
                  <a:pt x="90" y="235"/>
                </a:cubicBezTo>
                <a:cubicBezTo>
                  <a:pt x="86" y="239"/>
                  <a:pt x="81" y="242"/>
                  <a:pt x="75" y="245"/>
                </a:cubicBezTo>
                <a:cubicBezTo>
                  <a:pt x="60" y="251"/>
                  <a:pt x="60" y="246"/>
                  <a:pt x="54" y="232"/>
                </a:cubicBezTo>
                <a:cubicBezTo>
                  <a:pt x="68" y="221"/>
                  <a:pt x="61" y="207"/>
                  <a:pt x="66" y="192"/>
                </a:cubicBezTo>
                <a:cubicBezTo>
                  <a:pt x="67" y="188"/>
                  <a:pt x="68" y="185"/>
                  <a:pt x="70" y="180"/>
                </a:cubicBezTo>
                <a:cubicBezTo>
                  <a:pt x="56" y="189"/>
                  <a:pt x="29" y="214"/>
                  <a:pt x="47" y="233"/>
                </a:cubicBezTo>
                <a:close/>
                <a:moveTo>
                  <a:pt x="484" y="187"/>
                </a:moveTo>
                <a:cubicBezTo>
                  <a:pt x="485" y="190"/>
                  <a:pt x="487" y="191"/>
                  <a:pt x="490" y="192"/>
                </a:cubicBezTo>
                <a:cubicBezTo>
                  <a:pt x="493" y="188"/>
                  <a:pt x="497" y="184"/>
                  <a:pt x="502" y="181"/>
                </a:cubicBezTo>
                <a:cubicBezTo>
                  <a:pt x="502" y="180"/>
                  <a:pt x="501" y="180"/>
                  <a:pt x="501" y="179"/>
                </a:cubicBezTo>
                <a:cubicBezTo>
                  <a:pt x="499" y="175"/>
                  <a:pt x="493" y="173"/>
                  <a:pt x="489" y="175"/>
                </a:cubicBezTo>
                <a:cubicBezTo>
                  <a:pt x="484" y="177"/>
                  <a:pt x="482" y="183"/>
                  <a:pt x="484" y="187"/>
                </a:cubicBezTo>
                <a:moveTo>
                  <a:pt x="589" y="147"/>
                </a:moveTo>
                <a:cubicBezTo>
                  <a:pt x="589" y="149"/>
                  <a:pt x="590" y="152"/>
                  <a:pt x="592" y="153"/>
                </a:cubicBezTo>
                <a:cubicBezTo>
                  <a:pt x="595" y="152"/>
                  <a:pt x="599" y="151"/>
                  <a:pt x="602" y="150"/>
                </a:cubicBezTo>
                <a:cubicBezTo>
                  <a:pt x="603" y="150"/>
                  <a:pt x="603" y="149"/>
                  <a:pt x="603" y="148"/>
                </a:cubicBezTo>
                <a:cubicBezTo>
                  <a:pt x="603" y="144"/>
                  <a:pt x="600" y="141"/>
                  <a:pt x="597" y="140"/>
                </a:cubicBezTo>
                <a:cubicBezTo>
                  <a:pt x="593" y="140"/>
                  <a:pt x="589" y="143"/>
                  <a:pt x="589" y="147"/>
                </a:cubicBezTo>
                <a:moveTo>
                  <a:pt x="41" y="162"/>
                </a:moveTo>
                <a:cubicBezTo>
                  <a:pt x="12" y="183"/>
                  <a:pt x="4" y="192"/>
                  <a:pt x="8" y="233"/>
                </a:cubicBezTo>
                <a:cubicBezTo>
                  <a:pt x="8" y="233"/>
                  <a:pt x="8" y="233"/>
                  <a:pt x="8" y="233"/>
                </a:cubicBezTo>
                <a:cubicBezTo>
                  <a:pt x="11" y="201"/>
                  <a:pt x="18" y="187"/>
                  <a:pt x="41" y="162"/>
                </a:cubicBezTo>
                <a:close/>
                <a:moveTo>
                  <a:pt x="341" y="3"/>
                </a:moveTo>
                <a:cubicBezTo>
                  <a:pt x="324" y="7"/>
                  <a:pt x="320" y="10"/>
                  <a:pt x="315" y="27"/>
                </a:cubicBezTo>
                <a:cubicBezTo>
                  <a:pt x="323" y="14"/>
                  <a:pt x="328" y="10"/>
                  <a:pt x="341" y="3"/>
                </a:cubicBezTo>
                <a:close/>
                <a:moveTo>
                  <a:pt x="368" y="0"/>
                </a:moveTo>
                <a:cubicBezTo>
                  <a:pt x="334" y="8"/>
                  <a:pt x="324" y="14"/>
                  <a:pt x="312" y="54"/>
                </a:cubicBezTo>
                <a:cubicBezTo>
                  <a:pt x="327" y="25"/>
                  <a:pt x="338" y="14"/>
                  <a:pt x="368" y="0"/>
                </a:cubicBezTo>
                <a:close/>
                <a:moveTo>
                  <a:pt x="1" y="207"/>
                </a:moveTo>
                <a:cubicBezTo>
                  <a:pt x="4" y="192"/>
                  <a:pt x="7" y="186"/>
                  <a:pt x="16" y="174"/>
                </a:cubicBezTo>
                <a:cubicBezTo>
                  <a:pt x="1" y="185"/>
                  <a:pt x="0" y="189"/>
                  <a:pt x="1" y="207"/>
                </a:cubicBezTo>
                <a:close/>
              </a:path>
            </a:pathLst>
          </a:custGeom>
          <a:solidFill>
            <a:srgbClr val="FFFFFF"/>
          </a:solidFill>
          <a:ln w="19050" cap="flat" cmpd="sng" algn="ctr">
            <a:noFill/>
            <a:prstDash val="solid"/>
            <a:headEnd type="none" w="med" len="med"/>
            <a:tailEnd type="none" w="med" len="med"/>
          </a:ln>
          <a:effectLst/>
        </p:spPr>
        <p:txBody>
          <a:bodyPr rot="0" spcFirstLastPara="0" vert="horz" wrap="square" lIns="131757" tIns="105405" rIns="131757" bIns="105405"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671720">
              <a:lnSpc>
                <a:spcPct val="90000"/>
              </a:lnSpc>
            </a:pPr>
            <a:endParaRPr lang="en-US" sz="864" kern="0">
              <a:gradFill>
                <a:gsLst>
                  <a:gs pos="0">
                    <a:srgbClr val="FFFFFF"/>
                  </a:gs>
                  <a:gs pos="100000">
                    <a:srgbClr val="FFFFFF"/>
                  </a:gs>
                </a:gsLst>
                <a:lin ang="5400000" scaled="0"/>
              </a:gradFill>
              <a:ea typeface="Segoe UI" pitchFamily="34" charset="0"/>
              <a:cs typeface="Segoe UI" pitchFamily="34" charset="0"/>
            </a:endParaRPr>
          </a:p>
        </p:txBody>
      </p:sp>
      <p:pic>
        <p:nvPicPr>
          <p:cNvPr id="10" name="Picture 9"/>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3955081" y="4054092"/>
            <a:ext cx="1069227" cy="570255"/>
          </a:xfrm>
          <a:prstGeom prst="rect">
            <a:avLst/>
          </a:prstGeom>
        </p:spPr>
      </p:pic>
    </p:spTree>
    <p:extLst>
      <p:ext uri="{BB962C8B-B14F-4D97-AF65-F5344CB8AC3E}">
        <p14:creationId xmlns:p14="http://schemas.microsoft.com/office/powerpoint/2010/main" val="115267652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10" presetClass="entr" presetSubtype="0" fill="hold" nodeType="withEffect">
                                  <p:stCondLst>
                                    <p:cond delay="0"/>
                                  </p:stCondLst>
                                  <p:childTnLst>
                                    <p:set>
                                      <p:cBhvr>
                                        <p:cTn id="9" dur="1" fill="hold">
                                          <p:stCondLst>
                                            <p:cond delay="0"/>
                                          </p:stCondLst>
                                        </p:cTn>
                                        <p:tgtEl>
                                          <p:spTgt spid="6"/>
                                        </p:tgtEl>
                                        <p:attrNameLst>
                                          <p:attrName>style.visibility</p:attrName>
                                        </p:attrNameLst>
                                      </p:cBhvr>
                                      <p:to>
                                        <p:strVal val="visible"/>
                                      </p:to>
                                    </p:set>
                                    <p:animEffect transition="in" filter="fade">
                                      <p:cBhvr>
                                        <p:cTn id="10" dur="500"/>
                                        <p:tgtEl>
                                          <p:spTgt spid="6"/>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7"/>
                                        </p:tgtEl>
                                        <p:attrNameLst>
                                          <p:attrName>style.visibility</p:attrName>
                                        </p:attrNameLst>
                                      </p:cBhvr>
                                      <p:to>
                                        <p:strVal val="visible"/>
                                      </p:to>
                                    </p:set>
                                    <p:animEffect transition="in" filter="fade">
                                      <p:cBhvr>
                                        <p:cTn id="13" dur="500"/>
                                        <p:tgtEl>
                                          <p:spTgt spid="7"/>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8"/>
                                        </p:tgtEl>
                                        <p:attrNameLst>
                                          <p:attrName>style.visibility</p:attrName>
                                        </p:attrNameLst>
                                      </p:cBhvr>
                                      <p:to>
                                        <p:strVal val="visible"/>
                                      </p:to>
                                    </p:set>
                                    <p:animEffect transition="in" filter="fade">
                                      <p:cBhvr>
                                        <p:cTn id="16" dur="500"/>
                                        <p:tgtEl>
                                          <p:spTgt spid="8"/>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9"/>
                                        </p:tgtEl>
                                        <p:attrNameLst>
                                          <p:attrName>style.visibility</p:attrName>
                                        </p:attrNameLst>
                                      </p:cBhvr>
                                      <p:to>
                                        <p:strVal val="visible"/>
                                      </p:to>
                                    </p:set>
                                    <p:animEffect transition="in" filter="fade">
                                      <p:cBhvr>
                                        <p:cTn id="19"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7" grpId="0" animBg="1"/>
      <p:bldP spid="8" grpId="0" animBg="1"/>
      <p:bldP spid="9" grpId="0" animBg="1"/>
    </p:bldLst>
  </p:timing>
</p:sld>
</file>

<file path=ppt/slides/slide17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366168" y="1212851"/>
            <a:ext cx="11702553" cy="1754326"/>
          </a:xfrm>
        </p:spPr>
        <p:txBody>
          <a:bodyPr/>
          <a:lstStyle/>
          <a:p>
            <a:pPr marL="225425" indent="-225425"/>
            <a:r>
              <a:rPr lang="en-US" sz="2000" dirty="0">
                <a:solidFill>
                  <a:srgbClr val="0078D7"/>
                </a:solidFill>
              </a:rPr>
              <a:t>Debug Hive jobs through Yarn logs or troubleshoot Storm topologies</a:t>
            </a:r>
          </a:p>
          <a:p>
            <a:pPr marL="225425" indent="-225425"/>
            <a:r>
              <a:rPr lang="en-US" sz="2000" dirty="0">
                <a:solidFill>
                  <a:srgbClr val="0078D7"/>
                </a:solidFill>
              </a:rPr>
              <a:t>Visualize Hadoop clusters, tables, and storage</a:t>
            </a:r>
          </a:p>
          <a:p>
            <a:pPr marL="225425" indent="-225425"/>
            <a:r>
              <a:rPr lang="en-US" sz="2000" dirty="0">
                <a:solidFill>
                  <a:srgbClr val="0078D7"/>
                </a:solidFill>
              </a:rPr>
              <a:t>Submit Hive queries, Storm topologies (C# or Java spouts/bolts)</a:t>
            </a:r>
          </a:p>
          <a:p>
            <a:pPr marL="225425" indent="-225425"/>
            <a:r>
              <a:rPr lang="en-US" sz="2000" dirty="0">
                <a:solidFill>
                  <a:srgbClr val="0078D7"/>
                </a:solidFill>
              </a:rPr>
              <a:t>IntelliSense for authoring Hive jobs </a:t>
            </a:r>
            <a:br>
              <a:rPr lang="en-US" sz="2000" dirty="0">
                <a:solidFill>
                  <a:srgbClr val="0078D7"/>
                </a:solidFill>
              </a:rPr>
            </a:br>
            <a:r>
              <a:rPr lang="en-US" sz="2000" dirty="0">
                <a:solidFill>
                  <a:srgbClr val="0078D7"/>
                </a:solidFill>
              </a:rPr>
              <a:t>and Storm business logic</a:t>
            </a:r>
          </a:p>
        </p:txBody>
      </p:sp>
      <p:sp>
        <p:nvSpPr>
          <p:cNvPr id="2" name="Title 1"/>
          <p:cNvSpPr>
            <a:spLocks noGrp="1"/>
          </p:cNvSpPr>
          <p:nvPr>
            <p:ph type="title"/>
          </p:nvPr>
        </p:nvSpPr>
        <p:spPr/>
        <p:txBody>
          <a:bodyPr/>
          <a:lstStyle/>
          <a:p>
            <a:r>
              <a:rPr lang="en-US" dirty="0"/>
              <a:t>Hadoop Visual Studio integration</a:t>
            </a:r>
          </a:p>
        </p:txBody>
      </p:sp>
      <p:pic>
        <p:nvPicPr>
          <p:cNvPr id="11" name="Picture 10"/>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5594725" y="2525914"/>
            <a:ext cx="5137534" cy="3009496"/>
          </a:xfrm>
          <a:prstGeom prst="rect">
            <a:avLst/>
          </a:prstGeom>
          <a:ln>
            <a:noFill/>
          </a:ln>
          <a:effectLst>
            <a:outerShdw blurRad="292100" dist="139700" dir="2700000" algn="tl" rotWithShape="0">
              <a:srgbClr val="333333">
                <a:alpha val="65000"/>
              </a:srgbClr>
            </a:outerShdw>
          </a:effectLst>
        </p:spPr>
      </p:pic>
      <p:pic>
        <p:nvPicPr>
          <p:cNvPr id="12" name="Picture 11"/>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8947525" y="4559052"/>
            <a:ext cx="2206704" cy="1952716"/>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162215913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500"/>
                                        <p:tgtEl>
                                          <p:spTgt spid="11"/>
                                        </p:tgtEl>
                                      </p:cBhvr>
                                    </p:animEffect>
                                  </p:childTnLst>
                                </p:cTn>
                              </p:par>
                              <p:par>
                                <p:cTn id="8" presetID="10" presetClass="entr" presetSubtype="0" fill="hold" nodeType="withEffect">
                                  <p:stCondLst>
                                    <p:cond delay="0"/>
                                  </p:stCondLst>
                                  <p:childTnLst>
                                    <p:set>
                                      <p:cBhvr>
                                        <p:cTn id="9" dur="1" fill="hold">
                                          <p:stCondLst>
                                            <p:cond delay="0"/>
                                          </p:stCondLst>
                                        </p:cTn>
                                        <p:tgtEl>
                                          <p:spTgt spid="12"/>
                                        </p:tgtEl>
                                        <p:attrNameLst>
                                          <p:attrName>style.visibility</p:attrName>
                                        </p:attrNameLst>
                                      </p:cBhvr>
                                      <p:to>
                                        <p:strVal val="visible"/>
                                      </p:to>
                                    </p:set>
                                    <p:animEffect transition="in" filter="fade">
                                      <p:cBhvr>
                                        <p:cTn id="10"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366168" y="1212850"/>
            <a:ext cx="4485442" cy="4370427"/>
          </a:xfrm>
        </p:spPr>
        <p:txBody>
          <a:bodyPr/>
          <a:lstStyle/>
          <a:p>
            <a:r>
              <a:rPr lang="en-US" sz="3200" dirty="0">
                <a:gradFill>
                  <a:gsLst>
                    <a:gs pos="1250">
                      <a:srgbClr val="0078D7"/>
                    </a:gs>
                    <a:gs pos="99000">
                      <a:srgbClr val="0078D7"/>
                    </a:gs>
                  </a:gsLst>
                  <a:lin ang="5400000" scaled="0"/>
                </a:gradFill>
              </a:rPr>
              <a:t>Run HDInsight either on Linux or Windows-based servers. </a:t>
            </a:r>
          </a:p>
          <a:p>
            <a:endParaRPr lang="en-US" sz="3200" dirty="0">
              <a:gradFill>
                <a:gsLst>
                  <a:gs pos="1250">
                    <a:srgbClr val="0078D7"/>
                  </a:gs>
                  <a:gs pos="99000">
                    <a:srgbClr val="0078D7"/>
                  </a:gs>
                </a:gsLst>
                <a:lin ang="5400000" scaled="0"/>
              </a:gradFill>
            </a:endParaRPr>
          </a:p>
          <a:p>
            <a:r>
              <a:rPr lang="en-US" sz="3200" dirty="0" err="1">
                <a:gradFill>
                  <a:gsLst>
                    <a:gs pos="1250">
                      <a:srgbClr val="0078D7"/>
                    </a:gs>
                    <a:gs pos="99000">
                      <a:srgbClr val="0078D7"/>
                    </a:gs>
                  </a:gsLst>
                  <a:lin ang="5400000" scaled="0"/>
                </a:gradFill>
              </a:rPr>
              <a:t>HortonWorks</a:t>
            </a:r>
            <a:r>
              <a:rPr lang="en-US" sz="3200" dirty="0">
                <a:gradFill>
                  <a:gsLst>
                    <a:gs pos="1250">
                      <a:srgbClr val="0078D7"/>
                    </a:gs>
                    <a:gs pos="99000">
                      <a:srgbClr val="0078D7"/>
                    </a:gs>
                  </a:gsLst>
                  <a:lin ang="5400000" scaled="0"/>
                </a:gradFill>
              </a:rPr>
              <a:t> Data Platform (HDP) is the Hadoop distribution used. </a:t>
            </a:r>
          </a:p>
        </p:txBody>
      </p:sp>
      <p:sp>
        <p:nvSpPr>
          <p:cNvPr id="2" name="Title 1"/>
          <p:cNvSpPr>
            <a:spLocks noGrp="1"/>
          </p:cNvSpPr>
          <p:nvPr>
            <p:ph type="title"/>
          </p:nvPr>
        </p:nvSpPr>
        <p:spPr/>
        <p:txBody>
          <a:bodyPr/>
          <a:lstStyle/>
          <a:p>
            <a:r>
              <a:rPr lang="en-US" dirty="0"/>
              <a:t>Azure HDInsight (Hadoop) models</a:t>
            </a:r>
          </a:p>
        </p:txBody>
      </p:sp>
      <p:pic>
        <p:nvPicPr>
          <p:cNvPr id="11" name="Picture 10"/>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5740961" y="1419893"/>
            <a:ext cx="5943600" cy="4732661"/>
          </a:xfrm>
          <a:prstGeom prst="rect">
            <a:avLst/>
          </a:prstGeom>
        </p:spPr>
      </p:pic>
    </p:spTree>
    <p:extLst>
      <p:ext uri="{BB962C8B-B14F-4D97-AF65-F5344CB8AC3E}">
        <p14:creationId xmlns:p14="http://schemas.microsoft.com/office/powerpoint/2010/main" val="273423439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7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366168" y="1212850"/>
            <a:ext cx="11238003" cy="1514261"/>
          </a:xfrm>
        </p:spPr>
        <p:txBody>
          <a:bodyPr/>
          <a:lstStyle/>
          <a:p>
            <a:pPr marL="0" lvl="0" indent="0">
              <a:buNone/>
            </a:pPr>
            <a:r>
              <a:rPr lang="en-US" sz="3200" dirty="0">
                <a:gradFill>
                  <a:gsLst>
                    <a:gs pos="1250">
                      <a:srgbClr val="0078D7"/>
                    </a:gs>
                    <a:gs pos="99000">
                      <a:srgbClr val="0078D7"/>
                    </a:gs>
                  </a:gsLst>
                  <a:lin ang="5400000" scaled="0"/>
                </a:gradFill>
              </a:rPr>
              <a:t>Additionally, there are several high-level configurations for running Hadoop which can be used to optimize the cluster based on the operations and activities it will target. </a:t>
            </a:r>
          </a:p>
        </p:txBody>
      </p:sp>
      <p:sp>
        <p:nvSpPr>
          <p:cNvPr id="2" name="Title 1"/>
          <p:cNvSpPr>
            <a:spLocks noGrp="1"/>
          </p:cNvSpPr>
          <p:nvPr>
            <p:ph type="title"/>
          </p:nvPr>
        </p:nvSpPr>
        <p:spPr/>
        <p:txBody>
          <a:bodyPr/>
          <a:lstStyle/>
          <a:p>
            <a:r>
              <a:rPr lang="en-US" dirty="0"/>
              <a:t>Azure HDInsight (Hadoop) models</a:t>
            </a:r>
          </a:p>
        </p:txBody>
      </p:sp>
      <p:pic>
        <p:nvPicPr>
          <p:cNvPr id="5" name="Picture 4"/>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2241885" y="2629447"/>
            <a:ext cx="8344766" cy="4012707"/>
          </a:xfrm>
          <a:prstGeom prst="rect">
            <a:avLst/>
          </a:prstGeom>
        </p:spPr>
      </p:pic>
    </p:spTree>
    <p:extLst>
      <p:ext uri="{BB962C8B-B14F-4D97-AF65-F5344CB8AC3E}">
        <p14:creationId xmlns:p14="http://schemas.microsoft.com/office/powerpoint/2010/main" val="412181287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7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Segoe UI Light" panose="020B0502040204020203" pitchFamily="34" charset="0"/>
                <a:cs typeface="Segoe UI Light" panose="020B0502040204020203" pitchFamily="34" charset="0"/>
              </a:rPr>
              <a:t>Azure HDInsight (Hadoop) decisions</a:t>
            </a:r>
            <a:endParaRPr lang="en-US" dirty="0"/>
          </a:p>
        </p:txBody>
      </p:sp>
      <p:sp>
        <p:nvSpPr>
          <p:cNvPr id="8" name="Freeform: Shape 7"/>
          <p:cNvSpPr/>
          <p:nvPr/>
        </p:nvSpPr>
        <p:spPr>
          <a:xfrm>
            <a:off x="4416050" y="1112873"/>
            <a:ext cx="7094175" cy="1658379"/>
          </a:xfrm>
          <a:custGeom>
            <a:avLst/>
            <a:gdLst>
              <a:gd name="connsiteX0" fmla="*/ 0 w 6937384"/>
              <a:gd name="connsiteY0" fmla="*/ 171052 h 1368412"/>
              <a:gd name="connsiteX1" fmla="*/ 6253178 w 6937384"/>
              <a:gd name="connsiteY1" fmla="*/ 171052 h 1368412"/>
              <a:gd name="connsiteX2" fmla="*/ 6253178 w 6937384"/>
              <a:gd name="connsiteY2" fmla="*/ 0 h 1368412"/>
              <a:gd name="connsiteX3" fmla="*/ 6937384 w 6937384"/>
              <a:gd name="connsiteY3" fmla="*/ 684206 h 1368412"/>
              <a:gd name="connsiteX4" fmla="*/ 6253178 w 6937384"/>
              <a:gd name="connsiteY4" fmla="*/ 1368412 h 1368412"/>
              <a:gd name="connsiteX5" fmla="*/ 6253178 w 6937384"/>
              <a:gd name="connsiteY5" fmla="*/ 1197361 h 1368412"/>
              <a:gd name="connsiteX6" fmla="*/ 0 w 6937384"/>
              <a:gd name="connsiteY6" fmla="*/ 1197361 h 1368412"/>
              <a:gd name="connsiteX7" fmla="*/ 0 w 6937384"/>
              <a:gd name="connsiteY7" fmla="*/ 171052 h 13684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937384" h="1368412">
                <a:moveTo>
                  <a:pt x="0" y="171052"/>
                </a:moveTo>
                <a:lnTo>
                  <a:pt x="6253178" y="171052"/>
                </a:lnTo>
                <a:lnTo>
                  <a:pt x="6253178" y="0"/>
                </a:lnTo>
                <a:lnTo>
                  <a:pt x="6937384" y="684206"/>
                </a:lnTo>
                <a:lnTo>
                  <a:pt x="6253178" y="1368412"/>
                </a:lnTo>
                <a:lnTo>
                  <a:pt x="6253178" y="1197361"/>
                </a:lnTo>
                <a:lnTo>
                  <a:pt x="0" y="1197361"/>
                </a:lnTo>
                <a:lnTo>
                  <a:pt x="0" y="171052"/>
                </a:lnTo>
                <a:close/>
              </a:path>
            </a:pathLst>
          </a:custGeom>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228600" tIns="457200" rIns="696034" bIns="182481" numCol="1" spcCol="1270" anchor="t" anchorCtr="0">
            <a:noAutofit/>
          </a:bodyPr>
          <a:lstStyle/>
          <a:p>
            <a:pPr marL="285750" lvl="1" indent="-285750" defTabSz="800100">
              <a:lnSpc>
                <a:spcPct val="90000"/>
              </a:lnSpc>
              <a:spcBef>
                <a:spcPct val="0"/>
              </a:spcBef>
              <a:spcAft>
                <a:spcPct val="15000"/>
              </a:spcAft>
              <a:buFont typeface="Arial" panose="020B0604020202020204" pitchFamily="34" charset="0"/>
              <a:buChar char="•"/>
            </a:pPr>
            <a:r>
              <a:rPr lang="en-US" dirty="0"/>
              <a:t>Create storage accounts for data repositories for HDInsight. Also, </a:t>
            </a:r>
            <a:r>
              <a:rPr lang="en-US" dirty="0" err="1"/>
              <a:t>deprovision</a:t>
            </a:r>
            <a:r>
              <a:rPr lang="en-US" dirty="0"/>
              <a:t> your clusters when not in use, as the costs for running thousands of cores can quickly add up	</a:t>
            </a:r>
          </a:p>
        </p:txBody>
      </p:sp>
      <p:sp>
        <p:nvSpPr>
          <p:cNvPr id="9" name="Freeform: Shape 8"/>
          <p:cNvSpPr/>
          <p:nvPr/>
        </p:nvSpPr>
        <p:spPr>
          <a:xfrm>
            <a:off x="1320269" y="1301760"/>
            <a:ext cx="3221976" cy="1278407"/>
          </a:xfrm>
          <a:custGeom>
            <a:avLst/>
            <a:gdLst>
              <a:gd name="connsiteX0" fmla="*/ 0 w 3221976"/>
              <a:gd name="connsiteY0" fmla="*/ 188426 h 1130532"/>
              <a:gd name="connsiteX1" fmla="*/ 188426 w 3221976"/>
              <a:gd name="connsiteY1" fmla="*/ 0 h 1130532"/>
              <a:gd name="connsiteX2" fmla="*/ 3033550 w 3221976"/>
              <a:gd name="connsiteY2" fmla="*/ 0 h 1130532"/>
              <a:gd name="connsiteX3" fmla="*/ 3221976 w 3221976"/>
              <a:gd name="connsiteY3" fmla="*/ 188426 h 1130532"/>
              <a:gd name="connsiteX4" fmla="*/ 3221976 w 3221976"/>
              <a:gd name="connsiteY4" fmla="*/ 942106 h 1130532"/>
              <a:gd name="connsiteX5" fmla="*/ 3033550 w 3221976"/>
              <a:gd name="connsiteY5" fmla="*/ 1130532 h 1130532"/>
              <a:gd name="connsiteX6" fmla="*/ 188426 w 3221976"/>
              <a:gd name="connsiteY6" fmla="*/ 1130532 h 1130532"/>
              <a:gd name="connsiteX7" fmla="*/ 0 w 3221976"/>
              <a:gd name="connsiteY7" fmla="*/ 942106 h 1130532"/>
              <a:gd name="connsiteX8" fmla="*/ 0 w 3221976"/>
              <a:gd name="connsiteY8" fmla="*/ 188426 h 11305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21976" h="1130532">
                <a:moveTo>
                  <a:pt x="0" y="188426"/>
                </a:moveTo>
                <a:cubicBezTo>
                  <a:pt x="0" y="84361"/>
                  <a:pt x="84361" y="0"/>
                  <a:pt x="188426" y="0"/>
                </a:cubicBezTo>
                <a:lnTo>
                  <a:pt x="3033550" y="0"/>
                </a:lnTo>
                <a:cubicBezTo>
                  <a:pt x="3137615" y="0"/>
                  <a:pt x="3221976" y="84361"/>
                  <a:pt x="3221976" y="188426"/>
                </a:cubicBezTo>
                <a:lnTo>
                  <a:pt x="3221976" y="942106"/>
                </a:lnTo>
                <a:cubicBezTo>
                  <a:pt x="3221976" y="1046171"/>
                  <a:pt x="3137615" y="1130532"/>
                  <a:pt x="3033550" y="1130532"/>
                </a:cubicBezTo>
                <a:lnTo>
                  <a:pt x="188426" y="1130532"/>
                </a:lnTo>
                <a:cubicBezTo>
                  <a:pt x="84361" y="1130532"/>
                  <a:pt x="0" y="1046171"/>
                  <a:pt x="0" y="942106"/>
                </a:cubicBezTo>
                <a:lnTo>
                  <a:pt x="0" y="188426"/>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77108" tIns="116148" rIns="177108" bIns="116148" numCol="1" spcCol="1270" anchor="ctr" anchorCtr="0">
            <a:noAutofit/>
          </a:bodyPr>
          <a:lstStyle/>
          <a:p>
            <a:pPr marL="0" lvl="0" indent="0" algn="ctr" defTabSz="1422400">
              <a:lnSpc>
                <a:spcPct val="90000"/>
              </a:lnSpc>
              <a:spcBef>
                <a:spcPct val="0"/>
              </a:spcBef>
              <a:spcAft>
                <a:spcPct val="35000"/>
              </a:spcAft>
              <a:buNone/>
            </a:pPr>
            <a:r>
              <a:rPr lang="en-US" sz="3200" b="0" kern="1200" dirty="0">
                <a:latin typeface="Segoe UI Semibold" panose="020B0702040204020203" pitchFamily="34" charset="0"/>
                <a:cs typeface="Segoe UI Semibold" panose="020B0702040204020203" pitchFamily="34" charset="0"/>
              </a:rPr>
              <a:t>Mandatory</a:t>
            </a:r>
          </a:p>
        </p:txBody>
      </p:sp>
      <p:sp>
        <p:nvSpPr>
          <p:cNvPr id="10" name="Freeform: Shape 9"/>
          <p:cNvSpPr/>
          <p:nvPr/>
        </p:nvSpPr>
        <p:spPr>
          <a:xfrm>
            <a:off x="4174858" y="2934655"/>
            <a:ext cx="7436571" cy="1781830"/>
          </a:xfrm>
          <a:custGeom>
            <a:avLst/>
            <a:gdLst>
              <a:gd name="connsiteX0" fmla="*/ 0 w 7091479"/>
              <a:gd name="connsiteY0" fmla="*/ 293845 h 2350760"/>
              <a:gd name="connsiteX1" fmla="*/ 5916099 w 7091479"/>
              <a:gd name="connsiteY1" fmla="*/ 293845 h 2350760"/>
              <a:gd name="connsiteX2" fmla="*/ 5916099 w 7091479"/>
              <a:gd name="connsiteY2" fmla="*/ 0 h 2350760"/>
              <a:gd name="connsiteX3" fmla="*/ 7091479 w 7091479"/>
              <a:gd name="connsiteY3" fmla="*/ 1175380 h 2350760"/>
              <a:gd name="connsiteX4" fmla="*/ 5916099 w 7091479"/>
              <a:gd name="connsiteY4" fmla="*/ 2350760 h 2350760"/>
              <a:gd name="connsiteX5" fmla="*/ 5916099 w 7091479"/>
              <a:gd name="connsiteY5" fmla="*/ 2056915 h 2350760"/>
              <a:gd name="connsiteX6" fmla="*/ 0 w 7091479"/>
              <a:gd name="connsiteY6" fmla="*/ 2056915 h 2350760"/>
              <a:gd name="connsiteX7" fmla="*/ 0 w 7091479"/>
              <a:gd name="connsiteY7" fmla="*/ 293845 h 2350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091479" h="2350760">
                <a:moveTo>
                  <a:pt x="0" y="293845"/>
                </a:moveTo>
                <a:lnTo>
                  <a:pt x="5916099" y="293845"/>
                </a:lnTo>
                <a:lnTo>
                  <a:pt x="5916099" y="0"/>
                </a:lnTo>
                <a:lnTo>
                  <a:pt x="7091479" y="1175380"/>
                </a:lnTo>
                <a:lnTo>
                  <a:pt x="5916099" y="2350760"/>
                </a:lnTo>
                <a:lnTo>
                  <a:pt x="5916099" y="2056915"/>
                </a:lnTo>
                <a:lnTo>
                  <a:pt x="0" y="2056915"/>
                </a:lnTo>
                <a:lnTo>
                  <a:pt x="0" y="293845"/>
                </a:lnTo>
                <a:close/>
              </a:path>
            </a:pathLst>
          </a:custGeom>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457200" tIns="385285" rIns="1064415" bIns="305275" numCol="1" spcCol="1270" anchor="t" anchorCtr="0">
            <a:noAutofit/>
          </a:bodyPr>
          <a:lstStyle/>
          <a:p>
            <a:pPr marL="285750" lvl="1" indent="-285750" defTabSz="800100">
              <a:lnSpc>
                <a:spcPct val="90000"/>
              </a:lnSpc>
              <a:spcBef>
                <a:spcPct val="0"/>
              </a:spcBef>
              <a:spcAft>
                <a:spcPct val="15000"/>
              </a:spcAft>
              <a:buFont typeface="Arial" panose="020B0604020202020204" pitchFamily="34" charset="0"/>
              <a:buChar char="•"/>
            </a:pPr>
            <a:r>
              <a:rPr lang="en-US" dirty="0"/>
              <a:t>Get a good sense for your data and what is most important to your workloads. This will help guide what components in </a:t>
            </a:r>
            <a:r>
              <a:rPr lang="en-US" dirty="0" err="1"/>
              <a:t>HDInsights</a:t>
            </a:r>
            <a:r>
              <a:rPr lang="en-US" dirty="0"/>
              <a:t> can be leveraged to take the best advantage of the platform services</a:t>
            </a:r>
          </a:p>
        </p:txBody>
      </p:sp>
      <p:sp>
        <p:nvSpPr>
          <p:cNvPr id="11" name="Freeform: Shape 10"/>
          <p:cNvSpPr/>
          <p:nvPr/>
        </p:nvSpPr>
        <p:spPr>
          <a:xfrm>
            <a:off x="1328722" y="3153340"/>
            <a:ext cx="3213523" cy="1348934"/>
          </a:xfrm>
          <a:custGeom>
            <a:avLst/>
            <a:gdLst>
              <a:gd name="connsiteX0" fmla="*/ 0 w 3213523"/>
              <a:gd name="connsiteY0" fmla="*/ 295356 h 1772099"/>
              <a:gd name="connsiteX1" fmla="*/ 295356 w 3213523"/>
              <a:gd name="connsiteY1" fmla="*/ 0 h 1772099"/>
              <a:gd name="connsiteX2" fmla="*/ 2918167 w 3213523"/>
              <a:gd name="connsiteY2" fmla="*/ 0 h 1772099"/>
              <a:gd name="connsiteX3" fmla="*/ 3213523 w 3213523"/>
              <a:gd name="connsiteY3" fmla="*/ 295356 h 1772099"/>
              <a:gd name="connsiteX4" fmla="*/ 3213523 w 3213523"/>
              <a:gd name="connsiteY4" fmla="*/ 1476743 h 1772099"/>
              <a:gd name="connsiteX5" fmla="*/ 2918167 w 3213523"/>
              <a:gd name="connsiteY5" fmla="*/ 1772099 h 1772099"/>
              <a:gd name="connsiteX6" fmla="*/ 295356 w 3213523"/>
              <a:gd name="connsiteY6" fmla="*/ 1772099 h 1772099"/>
              <a:gd name="connsiteX7" fmla="*/ 0 w 3213523"/>
              <a:gd name="connsiteY7" fmla="*/ 1476743 h 1772099"/>
              <a:gd name="connsiteX8" fmla="*/ 0 w 3213523"/>
              <a:gd name="connsiteY8" fmla="*/ 295356 h 17720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13523" h="1772099">
                <a:moveTo>
                  <a:pt x="0" y="295356"/>
                </a:moveTo>
                <a:cubicBezTo>
                  <a:pt x="0" y="132235"/>
                  <a:pt x="132235" y="0"/>
                  <a:pt x="295356" y="0"/>
                </a:cubicBezTo>
                <a:lnTo>
                  <a:pt x="2918167" y="0"/>
                </a:lnTo>
                <a:cubicBezTo>
                  <a:pt x="3081288" y="0"/>
                  <a:pt x="3213523" y="132235"/>
                  <a:pt x="3213523" y="295356"/>
                </a:cubicBezTo>
                <a:lnTo>
                  <a:pt x="3213523" y="1476743"/>
                </a:lnTo>
                <a:cubicBezTo>
                  <a:pt x="3213523" y="1639864"/>
                  <a:pt x="3081288" y="1772099"/>
                  <a:pt x="2918167" y="1772099"/>
                </a:cubicBezTo>
                <a:lnTo>
                  <a:pt x="295356" y="1772099"/>
                </a:lnTo>
                <a:cubicBezTo>
                  <a:pt x="132235" y="1772099"/>
                  <a:pt x="0" y="1639864"/>
                  <a:pt x="0" y="1476743"/>
                </a:cubicBezTo>
                <a:lnTo>
                  <a:pt x="0" y="295356"/>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08427" tIns="147467" rIns="208427" bIns="147467" numCol="1" spcCol="1270" anchor="ctr" anchorCtr="0">
            <a:noAutofit/>
          </a:bodyPr>
          <a:lstStyle/>
          <a:p>
            <a:pPr marL="0" lvl="0" indent="0" algn="ctr" defTabSz="1422400">
              <a:lnSpc>
                <a:spcPct val="90000"/>
              </a:lnSpc>
              <a:spcBef>
                <a:spcPct val="0"/>
              </a:spcBef>
              <a:spcAft>
                <a:spcPct val="35000"/>
              </a:spcAft>
              <a:buNone/>
            </a:pPr>
            <a:r>
              <a:rPr lang="en-US" sz="3200" b="0" kern="1200" dirty="0">
                <a:solidFill>
                  <a:srgbClr val="FFFFFF"/>
                </a:solidFill>
                <a:latin typeface="Segoe UI Semibold" panose="020B0702040204020203" pitchFamily="34" charset="0"/>
                <a:ea typeface="+mn-ea"/>
                <a:cs typeface="Segoe UI Semibold" panose="020B0702040204020203" pitchFamily="34" charset="0"/>
              </a:rPr>
              <a:t>Recommended</a:t>
            </a:r>
          </a:p>
        </p:txBody>
      </p:sp>
      <p:sp>
        <p:nvSpPr>
          <p:cNvPr id="12" name="Freeform: Shape 11"/>
          <p:cNvSpPr/>
          <p:nvPr/>
        </p:nvSpPr>
        <p:spPr>
          <a:xfrm>
            <a:off x="4281381" y="4840514"/>
            <a:ext cx="7285352" cy="1913551"/>
          </a:xfrm>
          <a:custGeom>
            <a:avLst/>
            <a:gdLst>
              <a:gd name="connsiteX0" fmla="*/ 0 w 7125896"/>
              <a:gd name="connsiteY0" fmla="*/ 180910 h 1447281"/>
              <a:gd name="connsiteX1" fmla="*/ 6402256 w 7125896"/>
              <a:gd name="connsiteY1" fmla="*/ 180910 h 1447281"/>
              <a:gd name="connsiteX2" fmla="*/ 6402256 w 7125896"/>
              <a:gd name="connsiteY2" fmla="*/ 0 h 1447281"/>
              <a:gd name="connsiteX3" fmla="*/ 7125896 w 7125896"/>
              <a:gd name="connsiteY3" fmla="*/ 723641 h 1447281"/>
              <a:gd name="connsiteX4" fmla="*/ 6402256 w 7125896"/>
              <a:gd name="connsiteY4" fmla="*/ 1447281 h 1447281"/>
              <a:gd name="connsiteX5" fmla="*/ 6402256 w 7125896"/>
              <a:gd name="connsiteY5" fmla="*/ 1266371 h 1447281"/>
              <a:gd name="connsiteX6" fmla="*/ 0 w 7125896"/>
              <a:gd name="connsiteY6" fmla="*/ 1266371 h 1447281"/>
              <a:gd name="connsiteX7" fmla="*/ 0 w 7125896"/>
              <a:gd name="connsiteY7" fmla="*/ 180910 h 14472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125896" h="1447281">
                <a:moveTo>
                  <a:pt x="0" y="180910"/>
                </a:moveTo>
                <a:lnTo>
                  <a:pt x="6402256" y="180910"/>
                </a:lnTo>
                <a:lnTo>
                  <a:pt x="6402256" y="0"/>
                </a:lnTo>
                <a:lnTo>
                  <a:pt x="7125896" y="723641"/>
                </a:lnTo>
                <a:lnTo>
                  <a:pt x="6402256" y="1447281"/>
                </a:lnTo>
                <a:lnTo>
                  <a:pt x="6402256" y="1266371"/>
                </a:lnTo>
                <a:lnTo>
                  <a:pt x="0" y="1266371"/>
                </a:lnTo>
                <a:lnTo>
                  <a:pt x="0" y="180910"/>
                </a:lnTo>
                <a:close/>
              </a:path>
            </a:pathLst>
          </a:custGeom>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365760" tIns="365760" rIns="640080" bIns="192340" numCol="1" spcCol="1270" anchor="ctr" anchorCtr="0">
            <a:noAutofit/>
          </a:bodyPr>
          <a:lstStyle/>
          <a:p>
            <a:pPr marL="285750" lvl="0" indent="-285750">
              <a:buFont typeface="Arial" panose="020B0604020202020204" pitchFamily="34" charset="0"/>
              <a:buChar char="•"/>
            </a:pPr>
            <a:r>
              <a:rPr lang="en-US" dirty="0"/>
              <a:t>Spend more time checking out what has already been </a:t>
            </a:r>
            <a:br>
              <a:rPr lang="en-US" dirty="0"/>
            </a:br>
            <a:r>
              <a:rPr lang="en-US" dirty="0"/>
              <a:t>built by the open source communities that can be used with much less effort than writing from scratch</a:t>
            </a:r>
          </a:p>
        </p:txBody>
      </p:sp>
      <p:sp>
        <p:nvSpPr>
          <p:cNvPr id="13" name="Freeform: Shape 12"/>
          <p:cNvSpPr/>
          <p:nvPr/>
        </p:nvSpPr>
        <p:spPr>
          <a:xfrm>
            <a:off x="1259112" y="5075274"/>
            <a:ext cx="3210524" cy="1448676"/>
          </a:xfrm>
          <a:custGeom>
            <a:avLst/>
            <a:gdLst>
              <a:gd name="connsiteX0" fmla="*/ 0 w 3210524"/>
              <a:gd name="connsiteY0" fmla="*/ 191185 h 1147089"/>
              <a:gd name="connsiteX1" fmla="*/ 191185 w 3210524"/>
              <a:gd name="connsiteY1" fmla="*/ 0 h 1147089"/>
              <a:gd name="connsiteX2" fmla="*/ 3019339 w 3210524"/>
              <a:gd name="connsiteY2" fmla="*/ 0 h 1147089"/>
              <a:gd name="connsiteX3" fmla="*/ 3210524 w 3210524"/>
              <a:gd name="connsiteY3" fmla="*/ 191185 h 1147089"/>
              <a:gd name="connsiteX4" fmla="*/ 3210524 w 3210524"/>
              <a:gd name="connsiteY4" fmla="*/ 955904 h 1147089"/>
              <a:gd name="connsiteX5" fmla="*/ 3019339 w 3210524"/>
              <a:gd name="connsiteY5" fmla="*/ 1147089 h 1147089"/>
              <a:gd name="connsiteX6" fmla="*/ 191185 w 3210524"/>
              <a:gd name="connsiteY6" fmla="*/ 1147089 h 1147089"/>
              <a:gd name="connsiteX7" fmla="*/ 0 w 3210524"/>
              <a:gd name="connsiteY7" fmla="*/ 955904 h 1147089"/>
              <a:gd name="connsiteX8" fmla="*/ 0 w 3210524"/>
              <a:gd name="connsiteY8" fmla="*/ 191185 h 1147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10524" h="1147089">
                <a:moveTo>
                  <a:pt x="0" y="191185"/>
                </a:moveTo>
                <a:cubicBezTo>
                  <a:pt x="0" y="85596"/>
                  <a:pt x="85596" y="0"/>
                  <a:pt x="191185" y="0"/>
                </a:cubicBezTo>
                <a:lnTo>
                  <a:pt x="3019339" y="0"/>
                </a:lnTo>
                <a:cubicBezTo>
                  <a:pt x="3124928" y="0"/>
                  <a:pt x="3210524" y="85596"/>
                  <a:pt x="3210524" y="191185"/>
                </a:cubicBezTo>
                <a:lnTo>
                  <a:pt x="3210524" y="955904"/>
                </a:lnTo>
                <a:cubicBezTo>
                  <a:pt x="3210524" y="1061493"/>
                  <a:pt x="3124928" y="1147089"/>
                  <a:pt x="3019339" y="1147089"/>
                </a:cubicBezTo>
                <a:lnTo>
                  <a:pt x="191185" y="1147089"/>
                </a:lnTo>
                <a:cubicBezTo>
                  <a:pt x="85596" y="1147089"/>
                  <a:pt x="0" y="1061493"/>
                  <a:pt x="0" y="955904"/>
                </a:cubicBezTo>
                <a:lnTo>
                  <a:pt x="0" y="191185"/>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77916" tIns="116956" rIns="177916" bIns="116956" numCol="1" spcCol="1270" anchor="ctr" anchorCtr="0">
            <a:noAutofit/>
          </a:bodyPr>
          <a:lstStyle/>
          <a:p>
            <a:pPr marL="0" lvl="0" indent="0" algn="ctr" defTabSz="1422400">
              <a:lnSpc>
                <a:spcPct val="90000"/>
              </a:lnSpc>
              <a:spcBef>
                <a:spcPct val="0"/>
              </a:spcBef>
              <a:spcAft>
                <a:spcPct val="35000"/>
              </a:spcAft>
              <a:buNone/>
            </a:pPr>
            <a:r>
              <a:rPr lang="en-US" sz="3200" b="0" kern="1200" dirty="0">
                <a:solidFill>
                  <a:srgbClr val="FFFFFF"/>
                </a:solidFill>
                <a:latin typeface="Segoe UI Semibold" panose="020B0702040204020203" pitchFamily="34" charset="0"/>
                <a:ea typeface="+mn-ea"/>
                <a:cs typeface="Segoe UI Semibold" panose="020B0702040204020203" pitchFamily="34" charset="0"/>
              </a:rPr>
              <a:t>Optional</a:t>
            </a:r>
          </a:p>
        </p:txBody>
      </p:sp>
      <p:sp>
        <p:nvSpPr>
          <p:cNvPr id="4" name="Octagon 3"/>
          <p:cNvSpPr/>
          <p:nvPr/>
        </p:nvSpPr>
        <p:spPr>
          <a:xfrm>
            <a:off x="1107200" y="2325391"/>
            <a:ext cx="443098" cy="439889"/>
          </a:xfrm>
          <a:prstGeom prst="octagon">
            <a:avLst/>
          </a:prstGeom>
          <a:solidFill>
            <a:srgbClr val="CC0000"/>
          </a:solidFill>
        </p:spPr>
        <p:style>
          <a:lnRef idx="1">
            <a:schemeClr val="accent2"/>
          </a:lnRef>
          <a:fillRef idx="3">
            <a:schemeClr val="accent2"/>
          </a:fillRef>
          <a:effectRef idx="2">
            <a:schemeClr val="accent2"/>
          </a:effectRef>
          <a:fontRef idx="minor">
            <a:schemeClr val="lt1"/>
          </a:fontRef>
        </p:style>
        <p:txBody>
          <a:bodyPr rot="0" spcFirstLastPara="0" vert="horz" wrap="square" lIns="68583" tIns="34291" rIns="68583" bIns="34291" numCol="1" spcCol="0" rtlCol="0" fromWordArt="0" anchor="ctr" anchorCtr="0" forceAA="0" compatLnSpc="1">
            <a:prstTxWarp prst="textNoShape">
              <a:avLst/>
            </a:prstTxWarp>
            <a:noAutofit/>
          </a:bodyPr>
          <a:lstStyle/>
          <a:p>
            <a:endParaRPr lang="en-US" sz="1350" dirty="0"/>
          </a:p>
        </p:txBody>
      </p:sp>
      <p:sp>
        <p:nvSpPr>
          <p:cNvPr id="5" name="Isosceles Triangle 4"/>
          <p:cNvSpPr>
            <a:spLocks/>
          </p:cNvSpPr>
          <p:nvPr/>
        </p:nvSpPr>
        <p:spPr>
          <a:xfrm>
            <a:off x="1038785" y="4187600"/>
            <a:ext cx="579874" cy="457219"/>
          </a:xfrm>
          <a:prstGeom prst="triangle">
            <a:avLst/>
          </a:prstGeom>
          <a:solidFill>
            <a:srgbClr val="FFFF00"/>
          </a:solidFill>
        </p:spPr>
        <p:style>
          <a:lnRef idx="1">
            <a:schemeClr val="accent6"/>
          </a:lnRef>
          <a:fillRef idx="3">
            <a:schemeClr val="accent6"/>
          </a:fillRef>
          <a:effectRef idx="2">
            <a:schemeClr val="accent6"/>
          </a:effectRef>
          <a:fontRef idx="minor">
            <a:schemeClr val="lt1"/>
          </a:fontRef>
        </p:style>
        <p:txBody>
          <a:bodyPr rot="0" spcFirstLastPara="0" vert="horz" wrap="square" lIns="68583" tIns="34291" rIns="68583" bIns="34291" numCol="1" spcCol="0" rtlCol="0" fromWordArt="0" anchor="ctr" anchorCtr="0" forceAA="0" compatLnSpc="1">
            <a:prstTxWarp prst="textNoShape">
              <a:avLst/>
            </a:prstTxWarp>
            <a:noAutofit/>
          </a:bodyPr>
          <a:lstStyle/>
          <a:p>
            <a:endParaRPr lang="en-US" sz="1350"/>
          </a:p>
        </p:txBody>
      </p:sp>
      <p:sp>
        <p:nvSpPr>
          <p:cNvPr id="6" name="Oval 5"/>
          <p:cNvSpPr>
            <a:spLocks/>
          </p:cNvSpPr>
          <p:nvPr/>
        </p:nvSpPr>
        <p:spPr>
          <a:xfrm>
            <a:off x="1038785" y="6264074"/>
            <a:ext cx="474539" cy="475477"/>
          </a:xfrm>
          <a:prstGeom prst="ellipse">
            <a:avLst/>
          </a:prstGeom>
          <a:solidFill>
            <a:srgbClr val="00B050"/>
          </a:solidFill>
        </p:spPr>
        <p:style>
          <a:lnRef idx="1">
            <a:schemeClr val="accent3"/>
          </a:lnRef>
          <a:fillRef idx="3">
            <a:schemeClr val="accent3"/>
          </a:fillRef>
          <a:effectRef idx="2">
            <a:schemeClr val="accent3"/>
          </a:effectRef>
          <a:fontRef idx="minor">
            <a:schemeClr val="lt1"/>
          </a:fontRef>
        </p:style>
        <p:txBody>
          <a:bodyPr rot="0" spcFirstLastPara="0" vert="horz" wrap="square" lIns="68583" tIns="34291" rIns="68583" bIns="34291" numCol="1" spcCol="0" rtlCol="0" fromWordArt="0" anchor="ctr" anchorCtr="0" forceAA="0" compatLnSpc="1">
            <a:prstTxWarp prst="textNoShape">
              <a:avLst/>
            </a:prstTxWarp>
            <a:noAutofit/>
          </a:bodyPr>
          <a:lstStyle/>
          <a:p>
            <a:endParaRPr lang="en-US" sz="1350"/>
          </a:p>
        </p:txBody>
      </p:sp>
    </p:spTree>
    <p:extLst>
      <p:ext uri="{BB962C8B-B14F-4D97-AF65-F5344CB8AC3E}">
        <p14:creationId xmlns:p14="http://schemas.microsoft.com/office/powerpoint/2010/main" val="883591551"/>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5"/>
          <p:cNvSpPr txBox="1">
            <a:spLocks/>
          </p:cNvSpPr>
          <p:nvPr/>
        </p:nvSpPr>
        <p:spPr>
          <a:xfrm>
            <a:off x="6437554" y="1211287"/>
            <a:ext cx="5631166" cy="3650230"/>
          </a:xfrm>
          <a:prstGeom prst="rect">
            <a:avLst/>
          </a:prstGeom>
        </p:spPr>
        <p:txBody>
          <a:bodyPr vert="horz" wrap="square" lIns="146304" tIns="91440" rIns="146304" bIns="91440" rtlCol="0">
            <a:spAutoFit/>
          </a:bodyPr>
          <a:lstStyle>
            <a:lvl1pPr marL="287293" marR="0" indent="-287293" algn="l" defTabSz="932594" rtl="0" eaLnBrk="1" fontAlgn="auto" latinLnBrk="0" hangingPunct="1">
              <a:lnSpc>
                <a:spcPct val="90000"/>
              </a:lnSpc>
              <a:spcBef>
                <a:spcPts val="1224"/>
              </a:spcBef>
              <a:spcAft>
                <a:spcPts val="0"/>
              </a:spcAft>
              <a:buClr>
                <a:schemeClr val="tx2"/>
              </a:buClr>
              <a:buSzPct val="90000"/>
              <a:buFont typeface="Arial" pitchFamily="34" charset="0"/>
              <a:buChar char="•"/>
              <a:tabLst/>
              <a:defRPr sz="3200" kern="1200" spc="0" baseline="0">
                <a:gradFill>
                  <a:gsLst>
                    <a:gs pos="1250">
                      <a:schemeClr val="tx2"/>
                    </a:gs>
                    <a:gs pos="99000">
                      <a:schemeClr val="tx2"/>
                    </a:gs>
                  </a:gsLst>
                  <a:lin ang="5400000" scaled="0"/>
                </a:gradFill>
                <a:latin typeface="+mj-lt"/>
                <a:ea typeface="+mn-ea"/>
                <a:cs typeface="+mn-cs"/>
              </a:defRPr>
            </a:lvl1pPr>
            <a:lvl2pPr marL="531081" marR="0" indent="-233158" algn="l" defTabSz="932594"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2pPr>
            <a:lvl3pPr marL="699475" marR="0" indent="-168392" algn="l" defTabSz="932594"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3pPr>
            <a:lvl4pPr marL="880818" marR="0" indent="-181345" algn="l" defTabSz="932594" rtl="0" eaLnBrk="1" fontAlgn="auto" latinLnBrk="0" hangingPunct="1">
              <a:lnSpc>
                <a:spcPct val="90000"/>
              </a:lnSpc>
              <a:spcBef>
                <a:spcPct val="20000"/>
              </a:spcBef>
              <a:spcAft>
                <a:spcPts val="0"/>
              </a:spcAft>
              <a:buClrTx/>
              <a:buSzPct val="90000"/>
              <a:buFont typeface="Arial" pitchFamily="34" charset="0"/>
              <a:buChar char="•"/>
              <a:tabLst/>
              <a:defRPr sz="1600" kern="1200" spc="0" baseline="0">
                <a:gradFill>
                  <a:gsLst>
                    <a:gs pos="1250">
                      <a:schemeClr val="tx1"/>
                    </a:gs>
                    <a:gs pos="100000">
                      <a:schemeClr val="tx1"/>
                    </a:gs>
                  </a:gsLst>
                  <a:lin ang="5400000" scaled="0"/>
                </a:gradFill>
                <a:latin typeface="+mn-lt"/>
                <a:ea typeface="+mn-ea"/>
                <a:cs typeface="+mn-cs"/>
              </a:defRPr>
            </a:lvl4pPr>
            <a:lvl5pPr marL="1049211" marR="0" indent="-168392" algn="l" defTabSz="932594" rtl="0" eaLnBrk="1" fontAlgn="auto" latinLnBrk="0" hangingPunct="1">
              <a:lnSpc>
                <a:spcPct val="90000"/>
              </a:lnSpc>
              <a:spcBef>
                <a:spcPct val="20000"/>
              </a:spcBef>
              <a:spcAft>
                <a:spcPts val="0"/>
              </a:spcAft>
              <a:buClrTx/>
              <a:buSzPct val="90000"/>
              <a:buFont typeface="Arial" pitchFamily="34" charset="0"/>
              <a:buChar char="•"/>
              <a:tabLst/>
              <a:defRPr sz="1600" kern="1200" spc="0" baseline="0">
                <a:gradFill>
                  <a:gsLst>
                    <a:gs pos="1250">
                      <a:schemeClr val="tx1"/>
                    </a:gs>
                    <a:gs pos="100000">
                      <a:schemeClr val="tx1"/>
                    </a:gs>
                  </a:gsLst>
                  <a:lin ang="5400000" scaled="0"/>
                </a:gradFill>
                <a:latin typeface="+mn-lt"/>
                <a:ea typeface="+mn-ea"/>
                <a:cs typeface="+mn-cs"/>
              </a:defRPr>
            </a:lvl5pPr>
            <a:lvl6pPr marL="2564633" indent="-233149" algn="l" defTabSz="93259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932" indent="-233149" algn="l" defTabSz="93259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229" indent="-233149" algn="l" defTabSz="93259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528" indent="-233149" algn="l" defTabSz="932594"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3600" dirty="0"/>
              <a:t>Triggers</a:t>
            </a:r>
          </a:p>
          <a:p>
            <a:pPr marL="342900" lvl="1" indent="-342900"/>
            <a:r>
              <a:rPr lang="en-US" sz="2000" dirty="0"/>
              <a:t>Managed APIs can kick off the workflow by triggering on specific events</a:t>
            </a:r>
          </a:p>
          <a:p>
            <a:pPr marL="0" indent="0">
              <a:buNone/>
            </a:pPr>
            <a:r>
              <a:rPr lang="en-US" sz="3600" dirty="0"/>
              <a:t>Actions</a:t>
            </a:r>
          </a:p>
          <a:p>
            <a:pPr marL="342900" lvl="1" indent="-342900"/>
            <a:r>
              <a:rPr lang="en-US" sz="2000" dirty="0"/>
              <a:t>Steps in the workflow where the data is enriched, transformed, etc.</a:t>
            </a:r>
          </a:p>
          <a:p>
            <a:pPr marL="0" indent="0">
              <a:buNone/>
            </a:pPr>
            <a:r>
              <a:rPr lang="en-US" sz="3600" dirty="0"/>
              <a:t>BizTalk</a:t>
            </a:r>
          </a:p>
          <a:p>
            <a:pPr marL="342900" lvl="1" indent="-342900"/>
            <a:r>
              <a:rPr lang="en-US" sz="2000" dirty="0"/>
              <a:t>Validation, transformation, rules, etc.</a:t>
            </a:r>
          </a:p>
        </p:txBody>
      </p:sp>
      <p:sp>
        <p:nvSpPr>
          <p:cNvPr id="2" name="Title 1"/>
          <p:cNvSpPr>
            <a:spLocks noGrp="1"/>
          </p:cNvSpPr>
          <p:nvPr>
            <p:ph type="title"/>
          </p:nvPr>
        </p:nvSpPr>
        <p:spPr/>
        <p:txBody>
          <a:bodyPr/>
          <a:lstStyle/>
          <a:p>
            <a:r>
              <a:rPr lang="en-US" dirty="0"/>
              <a:t>Logic Apps Features</a:t>
            </a:r>
          </a:p>
        </p:txBody>
      </p:sp>
      <p:sp>
        <p:nvSpPr>
          <p:cNvPr id="6" name="Text Placeholder 5"/>
          <p:cNvSpPr>
            <a:spLocks noGrp="1"/>
          </p:cNvSpPr>
          <p:nvPr>
            <p:ph type="body" sz="quarter" idx="10"/>
          </p:nvPr>
        </p:nvSpPr>
        <p:spPr>
          <a:xfrm>
            <a:off x="365597" y="1211287"/>
            <a:ext cx="5631166" cy="2936188"/>
          </a:xfrm>
        </p:spPr>
        <p:txBody>
          <a:bodyPr/>
          <a:lstStyle/>
          <a:p>
            <a:pPr marL="0" indent="0">
              <a:buNone/>
            </a:pPr>
            <a:r>
              <a:rPr lang="en-US" sz="3600" dirty="0"/>
              <a:t>Workflow</a:t>
            </a:r>
          </a:p>
          <a:p>
            <a:pPr>
              <a:buClr>
                <a:schemeClr val="tx1"/>
              </a:buClr>
            </a:pPr>
            <a:r>
              <a:rPr lang="en-US" sz="2000" dirty="0">
                <a:gradFill>
                  <a:gsLst>
                    <a:gs pos="1250">
                      <a:schemeClr val="tx1"/>
                    </a:gs>
                    <a:gs pos="100000">
                      <a:schemeClr val="tx1"/>
                    </a:gs>
                  </a:gsLst>
                  <a:lin ang="5400000" scaled="0"/>
                </a:gradFill>
                <a:latin typeface="+mn-lt"/>
              </a:rPr>
              <a:t>Model business process as series of steps or a workflow</a:t>
            </a:r>
          </a:p>
          <a:p>
            <a:pPr marL="0" indent="0">
              <a:buNone/>
            </a:pPr>
            <a:r>
              <a:rPr lang="en-US" sz="3600" dirty="0"/>
              <a:t>Managed APIs</a:t>
            </a:r>
          </a:p>
          <a:p>
            <a:pPr marL="342900" lvl="1" indent="-342900"/>
            <a:r>
              <a:rPr lang="en-US" sz="2000" dirty="0"/>
              <a:t>Access common services like Azure Blob, Dropbox, Facebook, Office 365, Salesforce, and many, many more</a:t>
            </a:r>
          </a:p>
        </p:txBody>
      </p:sp>
    </p:spTree>
    <p:extLst>
      <p:ext uri="{BB962C8B-B14F-4D97-AF65-F5344CB8AC3E}">
        <p14:creationId xmlns:p14="http://schemas.microsoft.com/office/powerpoint/2010/main" val="233660775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8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Segoe UI Light" panose="020B0502040204020203" pitchFamily="34" charset="0"/>
                <a:cs typeface="Segoe UI Light" panose="020B0502040204020203" pitchFamily="34" charset="0"/>
              </a:rPr>
              <a:t>Azure Machine Learning decisions</a:t>
            </a:r>
            <a:endParaRPr lang="en-US" dirty="0"/>
          </a:p>
        </p:txBody>
      </p:sp>
      <p:sp>
        <p:nvSpPr>
          <p:cNvPr id="8" name="Freeform: Shape 7"/>
          <p:cNvSpPr/>
          <p:nvPr/>
        </p:nvSpPr>
        <p:spPr>
          <a:xfrm>
            <a:off x="4416051" y="1444523"/>
            <a:ext cx="6007262" cy="1658379"/>
          </a:xfrm>
          <a:custGeom>
            <a:avLst/>
            <a:gdLst>
              <a:gd name="connsiteX0" fmla="*/ 0 w 6937384"/>
              <a:gd name="connsiteY0" fmla="*/ 171052 h 1368412"/>
              <a:gd name="connsiteX1" fmla="*/ 6253178 w 6937384"/>
              <a:gd name="connsiteY1" fmla="*/ 171052 h 1368412"/>
              <a:gd name="connsiteX2" fmla="*/ 6253178 w 6937384"/>
              <a:gd name="connsiteY2" fmla="*/ 0 h 1368412"/>
              <a:gd name="connsiteX3" fmla="*/ 6937384 w 6937384"/>
              <a:gd name="connsiteY3" fmla="*/ 684206 h 1368412"/>
              <a:gd name="connsiteX4" fmla="*/ 6253178 w 6937384"/>
              <a:gd name="connsiteY4" fmla="*/ 1368412 h 1368412"/>
              <a:gd name="connsiteX5" fmla="*/ 6253178 w 6937384"/>
              <a:gd name="connsiteY5" fmla="*/ 1197361 h 1368412"/>
              <a:gd name="connsiteX6" fmla="*/ 0 w 6937384"/>
              <a:gd name="connsiteY6" fmla="*/ 1197361 h 1368412"/>
              <a:gd name="connsiteX7" fmla="*/ 0 w 6937384"/>
              <a:gd name="connsiteY7" fmla="*/ 171052 h 13684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937384" h="1368412">
                <a:moveTo>
                  <a:pt x="0" y="171052"/>
                </a:moveTo>
                <a:lnTo>
                  <a:pt x="6253178" y="171052"/>
                </a:lnTo>
                <a:lnTo>
                  <a:pt x="6253178" y="0"/>
                </a:lnTo>
                <a:lnTo>
                  <a:pt x="6937384" y="684206"/>
                </a:lnTo>
                <a:lnTo>
                  <a:pt x="6253178" y="1368412"/>
                </a:lnTo>
                <a:lnTo>
                  <a:pt x="6253178" y="1197361"/>
                </a:lnTo>
                <a:lnTo>
                  <a:pt x="0" y="1197361"/>
                </a:lnTo>
                <a:lnTo>
                  <a:pt x="0" y="171052"/>
                </a:lnTo>
                <a:close/>
              </a:path>
            </a:pathLst>
          </a:custGeom>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228600" tIns="457200" rIns="696034" bIns="182481" numCol="1" spcCol="1270" anchor="t" anchorCtr="0">
            <a:noAutofit/>
          </a:bodyPr>
          <a:lstStyle/>
          <a:p>
            <a:pPr marL="285750" lvl="1" indent="-285750" defTabSz="800100">
              <a:lnSpc>
                <a:spcPct val="90000"/>
              </a:lnSpc>
              <a:spcBef>
                <a:spcPct val="0"/>
              </a:spcBef>
              <a:spcAft>
                <a:spcPct val="15000"/>
              </a:spcAft>
              <a:buFont typeface="Arial" panose="020B0604020202020204" pitchFamily="34" charset="0"/>
              <a:buChar char="•"/>
            </a:pPr>
            <a:r>
              <a:rPr lang="en-US" dirty="0"/>
              <a:t>Bring your R and Python code libraries and understand how to leverage ML Studio to provide streamlined development experience</a:t>
            </a:r>
          </a:p>
        </p:txBody>
      </p:sp>
      <p:sp>
        <p:nvSpPr>
          <p:cNvPr id="9" name="Freeform: Shape 8"/>
          <p:cNvSpPr/>
          <p:nvPr/>
        </p:nvSpPr>
        <p:spPr>
          <a:xfrm>
            <a:off x="1320269" y="1633410"/>
            <a:ext cx="3221976" cy="1278407"/>
          </a:xfrm>
          <a:custGeom>
            <a:avLst/>
            <a:gdLst>
              <a:gd name="connsiteX0" fmla="*/ 0 w 3221976"/>
              <a:gd name="connsiteY0" fmla="*/ 188426 h 1130532"/>
              <a:gd name="connsiteX1" fmla="*/ 188426 w 3221976"/>
              <a:gd name="connsiteY1" fmla="*/ 0 h 1130532"/>
              <a:gd name="connsiteX2" fmla="*/ 3033550 w 3221976"/>
              <a:gd name="connsiteY2" fmla="*/ 0 h 1130532"/>
              <a:gd name="connsiteX3" fmla="*/ 3221976 w 3221976"/>
              <a:gd name="connsiteY3" fmla="*/ 188426 h 1130532"/>
              <a:gd name="connsiteX4" fmla="*/ 3221976 w 3221976"/>
              <a:gd name="connsiteY4" fmla="*/ 942106 h 1130532"/>
              <a:gd name="connsiteX5" fmla="*/ 3033550 w 3221976"/>
              <a:gd name="connsiteY5" fmla="*/ 1130532 h 1130532"/>
              <a:gd name="connsiteX6" fmla="*/ 188426 w 3221976"/>
              <a:gd name="connsiteY6" fmla="*/ 1130532 h 1130532"/>
              <a:gd name="connsiteX7" fmla="*/ 0 w 3221976"/>
              <a:gd name="connsiteY7" fmla="*/ 942106 h 1130532"/>
              <a:gd name="connsiteX8" fmla="*/ 0 w 3221976"/>
              <a:gd name="connsiteY8" fmla="*/ 188426 h 11305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21976" h="1130532">
                <a:moveTo>
                  <a:pt x="0" y="188426"/>
                </a:moveTo>
                <a:cubicBezTo>
                  <a:pt x="0" y="84361"/>
                  <a:pt x="84361" y="0"/>
                  <a:pt x="188426" y="0"/>
                </a:cubicBezTo>
                <a:lnTo>
                  <a:pt x="3033550" y="0"/>
                </a:lnTo>
                <a:cubicBezTo>
                  <a:pt x="3137615" y="0"/>
                  <a:pt x="3221976" y="84361"/>
                  <a:pt x="3221976" y="188426"/>
                </a:cubicBezTo>
                <a:lnTo>
                  <a:pt x="3221976" y="942106"/>
                </a:lnTo>
                <a:cubicBezTo>
                  <a:pt x="3221976" y="1046171"/>
                  <a:pt x="3137615" y="1130532"/>
                  <a:pt x="3033550" y="1130532"/>
                </a:cubicBezTo>
                <a:lnTo>
                  <a:pt x="188426" y="1130532"/>
                </a:lnTo>
                <a:cubicBezTo>
                  <a:pt x="84361" y="1130532"/>
                  <a:pt x="0" y="1046171"/>
                  <a:pt x="0" y="942106"/>
                </a:cubicBezTo>
                <a:lnTo>
                  <a:pt x="0" y="188426"/>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77108" tIns="116148" rIns="177108" bIns="116148" numCol="1" spcCol="1270" anchor="ctr" anchorCtr="0">
            <a:noAutofit/>
          </a:bodyPr>
          <a:lstStyle/>
          <a:p>
            <a:pPr marL="0" lvl="0" indent="0" algn="ctr" defTabSz="1422400">
              <a:lnSpc>
                <a:spcPct val="90000"/>
              </a:lnSpc>
              <a:spcBef>
                <a:spcPct val="0"/>
              </a:spcBef>
              <a:spcAft>
                <a:spcPct val="35000"/>
              </a:spcAft>
              <a:buNone/>
            </a:pPr>
            <a:r>
              <a:rPr lang="en-US" sz="3200" b="0" kern="1200" dirty="0">
                <a:latin typeface="Segoe UI Semibold" panose="020B0702040204020203" pitchFamily="34" charset="0"/>
                <a:cs typeface="Segoe UI Semibold" panose="020B0702040204020203" pitchFamily="34" charset="0"/>
              </a:rPr>
              <a:t>Mandatory</a:t>
            </a:r>
          </a:p>
        </p:txBody>
      </p:sp>
      <p:sp>
        <p:nvSpPr>
          <p:cNvPr id="10" name="Freeform: Shape 9"/>
          <p:cNvSpPr/>
          <p:nvPr/>
        </p:nvSpPr>
        <p:spPr>
          <a:xfrm>
            <a:off x="4174858" y="3344251"/>
            <a:ext cx="6297199" cy="1372233"/>
          </a:xfrm>
          <a:custGeom>
            <a:avLst/>
            <a:gdLst>
              <a:gd name="connsiteX0" fmla="*/ 0 w 7091479"/>
              <a:gd name="connsiteY0" fmla="*/ 293845 h 2350760"/>
              <a:gd name="connsiteX1" fmla="*/ 5916099 w 7091479"/>
              <a:gd name="connsiteY1" fmla="*/ 293845 h 2350760"/>
              <a:gd name="connsiteX2" fmla="*/ 5916099 w 7091479"/>
              <a:gd name="connsiteY2" fmla="*/ 0 h 2350760"/>
              <a:gd name="connsiteX3" fmla="*/ 7091479 w 7091479"/>
              <a:gd name="connsiteY3" fmla="*/ 1175380 h 2350760"/>
              <a:gd name="connsiteX4" fmla="*/ 5916099 w 7091479"/>
              <a:gd name="connsiteY4" fmla="*/ 2350760 h 2350760"/>
              <a:gd name="connsiteX5" fmla="*/ 5916099 w 7091479"/>
              <a:gd name="connsiteY5" fmla="*/ 2056915 h 2350760"/>
              <a:gd name="connsiteX6" fmla="*/ 0 w 7091479"/>
              <a:gd name="connsiteY6" fmla="*/ 2056915 h 2350760"/>
              <a:gd name="connsiteX7" fmla="*/ 0 w 7091479"/>
              <a:gd name="connsiteY7" fmla="*/ 293845 h 2350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091479" h="2350760">
                <a:moveTo>
                  <a:pt x="0" y="293845"/>
                </a:moveTo>
                <a:lnTo>
                  <a:pt x="5916099" y="293845"/>
                </a:lnTo>
                <a:lnTo>
                  <a:pt x="5916099" y="0"/>
                </a:lnTo>
                <a:lnTo>
                  <a:pt x="7091479" y="1175380"/>
                </a:lnTo>
                <a:lnTo>
                  <a:pt x="5916099" y="2350760"/>
                </a:lnTo>
                <a:lnTo>
                  <a:pt x="5916099" y="2056915"/>
                </a:lnTo>
                <a:lnTo>
                  <a:pt x="0" y="2056915"/>
                </a:lnTo>
                <a:lnTo>
                  <a:pt x="0" y="293845"/>
                </a:lnTo>
                <a:close/>
              </a:path>
            </a:pathLst>
          </a:custGeom>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457200" tIns="385285" rIns="1064415" bIns="305275" numCol="1" spcCol="1270" anchor="t" anchorCtr="0">
            <a:noAutofit/>
          </a:bodyPr>
          <a:lstStyle/>
          <a:p>
            <a:pPr marL="285750" lvl="1" indent="-285750" defTabSz="800100">
              <a:lnSpc>
                <a:spcPct val="90000"/>
              </a:lnSpc>
              <a:spcBef>
                <a:spcPct val="0"/>
              </a:spcBef>
              <a:spcAft>
                <a:spcPct val="15000"/>
              </a:spcAft>
              <a:buFont typeface="Arial" panose="020B0604020202020204" pitchFamily="34" charset="0"/>
              <a:buChar char="•"/>
            </a:pPr>
            <a:r>
              <a:rPr lang="en-US" dirty="0"/>
              <a:t>Partition your logic to create consumable services by using the platform services of ML</a:t>
            </a:r>
          </a:p>
        </p:txBody>
      </p:sp>
      <p:sp>
        <p:nvSpPr>
          <p:cNvPr id="11" name="Freeform: Shape 10"/>
          <p:cNvSpPr/>
          <p:nvPr/>
        </p:nvSpPr>
        <p:spPr>
          <a:xfrm>
            <a:off x="1328722" y="3529363"/>
            <a:ext cx="3213523" cy="1013607"/>
          </a:xfrm>
          <a:custGeom>
            <a:avLst/>
            <a:gdLst>
              <a:gd name="connsiteX0" fmla="*/ 0 w 3213523"/>
              <a:gd name="connsiteY0" fmla="*/ 295356 h 1772099"/>
              <a:gd name="connsiteX1" fmla="*/ 295356 w 3213523"/>
              <a:gd name="connsiteY1" fmla="*/ 0 h 1772099"/>
              <a:gd name="connsiteX2" fmla="*/ 2918167 w 3213523"/>
              <a:gd name="connsiteY2" fmla="*/ 0 h 1772099"/>
              <a:gd name="connsiteX3" fmla="*/ 3213523 w 3213523"/>
              <a:gd name="connsiteY3" fmla="*/ 295356 h 1772099"/>
              <a:gd name="connsiteX4" fmla="*/ 3213523 w 3213523"/>
              <a:gd name="connsiteY4" fmla="*/ 1476743 h 1772099"/>
              <a:gd name="connsiteX5" fmla="*/ 2918167 w 3213523"/>
              <a:gd name="connsiteY5" fmla="*/ 1772099 h 1772099"/>
              <a:gd name="connsiteX6" fmla="*/ 295356 w 3213523"/>
              <a:gd name="connsiteY6" fmla="*/ 1772099 h 1772099"/>
              <a:gd name="connsiteX7" fmla="*/ 0 w 3213523"/>
              <a:gd name="connsiteY7" fmla="*/ 1476743 h 1772099"/>
              <a:gd name="connsiteX8" fmla="*/ 0 w 3213523"/>
              <a:gd name="connsiteY8" fmla="*/ 295356 h 17720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13523" h="1772099">
                <a:moveTo>
                  <a:pt x="0" y="295356"/>
                </a:moveTo>
                <a:cubicBezTo>
                  <a:pt x="0" y="132235"/>
                  <a:pt x="132235" y="0"/>
                  <a:pt x="295356" y="0"/>
                </a:cubicBezTo>
                <a:lnTo>
                  <a:pt x="2918167" y="0"/>
                </a:lnTo>
                <a:cubicBezTo>
                  <a:pt x="3081288" y="0"/>
                  <a:pt x="3213523" y="132235"/>
                  <a:pt x="3213523" y="295356"/>
                </a:cubicBezTo>
                <a:lnTo>
                  <a:pt x="3213523" y="1476743"/>
                </a:lnTo>
                <a:cubicBezTo>
                  <a:pt x="3213523" y="1639864"/>
                  <a:pt x="3081288" y="1772099"/>
                  <a:pt x="2918167" y="1772099"/>
                </a:cubicBezTo>
                <a:lnTo>
                  <a:pt x="295356" y="1772099"/>
                </a:lnTo>
                <a:cubicBezTo>
                  <a:pt x="132235" y="1772099"/>
                  <a:pt x="0" y="1639864"/>
                  <a:pt x="0" y="1476743"/>
                </a:cubicBezTo>
                <a:lnTo>
                  <a:pt x="0" y="295356"/>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08427" tIns="147467" rIns="208427" bIns="147467" numCol="1" spcCol="1270" anchor="ctr" anchorCtr="0">
            <a:noAutofit/>
          </a:bodyPr>
          <a:lstStyle/>
          <a:p>
            <a:pPr marL="0" lvl="0" indent="0" algn="ctr" defTabSz="1422400">
              <a:lnSpc>
                <a:spcPct val="90000"/>
              </a:lnSpc>
              <a:spcBef>
                <a:spcPct val="0"/>
              </a:spcBef>
              <a:spcAft>
                <a:spcPct val="35000"/>
              </a:spcAft>
              <a:buNone/>
            </a:pPr>
            <a:r>
              <a:rPr lang="en-US" sz="3200" b="0" kern="1200" dirty="0">
                <a:solidFill>
                  <a:srgbClr val="FFFFFF"/>
                </a:solidFill>
                <a:latin typeface="Segoe UI Semibold" panose="020B0702040204020203" pitchFamily="34" charset="0"/>
                <a:ea typeface="+mn-ea"/>
                <a:cs typeface="Segoe UI Semibold" panose="020B0702040204020203" pitchFamily="34" charset="0"/>
              </a:rPr>
              <a:t>Recommended</a:t>
            </a:r>
          </a:p>
        </p:txBody>
      </p:sp>
      <p:sp>
        <p:nvSpPr>
          <p:cNvPr id="12" name="Freeform: Shape 11"/>
          <p:cNvSpPr/>
          <p:nvPr/>
        </p:nvSpPr>
        <p:spPr>
          <a:xfrm>
            <a:off x="4281381" y="4843604"/>
            <a:ext cx="6169149" cy="1912797"/>
          </a:xfrm>
          <a:custGeom>
            <a:avLst/>
            <a:gdLst>
              <a:gd name="connsiteX0" fmla="*/ 0 w 7125896"/>
              <a:gd name="connsiteY0" fmla="*/ 180910 h 1447281"/>
              <a:gd name="connsiteX1" fmla="*/ 6402256 w 7125896"/>
              <a:gd name="connsiteY1" fmla="*/ 180910 h 1447281"/>
              <a:gd name="connsiteX2" fmla="*/ 6402256 w 7125896"/>
              <a:gd name="connsiteY2" fmla="*/ 0 h 1447281"/>
              <a:gd name="connsiteX3" fmla="*/ 7125896 w 7125896"/>
              <a:gd name="connsiteY3" fmla="*/ 723641 h 1447281"/>
              <a:gd name="connsiteX4" fmla="*/ 6402256 w 7125896"/>
              <a:gd name="connsiteY4" fmla="*/ 1447281 h 1447281"/>
              <a:gd name="connsiteX5" fmla="*/ 6402256 w 7125896"/>
              <a:gd name="connsiteY5" fmla="*/ 1266371 h 1447281"/>
              <a:gd name="connsiteX6" fmla="*/ 0 w 7125896"/>
              <a:gd name="connsiteY6" fmla="*/ 1266371 h 1447281"/>
              <a:gd name="connsiteX7" fmla="*/ 0 w 7125896"/>
              <a:gd name="connsiteY7" fmla="*/ 180910 h 14472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125896" h="1447281">
                <a:moveTo>
                  <a:pt x="0" y="180910"/>
                </a:moveTo>
                <a:lnTo>
                  <a:pt x="6402256" y="180910"/>
                </a:lnTo>
                <a:lnTo>
                  <a:pt x="6402256" y="0"/>
                </a:lnTo>
                <a:lnTo>
                  <a:pt x="7125896" y="723641"/>
                </a:lnTo>
                <a:lnTo>
                  <a:pt x="6402256" y="1447281"/>
                </a:lnTo>
                <a:lnTo>
                  <a:pt x="6402256" y="1266371"/>
                </a:lnTo>
                <a:lnTo>
                  <a:pt x="0" y="1266371"/>
                </a:lnTo>
                <a:lnTo>
                  <a:pt x="0" y="180910"/>
                </a:lnTo>
                <a:close/>
              </a:path>
            </a:pathLst>
          </a:custGeom>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365760" tIns="365760" rIns="640080" bIns="192340" numCol="1" spcCol="1270" anchor="t" anchorCtr="0">
            <a:noAutofit/>
          </a:bodyPr>
          <a:lstStyle/>
          <a:p>
            <a:pPr marL="285750" lvl="0" indent="-285750">
              <a:buFont typeface="Arial" panose="020B0604020202020204" pitchFamily="34" charset="0"/>
              <a:buChar char="•"/>
            </a:pPr>
            <a:r>
              <a:rPr lang="en-US" dirty="0"/>
              <a:t>Explore what the data science community has already created and look to extend or enhance these solutions instead of creating them from scratch to speed the development effort time</a:t>
            </a:r>
          </a:p>
        </p:txBody>
      </p:sp>
      <p:sp>
        <p:nvSpPr>
          <p:cNvPr id="13" name="Freeform: Shape 12"/>
          <p:cNvSpPr/>
          <p:nvPr/>
        </p:nvSpPr>
        <p:spPr>
          <a:xfrm>
            <a:off x="1259112" y="5075274"/>
            <a:ext cx="3210524" cy="1448676"/>
          </a:xfrm>
          <a:custGeom>
            <a:avLst/>
            <a:gdLst>
              <a:gd name="connsiteX0" fmla="*/ 0 w 3210524"/>
              <a:gd name="connsiteY0" fmla="*/ 191185 h 1147089"/>
              <a:gd name="connsiteX1" fmla="*/ 191185 w 3210524"/>
              <a:gd name="connsiteY1" fmla="*/ 0 h 1147089"/>
              <a:gd name="connsiteX2" fmla="*/ 3019339 w 3210524"/>
              <a:gd name="connsiteY2" fmla="*/ 0 h 1147089"/>
              <a:gd name="connsiteX3" fmla="*/ 3210524 w 3210524"/>
              <a:gd name="connsiteY3" fmla="*/ 191185 h 1147089"/>
              <a:gd name="connsiteX4" fmla="*/ 3210524 w 3210524"/>
              <a:gd name="connsiteY4" fmla="*/ 955904 h 1147089"/>
              <a:gd name="connsiteX5" fmla="*/ 3019339 w 3210524"/>
              <a:gd name="connsiteY5" fmla="*/ 1147089 h 1147089"/>
              <a:gd name="connsiteX6" fmla="*/ 191185 w 3210524"/>
              <a:gd name="connsiteY6" fmla="*/ 1147089 h 1147089"/>
              <a:gd name="connsiteX7" fmla="*/ 0 w 3210524"/>
              <a:gd name="connsiteY7" fmla="*/ 955904 h 1147089"/>
              <a:gd name="connsiteX8" fmla="*/ 0 w 3210524"/>
              <a:gd name="connsiteY8" fmla="*/ 191185 h 1147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10524" h="1147089">
                <a:moveTo>
                  <a:pt x="0" y="191185"/>
                </a:moveTo>
                <a:cubicBezTo>
                  <a:pt x="0" y="85596"/>
                  <a:pt x="85596" y="0"/>
                  <a:pt x="191185" y="0"/>
                </a:cubicBezTo>
                <a:lnTo>
                  <a:pt x="3019339" y="0"/>
                </a:lnTo>
                <a:cubicBezTo>
                  <a:pt x="3124928" y="0"/>
                  <a:pt x="3210524" y="85596"/>
                  <a:pt x="3210524" y="191185"/>
                </a:cubicBezTo>
                <a:lnTo>
                  <a:pt x="3210524" y="955904"/>
                </a:lnTo>
                <a:cubicBezTo>
                  <a:pt x="3210524" y="1061493"/>
                  <a:pt x="3124928" y="1147089"/>
                  <a:pt x="3019339" y="1147089"/>
                </a:cubicBezTo>
                <a:lnTo>
                  <a:pt x="191185" y="1147089"/>
                </a:lnTo>
                <a:cubicBezTo>
                  <a:pt x="85596" y="1147089"/>
                  <a:pt x="0" y="1061493"/>
                  <a:pt x="0" y="955904"/>
                </a:cubicBezTo>
                <a:lnTo>
                  <a:pt x="0" y="191185"/>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77916" tIns="116956" rIns="177916" bIns="116956" numCol="1" spcCol="1270" anchor="ctr" anchorCtr="0">
            <a:noAutofit/>
          </a:bodyPr>
          <a:lstStyle/>
          <a:p>
            <a:pPr marL="0" lvl="0" indent="0" algn="ctr" defTabSz="1422400">
              <a:lnSpc>
                <a:spcPct val="90000"/>
              </a:lnSpc>
              <a:spcBef>
                <a:spcPct val="0"/>
              </a:spcBef>
              <a:spcAft>
                <a:spcPct val="35000"/>
              </a:spcAft>
              <a:buNone/>
            </a:pPr>
            <a:r>
              <a:rPr lang="en-US" sz="3200" b="0" kern="1200" dirty="0">
                <a:solidFill>
                  <a:srgbClr val="FFFFFF"/>
                </a:solidFill>
                <a:latin typeface="Segoe UI Semibold" panose="020B0702040204020203" pitchFamily="34" charset="0"/>
                <a:ea typeface="+mn-ea"/>
                <a:cs typeface="Segoe UI Semibold" panose="020B0702040204020203" pitchFamily="34" charset="0"/>
              </a:rPr>
              <a:t>Optional</a:t>
            </a:r>
          </a:p>
        </p:txBody>
      </p:sp>
      <p:sp>
        <p:nvSpPr>
          <p:cNvPr id="4" name="Octagon 3"/>
          <p:cNvSpPr/>
          <p:nvPr/>
        </p:nvSpPr>
        <p:spPr>
          <a:xfrm>
            <a:off x="1107200" y="2657041"/>
            <a:ext cx="443098" cy="439889"/>
          </a:xfrm>
          <a:prstGeom prst="octagon">
            <a:avLst/>
          </a:prstGeom>
          <a:solidFill>
            <a:srgbClr val="CC0000"/>
          </a:solidFill>
        </p:spPr>
        <p:style>
          <a:lnRef idx="1">
            <a:schemeClr val="accent2"/>
          </a:lnRef>
          <a:fillRef idx="3">
            <a:schemeClr val="accent2"/>
          </a:fillRef>
          <a:effectRef idx="2">
            <a:schemeClr val="accent2"/>
          </a:effectRef>
          <a:fontRef idx="minor">
            <a:schemeClr val="lt1"/>
          </a:fontRef>
        </p:style>
        <p:txBody>
          <a:bodyPr rot="0" spcFirstLastPara="0" vert="horz" wrap="square" lIns="68583" tIns="34291" rIns="68583" bIns="34291" numCol="1" spcCol="0" rtlCol="0" fromWordArt="0" anchor="ctr" anchorCtr="0" forceAA="0" compatLnSpc="1">
            <a:prstTxWarp prst="textNoShape">
              <a:avLst/>
            </a:prstTxWarp>
            <a:noAutofit/>
          </a:bodyPr>
          <a:lstStyle/>
          <a:p>
            <a:endParaRPr lang="en-US" sz="1350" dirty="0"/>
          </a:p>
        </p:txBody>
      </p:sp>
      <p:sp>
        <p:nvSpPr>
          <p:cNvPr id="5" name="Isosceles Triangle 4"/>
          <p:cNvSpPr>
            <a:spLocks/>
          </p:cNvSpPr>
          <p:nvPr/>
        </p:nvSpPr>
        <p:spPr>
          <a:xfrm>
            <a:off x="1038785" y="4187600"/>
            <a:ext cx="579874" cy="457219"/>
          </a:xfrm>
          <a:prstGeom prst="triangle">
            <a:avLst/>
          </a:prstGeom>
          <a:solidFill>
            <a:srgbClr val="FFFF00"/>
          </a:solidFill>
        </p:spPr>
        <p:style>
          <a:lnRef idx="1">
            <a:schemeClr val="accent6"/>
          </a:lnRef>
          <a:fillRef idx="3">
            <a:schemeClr val="accent6"/>
          </a:fillRef>
          <a:effectRef idx="2">
            <a:schemeClr val="accent6"/>
          </a:effectRef>
          <a:fontRef idx="minor">
            <a:schemeClr val="lt1"/>
          </a:fontRef>
        </p:style>
        <p:txBody>
          <a:bodyPr rot="0" spcFirstLastPara="0" vert="horz" wrap="square" lIns="68583" tIns="34291" rIns="68583" bIns="34291" numCol="1" spcCol="0" rtlCol="0" fromWordArt="0" anchor="ctr" anchorCtr="0" forceAA="0" compatLnSpc="1">
            <a:prstTxWarp prst="textNoShape">
              <a:avLst/>
            </a:prstTxWarp>
            <a:noAutofit/>
          </a:bodyPr>
          <a:lstStyle/>
          <a:p>
            <a:endParaRPr lang="en-US" sz="1350"/>
          </a:p>
        </p:txBody>
      </p:sp>
      <p:sp>
        <p:nvSpPr>
          <p:cNvPr id="6" name="Oval 5"/>
          <p:cNvSpPr>
            <a:spLocks/>
          </p:cNvSpPr>
          <p:nvPr/>
        </p:nvSpPr>
        <p:spPr>
          <a:xfrm>
            <a:off x="1038785" y="6264074"/>
            <a:ext cx="474539" cy="475477"/>
          </a:xfrm>
          <a:prstGeom prst="ellipse">
            <a:avLst/>
          </a:prstGeom>
          <a:solidFill>
            <a:srgbClr val="00B050"/>
          </a:solidFill>
        </p:spPr>
        <p:style>
          <a:lnRef idx="1">
            <a:schemeClr val="accent3"/>
          </a:lnRef>
          <a:fillRef idx="3">
            <a:schemeClr val="accent3"/>
          </a:fillRef>
          <a:effectRef idx="2">
            <a:schemeClr val="accent3"/>
          </a:effectRef>
          <a:fontRef idx="minor">
            <a:schemeClr val="lt1"/>
          </a:fontRef>
        </p:style>
        <p:txBody>
          <a:bodyPr rot="0" spcFirstLastPara="0" vert="horz" wrap="square" lIns="68583" tIns="34291" rIns="68583" bIns="34291" numCol="1" spcCol="0" rtlCol="0" fromWordArt="0" anchor="ctr" anchorCtr="0" forceAA="0" compatLnSpc="1">
            <a:prstTxWarp prst="textNoShape">
              <a:avLst/>
            </a:prstTxWarp>
            <a:noAutofit/>
          </a:bodyPr>
          <a:lstStyle/>
          <a:p>
            <a:endParaRPr lang="en-US" sz="1350"/>
          </a:p>
        </p:txBody>
      </p:sp>
    </p:spTree>
    <p:extLst>
      <p:ext uri="{BB962C8B-B14F-4D97-AF65-F5344CB8AC3E}">
        <p14:creationId xmlns:p14="http://schemas.microsoft.com/office/powerpoint/2010/main" val="2480766649"/>
      </p:ext>
    </p:extLst>
  </p:cSld>
  <p:clrMapOvr>
    <a:masterClrMapping/>
  </p:clrMapOvr>
  <p:transition>
    <p:fade/>
  </p:transition>
</p:sld>
</file>

<file path=ppt/slides/slide18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Stream Analytics</a:t>
            </a:r>
          </a:p>
        </p:txBody>
      </p:sp>
      <p:sp>
        <p:nvSpPr>
          <p:cNvPr id="5" name="Text Placeholder 4"/>
          <p:cNvSpPr>
            <a:spLocks noGrp="1"/>
          </p:cNvSpPr>
          <p:nvPr>
            <p:ph type="body" sz="quarter" idx="10"/>
          </p:nvPr>
        </p:nvSpPr>
        <p:spPr>
          <a:xfrm>
            <a:off x="366003" y="1211287"/>
            <a:ext cx="5608081" cy="2240613"/>
          </a:xfrm>
        </p:spPr>
        <p:txBody>
          <a:bodyPr/>
          <a:lstStyle/>
          <a:p>
            <a:pPr marL="0" indent="0">
              <a:buNone/>
            </a:pPr>
            <a:r>
              <a:rPr lang="en-US" dirty="0">
                <a:solidFill>
                  <a:schemeClr val="tx2"/>
                </a:solidFill>
              </a:rPr>
              <a:t>Input (Ingestion)</a:t>
            </a:r>
          </a:p>
          <a:p>
            <a:pPr marL="342900" lvl="1" indent="-342900"/>
            <a:r>
              <a:rPr lang="en-US" sz="2000" dirty="0"/>
              <a:t>Event Hubs</a:t>
            </a:r>
          </a:p>
          <a:p>
            <a:pPr marL="342900" lvl="1" indent="-342900"/>
            <a:r>
              <a:rPr lang="en-US" sz="2000" dirty="0"/>
              <a:t>IoT Hubs</a:t>
            </a:r>
          </a:p>
          <a:p>
            <a:pPr marL="342900" lvl="1" indent="-342900"/>
            <a:r>
              <a:rPr lang="en-US" sz="2000" dirty="0"/>
              <a:t>Blob Service</a:t>
            </a:r>
          </a:p>
          <a:p>
            <a:endParaRPr lang="en-US" dirty="0"/>
          </a:p>
        </p:txBody>
      </p:sp>
      <p:sp>
        <p:nvSpPr>
          <p:cNvPr id="6" name="Text Placeholder 5"/>
          <p:cNvSpPr>
            <a:spLocks noGrp="1"/>
          </p:cNvSpPr>
          <p:nvPr>
            <p:ph type="body" sz="quarter" idx="11"/>
          </p:nvPr>
        </p:nvSpPr>
        <p:spPr>
          <a:xfrm>
            <a:off x="6461209" y="1211287"/>
            <a:ext cx="5608081" cy="4025717"/>
          </a:xfrm>
        </p:spPr>
        <p:txBody>
          <a:bodyPr/>
          <a:lstStyle/>
          <a:p>
            <a:pPr marL="342900" lvl="1" indent="-342900"/>
            <a:r>
              <a:rPr lang="en-US" sz="2000" dirty="0"/>
              <a:t>Output</a:t>
            </a:r>
          </a:p>
          <a:p>
            <a:pPr marL="342900" lvl="1" indent="-342900"/>
            <a:r>
              <a:rPr lang="en-US" sz="2000" dirty="0"/>
              <a:t>Storage Blobs and Tables</a:t>
            </a:r>
          </a:p>
          <a:p>
            <a:pPr marL="342900" lvl="1" indent="-342900"/>
            <a:r>
              <a:rPr lang="en-US" sz="2000" dirty="0"/>
              <a:t>SQL Database</a:t>
            </a:r>
          </a:p>
          <a:p>
            <a:pPr marL="342900" lvl="1" indent="-342900"/>
            <a:r>
              <a:rPr lang="en-US" sz="2000" dirty="0"/>
              <a:t>Data Lake Stores</a:t>
            </a:r>
          </a:p>
          <a:p>
            <a:pPr marL="342900" lvl="1" indent="-342900"/>
            <a:r>
              <a:rPr lang="en-US" sz="2000" dirty="0"/>
              <a:t>DocumentDB</a:t>
            </a:r>
          </a:p>
          <a:p>
            <a:pPr marL="342900" lvl="1" indent="-342900"/>
            <a:r>
              <a:rPr lang="en-US" sz="2000" dirty="0"/>
              <a:t>Event Hubs</a:t>
            </a:r>
          </a:p>
          <a:p>
            <a:pPr marL="342900" lvl="1" indent="-342900"/>
            <a:r>
              <a:rPr lang="en-US" sz="2000" dirty="0"/>
              <a:t>Service Bus Topics and Queues</a:t>
            </a:r>
          </a:p>
          <a:p>
            <a:pPr marL="342900" lvl="1" indent="-342900"/>
            <a:r>
              <a:rPr lang="en-US" sz="2000" dirty="0"/>
              <a:t>Power BI</a:t>
            </a:r>
          </a:p>
          <a:p>
            <a:endParaRPr lang="en-US" dirty="0"/>
          </a:p>
          <a:p>
            <a:endParaRPr lang="en-US" dirty="0"/>
          </a:p>
        </p:txBody>
      </p:sp>
    </p:spTree>
    <p:extLst>
      <p:ext uri="{BB962C8B-B14F-4D97-AF65-F5344CB8AC3E}">
        <p14:creationId xmlns:p14="http://schemas.microsoft.com/office/powerpoint/2010/main" val="2814092609"/>
      </p:ext>
    </p:extLst>
  </p:cSld>
  <p:clrMapOvr>
    <a:masterClrMapping/>
  </p:clrMapOvr>
  <p:transition>
    <p:fade/>
  </p:transition>
</p:sld>
</file>

<file path=ppt/slides/slide18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Segoe UI Light" panose="020B0502040204020203" pitchFamily="34" charset="0"/>
                <a:cs typeface="Segoe UI Light" panose="020B0502040204020203" pitchFamily="34" charset="0"/>
              </a:rPr>
              <a:t>Azure Machine Learning decisions</a:t>
            </a:r>
            <a:endParaRPr lang="en-US" dirty="0"/>
          </a:p>
        </p:txBody>
      </p:sp>
      <p:sp>
        <p:nvSpPr>
          <p:cNvPr id="8" name="Freeform: Shape 7"/>
          <p:cNvSpPr/>
          <p:nvPr/>
        </p:nvSpPr>
        <p:spPr>
          <a:xfrm>
            <a:off x="4416051" y="1746148"/>
            <a:ext cx="6007262" cy="928564"/>
          </a:xfrm>
          <a:custGeom>
            <a:avLst/>
            <a:gdLst>
              <a:gd name="connsiteX0" fmla="*/ 0 w 6937384"/>
              <a:gd name="connsiteY0" fmla="*/ 171052 h 1368412"/>
              <a:gd name="connsiteX1" fmla="*/ 6253178 w 6937384"/>
              <a:gd name="connsiteY1" fmla="*/ 171052 h 1368412"/>
              <a:gd name="connsiteX2" fmla="*/ 6253178 w 6937384"/>
              <a:gd name="connsiteY2" fmla="*/ 0 h 1368412"/>
              <a:gd name="connsiteX3" fmla="*/ 6937384 w 6937384"/>
              <a:gd name="connsiteY3" fmla="*/ 684206 h 1368412"/>
              <a:gd name="connsiteX4" fmla="*/ 6253178 w 6937384"/>
              <a:gd name="connsiteY4" fmla="*/ 1368412 h 1368412"/>
              <a:gd name="connsiteX5" fmla="*/ 6253178 w 6937384"/>
              <a:gd name="connsiteY5" fmla="*/ 1197361 h 1368412"/>
              <a:gd name="connsiteX6" fmla="*/ 0 w 6937384"/>
              <a:gd name="connsiteY6" fmla="*/ 1197361 h 1368412"/>
              <a:gd name="connsiteX7" fmla="*/ 0 w 6937384"/>
              <a:gd name="connsiteY7" fmla="*/ 171052 h 13684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937384" h="1368412">
                <a:moveTo>
                  <a:pt x="0" y="171052"/>
                </a:moveTo>
                <a:lnTo>
                  <a:pt x="6253178" y="171052"/>
                </a:lnTo>
                <a:lnTo>
                  <a:pt x="6253178" y="0"/>
                </a:lnTo>
                <a:lnTo>
                  <a:pt x="6937384" y="684206"/>
                </a:lnTo>
                <a:lnTo>
                  <a:pt x="6253178" y="1368412"/>
                </a:lnTo>
                <a:lnTo>
                  <a:pt x="6253178" y="1197361"/>
                </a:lnTo>
                <a:lnTo>
                  <a:pt x="0" y="1197361"/>
                </a:lnTo>
                <a:lnTo>
                  <a:pt x="0" y="171052"/>
                </a:lnTo>
                <a:close/>
              </a:path>
            </a:pathLst>
          </a:custGeom>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228600" tIns="365760" rIns="365760" bIns="182481" numCol="1" spcCol="1270" anchor="t" anchorCtr="0">
            <a:noAutofit/>
          </a:bodyPr>
          <a:lstStyle/>
          <a:p>
            <a:pPr marL="285750" lvl="1" indent="-285750" defTabSz="800100">
              <a:lnSpc>
                <a:spcPct val="90000"/>
              </a:lnSpc>
              <a:spcBef>
                <a:spcPct val="0"/>
              </a:spcBef>
              <a:spcAft>
                <a:spcPct val="15000"/>
              </a:spcAft>
              <a:buFont typeface="Arial" panose="020B0604020202020204" pitchFamily="34" charset="0"/>
              <a:buChar char="•"/>
            </a:pPr>
            <a:r>
              <a:rPr lang="en-US" dirty="0"/>
              <a:t>Configure a data stream input and an output</a:t>
            </a:r>
          </a:p>
        </p:txBody>
      </p:sp>
      <p:sp>
        <p:nvSpPr>
          <p:cNvPr id="9" name="Freeform: Shape 8"/>
          <p:cNvSpPr/>
          <p:nvPr/>
        </p:nvSpPr>
        <p:spPr>
          <a:xfrm>
            <a:off x="1320269" y="1842977"/>
            <a:ext cx="3221976" cy="729885"/>
          </a:xfrm>
          <a:custGeom>
            <a:avLst/>
            <a:gdLst>
              <a:gd name="connsiteX0" fmla="*/ 0 w 3221976"/>
              <a:gd name="connsiteY0" fmla="*/ 188426 h 1130532"/>
              <a:gd name="connsiteX1" fmla="*/ 188426 w 3221976"/>
              <a:gd name="connsiteY1" fmla="*/ 0 h 1130532"/>
              <a:gd name="connsiteX2" fmla="*/ 3033550 w 3221976"/>
              <a:gd name="connsiteY2" fmla="*/ 0 h 1130532"/>
              <a:gd name="connsiteX3" fmla="*/ 3221976 w 3221976"/>
              <a:gd name="connsiteY3" fmla="*/ 188426 h 1130532"/>
              <a:gd name="connsiteX4" fmla="*/ 3221976 w 3221976"/>
              <a:gd name="connsiteY4" fmla="*/ 942106 h 1130532"/>
              <a:gd name="connsiteX5" fmla="*/ 3033550 w 3221976"/>
              <a:gd name="connsiteY5" fmla="*/ 1130532 h 1130532"/>
              <a:gd name="connsiteX6" fmla="*/ 188426 w 3221976"/>
              <a:gd name="connsiteY6" fmla="*/ 1130532 h 1130532"/>
              <a:gd name="connsiteX7" fmla="*/ 0 w 3221976"/>
              <a:gd name="connsiteY7" fmla="*/ 942106 h 1130532"/>
              <a:gd name="connsiteX8" fmla="*/ 0 w 3221976"/>
              <a:gd name="connsiteY8" fmla="*/ 188426 h 11305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21976" h="1130532">
                <a:moveTo>
                  <a:pt x="0" y="188426"/>
                </a:moveTo>
                <a:cubicBezTo>
                  <a:pt x="0" y="84361"/>
                  <a:pt x="84361" y="0"/>
                  <a:pt x="188426" y="0"/>
                </a:cubicBezTo>
                <a:lnTo>
                  <a:pt x="3033550" y="0"/>
                </a:lnTo>
                <a:cubicBezTo>
                  <a:pt x="3137615" y="0"/>
                  <a:pt x="3221976" y="84361"/>
                  <a:pt x="3221976" y="188426"/>
                </a:cubicBezTo>
                <a:lnTo>
                  <a:pt x="3221976" y="942106"/>
                </a:lnTo>
                <a:cubicBezTo>
                  <a:pt x="3221976" y="1046171"/>
                  <a:pt x="3137615" y="1130532"/>
                  <a:pt x="3033550" y="1130532"/>
                </a:cubicBezTo>
                <a:lnTo>
                  <a:pt x="188426" y="1130532"/>
                </a:lnTo>
                <a:cubicBezTo>
                  <a:pt x="84361" y="1130532"/>
                  <a:pt x="0" y="1046171"/>
                  <a:pt x="0" y="942106"/>
                </a:cubicBezTo>
                <a:lnTo>
                  <a:pt x="0" y="188426"/>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77108" tIns="116148" rIns="177108" bIns="116148" numCol="1" spcCol="1270" anchor="ctr" anchorCtr="0">
            <a:noAutofit/>
          </a:bodyPr>
          <a:lstStyle/>
          <a:p>
            <a:pPr marL="0" lvl="0" indent="0" algn="ctr" defTabSz="1422400">
              <a:lnSpc>
                <a:spcPct val="90000"/>
              </a:lnSpc>
              <a:spcBef>
                <a:spcPct val="0"/>
              </a:spcBef>
              <a:spcAft>
                <a:spcPct val="35000"/>
              </a:spcAft>
              <a:buNone/>
            </a:pPr>
            <a:r>
              <a:rPr lang="en-US" sz="3200" b="0" kern="1200" dirty="0">
                <a:latin typeface="Segoe UI Semibold" panose="020B0702040204020203" pitchFamily="34" charset="0"/>
                <a:cs typeface="Segoe UI Semibold" panose="020B0702040204020203" pitchFamily="34" charset="0"/>
              </a:rPr>
              <a:t>Mandatory</a:t>
            </a:r>
          </a:p>
        </p:txBody>
      </p:sp>
      <p:sp>
        <p:nvSpPr>
          <p:cNvPr id="10" name="Freeform: Shape 9"/>
          <p:cNvSpPr/>
          <p:nvPr/>
        </p:nvSpPr>
        <p:spPr>
          <a:xfrm>
            <a:off x="4174859" y="2669691"/>
            <a:ext cx="6248454" cy="2174903"/>
          </a:xfrm>
          <a:custGeom>
            <a:avLst/>
            <a:gdLst>
              <a:gd name="connsiteX0" fmla="*/ 0 w 7091479"/>
              <a:gd name="connsiteY0" fmla="*/ 293845 h 2350760"/>
              <a:gd name="connsiteX1" fmla="*/ 5916099 w 7091479"/>
              <a:gd name="connsiteY1" fmla="*/ 293845 h 2350760"/>
              <a:gd name="connsiteX2" fmla="*/ 5916099 w 7091479"/>
              <a:gd name="connsiteY2" fmla="*/ 0 h 2350760"/>
              <a:gd name="connsiteX3" fmla="*/ 7091479 w 7091479"/>
              <a:gd name="connsiteY3" fmla="*/ 1175380 h 2350760"/>
              <a:gd name="connsiteX4" fmla="*/ 5916099 w 7091479"/>
              <a:gd name="connsiteY4" fmla="*/ 2350760 h 2350760"/>
              <a:gd name="connsiteX5" fmla="*/ 5916099 w 7091479"/>
              <a:gd name="connsiteY5" fmla="*/ 2056915 h 2350760"/>
              <a:gd name="connsiteX6" fmla="*/ 0 w 7091479"/>
              <a:gd name="connsiteY6" fmla="*/ 2056915 h 2350760"/>
              <a:gd name="connsiteX7" fmla="*/ 0 w 7091479"/>
              <a:gd name="connsiteY7" fmla="*/ 293845 h 2350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091479" h="2350760">
                <a:moveTo>
                  <a:pt x="0" y="293845"/>
                </a:moveTo>
                <a:lnTo>
                  <a:pt x="5916099" y="293845"/>
                </a:lnTo>
                <a:lnTo>
                  <a:pt x="5916099" y="0"/>
                </a:lnTo>
                <a:lnTo>
                  <a:pt x="7091479" y="1175380"/>
                </a:lnTo>
                <a:lnTo>
                  <a:pt x="5916099" y="2350760"/>
                </a:lnTo>
                <a:lnTo>
                  <a:pt x="5916099" y="2056915"/>
                </a:lnTo>
                <a:lnTo>
                  <a:pt x="0" y="2056915"/>
                </a:lnTo>
                <a:lnTo>
                  <a:pt x="0" y="293845"/>
                </a:lnTo>
                <a:close/>
              </a:path>
            </a:pathLst>
          </a:custGeom>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457200" tIns="457200" rIns="1064415" bIns="305275" numCol="1" spcCol="1270" anchor="t" anchorCtr="0">
            <a:noAutofit/>
          </a:bodyPr>
          <a:lstStyle/>
          <a:p>
            <a:pPr marL="285750" lvl="1" indent="-285750" defTabSz="800100">
              <a:lnSpc>
                <a:spcPct val="90000"/>
              </a:lnSpc>
              <a:spcBef>
                <a:spcPct val="0"/>
              </a:spcBef>
              <a:spcAft>
                <a:spcPct val="15000"/>
              </a:spcAft>
              <a:buFont typeface="Arial" panose="020B0604020202020204" pitchFamily="34" charset="0"/>
              <a:buChar char="•"/>
            </a:pPr>
            <a:r>
              <a:rPr lang="en-US" dirty="0"/>
              <a:t>Create a SQL-like query to process data on the fly. Configure data ingestion service (e.g. event hub) and stream analytics in multiple environments to prevent any downtime of application</a:t>
            </a:r>
          </a:p>
        </p:txBody>
      </p:sp>
      <p:sp>
        <p:nvSpPr>
          <p:cNvPr id="11" name="Freeform: Shape 10"/>
          <p:cNvSpPr/>
          <p:nvPr/>
        </p:nvSpPr>
        <p:spPr>
          <a:xfrm>
            <a:off x="1328722" y="2931651"/>
            <a:ext cx="3213523" cy="1659423"/>
          </a:xfrm>
          <a:custGeom>
            <a:avLst/>
            <a:gdLst>
              <a:gd name="connsiteX0" fmla="*/ 0 w 3213523"/>
              <a:gd name="connsiteY0" fmla="*/ 295356 h 1772099"/>
              <a:gd name="connsiteX1" fmla="*/ 295356 w 3213523"/>
              <a:gd name="connsiteY1" fmla="*/ 0 h 1772099"/>
              <a:gd name="connsiteX2" fmla="*/ 2918167 w 3213523"/>
              <a:gd name="connsiteY2" fmla="*/ 0 h 1772099"/>
              <a:gd name="connsiteX3" fmla="*/ 3213523 w 3213523"/>
              <a:gd name="connsiteY3" fmla="*/ 295356 h 1772099"/>
              <a:gd name="connsiteX4" fmla="*/ 3213523 w 3213523"/>
              <a:gd name="connsiteY4" fmla="*/ 1476743 h 1772099"/>
              <a:gd name="connsiteX5" fmla="*/ 2918167 w 3213523"/>
              <a:gd name="connsiteY5" fmla="*/ 1772099 h 1772099"/>
              <a:gd name="connsiteX6" fmla="*/ 295356 w 3213523"/>
              <a:gd name="connsiteY6" fmla="*/ 1772099 h 1772099"/>
              <a:gd name="connsiteX7" fmla="*/ 0 w 3213523"/>
              <a:gd name="connsiteY7" fmla="*/ 1476743 h 1772099"/>
              <a:gd name="connsiteX8" fmla="*/ 0 w 3213523"/>
              <a:gd name="connsiteY8" fmla="*/ 295356 h 17720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13523" h="1772099">
                <a:moveTo>
                  <a:pt x="0" y="295356"/>
                </a:moveTo>
                <a:cubicBezTo>
                  <a:pt x="0" y="132235"/>
                  <a:pt x="132235" y="0"/>
                  <a:pt x="295356" y="0"/>
                </a:cubicBezTo>
                <a:lnTo>
                  <a:pt x="2918167" y="0"/>
                </a:lnTo>
                <a:cubicBezTo>
                  <a:pt x="3081288" y="0"/>
                  <a:pt x="3213523" y="132235"/>
                  <a:pt x="3213523" y="295356"/>
                </a:cubicBezTo>
                <a:lnTo>
                  <a:pt x="3213523" y="1476743"/>
                </a:lnTo>
                <a:cubicBezTo>
                  <a:pt x="3213523" y="1639864"/>
                  <a:pt x="3081288" y="1772099"/>
                  <a:pt x="2918167" y="1772099"/>
                </a:cubicBezTo>
                <a:lnTo>
                  <a:pt x="295356" y="1772099"/>
                </a:lnTo>
                <a:cubicBezTo>
                  <a:pt x="132235" y="1772099"/>
                  <a:pt x="0" y="1639864"/>
                  <a:pt x="0" y="1476743"/>
                </a:cubicBezTo>
                <a:lnTo>
                  <a:pt x="0" y="295356"/>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08427" tIns="147467" rIns="208427" bIns="147467" numCol="1" spcCol="1270" anchor="ctr" anchorCtr="0">
            <a:noAutofit/>
          </a:bodyPr>
          <a:lstStyle/>
          <a:p>
            <a:pPr marL="0" lvl="0" indent="0" algn="ctr" defTabSz="1422400">
              <a:lnSpc>
                <a:spcPct val="90000"/>
              </a:lnSpc>
              <a:spcBef>
                <a:spcPct val="0"/>
              </a:spcBef>
              <a:spcAft>
                <a:spcPct val="35000"/>
              </a:spcAft>
              <a:buNone/>
            </a:pPr>
            <a:r>
              <a:rPr lang="en-US" sz="3200" b="0" kern="1200" dirty="0">
                <a:solidFill>
                  <a:srgbClr val="FFFFFF"/>
                </a:solidFill>
                <a:latin typeface="Segoe UI Semibold" panose="020B0702040204020203" pitchFamily="34" charset="0"/>
                <a:ea typeface="+mn-ea"/>
                <a:cs typeface="Segoe UI Semibold" panose="020B0702040204020203" pitchFamily="34" charset="0"/>
              </a:rPr>
              <a:t>Recommended</a:t>
            </a:r>
          </a:p>
        </p:txBody>
      </p:sp>
      <p:sp>
        <p:nvSpPr>
          <p:cNvPr id="12" name="Freeform: Shape 11"/>
          <p:cNvSpPr/>
          <p:nvPr/>
        </p:nvSpPr>
        <p:spPr>
          <a:xfrm>
            <a:off x="4281381" y="4843604"/>
            <a:ext cx="6141932" cy="1912797"/>
          </a:xfrm>
          <a:custGeom>
            <a:avLst/>
            <a:gdLst>
              <a:gd name="connsiteX0" fmla="*/ 0 w 7125896"/>
              <a:gd name="connsiteY0" fmla="*/ 180910 h 1447281"/>
              <a:gd name="connsiteX1" fmla="*/ 6402256 w 7125896"/>
              <a:gd name="connsiteY1" fmla="*/ 180910 h 1447281"/>
              <a:gd name="connsiteX2" fmla="*/ 6402256 w 7125896"/>
              <a:gd name="connsiteY2" fmla="*/ 0 h 1447281"/>
              <a:gd name="connsiteX3" fmla="*/ 7125896 w 7125896"/>
              <a:gd name="connsiteY3" fmla="*/ 723641 h 1447281"/>
              <a:gd name="connsiteX4" fmla="*/ 6402256 w 7125896"/>
              <a:gd name="connsiteY4" fmla="*/ 1447281 h 1447281"/>
              <a:gd name="connsiteX5" fmla="*/ 6402256 w 7125896"/>
              <a:gd name="connsiteY5" fmla="*/ 1266371 h 1447281"/>
              <a:gd name="connsiteX6" fmla="*/ 0 w 7125896"/>
              <a:gd name="connsiteY6" fmla="*/ 1266371 h 1447281"/>
              <a:gd name="connsiteX7" fmla="*/ 0 w 7125896"/>
              <a:gd name="connsiteY7" fmla="*/ 180910 h 14472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125896" h="1447281">
                <a:moveTo>
                  <a:pt x="0" y="180910"/>
                </a:moveTo>
                <a:lnTo>
                  <a:pt x="6402256" y="180910"/>
                </a:lnTo>
                <a:lnTo>
                  <a:pt x="6402256" y="0"/>
                </a:lnTo>
                <a:lnTo>
                  <a:pt x="7125896" y="723641"/>
                </a:lnTo>
                <a:lnTo>
                  <a:pt x="6402256" y="1447281"/>
                </a:lnTo>
                <a:lnTo>
                  <a:pt x="6402256" y="1266371"/>
                </a:lnTo>
                <a:lnTo>
                  <a:pt x="0" y="1266371"/>
                </a:lnTo>
                <a:lnTo>
                  <a:pt x="0" y="180910"/>
                </a:lnTo>
                <a:close/>
              </a:path>
            </a:pathLst>
          </a:custGeom>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365760" tIns="365760" rIns="640080" bIns="192340" numCol="1" spcCol="1270" anchor="t" anchorCtr="0">
            <a:noAutofit/>
          </a:bodyPr>
          <a:lstStyle/>
          <a:p>
            <a:pPr marL="285750" lvl="0" indent="-285750">
              <a:buFont typeface="Arial" panose="020B0604020202020204" pitchFamily="34" charset="0"/>
              <a:buChar char="•"/>
            </a:pPr>
            <a:r>
              <a:rPr lang="en-US" dirty="0"/>
              <a:t>Use a reference data input as a lookup. </a:t>
            </a:r>
            <a:br>
              <a:rPr lang="en-US" dirty="0"/>
            </a:br>
            <a:r>
              <a:rPr lang="en-US" dirty="0"/>
              <a:t>Use Stream Analytics to feed data directly </a:t>
            </a:r>
            <a:br>
              <a:rPr lang="en-US" dirty="0"/>
            </a:br>
            <a:r>
              <a:rPr lang="en-US" dirty="0"/>
              <a:t>into Power BI to create a dashboard view </a:t>
            </a:r>
            <a:br>
              <a:rPr lang="en-US" dirty="0"/>
            </a:br>
            <a:r>
              <a:rPr lang="en-US" dirty="0"/>
              <a:t>of your data </a:t>
            </a:r>
          </a:p>
        </p:txBody>
      </p:sp>
      <p:sp>
        <p:nvSpPr>
          <p:cNvPr id="13" name="Freeform: Shape 12"/>
          <p:cNvSpPr/>
          <p:nvPr/>
        </p:nvSpPr>
        <p:spPr>
          <a:xfrm>
            <a:off x="1259112" y="5075274"/>
            <a:ext cx="3210524" cy="1448676"/>
          </a:xfrm>
          <a:custGeom>
            <a:avLst/>
            <a:gdLst>
              <a:gd name="connsiteX0" fmla="*/ 0 w 3210524"/>
              <a:gd name="connsiteY0" fmla="*/ 191185 h 1147089"/>
              <a:gd name="connsiteX1" fmla="*/ 191185 w 3210524"/>
              <a:gd name="connsiteY1" fmla="*/ 0 h 1147089"/>
              <a:gd name="connsiteX2" fmla="*/ 3019339 w 3210524"/>
              <a:gd name="connsiteY2" fmla="*/ 0 h 1147089"/>
              <a:gd name="connsiteX3" fmla="*/ 3210524 w 3210524"/>
              <a:gd name="connsiteY3" fmla="*/ 191185 h 1147089"/>
              <a:gd name="connsiteX4" fmla="*/ 3210524 w 3210524"/>
              <a:gd name="connsiteY4" fmla="*/ 955904 h 1147089"/>
              <a:gd name="connsiteX5" fmla="*/ 3019339 w 3210524"/>
              <a:gd name="connsiteY5" fmla="*/ 1147089 h 1147089"/>
              <a:gd name="connsiteX6" fmla="*/ 191185 w 3210524"/>
              <a:gd name="connsiteY6" fmla="*/ 1147089 h 1147089"/>
              <a:gd name="connsiteX7" fmla="*/ 0 w 3210524"/>
              <a:gd name="connsiteY7" fmla="*/ 955904 h 1147089"/>
              <a:gd name="connsiteX8" fmla="*/ 0 w 3210524"/>
              <a:gd name="connsiteY8" fmla="*/ 191185 h 1147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10524" h="1147089">
                <a:moveTo>
                  <a:pt x="0" y="191185"/>
                </a:moveTo>
                <a:cubicBezTo>
                  <a:pt x="0" y="85596"/>
                  <a:pt x="85596" y="0"/>
                  <a:pt x="191185" y="0"/>
                </a:cubicBezTo>
                <a:lnTo>
                  <a:pt x="3019339" y="0"/>
                </a:lnTo>
                <a:cubicBezTo>
                  <a:pt x="3124928" y="0"/>
                  <a:pt x="3210524" y="85596"/>
                  <a:pt x="3210524" y="191185"/>
                </a:cubicBezTo>
                <a:lnTo>
                  <a:pt x="3210524" y="955904"/>
                </a:lnTo>
                <a:cubicBezTo>
                  <a:pt x="3210524" y="1061493"/>
                  <a:pt x="3124928" y="1147089"/>
                  <a:pt x="3019339" y="1147089"/>
                </a:cubicBezTo>
                <a:lnTo>
                  <a:pt x="191185" y="1147089"/>
                </a:lnTo>
                <a:cubicBezTo>
                  <a:pt x="85596" y="1147089"/>
                  <a:pt x="0" y="1061493"/>
                  <a:pt x="0" y="955904"/>
                </a:cubicBezTo>
                <a:lnTo>
                  <a:pt x="0" y="191185"/>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77916" tIns="116956" rIns="177916" bIns="116956" numCol="1" spcCol="1270" anchor="ctr" anchorCtr="0">
            <a:noAutofit/>
          </a:bodyPr>
          <a:lstStyle/>
          <a:p>
            <a:pPr marL="0" lvl="0" indent="0" algn="ctr" defTabSz="1422400">
              <a:lnSpc>
                <a:spcPct val="90000"/>
              </a:lnSpc>
              <a:spcBef>
                <a:spcPct val="0"/>
              </a:spcBef>
              <a:spcAft>
                <a:spcPct val="35000"/>
              </a:spcAft>
              <a:buNone/>
            </a:pPr>
            <a:r>
              <a:rPr lang="en-US" sz="3200" b="0" kern="1200" dirty="0">
                <a:solidFill>
                  <a:srgbClr val="FFFFFF"/>
                </a:solidFill>
                <a:latin typeface="Segoe UI Semibold" panose="020B0702040204020203" pitchFamily="34" charset="0"/>
                <a:ea typeface="+mn-ea"/>
                <a:cs typeface="Segoe UI Semibold" panose="020B0702040204020203" pitchFamily="34" charset="0"/>
              </a:rPr>
              <a:t>Optional</a:t>
            </a:r>
          </a:p>
        </p:txBody>
      </p:sp>
      <p:sp>
        <p:nvSpPr>
          <p:cNvPr id="4" name="Octagon 3"/>
          <p:cNvSpPr/>
          <p:nvPr/>
        </p:nvSpPr>
        <p:spPr>
          <a:xfrm>
            <a:off x="1107200" y="2332713"/>
            <a:ext cx="443098" cy="439889"/>
          </a:xfrm>
          <a:prstGeom prst="octagon">
            <a:avLst/>
          </a:prstGeom>
          <a:solidFill>
            <a:srgbClr val="CC0000"/>
          </a:solidFill>
        </p:spPr>
        <p:style>
          <a:lnRef idx="1">
            <a:schemeClr val="accent2"/>
          </a:lnRef>
          <a:fillRef idx="3">
            <a:schemeClr val="accent2"/>
          </a:fillRef>
          <a:effectRef idx="2">
            <a:schemeClr val="accent2"/>
          </a:effectRef>
          <a:fontRef idx="minor">
            <a:schemeClr val="lt1"/>
          </a:fontRef>
        </p:style>
        <p:txBody>
          <a:bodyPr rot="0" spcFirstLastPara="0" vert="horz" wrap="square" lIns="68583" tIns="34291" rIns="68583" bIns="34291" numCol="1" spcCol="0" rtlCol="0" fromWordArt="0" anchor="ctr" anchorCtr="0" forceAA="0" compatLnSpc="1">
            <a:prstTxWarp prst="textNoShape">
              <a:avLst/>
            </a:prstTxWarp>
            <a:noAutofit/>
          </a:bodyPr>
          <a:lstStyle/>
          <a:p>
            <a:endParaRPr lang="en-US" sz="1350" dirty="0"/>
          </a:p>
        </p:txBody>
      </p:sp>
      <p:sp>
        <p:nvSpPr>
          <p:cNvPr id="5" name="Isosceles Triangle 4"/>
          <p:cNvSpPr>
            <a:spLocks/>
          </p:cNvSpPr>
          <p:nvPr/>
        </p:nvSpPr>
        <p:spPr>
          <a:xfrm>
            <a:off x="1038785" y="4292904"/>
            <a:ext cx="579874" cy="457219"/>
          </a:xfrm>
          <a:prstGeom prst="triangle">
            <a:avLst/>
          </a:prstGeom>
          <a:solidFill>
            <a:srgbClr val="FFFF00"/>
          </a:solidFill>
        </p:spPr>
        <p:style>
          <a:lnRef idx="1">
            <a:schemeClr val="accent6"/>
          </a:lnRef>
          <a:fillRef idx="3">
            <a:schemeClr val="accent6"/>
          </a:fillRef>
          <a:effectRef idx="2">
            <a:schemeClr val="accent6"/>
          </a:effectRef>
          <a:fontRef idx="minor">
            <a:schemeClr val="lt1"/>
          </a:fontRef>
        </p:style>
        <p:txBody>
          <a:bodyPr rot="0" spcFirstLastPara="0" vert="horz" wrap="square" lIns="68583" tIns="34291" rIns="68583" bIns="34291" numCol="1" spcCol="0" rtlCol="0" fromWordArt="0" anchor="ctr" anchorCtr="0" forceAA="0" compatLnSpc="1">
            <a:prstTxWarp prst="textNoShape">
              <a:avLst/>
            </a:prstTxWarp>
            <a:noAutofit/>
          </a:bodyPr>
          <a:lstStyle/>
          <a:p>
            <a:endParaRPr lang="en-US" sz="1350"/>
          </a:p>
        </p:txBody>
      </p:sp>
      <p:sp>
        <p:nvSpPr>
          <p:cNvPr id="6" name="Oval 5"/>
          <p:cNvSpPr>
            <a:spLocks/>
          </p:cNvSpPr>
          <p:nvPr/>
        </p:nvSpPr>
        <p:spPr>
          <a:xfrm>
            <a:off x="1038785" y="6264074"/>
            <a:ext cx="474539" cy="475477"/>
          </a:xfrm>
          <a:prstGeom prst="ellipse">
            <a:avLst/>
          </a:prstGeom>
          <a:solidFill>
            <a:srgbClr val="00B050"/>
          </a:solidFill>
        </p:spPr>
        <p:style>
          <a:lnRef idx="1">
            <a:schemeClr val="accent3"/>
          </a:lnRef>
          <a:fillRef idx="3">
            <a:schemeClr val="accent3"/>
          </a:fillRef>
          <a:effectRef idx="2">
            <a:schemeClr val="accent3"/>
          </a:effectRef>
          <a:fontRef idx="minor">
            <a:schemeClr val="lt1"/>
          </a:fontRef>
        </p:style>
        <p:txBody>
          <a:bodyPr rot="0" spcFirstLastPara="0" vert="horz" wrap="square" lIns="68583" tIns="34291" rIns="68583" bIns="34291" numCol="1" spcCol="0" rtlCol="0" fromWordArt="0" anchor="ctr" anchorCtr="0" forceAA="0" compatLnSpc="1">
            <a:prstTxWarp prst="textNoShape">
              <a:avLst/>
            </a:prstTxWarp>
            <a:noAutofit/>
          </a:bodyPr>
          <a:lstStyle/>
          <a:p>
            <a:endParaRPr lang="en-US" sz="1350"/>
          </a:p>
        </p:txBody>
      </p:sp>
    </p:spTree>
    <p:extLst>
      <p:ext uri="{BB962C8B-B14F-4D97-AF65-F5344CB8AC3E}">
        <p14:creationId xmlns:p14="http://schemas.microsoft.com/office/powerpoint/2010/main" val="1181728681"/>
      </p:ext>
    </p:extLst>
  </p:cSld>
  <p:clrMapOvr>
    <a:masterClrMapping/>
  </p:clrMapOvr>
  <p:transition>
    <p:fade/>
  </p:transition>
</p:sld>
</file>

<file path=ppt/slides/slide18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Segoe UI Light" panose="020B0502040204020203" pitchFamily="34" charset="0"/>
                <a:cs typeface="Segoe UI Light" panose="020B0502040204020203" pitchFamily="34" charset="0"/>
              </a:rPr>
              <a:t>Azure Data Factory decisions</a:t>
            </a:r>
            <a:endParaRPr lang="en-US" dirty="0"/>
          </a:p>
        </p:txBody>
      </p:sp>
      <p:sp>
        <p:nvSpPr>
          <p:cNvPr id="8" name="Freeform: Shape 7"/>
          <p:cNvSpPr/>
          <p:nvPr/>
        </p:nvSpPr>
        <p:spPr>
          <a:xfrm>
            <a:off x="4416051" y="1712956"/>
            <a:ext cx="4135446" cy="1194764"/>
          </a:xfrm>
          <a:custGeom>
            <a:avLst/>
            <a:gdLst>
              <a:gd name="connsiteX0" fmla="*/ 0 w 6937384"/>
              <a:gd name="connsiteY0" fmla="*/ 171052 h 1368412"/>
              <a:gd name="connsiteX1" fmla="*/ 6253178 w 6937384"/>
              <a:gd name="connsiteY1" fmla="*/ 171052 h 1368412"/>
              <a:gd name="connsiteX2" fmla="*/ 6253178 w 6937384"/>
              <a:gd name="connsiteY2" fmla="*/ 0 h 1368412"/>
              <a:gd name="connsiteX3" fmla="*/ 6937384 w 6937384"/>
              <a:gd name="connsiteY3" fmla="*/ 684206 h 1368412"/>
              <a:gd name="connsiteX4" fmla="*/ 6253178 w 6937384"/>
              <a:gd name="connsiteY4" fmla="*/ 1368412 h 1368412"/>
              <a:gd name="connsiteX5" fmla="*/ 6253178 w 6937384"/>
              <a:gd name="connsiteY5" fmla="*/ 1197361 h 1368412"/>
              <a:gd name="connsiteX6" fmla="*/ 0 w 6937384"/>
              <a:gd name="connsiteY6" fmla="*/ 1197361 h 1368412"/>
              <a:gd name="connsiteX7" fmla="*/ 0 w 6937384"/>
              <a:gd name="connsiteY7" fmla="*/ 171052 h 13684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937384" h="1368412">
                <a:moveTo>
                  <a:pt x="0" y="171052"/>
                </a:moveTo>
                <a:lnTo>
                  <a:pt x="6253178" y="171052"/>
                </a:lnTo>
                <a:lnTo>
                  <a:pt x="6253178" y="0"/>
                </a:lnTo>
                <a:lnTo>
                  <a:pt x="6937384" y="684206"/>
                </a:lnTo>
                <a:lnTo>
                  <a:pt x="6253178" y="1368412"/>
                </a:lnTo>
                <a:lnTo>
                  <a:pt x="6253178" y="1197361"/>
                </a:lnTo>
                <a:lnTo>
                  <a:pt x="0" y="1197361"/>
                </a:lnTo>
                <a:lnTo>
                  <a:pt x="0" y="171052"/>
                </a:lnTo>
                <a:close/>
              </a:path>
            </a:pathLst>
          </a:custGeom>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228600" tIns="365760" rIns="365760" bIns="182481" numCol="1" spcCol="1270" anchor="t" anchorCtr="0">
            <a:noAutofit/>
          </a:bodyPr>
          <a:lstStyle/>
          <a:p>
            <a:pPr marL="285750" lvl="1" indent="-285750" defTabSz="800100">
              <a:lnSpc>
                <a:spcPct val="90000"/>
              </a:lnSpc>
              <a:spcBef>
                <a:spcPct val="0"/>
              </a:spcBef>
              <a:spcAft>
                <a:spcPct val="15000"/>
              </a:spcAft>
              <a:buFont typeface="Arial" panose="020B0604020202020204" pitchFamily="34" charset="0"/>
              <a:buChar char="•"/>
            </a:pPr>
            <a:r>
              <a:rPr lang="en-US" dirty="0"/>
              <a:t>Configure a dataset, activity, linked service, and pipeline</a:t>
            </a:r>
          </a:p>
        </p:txBody>
      </p:sp>
      <p:sp>
        <p:nvSpPr>
          <p:cNvPr id="9" name="Freeform: Shape 8"/>
          <p:cNvSpPr/>
          <p:nvPr/>
        </p:nvSpPr>
        <p:spPr>
          <a:xfrm>
            <a:off x="1320269" y="1842977"/>
            <a:ext cx="3221976" cy="933865"/>
          </a:xfrm>
          <a:custGeom>
            <a:avLst/>
            <a:gdLst>
              <a:gd name="connsiteX0" fmla="*/ 0 w 3221976"/>
              <a:gd name="connsiteY0" fmla="*/ 188426 h 1130532"/>
              <a:gd name="connsiteX1" fmla="*/ 188426 w 3221976"/>
              <a:gd name="connsiteY1" fmla="*/ 0 h 1130532"/>
              <a:gd name="connsiteX2" fmla="*/ 3033550 w 3221976"/>
              <a:gd name="connsiteY2" fmla="*/ 0 h 1130532"/>
              <a:gd name="connsiteX3" fmla="*/ 3221976 w 3221976"/>
              <a:gd name="connsiteY3" fmla="*/ 188426 h 1130532"/>
              <a:gd name="connsiteX4" fmla="*/ 3221976 w 3221976"/>
              <a:gd name="connsiteY4" fmla="*/ 942106 h 1130532"/>
              <a:gd name="connsiteX5" fmla="*/ 3033550 w 3221976"/>
              <a:gd name="connsiteY5" fmla="*/ 1130532 h 1130532"/>
              <a:gd name="connsiteX6" fmla="*/ 188426 w 3221976"/>
              <a:gd name="connsiteY6" fmla="*/ 1130532 h 1130532"/>
              <a:gd name="connsiteX7" fmla="*/ 0 w 3221976"/>
              <a:gd name="connsiteY7" fmla="*/ 942106 h 1130532"/>
              <a:gd name="connsiteX8" fmla="*/ 0 w 3221976"/>
              <a:gd name="connsiteY8" fmla="*/ 188426 h 11305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21976" h="1130532">
                <a:moveTo>
                  <a:pt x="0" y="188426"/>
                </a:moveTo>
                <a:cubicBezTo>
                  <a:pt x="0" y="84361"/>
                  <a:pt x="84361" y="0"/>
                  <a:pt x="188426" y="0"/>
                </a:cubicBezTo>
                <a:lnTo>
                  <a:pt x="3033550" y="0"/>
                </a:lnTo>
                <a:cubicBezTo>
                  <a:pt x="3137615" y="0"/>
                  <a:pt x="3221976" y="84361"/>
                  <a:pt x="3221976" y="188426"/>
                </a:cubicBezTo>
                <a:lnTo>
                  <a:pt x="3221976" y="942106"/>
                </a:lnTo>
                <a:cubicBezTo>
                  <a:pt x="3221976" y="1046171"/>
                  <a:pt x="3137615" y="1130532"/>
                  <a:pt x="3033550" y="1130532"/>
                </a:cubicBezTo>
                <a:lnTo>
                  <a:pt x="188426" y="1130532"/>
                </a:lnTo>
                <a:cubicBezTo>
                  <a:pt x="84361" y="1130532"/>
                  <a:pt x="0" y="1046171"/>
                  <a:pt x="0" y="942106"/>
                </a:cubicBezTo>
                <a:lnTo>
                  <a:pt x="0" y="188426"/>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77108" tIns="116148" rIns="177108" bIns="116148" numCol="1" spcCol="1270" anchor="ctr" anchorCtr="0">
            <a:noAutofit/>
          </a:bodyPr>
          <a:lstStyle/>
          <a:p>
            <a:pPr marL="0" lvl="0" indent="0" algn="ctr" defTabSz="1422400">
              <a:lnSpc>
                <a:spcPct val="90000"/>
              </a:lnSpc>
              <a:spcBef>
                <a:spcPct val="0"/>
              </a:spcBef>
              <a:spcAft>
                <a:spcPct val="35000"/>
              </a:spcAft>
              <a:buNone/>
            </a:pPr>
            <a:r>
              <a:rPr lang="en-US" sz="3200" b="0" kern="1200" dirty="0">
                <a:latin typeface="Segoe UI Semibold" panose="020B0702040204020203" pitchFamily="34" charset="0"/>
                <a:cs typeface="Segoe UI Semibold" panose="020B0702040204020203" pitchFamily="34" charset="0"/>
              </a:rPr>
              <a:t>Mandatory</a:t>
            </a:r>
          </a:p>
        </p:txBody>
      </p:sp>
      <p:sp>
        <p:nvSpPr>
          <p:cNvPr id="10" name="Freeform: Shape 9"/>
          <p:cNvSpPr/>
          <p:nvPr/>
        </p:nvSpPr>
        <p:spPr>
          <a:xfrm>
            <a:off x="4174859" y="3202986"/>
            <a:ext cx="4301484" cy="1641608"/>
          </a:xfrm>
          <a:custGeom>
            <a:avLst/>
            <a:gdLst>
              <a:gd name="connsiteX0" fmla="*/ 0 w 7091479"/>
              <a:gd name="connsiteY0" fmla="*/ 293845 h 2350760"/>
              <a:gd name="connsiteX1" fmla="*/ 5916099 w 7091479"/>
              <a:gd name="connsiteY1" fmla="*/ 293845 h 2350760"/>
              <a:gd name="connsiteX2" fmla="*/ 5916099 w 7091479"/>
              <a:gd name="connsiteY2" fmla="*/ 0 h 2350760"/>
              <a:gd name="connsiteX3" fmla="*/ 7091479 w 7091479"/>
              <a:gd name="connsiteY3" fmla="*/ 1175380 h 2350760"/>
              <a:gd name="connsiteX4" fmla="*/ 5916099 w 7091479"/>
              <a:gd name="connsiteY4" fmla="*/ 2350760 h 2350760"/>
              <a:gd name="connsiteX5" fmla="*/ 5916099 w 7091479"/>
              <a:gd name="connsiteY5" fmla="*/ 2056915 h 2350760"/>
              <a:gd name="connsiteX6" fmla="*/ 0 w 7091479"/>
              <a:gd name="connsiteY6" fmla="*/ 2056915 h 2350760"/>
              <a:gd name="connsiteX7" fmla="*/ 0 w 7091479"/>
              <a:gd name="connsiteY7" fmla="*/ 293845 h 2350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091479" h="2350760">
                <a:moveTo>
                  <a:pt x="0" y="293845"/>
                </a:moveTo>
                <a:lnTo>
                  <a:pt x="5916099" y="293845"/>
                </a:lnTo>
                <a:lnTo>
                  <a:pt x="5916099" y="0"/>
                </a:lnTo>
                <a:lnTo>
                  <a:pt x="7091479" y="1175380"/>
                </a:lnTo>
                <a:lnTo>
                  <a:pt x="5916099" y="2350760"/>
                </a:lnTo>
                <a:lnTo>
                  <a:pt x="5916099" y="2056915"/>
                </a:lnTo>
                <a:lnTo>
                  <a:pt x="0" y="2056915"/>
                </a:lnTo>
                <a:lnTo>
                  <a:pt x="0" y="293845"/>
                </a:lnTo>
                <a:close/>
              </a:path>
            </a:pathLst>
          </a:custGeom>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457200" tIns="457200" rIns="1064415" bIns="305275" numCol="1" spcCol="1270" anchor="t" anchorCtr="0">
            <a:noAutofit/>
          </a:bodyPr>
          <a:lstStyle/>
          <a:p>
            <a:pPr marL="285750" lvl="1" indent="-285750" defTabSz="800100">
              <a:lnSpc>
                <a:spcPct val="90000"/>
              </a:lnSpc>
              <a:spcBef>
                <a:spcPct val="0"/>
              </a:spcBef>
              <a:spcAft>
                <a:spcPct val="15000"/>
              </a:spcAft>
              <a:buFont typeface="Arial" panose="020B0604020202020204" pitchFamily="34" charset="0"/>
              <a:buChar char="•"/>
            </a:pPr>
            <a:r>
              <a:rPr lang="en-US" dirty="0"/>
              <a:t>Set up monitoring alerts to be notified when extraneous events occur</a:t>
            </a:r>
          </a:p>
        </p:txBody>
      </p:sp>
      <p:sp>
        <p:nvSpPr>
          <p:cNvPr id="11" name="Freeform: Shape 10"/>
          <p:cNvSpPr/>
          <p:nvPr/>
        </p:nvSpPr>
        <p:spPr>
          <a:xfrm>
            <a:off x="1328722" y="3402726"/>
            <a:ext cx="3213523" cy="1246404"/>
          </a:xfrm>
          <a:custGeom>
            <a:avLst/>
            <a:gdLst>
              <a:gd name="connsiteX0" fmla="*/ 0 w 3213523"/>
              <a:gd name="connsiteY0" fmla="*/ 295356 h 1772099"/>
              <a:gd name="connsiteX1" fmla="*/ 295356 w 3213523"/>
              <a:gd name="connsiteY1" fmla="*/ 0 h 1772099"/>
              <a:gd name="connsiteX2" fmla="*/ 2918167 w 3213523"/>
              <a:gd name="connsiteY2" fmla="*/ 0 h 1772099"/>
              <a:gd name="connsiteX3" fmla="*/ 3213523 w 3213523"/>
              <a:gd name="connsiteY3" fmla="*/ 295356 h 1772099"/>
              <a:gd name="connsiteX4" fmla="*/ 3213523 w 3213523"/>
              <a:gd name="connsiteY4" fmla="*/ 1476743 h 1772099"/>
              <a:gd name="connsiteX5" fmla="*/ 2918167 w 3213523"/>
              <a:gd name="connsiteY5" fmla="*/ 1772099 h 1772099"/>
              <a:gd name="connsiteX6" fmla="*/ 295356 w 3213523"/>
              <a:gd name="connsiteY6" fmla="*/ 1772099 h 1772099"/>
              <a:gd name="connsiteX7" fmla="*/ 0 w 3213523"/>
              <a:gd name="connsiteY7" fmla="*/ 1476743 h 1772099"/>
              <a:gd name="connsiteX8" fmla="*/ 0 w 3213523"/>
              <a:gd name="connsiteY8" fmla="*/ 295356 h 17720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13523" h="1772099">
                <a:moveTo>
                  <a:pt x="0" y="295356"/>
                </a:moveTo>
                <a:cubicBezTo>
                  <a:pt x="0" y="132235"/>
                  <a:pt x="132235" y="0"/>
                  <a:pt x="295356" y="0"/>
                </a:cubicBezTo>
                <a:lnTo>
                  <a:pt x="2918167" y="0"/>
                </a:lnTo>
                <a:cubicBezTo>
                  <a:pt x="3081288" y="0"/>
                  <a:pt x="3213523" y="132235"/>
                  <a:pt x="3213523" y="295356"/>
                </a:cubicBezTo>
                <a:lnTo>
                  <a:pt x="3213523" y="1476743"/>
                </a:lnTo>
                <a:cubicBezTo>
                  <a:pt x="3213523" y="1639864"/>
                  <a:pt x="3081288" y="1772099"/>
                  <a:pt x="2918167" y="1772099"/>
                </a:cubicBezTo>
                <a:lnTo>
                  <a:pt x="295356" y="1772099"/>
                </a:lnTo>
                <a:cubicBezTo>
                  <a:pt x="132235" y="1772099"/>
                  <a:pt x="0" y="1639864"/>
                  <a:pt x="0" y="1476743"/>
                </a:cubicBezTo>
                <a:lnTo>
                  <a:pt x="0" y="295356"/>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08427" tIns="147467" rIns="208427" bIns="147467" numCol="1" spcCol="1270" anchor="ctr" anchorCtr="0">
            <a:noAutofit/>
          </a:bodyPr>
          <a:lstStyle/>
          <a:p>
            <a:pPr marL="0" lvl="0" indent="0" algn="ctr" defTabSz="1422400">
              <a:lnSpc>
                <a:spcPct val="90000"/>
              </a:lnSpc>
              <a:spcBef>
                <a:spcPct val="0"/>
              </a:spcBef>
              <a:spcAft>
                <a:spcPct val="35000"/>
              </a:spcAft>
              <a:buNone/>
            </a:pPr>
            <a:r>
              <a:rPr lang="en-US" sz="3200" b="0" kern="1200" dirty="0">
                <a:solidFill>
                  <a:srgbClr val="FFFFFF"/>
                </a:solidFill>
                <a:latin typeface="Segoe UI Semibold" panose="020B0702040204020203" pitchFamily="34" charset="0"/>
                <a:ea typeface="+mn-ea"/>
                <a:cs typeface="Segoe UI Semibold" panose="020B0702040204020203" pitchFamily="34" charset="0"/>
              </a:rPr>
              <a:t>Recommended</a:t>
            </a:r>
          </a:p>
        </p:txBody>
      </p:sp>
      <p:sp>
        <p:nvSpPr>
          <p:cNvPr id="12" name="Freeform: Shape 11"/>
          <p:cNvSpPr/>
          <p:nvPr/>
        </p:nvSpPr>
        <p:spPr>
          <a:xfrm>
            <a:off x="4281381" y="4843604"/>
            <a:ext cx="4228153" cy="1912797"/>
          </a:xfrm>
          <a:custGeom>
            <a:avLst/>
            <a:gdLst>
              <a:gd name="connsiteX0" fmla="*/ 0 w 7125896"/>
              <a:gd name="connsiteY0" fmla="*/ 180910 h 1447281"/>
              <a:gd name="connsiteX1" fmla="*/ 6402256 w 7125896"/>
              <a:gd name="connsiteY1" fmla="*/ 180910 h 1447281"/>
              <a:gd name="connsiteX2" fmla="*/ 6402256 w 7125896"/>
              <a:gd name="connsiteY2" fmla="*/ 0 h 1447281"/>
              <a:gd name="connsiteX3" fmla="*/ 7125896 w 7125896"/>
              <a:gd name="connsiteY3" fmla="*/ 723641 h 1447281"/>
              <a:gd name="connsiteX4" fmla="*/ 6402256 w 7125896"/>
              <a:gd name="connsiteY4" fmla="*/ 1447281 h 1447281"/>
              <a:gd name="connsiteX5" fmla="*/ 6402256 w 7125896"/>
              <a:gd name="connsiteY5" fmla="*/ 1266371 h 1447281"/>
              <a:gd name="connsiteX6" fmla="*/ 0 w 7125896"/>
              <a:gd name="connsiteY6" fmla="*/ 1266371 h 1447281"/>
              <a:gd name="connsiteX7" fmla="*/ 0 w 7125896"/>
              <a:gd name="connsiteY7" fmla="*/ 180910 h 14472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125896" h="1447281">
                <a:moveTo>
                  <a:pt x="0" y="180910"/>
                </a:moveTo>
                <a:lnTo>
                  <a:pt x="6402256" y="180910"/>
                </a:lnTo>
                <a:lnTo>
                  <a:pt x="6402256" y="0"/>
                </a:lnTo>
                <a:lnTo>
                  <a:pt x="7125896" y="723641"/>
                </a:lnTo>
                <a:lnTo>
                  <a:pt x="6402256" y="1447281"/>
                </a:lnTo>
                <a:lnTo>
                  <a:pt x="6402256" y="1266371"/>
                </a:lnTo>
                <a:lnTo>
                  <a:pt x="0" y="1266371"/>
                </a:lnTo>
                <a:lnTo>
                  <a:pt x="0" y="180910"/>
                </a:lnTo>
                <a:close/>
              </a:path>
            </a:pathLst>
          </a:custGeom>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365760" tIns="365760" rIns="640080" bIns="192340" numCol="1" spcCol="1270" anchor="ctr" anchorCtr="0">
            <a:noAutofit/>
          </a:bodyPr>
          <a:lstStyle/>
          <a:p>
            <a:pPr marL="285750" lvl="0" indent="-285750">
              <a:buFont typeface="Arial" panose="020B0604020202020204" pitchFamily="34" charset="0"/>
              <a:buChar char="•"/>
            </a:pPr>
            <a:r>
              <a:rPr lang="en-US" dirty="0"/>
              <a:t>Use a data management gateway (if you’re using ADF to access data on-premises) </a:t>
            </a:r>
          </a:p>
        </p:txBody>
      </p:sp>
      <p:sp>
        <p:nvSpPr>
          <p:cNvPr id="13" name="Freeform: Shape 12"/>
          <p:cNvSpPr/>
          <p:nvPr/>
        </p:nvSpPr>
        <p:spPr>
          <a:xfrm>
            <a:off x="1259112" y="5075274"/>
            <a:ext cx="3210524" cy="1448676"/>
          </a:xfrm>
          <a:custGeom>
            <a:avLst/>
            <a:gdLst>
              <a:gd name="connsiteX0" fmla="*/ 0 w 3210524"/>
              <a:gd name="connsiteY0" fmla="*/ 191185 h 1147089"/>
              <a:gd name="connsiteX1" fmla="*/ 191185 w 3210524"/>
              <a:gd name="connsiteY1" fmla="*/ 0 h 1147089"/>
              <a:gd name="connsiteX2" fmla="*/ 3019339 w 3210524"/>
              <a:gd name="connsiteY2" fmla="*/ 0 h 1147089"/>
              <a:gd name="connsiteX3" fmla="*/ 3210524 w 3210524"/>
              <a:gd name="connsiteY3" fmla="*/ 191185 h 1147089"/>
              <a:gd name="connsiteX4" fmla="*/ 3210524 w 3210524"/>
              <a:gd name="connsiteY4" fmla="*/ 955904 h 1147089"/>
              <a:gd name="connsiteX5" fmla="*/ 3019339 w 3210524"/>
              <a:gd name="connsiteY5" fmla="*/ 1147089 h 1147089"/>
              <a:gd name="connsiteX6" fmla="*/ 191185 w 3210524"/>
              <a:gd name="connsiteY6" fmla="*/ 1147089 h 1147089"/>
              <a:gd name="connsiteX7" fmla="*/ 0 w 3210524"/>
              <a:gd name="connsiteY7" fmla="*/ 955904 h 1147089"/>
              <a:gd name="connsiteX8" fmla="*/ 0 w 3210524"/>
              <a:gd name="connsiteY8" fmla="*/ 191185 h 1147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10524" h="1147089">
                <a:moveTo>
                  <a:pt x="0" y="191185"/>
                </a:moveTo>
                <a:cubicBezTo>
                  <a:pt x="0" y="85596"/>
                  <a:pt x="85596" y="0"/>
                  <a:pt x="191185" y="0"/>
                </a:cubicBezTo>
                <a:lnTo>
                  <a:pt x="3019339" y="0"/>
                </a:lnTo>
                <a:cubicBezTo>
                  <a:pt x="3124928" y="0"/>
                  <a:pt x="3210524" y="85596"/>
                  <a:pt x="3210524" y="191185"/>
                </a:cubicBezTo>
                <a:lnTo>
                  <a:pt x="3210524" y="955904"/>
                </a:lnTo>
                <a:cubicBezTo>
                  <a:pt x="3210524" y="1061493"/>
                  <a:pt x="3124928" y="1147089"/>
                  <a:pt x="3019339" y="1147089"/>
                </a:cubicBezTo>
                <a:lnTo>
                  <a:pt x="191185" y="1147089"/>
                </a:lnTo>
                <a:cubicBezTo>
                  <a:pt x="85596" y="1147089"/>
                  <a:pt x="0" y="1061493"/>
                  <a:pt x="0" y="955904"/>
                </a:cubicBezTo>
                <a:lnTo>
                  <a:pt x="0" y="191185"/>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77916" tIns="116956" rIns="177916" bIns="116956" numCol="1" spcCol="1270" anchor="ctr" anchorCtr="0">
            <a:noAutofit/>
          </a:bodyPr>
          <a:lstStyle/>
          <a:p>
            <a:pPr marL="0" lvl="0" indent="0" algn="ctr" defTabSz="1422400">
              <a:lnSpc>
                <a:spcPct val="90000"/>
              </a:lnSpc>
              <a:spcBef>
                <a:spcPct val="0"/>
              </a:spcBef>
              <a:spcAft>
                <a:spcPct val="35000"/>
              </a:spcAft>
              <a:buNone/>
            </a:pPr>
            <a:r>
              <a:rPr lang="en-US" sz="3200" b="0" kern="1200" dirty="0">
                <a:solidFill>
                  <a:srgbClr val="FFFFFF"/>
                </a:solidFill>
                <a:latin typeface="Segoe UI Semibold" panose="020B0702040204020203" pitchFamily="34" charset="0"/>
                <a:ea typeface="+mn-ea"/>
                <a:cs typeface="Segoe UI Semibold" panose="020B0702040204020203" pitchFamily="34" charset="0"/>
              </a:rPr>
              <a:t>Optional</a:t>
            </a:r>
          </a:p>
        </p:txBody>
      </p:sp>
      <p:sp>
        <p:nvSpPr>
          <p:cNvPr id="4" name="Octagon 3"/>
          <p:cNvSpPr/>
          <p:nvPr/>
        </p:nvSpPr>
        <p:spPr>
          <a:xfrm>
            <a:off x="1107200" y="2536693"/>
            <a:ext cx="443098" cy="439889"/>
          </a:xfrm>
          <a:prstGeom prst="octagon">
            <a:avLst/>
          </a:prstGeom>
          <a:solidFill>
            <a:srgbClr val="CC0000"/>
          </a:solidFill>
        </p:spPr>
        <p:style>
          <a:lnRef idx="1">
            <a:schemeClr val="accent2"/>
          </a:lnRef>
          <a:fillRef idx="3">
            <a:schemeClr val="accent2"/>
          </a:fillRef>
          <a:effectRef idx="2">
            <a:schemeClr val="accent2"/>
          </a:effectRef>
          <a:fontRef idx="minor">
            <a:schemeClr val="lt1"/>
          </a:fontRef>
        </p:style>
        <p:txBody>
          <a:bodyPr rot="0" spcFirstLastPara="0" vert="horz" wrap="square" lIns="68583" tIns="34291" rIns="68583" bIns="34291" numCol="1" spcCol="0" rtlCol="0" fromWordArt="0" anchor="ctr" anchorCtr="0" forceAA="0" compatLnSpc="1">
            <a:prstTxWarp prst="textNoShape">
              <a:avLst/>
            </a:prstTxWarp>
            <a:noAutofit/>
          </a:bodyPr>
          <a:lstStyle/>
          <a:p>
            <a:endParaRPr lang="en-US" sz="1350" dirty="0"/>
          </a:p>
        </p:txBody>
      </p:sp>
      <p:sp>
        <p:nvSpPr>
          <p:cNvPr id="5" name="Isosceles Triangle 4"/>
          <p:cNvSpPr>
            <a:spLocks/>
          </p:cNvSpPr>
          <p:nvPr/>
        </p:nvSpPr>
        <p:spPr>
          <a:xfrm>
            <a:off x="1038785" y="4350960"/>
            <a:ext cx="579874" cy="457219"/>
          </a:xfrm>
          <a:prstGeom prst="triangle">
            <a:avLst/>
          </a:prstGeom>
          <a:solidFill>
            <a:srgbClr val="FFFF00"/>
          </a:solidFill>
        </p:spPr>
        <p:style>
          <a:lnRef idx="1">
            <a:schemeClr val="accent6"/>
          </a:lnRef>
          <a:fillRef idx="3">
            <a:schemeClr val="accent6"/>
          </a:fillRef>
          <a:effectRef idx="2">
            <a:schemeClr val="accent6"/>
          </a:effectRef>
          <a:fontRef idx="minor">
            <a:schemeClr val="lt1"/>
          </a:fontRef>
        </p:style>
        <p:txBody>
          <a:bodyPr rot="0" spcFirstLastPara="0" vert="horz" wrap="square" lIns="68583" tIns="34291" rIns="68583" bIns="34291" numCol="1" spcCol="0" rtlCol="0" fromWordArt="0" anchor="ctr" anchorCtr="0" forceAA="0" compatLnSpc="1">
            <a:prstTxWarp prst="textNoShape">
              <a:avLst/>
            </a:prstTxWarp>
            <a:noAutofit/>
          </a:bodyPr>
          <a:lstStyle/>
          <a:p>
            <a:endParaRPr lang="en-US" sz="1350"/>
          </a:p>
        </p:txBody>
      </p:sp>
      <p:sp>
        <p:nvSpPr>
          <p:cNvPr id="6" name="Oval 5"/>
          <p:cNvSpPr>
            <a:spLocks/>
          </p:cNvSpPr>
          <p:nvPr/>
        </p:nvSpPr>
        <p:spPr>
          <a:xfrm>
            <a:off x="1038785" y="6264074"/>
            <a:ext cx="474539" cy="475477"/>
          </a:xfrm>
          <a:prstGeom prst="ellipse">
            <a:avLst/>
          </a:prstGeom>
          <a:solidFill>
            <a:srgbClr val="00B050"/>
          </a:solidFill>
        </p:spPr>
        <p:style>
          <a:lnRef idx="1">
            <a:schemeClr val="accent3"/>
          </a:lnRef>
          <a:fillRef idx="3">
            <a:schemeClr val="accent3"/>
          </a:fillRef>
          <a:effectRef idx="2">
            <a:schemeClr val="accent3"/>
          </a:effectRef>
          <a:fontRef idx="minor">
            <a:schemeClr val="lt1"/>
          </a:fontRef>
        </p:style>
        <p:txBody>
          <a:bodyPr rot="0" spcFirstLastPara="0" vert="horz" wrap="square" lIns="68583" tIns="34291" rIns="68583" bIns="34291" numCol="1" spcCol="0" rtlCol="0" fromWordArt="0" anchor="ctr" anchorCtr="0" forceAA="0" compatLnSpc="1">
            <a:prstTxWarp prst="textNoShape">
              <a:avLst/>
            </a:prstTxWarp>
            <a:noAutofit/>
          </a:bodyPr>
          <a:lstStyle/>
          <a:p>
            <a:endParaRPr lang="en-US" sz="1350"/>
          </a:p>
        </p:txBody>
      </p:sp>
    </p:spTree>
    <p:extLst>
      <p:ext uri="{BB962C8B-B14F-4D97-AF65-F5344CB8AC3E}">
        <p14:creationId xmlns:p14="http://schemas.microsoft.com/office/powerpoint/2010/main" val="647549365"/>
      </p:ext>
    </p:extLst>
  </p:cSld>
  <p:clrMapOvr>
    <a:masterClrMapping/>
  </p:clrMapOvr>
  <p:transition>
    <p:fade/>
  </p:transition>
</p:sld>
</file>

<file path=ppt/slides/slide18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366168" y="1212851"/>
            <a:ext cx="11506964" cy="2973122"/>
          </a:xfrm>
        </p:spPr>
        <p:txBody>
          <a:bodyPr/>
          <a:lstStyle/>
          <a:p>
            <a:pPr marL="0" indent="0">
              <a:buNone/>
            </a:pPr>
            <a:r>
              <a:rPr lang="en-US" sz="3200" dirty="0"/>
              <a:t>Enable multiple concurrent consumers to process messages received on the same messaging channel.  </a:t>
            </a:r>
          </a:p>
          <a:p>
            <a:pPr marL="0" indent="0">
              <a:buNone/>
            </a:pPr>
            <a:r>
              <a:rPr lang="en-US" sz="3200" dirty="0"/>
              <a:t>This pattern enables a system to process multiple messages concurrently to optimize throughput, improve scalability and availability, and to balance the workload.</a:t>
            </a:r>
          </a:p>
          <a:p>
            <a:r>
              <a:rPr lang="en-US" sz="2800" dirty="0">
                <a:solidFill>
                  <a:schemeClr val="tx1"/>
                </a:solidFill>
              </a:rPr>
              <a:t>Competing consumer patterns:</a:t>
            </a:r>
          </a:p>
        </p:txBody>
      </p:sp>
      <p:sp>
        <p:nvSpPr>
          <p:cNvPr id="2" name="Title 1"/>
          <p:cNvSpPr>
            <a:spLocks noGrp="1"/>
          </p:cNvSpPr>
          <p:nvPr>
            <p:ph type="title"/>
          </p:nvPr>
        </p:nvSpPr>
        <p:spPr/>
        <p:txBody>
          <a:bodyPr/>
          <a:lstStyle/>
          <a:p>
            <a:r>
              <a:rPr lang="en-US" dirty="0"/>
              <a:t>Azure Service Bus models</a:t>
            </a:r>
          </a:p>
        </p:txBody>
      </p:sp>
      <p:pic>
        <p:nvPicPr>
          <p:cNvPr id="4" name="Picture 3"/>
          <p:cNvPicPr>
            <a:picLocks noChangeAspect="1"/>
          </p:cNvPicPr>
          <p:nvPr/>
        </p:nvPicPr>
        <p:blipFill>
          <a:blip r:embed="rId3"/>
          <a:stretch>
            <a:fillRect/>
          </a:stretch>
        </p:blipFill>
        <p:spPr>
          <a:xfrm>
            <a:off x="651535" y="4310645"/>
            <a:ext cx="5468115" cy="2198393"/>
          </a:xfrm>
          <a:prstGeom prst="rect">
            <a:avLst/>
          </a:prstGeom>
        </p:spPr>
      </p:pic>
    </p:spTree>
    <p:extLst>
      <p:ext uri="{BB962C8B-B14F-4D97-AF65-F5344CB8AC3E}">
        <p14:creationId xmlns:p14="http://schemas.microsoft.com/office/powerpoint/2010/main" val="97062303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8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366168" y="1212850"/>
            <a:ext cx="5514127" cy="5158335"/>
          </a:xfrm>
        </p:spPr>
        <p:txBody>
          <a:bodyPr/>
          <a:lstStyle/>
          <a:p>
            <a:r>
              <a:rPr lang="en-US" sz="3200" dirty="0"/>
              <a:t>Prioritize requests sent to services so that requests with a higher priority are received and processed more quickly than those of a lower priority.  </a:t>
            </a:r>
          </a:p>
          <a:p>
            <a:r>
              <a:rPr lang="en-US" sz="3200" dirty="0"/>
              <a:t>This pattern is useful in applications that offer different service-level guarantees to individual types of clients.</a:t>
            </a:r>
          </a:p>
        </p:txBody>
      </p:sp>
      <p:sp>
        <p:nvSpPr>
          <p:cNvPr id="2" name="Title 1"/>
          <p:cNvSpPr>
            <a:spLocks noGrp="1"/>
          </p:cNvSpPr>
          <p:nvPr>
            <p:ph type="title"/>
          </p:nvPr>
        </p:nvSpPr>
        <p:spPr/>
        <p:txBody>
          <a:bodyPr/>
          <a:lstStyle/>
          <a:p>
            <a:r>
              <a:rPr lang="en-US" dirty="0"/>
              <a:t>Azure Service Bus models</a:t>
            </a:r>
          </a:p>
        </p:txBody>
      </p:sp>
      <p:pic>
        <p:nvPicPr>
          <p:cNvPr id="5" name="Picture 4"/>
          <p:cNvPicPr>
            <a:picLocks noChangeAspect="1"/>
          </p:cNvPicPr>
          <p:nvPr/>
        </p:nvPicPr>
        <p:blipFill>
          <a:blip r:embed="rId3"/>
          <a:stretch>
            <a:fillRect/>
          </a:stretch>
        </p:blipFill>
        <p:spPr>
          <a:xfrm>
            <a:off x="6676988" y="1840714"/>
            <a:ext cx="4857750" cy="3886200"/>
          </a:xfrm>
          <a:prstGeom prst="rect">
            <a:avLst/>
          </a:prstGeom>
        </p:spPr>
      </p:pic>
      <p:sp>
        <p:nvSpPr>
          <p:cNvPr id="6" name="Text Placeholder 2"/>
          <p:cNvSpPr txBox="1">
            <a:spLocks/>
          </p:cNvSpPr>
          <p:nvPr/>
        </p:nvSpPr>
        <p:spPr>
          <a:xfrm>
            <a:off x="6522244" y="1212850"/>
            <a:ext cx="5514127" cy="627864"/>
          </a:xfrm>
          <a:prstGeom prst="rect">
            <a:avLst/>
          </a:prstGeom>
        </p:spPr>
        <p:txBody>
          <a:bodyPr vert="horz" wrap="square" lIns="146304" tIns="91440" rIns="146304" bIns="91440" rtlCol="0">
            <a:spAutoFit/>
          </a:bodyPr>
          <a:lstStyle>
            <a:lvl1pPr marL="342846" marR="0" indent="-342846" algn="l" defTabSz="932594" rtl="0" eaLnBrk="1" fontAlgn="auto" latinLnBrk="0" hangingPunct="1">
              <a:lnSpc>
                <a:spcPct val="90000"/>
              </a:lnSpc>
              <a:spcBef>
                <a:spcPct val="20000"/>
              </a:spcBef>
              <a:spcAft>
                <a:spcPts val="0"/>
              </a:spcAft>
              <a:buClrTx/>
              <a:buSzPct val="90000"/>
              <a:buFont typeface="Arial" pitchFamily="34" charset="0"/>
              <a:buChar char="•"/>
              <a:tabLst/>
              <a:defRPr sz="3600" kern="1200" spc="0" baseline="0">
                <a:gradFill>
                  <a:gsLst>
                    <a:gs pos="1250">
                      <a:schemeClr val="tx2"/>
                    </a:gs>
                    <a:gs pos="99000">
                      <a:schemeClr val="tx2"/>
                    </a:gs>
                  </a:gsLst>
                  <a:lin ang="5400000" scaled="0"/>
                </a:gradFill>
                <a:latin typeface="+mj-lt"/>
                <a:ea typeface="+mn-ea"/>
                <a:cs typeface="+mn-cs"/>
              </a:defRPr>
            </a:lvl1pPr>
            <a:lvl2pPr marL="615935" marR="0" indent="-273044" algn="l" defTabSz="93259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2pPr>
            <a:lvl3pPr marL="840296" marR="0" indent="-226478" algn="l" defTabSz="932594"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3pPr>
            <a:lvl4pPr marL="1064657" marR="0" indent="-226478" algn="l" defTabSz="932594" rtl="0" eaLnBrk="1" fontAlgn="auto" latinLnBrk="0" hangingPunct="1">
              <a:lnSpc>
                <a:spcPct val="90000"/>
              </a:lnSpc>
              <a:spcBef>
                <a:spcPct val="20000"/>
              </a:spcBef>
              <a:spcAft>
                <a:spcPts val="0"/>
              </a:spcAft>
              <a:buClrTx/>
              <a:buSzPct val="90000"/>
              <a:buFont typeface="Arial" pitchFamily="34" charset="0"/>
              <a:buChar char="•"/>
              <a:tabLst/>
              <a:defRPr sz="1600" kern="1200" spc="0" baseline="0">
                <a:gradFill>
                  <a:gsLst>
                    <a:gs pos="1250">
                      <a:schemeClr val="tx1"/>
                    </a:gs>
                    <a:gs pos="100000">
                      <a:schemeClr val="tx1"/>
                    </a:gs>
                  </a:gsLst>
                  <a:lin ang="5400000" scaled="0"/>
                </a:gradFill>
                <a:latin typeface="+mn-lt"/>
                <a:ea typeface="+mn-ea"/>
                <a:cs typeface="+mn-cs"/>
              </a:defRPr>
            </a:lvl4pPr>
            <a:lvl5pPr marL="1219170" marR="0" indent="-226478" algn="l" defTabSz="932594" rtl="0" eaLnBrk="1" fontAlgn="auto" latinLnBrk="0" hangingPunct="1">
              <a:lnSpc>
                <a:spcPct val="90000"/>
              </a:lnSpc>
              <a:spcBef>
                <a:spcPct val="20000"/>
              </a:spcBef>
              <a:spcAft>
                <a:spcPts val="0"/>
              </a:spcAft>
              <a:buClrTx/>
              <a:buSzPct val="90000"/>
              <a:buFont typeface="Arial" pitchFamily="34" charset="0"/>
              <a:buChar char="•"/>
              <a:tabLst/>
              <a:defRPr sz="1600" kern="1200" spc="0" baseline="0">
                <a:gradFill>
                  <a:gsLst>
                    <a:gs pos="1250">
                      <a:schemeClr val="tx1"/>
                    </a:gs>
                    <a:gs pos="100000">
                      <a:schemeClr val="tx1"/>
                    </a:gs>
                  </a:gsLst>
                  <a:lin ang="5400000" scaled="0"/>
                </a:gradFill>
                <a:latin typeface="+mn-lt"/>
                <a:ea typeface="+mn-ea"/>
                <a:cs typeface="+mn-cs"/>
              </a:defRPr>
            </a:lvl5pPr>
            <a:lvl6pPr marL="2564633" indent="-233149" algn="l" defTabSz="93259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932" indent="-233149" algn="l" defTabSz="93259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229" indent="-233149" algn="l" defTabSz="93259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528" indent="-233149" algn="l" defTabSz="932594"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3200" dirty="0"/>
              <a:t>Priority queue pattern:</a:t>
            </a:r>
          </a:p>
        </p:txBody>
      </p:sp>
    </p:spTree>
    <p:extLst>
      <p:ext uri="{BB962C8B-B14F-4D97-AF65-F5344CB8AC3E}">
        <p14:creationId xmlns:p14="http://schemas.microsoft.com/office/powerpoint/2010/main" val="255948370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8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366168" y="1212850"/>
            <a:ext cx="11914927" cy="3379387"/>
          </a:xfrm>
        </p:spPr>
        <p:txBody>
          <a:bodyPr/>
          <a:lstStyle/>
          <a:p>
            <a:pPr marL="0" indent="0">
              <a:buNone/>
            </a:pPr>
            <a:r>
              <a:rPr lang="en-US" sz="3200" dirty="0"/>
              <a:t>Use a queue that acts as a buffer between a task and a service that invokes in order to smooth the intermittent heavy loads that may otherwise cause the service to fail or the task to timeout.  </a:t>
            </a:r>
          </a:p>
          <a:p>
            <a:pPr marL="0" indent="0">
              <a:buNone/>
            </a:pPr>
            <a:r>
              <a:rPr lang="en-US" sz="3200" dirty="0"/>
              <a:t>This pattern can help to minimize the impact of peaks in demand and availability and responsiveness for both the task and the service.</a:t>
            </a:r>
            <a:endParaRPr lang="en-US" sz="2800" dirty="0">
              <a:solidFill>
                <a:schemeClr val="tx1"/>
              </a:solidFill>
            </a:endParaRPr>
          </a:p>
          <a:p>
            <a:pPr marL="342900" lvl="1" indent="-342900"/>
            <a:r>
              <a:rPr lang="en-US" dirty="0"/>
              <a:t>Queue-based load leveling pattern:</a:t>
            </a:r>
          </a:p>
          <a:p>
            <a:pPr marL="0" indent="0">
              <a:buNone/>
            </a:pPr>
            <a:endParaRPr lang="en-US" sz="3200" dirty="0"/>
          </a:p>
        </p:txBody>
      </p:sp>
      <p:sp>
        <p:nvSpPr>
          <p:cNvPr id="2" name="Title 1"/>
          <p:cNvSpPr>
            <a:spLocks noGrp="1"/>
          </p:cNvSpPr>
          <p:nvPr>
            <p:ph type="title"/>
          </p:nvPr>
        </p:nvSpPr>
        <p:spPr/>
        <p:txBody>
          <a:bodyPr/>
          <a:lstStyle/>
          <a:p>
            <a:r>
              <a:rPr lang="en-US" dirty="0"/>
              <a:t>Azure Service Bus models</a:t>
            </a:r>
          </a:p>
        </p:txBody>
      </p:sp>
      <p:pic>
        <p:nvPicPr>
          <p:cNvPr id="7" name="Picture 6"/>
          <p:cNvPicPr>
            <a:picLocks noChangeAspect="1"/>
          </p:cNvPicPr>
          <p:nvPr/>
        </p:nvPicPr>
        <p:blipFill>
          <a:blip r:embed="rId3"/>
          <a:stretch>
            <a:fillRect/>
          </a:stretch>
        </p:blipFill>
        <p:spPr>
          <a:xfrm>
            <a:off x="519322" y="4341707"/>
            <a:ext cx="6612998" cy="2371464"/>
          </a:xfrm>
          <a:prstGeom prst="rect">
            <a:avLst/>
          </a:prstGeom>
        </p:spPr>
      </p:pic>
    </p:spTree>
    <p:extLst>
      <p:ext uri="{BB962C8B-B14F-4D97-AF65-F5344CB8AC3E}">
        <p14:creationId xmlns:p14="http://schemas.microsoft.com/office/powerpoint/2010/main" val="142090873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8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366168" y="1212850"/>
            <a:ext cx="11914927" cy="2259080"/>
          </a:xfrm>
        </p:spPr>
        <p:txBody>
          <a:bodyPr/>
          <a:lstStyle/>
          <a:p>
            <a:pPr marL="0" indent="0">
              <a:buNone/>
            </a:pPr>
            <a:r>
              <a:rPr lang="en-US" sz="2400" dirty="0"/>
              <a:t>Coordinate a set of actions across a distributed set of services and other remote resources, attempt to transparently handle faults if any of these actions fail, or undo the effects of the work performed if the system cannot recover from a fault. </a:t>
            </a:r>
          </a:p>
          <a:p>
            <a:pPr marL="0" indent="0">
              <a:buNone/>
            </a:pPr>
            <a:r>
              <a:rPr lang="en-US" sz="2400" dirty="0"/>
              <a:t>This pattern can add resiliency to a distributed system by enabling it to recover and retry actions that fail due to transient exceptions, long-lasting faults, and process failures.</a:t>
            </a:r>
          </a:p>
          <a:p>
            <a:pPr marL="342900" lvl="1" indent="-342900"/>
            <a:r>
              <a:rPr lang="en-US" dirty="0"/>
              <a:t>Scheduler agent supervisor pattern:</a:t>
            </a:r>
          </a:p>
        </p:txBody>
      </p:sp>
      <p:sp>
        <p:nvSpPr>
          <p:cNvPr id="2" name="Title 1"/>
          <p:cNvSpPr>
            <a:spLocks noGrp="1"/>
          </p:cNvSpPr>
          <p:nvPr>
            <p:ph type="title"/>
          </p:nvPr>
        </p:nvSpPr>
        <p:spPr/>
        <p:txBody>
          <a:bodyPr/>
          <a:lstStyle/>
          <a:p>
            <a:r>
              <a:rPr lang="en-US" dirty="0"/>
              <a:t>Azure Service Bus models</a:t>
            </a:r>
          </a:p>
        </p:txBody>
      </p:sp>
      <p:pic>
        <p:nvPicPr>
          <p:cNvPr id="5" name="Picture 4"/>
          <p:cNvPicPr>
            <a:picLocks noChangeAspect="1"/>
          </p:cNvPicPr>
          <p:nvPr/>
        </p:nvPicPr>
        <p:blipFill>
          <a:blip r:embed="rId3"/>
          <a:stretch>
            <a:fillRect/>
          </a:stretch>
        </p:blipFill>
        <p:spPr>
          <a:xfrm>
            <a:off x="638321" y="3539641"/>
            <a:ext cx="4637063" cy="3201557"/>
          </a:xfrm>
          <a:prstGeom prst="rect">
            <a:avLst/>
          </a:prstGeom>
        </p:spPr>
      </p:pic>
    </p:spTree>
    <p:extLst>
      <p:ext uri="{BB962C8B-B14F-4D97-AF65-F5344CB8AC3E}">
        <p14:creationId xmlns:p14="http://schemas.microsoft.com/office/powerpoint/2010/main" val="415880688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8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366168" y="1212850"/>
            <a:ext cx="11345186" cy="2616101"/>
          </a:xfrm>
        </p:spPr>
        <p:txBody>
          <a:bodyPr/>
          <a:lstStyle/>
          <a:p>
            <a:pPr marL="0" indent="0">
              <a:buNone/>
            </a:pPr>
            <a:r>
              <a:rPr lang="en-US" sz="2800" dirty="0"/>
              <a:t>Decompose a task that performs complex processing into a series of discrete elements that can be reused. This pattern can improve performance, scalability, and reusability by allowing task elements that perform the processing to be deployed and scaled independently.</a:t>
            </a:r>
          </a:p>
          <a:p>
            <a:pPr marL="342900" lvl="1" indent="-342900"/>
            <a:r>
              <a:rPr lang="en-US" dirty="0"/>
              <a:t>Pipes and filters pattern:</a:t>
            </a:r>
          </a:p>
          <a:p>
            <a:pPr marL="0" indent="0">
              <a:buNone/>
            </a:pPr>
            <a:endParaRPr lang="en-US" sz="3200" dirty="0"/>
          </a:p>
        </p:txBody>
      </p:sp>
      <p:sp>
        <p:nvSpPr>
          <p:cNvPr id="2" name="Title 1"/>
          <p:cNvSpPr>
            <a:spLocks noGrp="1"/>
          </p:cNvSpPr>
          <p:nvPr>
            <p:ph type="title"/>
          </p:nvPr>
        </p:nvSpPr>
        <p:spPr/>
        <p:txBody>
          <a:bodyPr/>
          <a:lstStyle/>
          <a:p>
            <a:r>
              <a:rPr lang="en-US" dirty="0"/>
              <a:t>Azure Service Bus models</a:t>
            </a:r>
          </a:p>
        </p:txBody>
      </p:sp>
      <p:pic>
        <p:nvPicPr>
          <p:cNvPr id="5" name="Picture 2" descr="Figure 2 - A solution implemented by using pipes and filters"/>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501272" y="4216801"/>
            <a:ext cx="5153940" cy="255113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061328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8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366168" y="1212850"/>
            <a:ext cx="11521032" cy="3379387"/>
          </a:xfrm>
        </p:spPr>
        <p:txBody>
          <a:bodyPr/>
          <a:lstStyle/>
          <a:p>
            <a:pPr marL="0" indent="0">
              <a:buNone/>
            </a:pPr>
            <a:r>
              <a:rPr lang="en-US" sz="3200" dirty="0"/>
              <a:t>Use queues and topics to separate endpoints and devices from clients to enable temporary separation for occasionally connected devices and services.  </a:t>
            </a:r>
          </a:p>
          <a:p>
            <a:pPr marL="0" indent="0">
              <a:buNone/>
            </a:pPr>
            <a:r>
              <a:rPr lang="en-US" sz="3200" dirty="0"/>
              <a:t>This pattern improves scale and durability, while providing separation and security on a per-device basis.</a:t>
            </a:r>
          </a:p>
          <a:p>
            <a:pPr marL="342900" lvl="1" indent="-342900"/>
            <a:r>
              <a:rPr lang="en-US" dirty="0"/>
              <a:t>Command and control pattern:</a:t>
            </a:r>
          </a:p>
          <a:p>
            <a:pPr marL="0" indent="0">
              <a:buNone/>
            </a:pPr>
            <a:endParaRPr lang="en-US" sz="3200" dirty="0"/>
          </a:p>
        </p:txBody>
      </p:sp>
      <p:sp>
        <p:nvSpPr>
          <p:cNvPr id="2" name="Title 1"/>
          <p:cNvSpPr>
            <a:spLocks noGrp="1"/>
          </p:cNvSpPr>
          <p:nvPr>
            <p:ph type="title"/>
          </p:nvPr>
        </p:nvSpPr>
        <p:spPr/>
        <p:txBody>
          <a:bodyPr/>
          <a:lstStyle/>
          <a:p>
            <a:r>
              <a:rPr lang="en-US" dirty="0"/>
              <a:t>Azure Service Bus models</a:t>
            </a:r>
          </a:p>
        </p:txBody>
      </p:sp>
      <p:pic>
        <p:nvPicPr>
          <p:cNvPr id="6" name="Picture 5"/>
          <p:cNvPicPr>
            <a:picLocks noChangeAspect="1"/>
          </p:cNvPicPr>
          <p:nvPr/>
        </p:nvPicPr>
        <p:blipFill>
          <a:blip r:embed="rId3"/>
          <a:stretch>
            <a:fillRect/>
          </a:stretch>
        </p:blipFill>
        <p:spPr>
          <a:xfrm>
            <a:off x="509615" y="4100158"/>
            <a:ext cx="8069303" cy="2345727"/>
          </a:xfrm>
          <a:prstGeom prst="rect">
            <a:avLst/>
          </a:prstGeom>
        </p:spPr>
      </p:pic>
    </p:spTree>
    <p:extLst>
      <p:ext uri="{BB962C8B-B14F-4D97-AF65-F5344CB8AC3E}">
        <p14:creationId xmlns:p14="http://schemas.microsoft.com/office/powerpoint/2010/main" val="268432944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366169" y="1212850"/>
            <a:ext cx="9851720" cy="683264"/>
          </a:xfrm>
        </p:spPr>
        <p:txBody>
          <a:bodyPr/>
          <a:lstStyle/>
          <a:p>
            <a:pPr marL="0" indent="0">
              <a:buNone/>
            </a:pPr>
            <a:r>
              <a:rPr lang="en-US" dirty="0"/>
              <a:t>Built on top of App Service and </a:t>
            </a:r>
            <a:r>
              <a:rPr lang="en-US" dirty="0" err="1"/>
              <a:t>WebJobs</a:t>
            </a:r>
            <a:r>
              <a:rPr lang="en-US" dirty="0"/>
              <a:t> SDK</a:t>
            </a:r>
          </a:p>
        </p:txBody>
      </p:sp>
      <p:sp>
        <p:nvSpPr>
          <p:cNvPr id="2" name="Title 1"/>
          <p:cNvSpPr>
            <a:spLocks noGrp="1"/>
          </p:cNvSpPr>
          <p:nvPr>
            <p:ph type="title"/>
          </p:nvPr>
        </p:nvSpPr>
        <p:spPr/>
        <p:txBody>
          <a:bodyPr/>
          <a:lstStyle/>
          <a:p>
            <a:r>
              <a:rPr lang="en-US" dirty="0"/>
              <a:t>Azure functions architecture</a:t>
            </a:r>
          </a:p>
        </p:txBody>
      </p:sp>
      <p:grpSp>
        <p:nvGrpSpPr>
          <p:cNvPr id="4" name="Group 3"/>
          <p:cNvGrpSpPr/>
          <p:nvPr/>
        </p:nvGrpSpPr>
        <p:grpSpPr>
          <a:xfrm>
            <a:off x="563257" y="2033576"/>
            <a:ext cx="11051237" cy="4367476"/>
            <a:chOff x="753110" y="1993700"/>
            <a:chExt cx="10836913" cy="4282775"/>
          </a:xfrm>
        </p:grpSpPr>
        <p:sp>
          <p:nvSpPr>
            <p:cNvPr id="5" name="Rectangle 4"/>
            <p:cNvSpPr/>
            <p:nvPr/>
          </p:nvSpPr>
          <p:spPr bwMode="auto">
            <a:xfrm>
              <a:off x="753112" y="5476874"/>
              <a:ext cx="10836911" cy="799601"/>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0" forceAA="0" compatLnSpc="1">
              <a:prstTxWarp prst="textNoShape">
                <a:avLst/>
              </a:prstTxWarp>
              <a:noAutofit/>
            </a:bodyPr>
            <a:lstStyle/>
            <a:p>
              <a:pPr marL="0" marR="0" lvl="0" indent="0" algn="ctr" defTabSz="950933" rtl="0" eaLnBrk="1" fontAlgn="base" latinLnBrk="0" hangingPunct="1">
                <a:lnSpc>
                  <a:spcPct val="90000"/>
                </a:lnSpc>
                <a:spcBef>
                  <a:spcPct val="0"/>
                </a:spcBef>
                <a:spcAft>
                  <a:spcPct val="0"/>
                </a:spcAft>
                <a:buClrTx/>
                <a:buSzTx/>
                <a:buFontTx/>
                <a:buNone/>
                <a:tabLst/>
                <a:defRPr/>
              </a:pPr>
              <a:r>
                <a:rPr kumimoji="0" lang="en-US" sz="2448"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App Service Dynamic Runtime</a:t>
              </a:r>
              <a:br>
                <a:rPr kumimoji="0" lang="en-US" sz="2448"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br>
              <a:r>
                <a:rPr kumimoji="0" lang="en-US" sz="1836"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Hosting, CI</a:t>
              </a:r>
              <a:r>
                <a:rPr kumimoji="0" lang="en-US" sz="1836"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 Deployment Slots, Remote Debugging, etc.</a:t>
              </a:r>
              <a:endParaRPr kumimoji="0" lang="en-US" sz="2448"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 name="Rectangle 5"/>
            <p:cNvSpPr/>
            <p:nvPr/>
          </p:nvSpPr>
          <p:spPr bwMode="auto">
            <a:xfrm>
              <a:off x="753111" y="4608116"/>
              <a:ext cx="6324602" cy="762539"/>
            </a:xfrm>
            <a:prstGeom prst="rect">
              <a:avLst/>
            </a:prstGeom>
            <a:solidFill>
              <a:srgbClr val="7030A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0" forceAA="0" compatLnSpc="1">
              <a:prstTxWarp prst="textNoShape">
                <a:avLst/>
              </a:prstTxWarp>
              <a:noAutofit/>
            </a:bodyPr>
            <a:lstStyle/>
            <a:p>
              <a:pPr marL="0" marR="0" lvl="0" indent="0" algn="ctr" defTabSz="950933" rtl="0" eaLnBrk="1" fontAlgn="base" latinLnBrk="0" hangingPunct="1">
                <a:lnSpc>
                  <a:spcPct val="90000"/>
                </a:lnSpc>
                <a:spcBef>
                  <a:spcPct val="0"/>
                </a:spcBef>
                <a:spcAft>
                  <a:spcPct val="0"/>
                </a:spcAft>
                <a:buClrTx/>
                <a:buSzTx/>
                <a:buFontTx/>
                <a:buNone/>
                <a:tabLst/>
                <a:defRPr/>
              </a:pPr>
              <a:r>
                <a:rPr kumimoji="0" lang="en-US" sz="2448"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WebJobs</a:t>
              </a:r>
              <a:r>
                <a:rPr kumimoji="0" lang="en-US" sz="2448"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 Core</a:t>
              </a:r>
            </a:p>
            <a:p>
              <a:pPr marL="0" marR="0" lvl="0" indent="0" algn="ctr" defTabSz="950933" rtl="0" eaLnBrk="1" fontAlgn="base" latinLnBrk="0" hangingPunct="1">
                <a:lnSpc>
                  <a:spcPct val="90000"/>
                </a:lnSpc>
                <a:spcBef>
                  <a:spcPct val="0"/>
                </a:spcBef>
                <a:spcAft>
                  <a:spcPct val="0"/>
                </a:spcAft>
                <a:buClrTx/>
                <a:buSzTx/>
                <a:buFontTx/>
                <a:buNone/>
                <a:tabLst/>
                <a:defRPr/>
              </a:pPr>
              <a:r>
                <a:rPr kumimoji="0" lang="en-US" sz="204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Programming model, common abstractions</a:t>
              </a:r>
            </a:p>
          </p:txBody>
        </p:sp>
        <p:sp>
          <p:nvSpPr>
            <p:cNvPr id="7" name="Rectangle 6"/>
            <p:cNvSpPr/>
            <p:nvPr/>
          </p:nvSpPr>
          <p:spPr bwMode="auto">
            <a:xfrm>
              <a:off x="7153912" y="4609920"/>
              <a:ext cx="4410079" cy="760735"/>
            </a:xfrm>
            <a:prstGeom prst="rect">
              <a:avLst/>
            </a:prstGeom>
            <a:solidFill>
              <a:srgbClr val="7030A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0" forceAA="0" compatLnSpc="1">
              <a:prstTxWarp prst="textNoShape">
                <a:avLst/>
              </a:prstTxWarp>
              <a:noAutofit/>
            </a:bodyPr>
            <a:lstStyle/>
            <a:p>
              <a:pPr marL="0" marR="0" lvl="0" indent="0" algn="ctr" defTabSz="950933" rtl="0" eaLnBrk="1" fontAlgn="base" latinLnBrk="0" hangingPunct="1">
                <a:lnSpc>
                  <a:spcPct val="90000"/>
                </a:lnSpc>
                <a:spcBef>
                  <a:spcPct val="0"/>
                </a:spcBef>
                <a:spcAft>
                  <a:spcPct val="0"/>
                </a:spcAft>
                <a:buClrTx/>
                <a:buSzTx/>
                <a:buFontTx/>
                <a:buNone/>
                <a:tabLst/>
                <a:defRPr/>
              </a:pPr>
              <a:r>
                <a:rPr kumimoji="0" lang="en-US" sz="2448"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WebJobs</a:t>
              </a:r>
              <a:r>
                <a:rPr kumimoji="0" lang="en-US" sz="2448"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 Extensions</a:t>
              </a:r>
            </a:p>
            <a:p>
              <a:pPr marL="0" marR="0" lvl="0" indent="0" algn="ctr" defTabSz="950933" rtl="0" eaLnBrk="1" fontAlgn="base" latinLnBrk="0" hangingPunct="1">
                <a:lnSpc>
                  <a:spcPct val="90000"/>
                </a:lnSpc>
                <a:spcBef>
                  <a:spcPct val="0"/>
                </a:spcBef>
                <a:spcAft>
                  <a:spcPct val="0"/>
                </a:spcAft>
                <a:buClrTx/>
                <a:buSzTx/>
                <a:buFontTx/>
                <a:buNone/>
                <a:tabLst/>
                <a:defRPr/>
              </a:pPr>
              <a:r>
                <a:rPr kumimoji="0" lang="en-US" sz="1836"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Triggers, input and output bindings</a:t>
              </a:r>
            </a:p>
          </p:txBody>
        </p:sp>
        <p:sp>
          <p:nvSpPr>
            <p:cNvPr id="8" name="Rectangle 7"/>
            <p:cNvSpPr/>
            <p:nvPr/>
          </p:nvSpPr>
          <p:spPr bwMode="auto">
            <a:xfrm>
              <a:off x="753111" y="3737046"/>
              <a:ext cx="10836911" cy="76485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0" forceAA="0" compatLnSpc="1">
              <a:prstTxWarp prst="textNoShape">
                <a:avLst/>
              </a:prstTxWarp>
              <a:noAutofit/>
            </a:bodyPr>
            <a:lstStyle/>
            <a:p>
              <a:pPr marL="0" marR="0" lvl="0" indent="0" algn="ctr" defTabSz="950933" rtl="0" eaLnBrk="1" fontAlgn="base" latinLnBrk="0" hangingPunct="1">
                <a:lnSpc>
                  <a:spcPct val="90000"/>
                </a:lnSpc>
                <a:spcBef>
                  <a:spcPct val="0"/>
                </a:spcBef>
                <a:spcAft>
                  <a:spcPct val="0"/>
                </a:spcAft>
                <a:buClrTx/>
                <a:buSzTx/>
                <a:buFontTx/>
                <a:buNone/>
                <a:tabLst/>
                <a:defRPr/>
              </a:pPr>
              <a:r>
                <a:rPr kumimoji="0" lang="en-US" sz="2448"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WebJobs Script Runtime</a:t>
              </a:r>
              <a:br>
                <a:rPr kumimoji="0" lang="en-US" sz="2448"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br>
              <a:r>
                <a:rPr kumimoji="0" lang="en-US" sz="1836"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Azure Functions Host – Dynamic Compilation, Language abstractions, etc.</a:t>
              </a:r>
              <a:endParaRPr kumimoji="0" lang="en-US" sz="2448"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Rectangle 8"/>
            <p:cNvSpPr/>
            <p:nvPr/>
          </p:nvSpPr>
          <p:spPr bwMode="auto">
            <a:xfrm>
              <a:off x="753110" y="1993700"/>
              <a:ext cx="5376809" cy="760374"/>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0" forceAA="0" compatLnSpc="1">
              <a:prstTxWarp prst="textNoShape">
                <a:avLst/>
              </a:prstTxWarp>
              <a:noAutofit/>
            </a:bodyPr>
            <a:lstStyle/>
            <a:p>
              <a:pPr marL="0" marR="0" lvl="0" indent="0" algn="ctr" defTabSz="950933" rtl="0" eaLnBrk="1" fontAlgn="base" latinLnBrk="0" hangingPunct="1">
                <a:lnSpc>
                  <a:spcPct val="90000"/>
                </a:lnSpc>
                <a:spcBef>
                  <a:spcPct val="0"/>
                </a:spcBef>
                <a:spcAft>
                  <a:spcPct val="0"/>
                </a:spcAft>
                <a:buClrTx/>
                <a:buSzTx/>
                <a:buFontTx/>
                <a:buNone/>
                <a:tabLst/>
                <a:defRPr/>
              </a:pPr>
              <a:r>
                <a:rPr kumimoji="0" lang="en-US" sz="2448"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Code</a:t>
              </a:r>
            </a:p>
          </p:txBody>
        </p:sp>
        <p:sp>
          <p:nvSpPr>
            <p:cNvPr id="10" name="Rectangle 9"/>
            <p:cNvSpPr/>
            <p:nvPr/>
          </p:nvSpPr>
          <p:spPr bwMode="auto">
            <a:xfrm>
              <a:off x="6210938" y="1996497"/>
              <a:ext cx="5379084" cy="754781"/>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0" forceAA="0" compatLnSpc="1">
              <a:prstTxWarp prst="textNoShape">
                <a:avLst/>
              </a:prstTxWarp>
              <a:noAutofit/>
            </a:bodyPr>
            <a:lstStyle/>
            <a:p>
              <a:pPr marL="0" marR="0" lvl="0" indent="0" algn="ctr" defTabSz="950933" rtl="0" eaLnBrk="1" fontAlgn="base" latinLnBrk="0" hangingPunct="1">
                <a:lnSpc>
                  <a:spcPct val="90000"/>
                </a:lnSpc>
                <a:spcBef>
                  <a:spcPct val="0"/>
                </a:spcBef>
                <a:spcAft>
                  <a:spcPct val="0"/>
                </a:spcAft>
                <a:buClrTx/>
                <a:buSzTx/>
                <a:buFontTx/>
                <a:buNone/>
                <a:tabLst/>
                <a:defRPr/>
              </a:pPr>
              <a:r>
                <a:rPr kumimoji="0" lang="en-US" sz="2448"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Config</a:t>
              </a:r>
              <a:endParaRPr kumimoji="0" lang="en-US" sz="2448"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11" name="Rectangle 10"/>
          <p:cNvSpPr/>
          <p:nvPr/>
        </p:nvSpPr>
        <p:spPr bwMode="auto">
          <a:xfrm>
            <a:off x="563258" y="2921264"/>
            <a:ext cx="11051235" cy="77997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0" forceAA="0" compatLnSpc="1">
            <a:prstTxWarp prst="textNoShape">
              <a:avLst/>
            </a:prstTxWarp>
            <a:noAutofit/>
          </a:bodyPr>
          <a:lstStyle/>
          <a:p>
            <a:pPr marL="0" marR="0" lvl="0" indent="0" algn="ctr" defTabSz="950933" rtl="0" eaLnBrk="1" fontAlgn="base" latinLnBrk="0" hangingPunct="1">
              <a:lnSpc>
                <a:spcPct val="90000"/>
              </a:lnSpc>
              <a:spcBef>
                <a:spcPct val="0"/>
              </a:spcBef>
              <a:spcAft>
                <a:spcPct val="0"/>
              </a:spcAft>
              <a:buClrTx/>
              <a:buSzTx/>
              <a:buFontTx/>
              <a:buNone/>
              <a:tabLst/>
              <a:defRPr/>
            </a:pPr>
            <a:r>
              <a:rPr kumimoji="0" lang="en-US" sz="2448"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Language Runtime</a:t>
            </a:r>
            <a:br>
              <a:rPr kumimoji="0" lang="en-US" sz="2448"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br>
            <a:r>
              <a:rPr kumimoji="0" lang="en-US" sz="1836"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C#, Node.js, F#, PHP, etc.</a:t>
            </a:r>
            <a:endParaRPr kumimoji="0" lang="en-US" sz="2448"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79167939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9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366168" y="1212850"/>
            <a:ext cx="11521032" cy="3496342"/>
          </a:xfrm>
        </p:spPr>
        <p:txBody>
          <a:bodyPr/>
          <a:lstStyle/>
          <a:p>
            <a:pPr marL="0" indent="0">
              <a:buNone/>
            </a:pPr>
            <a:r>
              <a:rPr lang="en-US" sz="2800" dirty="0"/>
              <a:t>Distribute messages over multiple channels to one or more recipients in parallel. This pattern improves scale and reduces latency by spreading messages to one or more downstream.  </a:t>
            </a:r>
          </a:p>
          <a:p>
            <a:pPr marL="0" indent="0">
              <a:buNone/>
            </a:pPr>
            <a:r>
              <a:rPr lang="en-US" sz="2800" dirty="0"/>
              <a:t>Unlike load leveling, this pattern partitions data across subscriptions on topics.  </a:t>
            </a:r>
          </a:p>
          <a:p>
            <a:pPr marL="0" indent="0">
              <a:buNone/>
            </a:pPr>
            <a:r>
              <a:rPr lang="en-US" sz="2800" dirty="0"/>
              <a:t>This can be accomplished with </a:t>
            </a:r>
            <a:r>
              <a:rPr lang="en-US" sz="2800" dirty="0" err="1"/>
              <a:t>ForwardTo</a:t>
            </a:r>
            <a:r>
              <a:rPr lang="en-US" sz="2800" dirty="0"/>
              <a:t> or Subscriptions features.</a:t>
            </a:r>
          </a:p>
          <a:p>
            <a:pPr marL="342900" lvl="1" indent="-342900"/>
            <a:r>
              <a:rPr lang="en-US" dirty="0"/>
              <a:t>Fan out pattern:</a:t>
            </a:r>
          </a:p>
          <a:p>
            <a:pPr marL="0" indent="0">
              <a:buNone/>
            </a:pPr>
            <a:endParaRPr lang="en-US" sz="2800" dirty="0"/>
          </a:p>
        </p:txBody>
      </p:sp>
      <p:sp>
        <p:nvSpPr>
          <p:cNvPr id="2" name="Title 1"/>
          <p:cNvSpPr>
            <a:spLocks noGrp="1"/>
          </p:cNvSpPr>
          <p:nvPr>
            <p:ph type="title"/>
          </p:nvPr>
        </p:nvSpPr>
        <p:spPr/>
        <p:txBody>
          <a:bodyPr/>
          <a:lstStyle/>
          <a:p>
            <a:r>
              <a:rPr lang="en-US" dirty="0"/>
              <a:t>Azure Service Bus models</a:t>
            </a:r>
          </a:p>
        </p:txBody>
      </p:sp>
      <p:pic>
        <p:nvPicPr>
          <p:cNvPr id="5" name="Picture 4"/>
          <p:cNvPicPr>
            <a:picLocks noChangeAspect="1"/>
          </p:cNvPicPr>
          <p:nvPr/>
        </p:nvPicPr>
        <p:blipFill>
          <a:blip r:embed="rId3"/>
          <a:stretch>
            <a:fillRect/>
          </a:stretch>
        </p:blipFill>
        <p:spPr>
          <a:xfrm>
            <a:off x="476653" y="4148524"/>
            <a:ext cx="6705600" cy="2391224"/>
          </a:xfrm>
          <a:prstGeom prst="rect">
            <a:avLst/>
          </a:prstGeom>
        </p:spPr>
      </p:pic>
    </p:spTree>
    <p:extLst>
      <p:ext uri="{BB962C8B-B14F-4D97-AF65-F5344CB8AC3E}">
        <p14:creationId xmlns:p14="http://schemas.microsoft.com/office/powerpoint/2010/main" val="162464863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9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Segoe UI Light" panose="020B0502040204020203" pitchFamily="34" charset="0"/>
                <a:cs typeface="Segoe UI Light" panose="020B0502040204020203" pitchFamily="34" charset="0"/>
              </a:rPr>
              <a:t>Service Bus decisions</a:t>
            </a:r>
            <a:endParaRPr lang="en-US" dirty="0"/>
          </a:p>
        </p:txBody>
      </p:sp>
      <p:sp>
        <p:nvSpPr>
          <p:cNvPr id="8" name="Freeform: Shape 7"/>
          <p:cNvSpPr/>
          <p:nvPr/>
        </p:nvSpPr>
        <p:spPr>
          <a:xfrm>
            <a:off x="4416051" y="1627194"/>
            <a:ext cx="6259036" cy="1738211"/>
          </a:xfrm>
          <a:custGeom>
            <a:avLst/>
            <a:gdLst>
              <a:gd name="connsiteX0" fmla="*/ 0 w 6937384"/>
              <a:gd name="connsiteY0" fmla="*/ 171052 h 1368412"/>
              <a:gd name="connsiteX1" fmla="*/ 6253178 w 6937384"/>
              <a:gd name="connsiteY1" fmla="*/ 171052 h 1368412"/>
              <a:gd name="connsiteX2" fmla="*/ 6253178 w 6937384"/>
              <a:gd name="connsiteY2" fmla="*/ 0 h 1368412"/>
              <a:gd name="connsiteX3" fmla="*/ 6937384 w 6937384"/>
              <a:gd name="connsiteY3" fmla="*/ 684206 h 1368412"/>
              <a:gd name="connsiteX4" fmla="*/ 6253178 w 6937384"/>
              <a:gd name="connsiteY4" fmla="*/ 1368412 h 1368412"/>
              <a:gd name="connsiteX5" fmla="*/ 6253178 w 6937384"/>
              <a:gd name="connsiteY5" fmla="*/ 1197361 h 1368412"/>
              <a:gd name="connsiteX6" fmla="*/ 0 w 6937384"/>
              <a:gd name="connsiteY6" fmla="*/ 1197361 h 1368412"/>
              <a:gd name="connsiteX7" fmla="*/ 0 w 6937384"/>
              <a:gd name="connsiteY7" fmla="*/ 171052 h 13684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937384" h="1368412">
                <a:moveTo>
                  <a:pt x="0" y="171052"/>
                </a:moveTo>
                <a:lnTo>
                  <a:pt x="6253178" y="171052"/>
                </a:lnTo>
                <a:lnTo>
                  <a:pt x="6253178" y="0"/>
                </a:lnTo>
                <a:lnTo>
                  <a:pt x="6937384" y="684206"/>
                </a:lnTo>
                <a:lnTo>
                  <a:pt x="6253178" y="1368412"/>
                </a:lnTo>
                <a:lnTo>
                  <a:pt x="6253178" y="1197361"/>
                </a:lnTo>
                <a:lnTo>
                  <a:pt x="0" y="1197361"/>
                </a:lnTo>
                <a:lnTo>
                  <a:pt x="0" y="171052"/>
                </a:lnTo>
                <a:close/>
              </a:path>
            </a:pathLst>
          </a:custGeom>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228600" tIns="457200" rIns="457200" bIns="182481" numCol="1" spcCol="1270" anchor="t" anchorCtr="0">
            <a:noAutofit/>
          </a:bodyPr>
          <a:lstStyle/>
          <a:p>
            <a:pPr marL="285750" lvl="1" indent="-285750" defTabSz="800100">
              <a:lnSpc>
                <a:spcPct val="90000"/>
              </a:lnSpc>
              <a:spcBef>
                <a:spcPct val="0"/>
              </a:spcBef>
              <a:spcAft>
                <a:spcPct val="15000"/>
              </a:spcAft>
              <a:buFont typeface="Arial" panose="020B0604020202020204" pitchFamily="34" charset="0"/>
              <a:buChar char="•"/>
            </a:pPr>
            <a:r>
              <a:rPr lang="en-US" dirty="0"/>
              <a:t>Determine which model to use when storing messages in Service Bus, based on transaction, lifetimes, and message rates</a:t>
            </a:r>
          </a:p>
        </p:txBody>
      </p:sp>
      <p:sp>
        <p:nvSpPr>
          <p:cNvPr id="9" name="Freeform: Shape 8"/>
          <p:cNvSpPr/>
          <p:nvPr/>
        </p:nvSpPr>
        <p:spPr>
          <a:xfrm>
            <a:off x="1320269" y="1828801"/>
            <a:ext cx="3221976" cy="1317450"/>
          </a:xfrm>
          <a:custGeom>
            <a:avLst/>
            <a:gdLst>
              <a:gd name="connsiteX0" fmla="*/ 0 w 3221976"/>
              <a:gd name="connsiteY0" fmla="*/ 188426 h 1130532"/>
              <a:gd name="connsiteX1" fmla="*/ 188426 w 3221976"/>
              <a:gd name="connsiteY1" fmla="*/ 0 h 1130532"/>
              <a:gd name="connsiteX2" fmla="*/ 3033550 w 3221976"/>
              <a:gd name="connsiteY2" fmla="*/ 0 h 1130532"/>
              <a:gd name="connsiteX3" fmla="*/ 3221976 w 3221976"/>
              <a:gd name="connsiteY3" fmla="*/ 188426 h 1130532"/>
              <a:gd name="connsiteX4" fmla="*/ 3221976 w 3221976"/>
              <a:gd name="connsiteY4" fmla="*/ 942106 h 1130532"/>
              <a:gd name="connsiteX5" fmla="*/ 3033550 w 3221976"/>
              <a:gd name="connsiteY5" fmla="*/ 1130532 h 1130532"/>
              <a:gd name="connsiteX6" fmla="*/ 188426 w 3221976"/>
              <a:gd name="connsiteY6" fmla="*/ 1130532 h 1130532"/>
              <a:gd name="connsiteX7" fmla="*/ 0 w 3221976"/>
              <a:gd name="connsiteY7" fmla="*/ 942106 h 1130532"/>
              <a:gd name="connsiteX8" fmla="*/ 0 w 3221976"/>
              <a:gd name="connsiteY8" fmla="*/ 188426 h 11305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21976" h="1130532">
                <a:moveTo>
                  <a:pt x="0" y="188426"/>
                </a:moveTo>
                <a:cubicBezTo>
                  <a:pt x="0" y="84361"/>
                  <a:pt x="84361" y="0"/>
                  <a:pt x="188426" y="0"/>
                </a:cubicBezTo>
                <a:lnTo>
                  <a:pt x="3033550" y="0"/>
                </a:lnTo>
                <a:cubicBezTo>
                  <a:pt x="3137615" y="0"/>
                  <a:pt x="3221976" y="84361"/>
                  <a:pt x="3221976" y="188426"/>
                </a:cubicBezTo>
                <a:lnTo>
                  <a:pt x="3221976" y="942106"/>
                </a:lnTo>
                <a:cubicBezTo>
                  <a:pt x="3221976" y="1046171"/>
                  <a:pt x="3137615" y="1130532"/>
                  <a:pt x="3033550" y="1130532"/>
                </a:cubicBezTo>
                <a:lnTo>
                  <a:pt x="188426" y="1130532"/>
                </a:lnTo>
                <a:cubicBezTo>
                  <a:pt x="84361" y="1130532"/>
                  <a:pt x="0" y="1046171"/>
                  <a:pt x="0" y="942106"/>
                </a:cubicBezTo>
                <a:lnTo>
                  <a:pt x="0" y="188426"/>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77108" tIns="116148" rIns="177108" bIns="116148" numCol="1" spcCol="1270" anchor="ctr" anchorCtr="0">
            <a:noAutofit/>
          </a:bodyPr>
          <a:lstStyle/>
          <a:p>
            <a:pPr marL="0" lvl="0" indent="0" algn="ctr" defTabSz="1422400">
              <a:lnSpc>
                <a:spcPct val="90000"/>
              </a:lnSpc>
              <a:spcBef>
                <a:spcPct val="0"/>
              </a:spcBef>
              <a:spcAft>
                <a:spcPct val="35000"/>
              </a:spcAft>
              <a:buNone/>
            </a:pPr>
            <a:r>
              <a:rPr lang="en-US" sz="3200" b="0" kern="1200" dirty="0">
                <a:latin typeface="Segoe UI Semibold" panose="020B0702040204020203" pitchFamily="34" charset="0"/>
                <a:cs typeface="Segoe UI Semibold" panose="020B0702040204020203" pitchFamily="34" charset="0"/>
              </a:rPr>
              <a:t>Mandatory</a:t>
            </a:r>
          </a:p>
        </p:txBody>
      </p:sp>
      <p:sp>
        <p:nvSpPr>
          <p:cNvPr id="10" name="Freeform: Shape 9"/>
          <p:cNvSpPr/>
          <p:nvPr/>
        </p:nvSpPr>
        <p:spPr>
          <a:xfrm>
            <a:off x="4174858" y="3431802"/>
            <a:ext cx="6500229" cy="1652777"/>
          </a:xfrm>
          <a:custGeom>
            <a:avLst/>
            <a:gdLst>
              <a:gd name="connsiteX0" fmla="*/ 0 w 7091479"/>
              <a:gd name="connsiteY0" fmla="*/ 293845 h 2350760"/>
              <a:gd name="connsiteX1" fmla="*/ 5916099 w 7091479"/>
              <a:gd name="connsiteY1" fmla="*/ 293845 h 2350760"/>
              <a:gd name="connsiteX2" fmla="*/ 5916099 w 7091479"/>
              <a:gd name="connsiteY2" fmla="*/ 0 h 2350760"/>
              <a:gd name="connsiteX3" fmla="*/ 7091479 w 7091479"/>
              <a:gd name="connsiteY3" fmla="*/ 1175380 h 2350760"/>
              <a:gd name="connsiteX4" fmla="*/ 5916099 w 7091479"/>
              <a:gd name="connsiteY4" fmla="*/ 2350760 h 2350760"/>
              <a:gd name="connsiteX5" fmla="*/ 5916099 w 7091479"/>
              <a:gd name="connsiteY5" fmla="*/ 2056915 h 2350760"/>
              <a:gd name="connsiteX6" fmla="*/ 0 w 7091479"/>
              <a:gd name="connsiteY6" fmla="*/ 2056915 h 2350760"/>
              <a:gd name="connsiteX7" fmla="*/ 0 w 7091479"/>
              <a:gd name="connsiteY7" fmla="*/ 293845 h 2350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091479" h="2350760">
                <a:moveTo>
                  <a:pt x="0" y="293845"/>
                </a:moveTo>
                <a:lnTo>
                  <a:pt x="5916099" y="293845"/>
                </a:lnTo>
                <a:lnTo>
                  <a:pt x="5916099" y="0"/>
                </a:lnTo>
                <a:lnTo>
                  <a:pt x="7091479" y="1175380"/>
                </a:lnTo>
                <a:lnTo>
                  <a:pt x="5916099" y="2350760"/>
                </a:lnTo>
                <a:lnTo>
                  <a:pt x="5916099" y="2056915"/>
                </a:lnTo>
                <a:lnTo>
                  <a:pt x="0" y="2056915"/>
                </a:lnTo>
                <a:lnTo>
                  <a:pt x="0" y="293845"/>
                </a:lnTo>
                <a:close/>
              </a:path>
            </a:pathLst>
          </a:custGeom>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457200" tIns="457200" rIns="1064415" bIns="305275" numCol="1" spcCol="1270" anchor="t" anchorCtr="0">
            <a:noAutofit/>
          </a:bodyPr>
          <a:lstStyle/>
          <a:p>
            <a:pPr marL="285750" lvl="1" indent="-285750" defTabSz="800100">
              <a:lnSpc>
                <a:spcPct val="90000"/>
              </a:lnSpc>
              <a:spcBef>
                <a:spcPct val="0"/>
              </a:spcBef>
              <a:spcAft>
                <a:spcPct val="15000"/>
              </a:spcAft>
              <a:buFont typeface="Arial" panose="020B0604020202020204" pitchFamily="34" charset="0"/>
              <a:buChar char="•"/>
            </a:pPr>
            <a:r>
              <a:rPr lang="en-US" dirty="0"/>
              <a:t>Modify applications to provide transient fault handling to compliment the decoupling of message posting from message processing</a:t>
            </a:r>
          </a:p>
        </p:txBody>
      </p:sp>
      <p:sp>
        <p:nvSpPr>
          <p:cNvPr id="11" name="Freeform: Shape 10"/>
          <p:cNvSpPr/>
          <p:nvPr/>
        </p:nvSpPr>
        <p:spPr>
          <a:xfrm>
            <a:off x="1328722" y="3637082"/>
            <a:ext cx="3213523" cy="1294709"/>
          </a:xfrm>
          <a:custGeom>
            <a:avLst/>
            <a:gdLst>
              <a:gd name="connsiteX0" fmla="*/ 0 w 3213523"/>
              <a:gd name="connsiteY0" fmla="*/ 295356 h 1772099"/>
              <a:gd name="connsiteX1" fmla="*/ 295356 w 3213523"/>
              <a:gd name="connsiteY1" fmla="*/ 0 h 1772099"/>
              <a:gd name="connsiteX2" fmla="*/ 2918167 w 3213523"/>
              <a:gd name="connsiteY2" fmla="*/ 0 h 1772099"/>
              <a:gd name="connsiteX3" fmla="*/ 3213523 w 3213523"/>
              <a:gd name="connsiteY3" fmla="*/ 295356 h 1772099"/>
              <a:gd name="connsiteX4" fmla="*/ 3213523 w 3213523"/>
              <a:gd name="connsiteY4" fmla="*/ 1476743 h 1772099"/>
              <a:gd name="connsiteX5" fmla="*/ 2918167 w 3213523"/>
              <a:gd name="connsiteY5" fmla="*/ 1772099 h 1772099"/>
              <a:gd name="connsiteX6" fmla="*/ 295356 w 3213523"/>
              <a:gd name="connsiteY6" fmla="*/ 1772099 h 1772099"/>
              <a:gd name="connsiteX7" fmla="*/ 0 w 3213523"/>
              <a:gd name="connsiteY7" fmla="*/ 1476743 h 1772099"/>
              <a:gd name="connsiteX8" fmla="*/ 0 w 3213523"/>
              <a:gd name="connsiteY8" fmla="*/ 295356 h 17720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13523" h="1772099">
                <a:moveTo>
                  <a:pt x="0" y="295356"/>
                </a:moveTo>
                <a:cubicBezTo>
                  <a:pt x="0" y="132235"/>
                  <a:pt x="132235" y="0"/>
                  <a:pt x="295356" y="0"/>
                </a:cubicBezTo>
                <a:lnTo>
                  <a:pt x="2918167" y="0"/>
                </a:lnTo>
                <a:cubicBezTo>
                  <a:pt x="3081288" y="0"/>
                  <a:pt x="3213523" y="132235"/>
                  <a:pt x="3213523" y="295356"/>
                </a:cubicBezTo>
                <a:lnTo>
                  <a:pt x="3213523" y="1476743"/>
                </a:lnTo>
                <a:cubicBezTo>
                  <a:pt x="3213523" y="1639864"/>
                  <a:pt x="3081288" y="1772099"/>
                  <a:pt x="2918167" y="1772099"/>
                </a:cubicBezTo>
                <a:lnTo>
                  <a:pt x="295356" y="1772099"/>
                </a:lnTo>
                <a:cubicBezTo>
                  <a:pt x="132235" y="1772099"/>
                  <a:pt x="0" y="1639864"/>
                  <a:pt x="0" y="1476743"/>
                </a:cubicBezTo>
                <a:lnTo>
                  <a:pt x="0" y="295356"/>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08427" tIns="147467" rIns="208427" bIns="147467" numCol="1" spcCol="1270" anchor="ctr" anchorCtr="0">
            <a:noAutofit/>
          </a:bodyPr>
          <a:lstStyle/>
          <a:p>
            <a:pPr marL="0" lvl="0" indent="0" algn="ctr" defTabSz="1422400">
              <a:lnSpc>
                <a:spcPct val="90000"/>
              </a:lnSpc>
              <a:spcBef>
                <a:spcPct val="0"/>
              </a:spcBef>
              <a:spcAft>
                <a:spcPct val="35000"/>
              </a:spcAft>
              <a:buNone/>
            </a:pPr>
            <a:r>
              <a:rPr lang="en-US" sz="3200" b="0" kern="1200" dirty="0">
                <a:solidFill>
                  <a:srgbClr val="FFFFFF"/>
                </a:solidFill>
                <a:latin typeface="Segoe UI Semibold" panose="020B0702040204020203" pitchFamily="34" charset="0"/>
                <a:ea typeface="+mn-ea"/>
                <a:cs typeface="Segoe UI Semibold" panose="020B0702040204020203" pitchFamily="34" charset="0"/>
              </a:rPr>
              <a:t>Recommended</a:t>
            </a:r>
          </a:p>
        </p:txBody>
      </p:sp>
      <p:sp>
        <p:nvSpPr>
          <p:cNvPr id="12" name="Freeform: Shape 11"/>
          <p:cNvSpPr/>
          <p:nvPr/>
        </p:nvSpPr>
        <p:spPr>
          <a:xfrm>
            <a:off x="4281380" y="5167190"/>
            <a:ext cx="6393707" cy="1290317"/>
          </a:xfrm>
          <a:custGeom>
            <a:avLst/>
            <a:gdLst>
              <a:gd name="connsiteX0" fmla="*/ 0 w 7125896"/>
              <a:gd name="connsiteY0" fmla="*/ 180910 h 1447281"/>
              <a:gd name="connsiteX1" fmla="*/ 6402256 w 7125896"/>
              <a:gd name="connsiteY1" fmla="*/ 180910 h 1447281"/>
              <a:gd name="connsiteX2" fmla="*/ 6402256 w 7125896"/>
              <a:gd name="connsiteY2" fmla="*/ 0 h 1447281"/>
              <a:gd name="connsiteX3" fmla="*/ 7125896 w 7125896"/>
              <a:gd name="connsiteY3" fmla="*/ 723641 h 1447281"/>
              <a:gd name="connsiteX4" fmla="*/ 6402256 w 7125896"/>
              <a:gd name="connsiteY4" fmla="*/ 1447281 h 1447281"/>
              <a:gd name="connsiteX5" fmla="*/ 6402256 w 7125896"/>
              <a:gd name="connsiteY5" fmla="*/ 1266371 h 1447281"/>
              <a:gd name="connsiteX6" fmla="*/ 0 w 7125896"/>
              <a:gd name="connsiteY6" fmla="*/ 1266371 h 1447281"/>
              <a:gd name="connsiteX7" fmla="*/ 0 w 7125896"/>
              <a:gd name="connsiteY7" fmla="*/ 180910 h 14472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125896" h="1447281">
                <a:moveTo>
                  <a:pt x="0" y="180910"/>
                </a:moveTo>
                <a:lnTo>
                  <a:pt x="6402256" y="180910"/>
                </a:lnTo>
                <a:lnTo>
                  <a:pt x="6402256" y="0"/>
                </a:lnTo>
                <a:lnTo>
                  <a:pt x="7125896" y="723641"/>
                </a:lnTo>
                <a:lnTo>
                  <a:pt x="6402256" y="1447281"/>
                </a:lnTo>
                <a:lnTo>
                  <a:pt x="6402256" y="1266371"/>
                </a:lnTo>
                <a:lnTo>
                  <a:pt x="0" y="1266371"/>
                </a:lnTo>
                <a:lnTo>
                  <a:pt x="0" y="180910"/>
                </a:lnTo>
                <a:close/>
              </a:path>
            </a:pathLst>
          </a:custGeom>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365760" tIns="365760" rIns="640080" bIns="192340" numCol="1" spcCol="1270" anchor="t" anchorCtr="0">
            <a:noAutofit/>
          </a:bodyPr>
          <a:lstStyle/>
          <a:p>
            <a:pPr marL="285750" lvl="0" indent="-285750">
              <a:buFont typeface="Arial" panose="020B0604020202020204" pitchFamily="34" charset="0"/>
              <a:buChar char="•"/>
            </a:pPr>
            <a:r>
              <a:rPr lang="en-US" dirty="0"/>
              <a:t>Leverage Event Hubs in addition to Service Bus to handle large scale intake of service bus messages</a:t>
            </a:r>
          </a:p>
        </p:txBody>
      </p:sp>
      <p:sp>
        <p:nvSpPr>
          <p:cNvPr id="13" name="Freeform: Shape 12"/>
          <p:cNvSpPr/>
          <p:nvPr/>
        </p:nvSpPr>
        <p:spPr>
          <a:xfrm>
            <a:off x="1255786" y="5319978"/>
            <a:ext cx="3283133" cy="1008562"/>
          </a:xfrm>
          <a:custGeom>
            <a:avLst/>
            <a:gdLst>
              <a:gd name="connsiteX0" fmla="*/ 0 w 3210524"/>
              <a:gd name="connsiteY0" fmla="*/ 191185 h 1147089"/>
              <a:gd name="connsiteX1" fmla="*/ 191185 w 3210524"/>
              <a:gd name="connsiteY1" fmla="*/ 0 h 1147089"/>
              <a:gd name="connsiteX2" fmla="*/ 3019339 w 3210524"/>
              <a:gd name="connsiteY2" fmla="*/ 0 h 1147089"/>
              <a:gd name="connsiteX3" fmla="*/ 3210524 w 3210524"/>
              <a:gd name="connsiteY3" fmla="*/ 191185 h 1147089"/>
              <a:gd name="connsiteX4" fmla="*/ 3210524 w 3210524"/>
              <a:gd name="connsiteY4" fmla="*/ 955904 h 1147089"/>
              <a:gd name="connsiteX5" fmla="*/ 3019339 w 3210524"/>
              <a:gd name="connsiteY5" fmla="*/ 1147089 h 1147089"/>
              <a:gd name="connsiteX6" fmla="*/ 191185 w 3210524"/>
              <a:gd name="connsiteY6" fmla="*/ 1147089 h 1147089"/>
              <a:gd name="connsiteX7" fmla="*/ 0 w 3210524"/>
              <a:gd name="connsiteY7" fmla="*/ 955904 h 1147089"/>
              <a:gd name="connsiteX8" fmla="*/ 0 w 3210524"/>
              <a:gd name="connsiteY8" fmla="*/ 191185 h 1147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10524" h="1147089">
                <a:moveTo>
                  <a:pt x="0" y="191185"/>
                </a:moveTo>
                <a:cubicBezTo>
                  <a:pt x="0" y="85596"/>
                  <a:pt x="85596" y="0"/>
                  <a:pt x="191185" y="0"/>
                </a:cubicBezTo>
                <a:lnTo>
                  <a:pt x="3019339" y="0"/>
                </a:lnTo>
                <a:cubicBezTo>
                  <a:pt x="3124928" y="0"/>
                  <a:pt x="3210524" y="85596"/>
                  <a:pt x="3210524" y="191185"/>
                </a:cubicBezTo>
                <a:lnTo>
                  <a:pt x="3210524" y="955904"/>
                </a:lnTo>
                <a:cubicBezTo>
                  <a:pt x="3210524" y="1061493"/>
                  <a:pt x="3124928" y="1147089"/>
                  <a:pt x="3019339" y="1147089"/>
                </a:cubicBezTo>
                <a:lnTo>
                  <a:pt x="191185" y="1147089"/>
                </a:lnTo>
                <a:cubicBezTo>
                  <a:pt x="85596" y="1147089"/>
                  <a:pt x="0" y="1061493"/>
                  <a:pt x="0" y="955904"/>
                </a:cubicBezTo>
                <a:lnTo>
                  <a:pt x="0" y="191185"/>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77916" tIns="116956" rIns="177916" bIns="116956" numCol="1" spcCol="1270" anchor="ctr" anchorCtr="0">
            <a:noAutofit/>
          </a:bodyPr>
          <a:lstStyle/>
          <a:p>
            <a:pPr marL="0" lvl="0" indent="0" algn="ctr" defTabSz="1422400">
              <a:lnSpc>
                <a:spcPct val="90000"/>
              </a:lnSpc>
              <a:spcBef>
                <a:spcPct val="0"/>
              </a:spcBef>
              <a:spcAft>
                <a:spcPct val="35000"/>
              </a:spcAft>
              <a:buNone/>
            </a:pPr>
            <a:r>
              <a:rPr lang="en-US" sz="3200" b="0" kern="1200" dirty="0">
                <a:solidFill>
                  <a:srgbClr val="FFFFFF"/>
                </a:solidFill>
                <a:latin typeface="Segoe UI Semibold" panose="020B0702040204020203" pitchFamily="34" charset="0"/>
                <a:ea typeface="+mn-ea"/>
                <a:cs typeface="Segoe UI Semibold" panose="020B0702040204020203" pitchFamily="34" charset="0"/>
              </a:rPr>
              <a:t>Optional</a:t>
            </a:r>
          </a:p>
        </p:txBody>
      </p:sp>
      <p:sp>
        <p:nvSpPr>
          <p:cNvPr id="4" name="Octagon 3"/>
          <p:cNvSpPr/>
          <p:nvPr/>
        </p:nvSpPr>
        <p:spPr>
          <a:xfrm>
            <a:off x="1107200" y="2911641"/>
            <a:ext cx="443098" cy="439889"/>
          </a:xfrm>
          <a:prstGeom prst="octagon">
            <a:avLst/>
          </a:prstGeom>
          <a:solidFill>
            <a:srgbClr val="CC0000"/>
          </a:solidFill>
        </p:spPr>
        <p:style>
          <a:lnRef idx="1">
            <a:schemeClr val="accent2"/>
          </a:lnRef>
          <a:fillRef idx="3">
            <a:schemeClr val="accent2"/>
          </a:fillRef>
          <a:effectRef idx="2">
            <a:schemeClr val="accent2"/>
          </a:effectRef>
          <a:fontRef idx="minor">
            <a:schemeClr val="lt1"/>
          </a:fontRef>
        </p:style>
        <p:txBody>
          <a:bodyPr rot="0" spcFirstLastPara="0" vert="horz" wrap="square" lIns="68583" tIns="34291" rIns="68583" bIns="34291" numCol="1" spcCol="0" rtlCol="0" fromWordArt="0" anchor="ctr" anchorCtr="0" forceAA="0" compatLnSpc="1">
            <a:prstTxWarp prst="textNoShape">
              <a:avLst/>
            </a:prstTxWarp>
            <a:noAutofit/>
          </a:bodyPr>
          <a:lstStyle/>
          <a:p>
            <a:endParaRPr lang="en-US" sz="1350" dirty="0"/>
          </a:p>
        </p:txBody>
      </p:sp>
      <p:sp>
        <p:nvSpPr>
          <p:cNvPr id="5" name="Isosceles Triangle 4"/>
          <p:cNvSpPr>
            <a:spLocks/>
          </p:cNvSpPr>
          <p:nvPr/>
        </p:nvSpPr>
        <p:spPr>
          <a:xfrm>
            <a:off x="1038785" y="4606524"/>
            <a:ext cx="579874" cy="457219"/>
          </a:xfrm>
          <a:prstGeom prst="triangle">
            <a:avLst/>
          </a:prstGeom>
          <a:solidFill>
            <a:srgbClr val="FFFF00"/>
          </a:solidFill>
        </p:spPr>
        <p:style>
          <a:lnRef idx="1">
            <a:schemeClr val="accent6"/>
          </a:lnRef>
          <a:fillRef idx="3">
            <a:schemeClr val="accent6"/>
          </a:fillRef>
          <a:effectRef idx="2">
            <a:schemeClr val="accent6"/>
          </a:effectRef>
          <a:fontRef idx="minor">
            <a:schemeClr val="lt1"/>
          </a:fontRef>
        </p:style>
        <p:txBody>
          <a:bodyPr rot="0" spcFirstLastPara="0" vert="horz" wrap="square" lIns="68583" tIns="34291" rIns="68583" bIns="34291" numCol="1" spcCol="0" rtlCol="0" fromWordArt="0" anchor="ctr" anchorCtr="0" forceAA="0" compatLnSpc="1">
            <a:prstTxWarp prst="textNoShape">
              <a:avLst/>
            </a:prstTxWarp>
            <a:noAutofit/>
          </a:bodyPr>
          <a:lstStyle/>
          <a:p>
            <a:endParaRPr lang="en-US" sz="1350"/>
          </a:p>
        </p:txBody>
      </p:sp>
      <p:sp>
        <p:nvSpPr>
          <p:cNvPr id="6" name="Oval 5"/>
          <p:cNvSpPr>
            <a:spLocks/>
          </p:cNvSpPr>
          <p:nvPr/>
        </p:nvSpPr>
        <p:spPr>
          <a:xfrm>
            <a:off x="1038785" y="6069964"/>
            <a:ext cx="474539" cy="475477"/>
          </a:xfrm>
          <a:prstGeom prst="ellipse">
            <a:avLst/>
          </a:prstGeom>
          <a:solidFill>
            <a:srgbClr val="00B050"/>
          </a:solidFill>
        </p:spPr>
        <p:style>
          <a:lnRef idx="1">
            <a:schemeClr val="accent3"/>
          </a:lnRef>
          <a:fillRef idx="3">
            <a:schemeClr val="accent3"/>
          </a:fillRef>
          <a:effectRef idx="2">
            <a:schemeClr val="accent3"/>
          </a:effectRef>
          <a:fontRef idx="minor">
            <a:schemeClr val="lt1"/>
          </a:fontRef>
        </p:style>
        <p:txBody>
          <a:bodyPr rot="0" spcFirstLastPara="0" vert="horz" wrap="square" lIns="68583" tIns="34291" rIns="68583" bIns="34291" numCol="1" spcCol="0" rtlCol="0" fromWordArt="0" anchor="ctr" anchorCtr="0" forceAA="0" compatLnSpc="1">
            <a:prstTxWarp prst="textNoShape">
              <a:avLst/>
            </a:prstTxWarp>
            <a:noAutofit/>
          </a:bodyPr>
          <a:lstStyle/>
          <a:p>
            <a:endParaRPr lang="en-US" sz="1350"/>
          </a:p>
        </p:txBody>
      </p:sp>
    </p:spTree>
    <p:extLst>
      <p:ext uri="{BB962C8B-B14F-4D97-AF65-F5344CB8AC3E}">
        <p14:creationId xmlns:p14="http://schemas.microsoft.com/office/powerpoint/2010/main" val="749041274"/>
      </p:ext>
    </p:extLst>
  </p:cSld>
  <p:clrMapOvr>
    <a:masterClrMapping/>
  </p:clrMapOvr>
  <p:transition>
    <p:fade/>
  </p:transition>
</p:sld>
</file>

<file path=ppt/slides/slide19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6" name="Table 5"/>
          <p:cNvGraphicFramePr>
            <a:graphicFrameLocks noGrp="1"/>
          </p:cNvGraphicFramePr>
          <p:nvPr>
            <p:extLst/>
          </p:nvPr>
        </p:nvGraphicFramePr>
        <p:xfrm>
          <a:off x="547010" y="1389322"/>
          <a:ext cx="10971594" cy="3098596"/>
        </p:xfrm>
        <a:graphic>
          <a:graphicData uri="http://schemas.openxmlformats.org/drawingml/2006/table">
            <a:tbl>
              <a:tblPr firstRow="1" bandRow="1">
                <a:tableStyleId>{F2DE63D5-997A-4646-A377-4702673A728D}</a:tableStyleId>
              </a:tblPr>
              <a:tblGrid>
                <a:gridCol w="2742898">
                  <a:extLst>
                    <a:ext uri="{9D8B030D-6E8A-4147-A177-3AD203B41FA5}">
                      <a16:colId xmlns:a16="http://schemas.microsoft.com/office/drawing/2014/main" val="3323723136"/>
                    </a:ext>
                  </a:extLst>
                </a:gridCol>
                <a:gridCol w="1980199">
                  <a:extLst>
                    <a:ext uri="{9D8B030D-6E8A-4147-A177-3AD203B41FA5}">
                      <a16:colId xmlns:a16="http://schemas.microsoft.com/office/drawing/2014/main" val="3937888222"/>
                    </a:ext>
                  </a:extLst>
                </a:gridCol>
                <a:gridCol w="2316122">
                  <a:extLst>
                    <a:ext uri="{9D8B030D-6E8A-4147-A177-3AD203B41FA5}">
                      <a16:colId xmlns:a16="http://schemas.microsoft.com/office/drawing/2014/main" val="1410519535"/>
                    </a:ext>
                  </a:extLst>
                </a:gridCol>
                <a:gridCol w="3932375">
                  <a:extLst>
                    <a:ext uri="{9D8B030D-6E8A-4147-A177-3AD203B41FA5}">
                      <a16:colId xmlns:a16="http://schemas.microsoft.com/office/drawing/2014/main" val="3764866363"/>
                    </a:ext>
                  </a:extLst>
                </a:gridCol>
              </a:tblGrid>
              <a:tr h="774649">
                <a:tc>
                  <a:txBody>
                    <a:bodyPr/>
                    <a:lstStyle/>
                    <a:p>
                      <a:r>
                        <a:rPr lang="en-US" sz="2200" b="0" i="0" dirty="0">
                          <a:latin typeface="Segoe UI Semibold" panose="020B0702040204020203" pitchFamily="34" charset="0"/>
                          <a:cs typeface="Segoe UI Semibold" panose="020B0702040204020203" pitchFamily="34" charset="0"/>
                        </a:rPr>
                        <a:t>Service name</a:t>
                      </a:r>
                    </a:p>
                  </a:txBody>
                  <a:tcPr marL="86072" marR="86072" marT="43036" marB="43036">
                    <a:solidFill>
                      <a:schemeClr val="accent1"/>
                    </a:solidFill>
                  </a:tcPr>
                </a:tc>
                <a:tc>
                  <a:txBody>
                    <a:bodyPr/>
                    <a:lstStyle/>
                    <a:p>
                      <a:r>
                        <a:rPr lang="en-US" sz="2200" b="0" i="0" dirty="0">
                          <a:latin typeface="Segoe UI Semibold" panose="020B0702040204020203" pitchFamily="34" charset="0"/>
                          <a:cs typeface="Segoe UI Semibold" panose="020B0702040204020203" pitchFamily="34" charset="0"/>
                        </a:rPr>
                        <a:t>Management</a:t>
                      </a:r>
                    </a:p>
                  </a:txBody>
                  <a:tcPr marL="86072" marR="86072" marT="43036" marB="43036">
                    <a:solidFill>
                      <a:schemeClr val="accent1"/>
                    </a:solidFill>
                  </a:tcPr>
                </a:tc>
                <a:tc>
                  <a:txBody>
                    <a:bodyPr/>
                    <a:lstStyle/>
                    <a:p>
                      <a:r>
                        <a:rPr lang="en-US" sz="2200" b="0" i="0" dirty="0">
                          <a:latin typeface="Segoe UI Semibold" panose="020B0702040204020203" pitchFamily="34" charset="0"/>
                          <a:cs typeface="Segoe UI Semibold" panose="020B0702040204020203" pitchFamily="34" charset="0"/>
                        </a:rPr>
                        <a:t>Peering (public, private, both)</a:t>
                      </a:r>
                    </a:p>
                  </a:txBody>
                  <a:tcPr marL="86072" marR="86072" marT="43036" marB="43036">
                    <a:solidFill>
                      <a:schemeClr val="accent1"/>
                    </a:solidFill>
                  </a:tcPr>
                </a:tc>
                <a:tc>
                  <a:txBody>
                    <a:bodyPr/>
                    <a:lstStyle/>
                    <a:p>
                      <a:r>
                        <a:rPr lang="en-US" sz="2200" b="0" i="0" dirty="0">
                          <a:latin typeface="Segoe UI Semibold" panose="020B0702040204020203" pitchFamily="34" charset="0"/>
                          <a:cs typeface="Segoe UI Semibold" panose="020B0702040204020203" pitchFamily="34" charset="0"/>
                        </a:rPr>
                        <a:t>Connectivity options</a:t>
                      </a:r>
                    </a:p>
                    <a:p>
                      <a:r>
                        <a:rPr lang="en-US" sz="2200" b="0" i="0" dirty="0">
                          <a:latin typeface="Segoe UI Semibold" panose="020B0702040204020203" pitchFamily="34" charset="0"/>
                          <a:cs typeface="Segoe UI Semibold" panose="020B0702040204020203" pitchFamily="34" charset="0"/>
                        </a:rPr>
                        <a:t>(To on-</a:t>
                      </a:r>
                      <a:r>
                        <a:rPr lang="en-US" sz="2200" b="0" i="0" dirty="0" err="1">
                          <a:latin typeface="Segoe UI Semibold" panose="020B0702040204020203" pitchFamily="34" charset="0"/>
                          <a:cs typeface="Segoe UI Semibold" panose="020B0702040204020203" pitchFamily="34" charset="0"/>
                        </a:rPr>
                        <a:t>prem</a:t>
                      </a:r>
                      <a:r>
                        <a:rPr lang="en-US" sz="2200" b="0" i="0" dirty="0">
                          <a:latin typeface="Segoe UI Semibold" panose="020B0702040204020203" pitchFamily="34" charset="0"/>
                          <a:cs typeface="Segoe UI Semibold" panose="020B0702040204020203" pitchFamily="34" charset="0"/>
                        </a:rPr>
                        <a:t> resources)</a:t>
                      </a:r>
                    </a:p>
                  </a:txBody>
                  <a:tcPr marL="86072" marR="86072" marT="43036" marB="43036">
                    <a:solidFill>
                      <a:schemeClr val="accent1"/>
                    </a:solidFill>
                  </a:tcPr>
                </a:tc>
                <a:extLst>
                  <a:ext uri="{0D108BD9-81ED-4DB2-BD59-A6C34878D82A}">
                    <a16:rowId xmlns:a16="http://schemas.microsoft.com/office/drawing/2014/main" val="3157971493"/>
                  </a:ext>
                </a:extLst>
              </a:tr>
              <a:tr h="430361">
                <a:tc>
                  <a:txBody>
                    <a:bodyPr/>
                    <a:lstStyle/>
                    <a:p>
                      <a:r>
                        <a:rPr lang="en-US" sz="2200" b="0" i="0" dirty="0">
                          <a:latin typeface="Segoe UI Semibold" panose="020B0702040204020203" pitchFamily="34" charset="0"/>
                          <a:cs typeface="Segoe UI Semibold" panose="020B0702040204020203" pitchFamily="34" charset="0"/>
                        </a:rPr>
                        <a:t>Storage Queues</a:t>
                      </a:r>
                    </a:p>
                  </a:txBody>
                  <a:tcPr marL="86072" marR="86072" marT="43036" marB="43036"/>
                </a:tc>
                <a:tc>
                  <a:txBody>
                    <a:bodyPr/>
                    <a:lstStyle/>
                    <a:p>
                      <a:r>
                        <a:rPr lang="en-US" sz="2200" dirty="0"/>
                        <a:t>ARM</a:t>
                      </a:r>
                    </a:p>
                  </a:txBody>
                  <a:tcPr marL="86072" marR="86072" marT="43036" marB="43036"/>
                </a:tc>
                <a:tc>
                  <a:txBody>
                    <a:bodyPr/>
                    <a:lstStyle/>
                    <a:p>
                      <a:r>
                        <a:rPr lang="en-US" sz="2200" dirty="0"/>
                        <a:t>Public*</a:t>
                      </a:r>
                    </a:p>
                  </a:txBody>
                  <a:tcPr marL="86072" marR="86072" marT="43036" marB="43036"/>
                </a:tc>
                <a:tc>
                  <a:txBody>
                    <a:bodyPr/>
                    <a:lstStyle/>
                    <a:p>
                      <a:pPr marL="0" marR="0" lvl="0" indent="0" algn="l" defTabSz="768113" rtl="0" eaLnBrk="1" fontAlgn="auto" latinLnBrk="0" hangingPunct="1">
                        <a:lnSpc>
                          <a:spcPct val="100000"/>
                        </a:lnSpc>
                        <a:spcBef>
                          <a:spcPts val="0"/>
                        </a:spcBef>
                        <a:spcAft>
                          <a:spcPts val="0"/>
                        </a:spcAft>
                        <a:buClrTx/>
                        <a:buSzTx/>
                        <a:buFontTx/>
                        <a:buNone/>
                        <a:tabLst/>
                        <a:defRPr/>
                      </a:pPr>
                      <a:endParaRPr lang="en-US" sz="2200" dirty="0"/>
                    </a:p>
                  </a:txBody>
                  <a:tcPr marL="86072" marR="86072" marT="43036" marB="43036"/>
                </a:tc>
                <a:extLst>
                  <a:ext uri="{0D108BD9-81ED-4DB2-BD59-A6C34878D82A}">
                    <a16:rowId xmlns:a16="http://schemas.microsoft.com/office/drawing/2014/main" val="4133688658"/>
                  </a:ext>
                </a:extLst>
              </a:tr>
              <a:tr h="774649">
                <a:tc>
                  <a:txBody>
                    <a:bodyPr/>
                    <a:lstStyle/>
                    <a:p>
                      <a:pPr lvl="0"/>
                      <a:r>
                        <a:rPr lang="en-US" sz="2200" b="0" i="0" dirty="0">
                          <a:latin typeface="Segoe UI Semibold" panose="020B0702040204020203" pitchFamily="34" charset="0"/>
                          <a:cs typeface="Segoe UI Semibold" panose="020B0702040204020203" pitchFamily="34" charset="0"/>
                        </a:rPr>
                        <a:t>Relay</a:t>
                      </a:r>
                    </a:p>
                  </a:txBody>
                  <a:tcPr marL="86072" marR="86072" marT="43036" marB="43036"/>
                </a:tc>
                <a:tc>
                  <a:txBody>
                    <a:bodyPr/>
                    <a:lstStyle/>
                    <a:p>
                      <a:r>
                        <a:rPr lang="en-US" sz="2200" dirty="0"/>
                        <a:t>ARM</a:t>
                      </a:r>
                      <a:r>
                        <a:rPr lang="en-US" sz="2200" baseline="0" dirty="0"/>
                        <a:t> (Portal)</a:t>
                      </a:r>
                      <a:endParaRPr lang="en-US" sz="2200" dirty="0"/>
                    </a:p>
                  </a:txBody>
                  <a:tcPr marL="86072" marR="86072" marT="43036" marB="43036"/>
                </a:tc>
                <a:tc>
                  <a:txBody>
                    <a:bodyPr/>
                    <a:lstStyle/>
                    <a:p>
                      <a:r>
                        <a:rPr lang="en-US" sz="2200" dirty="0"/>
                        <a:t>Public</a:t>
                      </a:r>
                    </a:p>
                  </a:txBody>
                  <a:tcPr marL="86072" marR="86072" marT="43036" marB="43036"/>
                </a:tc>
                <a:tc>
                  <a:txBody>
                    <a:bodyPr/>
                    <a:lstStyle/>
                    <a:p>
                      <a:r>
                        <a:rPr lang="en-US" sz="2200" dirty="0"/>
                        <a:t>-</a:t>
                      </a:r>
                    </a:p>
                  </a:txBody>
                  <a:tcPr marL="86072" marR="86072" marT="43036" marB="43036"/>
                </a:tc>
                <a:extLst>
                  <a:ext uri="{0D108BD9-81ED-4DB2-BD59-A6C34878D82A}">
                    <a16:rowId xmlns:a16="http://schemas.microsoft.com/office/drawing/2014/main" val="3123354572"/>
                  </a:ext>
                </a:extLst>
              </a:tr>
              <a:tr h="1118937">
                <a:tc>
                  <a:txBody>
                    <a:bodyPr/>
                    <a:lstStyle/>
                    <a:p>
                      <a:pPr lvl="0"/>
                      <a:r>
                        <a:rPr lang="en-US" sz="2200" b="0" i="0" dirty="0">
                          <a:latin typeface="Segoe UI Semibold" panose="020B0702040204020203" pitchFamily="34" charset="0"/>
                          <a:cs typeface="Segoe UI Semibold" panose="020B0702040204020203" pitchFamily="34" charset="0"/>
                        </a:rPr>
                        <a:t>Service Bus</a:t>
                      </a:r>
                    </a:p>
                    <a:p>
                      <a:pPr lvl="0"/>
                      <a:r>
                        <a:rPr lang="en-US" sz="2200" b="0" i="0" dirty="0">
                          <a:latin typeface="Segoe UI Semibold" panose="020B0702040204020203" pitchFamily="34" charset="0"/>
                          <a:cs typeface="Segoe UI Semibold" panose="020B0702040204020203" pitchFamily="34" charset="0"/>
                        </a:rPr>
                        <a:t>(Queues, Topics,</a:t>
                      </a:r>
                      <a:r>
                        <a:rPr lang="en-US" sz="2200" b="0" i="0" baseline="0" dirty="0">
                          <a:latin typeface="Segoe UI Semibold" panose="020B0702040204020203" pitchFamily="34" charset="0"/>
                          <a:cs typeface="Segoe UI Semibold" panose="020B0702040204020203" pitchFamily="34" charset="0"/>
                        </a:rPr>
                        <a:t> Relays)</a:t>
                      </a:r>
                      <a:endParaRPr lang="en-US" sz="2200" b="0" i="0" dirty="0">
                        <a:latin typeface="Segoe UI Semibold" panose="020B0702040204020203" pitchFamily="34" charset="0"/>
                        <a:cs typeface="Segoe UI Semibold" panose="020B0702040204020203" pitchFamily="34" charset="0"/>
                      </a:endParaRPr>
                    </a:p>
                  </a:txBody>
                  <a:tcPr marL="86072" marR="86072" marT="43036" marB="43036"/>
                </a:tc>
                <a:tc>
                  <a:txBody>
                    <a:bodyPr/>
                    <a:lstStyle/>
                    <a:p>
                      <a:r>
                        <a:rPr lang="en-US" sz="2200" dirty="0"/>
                        <a:t>ASM, ARM Template</a:t>
                      </a:r>
                    </a:p>
                  </a:txBody>
                  <a:tcPr marL="86072" marR="86072" marT="43036" marB="43036"/>
                </a:tc>
                <a:tc>
                  <a:txBody>
                    <a:bodyPr/>
                    <a:lstStyle/>
                    <a:p>
                      <a:r>
                        <a:rPr lang="en-US" sz="2200" dirty="0"/>
                        <a:t>Public</a:t>
                      </a:r>
                    </a:p>
                  </a:txBody>
                  <a:tcPr marL="86072" marR="86072" marT="43036" marB="43036"/>
                </a:tc>
                <a:tc>
                  <a:txBody>
                    <a:bodyPr/>
                    <a:lstStyle/>
                    <a:p>
                      <a:r>
                        <a:rPr lang="en-US" sz="2200" baseline="0" dirty="0"/>
                        <a:t>Relay</a:t>
                      </a:r>
                      <a:endParaRPr lang="en-US" sz="2200" dirty="0"/>
                    </a:p>
                  </a:txBody>
                  <a:tcPr marL="86072" marR="86072" marT="43036" marB="43036"/>
                </a:tc>
                <a:extLst>
                  <a:ext uri="{0D108BD9-81ED-4DB2-BD59-A6C34878D82A}">
                    <a16:rowId xmlns:a16="http://schemas.microsoft.com/office/drawing/2014/main" val="2747725307"/>
                  </a:ext>
                </a:extLst>
              </a:tr>
            </a:tbl>
          </a:graphicData>
        </a:graphic>
      </p:graphicFrame>
      <p:sp>
        <p:nvSpPr>
          <p:cNvPr id="5" name="Title 4"/>
          <p:cNvSpPr>
            <a:spLocks noGrp="1"/>
          </p:cNvSpPr>
          <p:nvPr>
            <p:ph type="title"/>
          </p:nvPr>
        </p:nvSpPr>
        <p:spPr>
          <a:xfrm>
            <a:off x="366169" y="295278"/>
            <a:ext cx="11702551" cy="917575"/>
          </a:xfrm>
        </p:spPr>
        <p:txBody>
          <a:bodyPr/>
          <a:lstStyle/>
          <a:p>
            <a:r>
              <a:rPr lang="en-US" dirty="0"/>
              <a:t>Hybrid Integration – Key decision points</a:t>
            </a:r>
          </a:p>
        </p:txBody>
      </p:sp>
    </p:spTree>
    <p:extLst>
      <p:ext uri="{BB962C8B-B14F-4D97-AF65-F5344CB8AC3E}">
        <p14:creationId xmlns:p14="http://schemas.microsoft.com/office/powerpoint/2010/main" val="254107739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9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6" name="Table 5"/>
          <p:cNvGraphicFramePr>
            <a:graphicFrameLocks noGrp="1"/>
          </p:cNvGraphicFramePr>
          <p:nvPr>
            <p:extLst/>
          </p:nvPr>
        </p:nvGraphicFramePr>
        <p:xfrm>
          <a:off x="547010" y="1389322"/>
          <a:ext cx="10971594" cy="3923526"/>
        </p:xfrm>
        <a:graphic>
          <a:graphicData uri="http://schemas.openxmlformats.org/drawingml/2006/table">
            <a:tbl>
              <a:tblPr firstRow="1" bandRow="1">
                <a:tableStyleId>{F2DE63D5-997A-4646-A377-4702673A728D}</a:tableStyleId>
              </a:tblPr>
              <a:tblGrid>
                <a:gridCol w="3068221">
                  <a:extLst>
                    <a:ext uri="{9D8B030D-6E8A-4147-A177-3AD203B41FA5}">
                      <a16:colId xmlns:a16="http://schemas.microsoft.com/office/drawing/2014/main" val="3323723136"/>
                    </a:ext>
                  </a:extLst>
                </a:gridCol>
                <a:gridCol w="3709586">
                  <a:extLst>
                    <a:ext uri="{9D8B030D-6E8A-4147-A177-3AD203B41FA5}">
                      <a16:colId xmlns:a16="http://schemas.microsoft.com/office/drawing/2014/main" val="3937888222"/>
                    </a:ext>
                  </a:extLst>
                </a:gridCol>
                <a:gridCol w="4193787">
                  <a:extLst>
                    <a:ext uri="{9D8B030D-6E8A-4147-A177-3AD203B41FA5}">
                      <a16:colId xmlns:a16="http://schemas.microsoft.com/office/drawing/2014/main" val="1410519535"/>
                    </a:ext>
                  </a:extLst>
                </a:gridCol>
              </a:tblGrid>
              <a:tr h="580155">
                <a:tc>
                  <a:txBody>
                    <a:bodyPr/>
                    <a:lstStyle/>
                    <a:p>
                      <a:r>
                        <a:rPr lang="en-US" sz="2200" b="0" i="0" dirty="0">
                          <a:latin typeface="Segoe UI Semibold" panose="020B0702040204020203" pitchFamily="34" charset="0"/>
                          <a:cs typeface="Segoe UI Semibold" panose="020B0702040204020203" pitchFamily="34" charset="0"/>
                        </a:rPr>
                        <a:t>Service name</a:t>
                      </a:r>
                    </a:p>
                  </a:txBody>
                  <a:tcPr marL="86072" marR="86072" marT="43036" marB="43036">
                    <a:solidFill>
                      <a:schemeClr val="accent1"/>
                    </a:solidFill>
                  </a:tcPr>
                </a:tc>
                <a:tc>
                  <a:txBody>
                    <a:bodyPr/>
                    <a:lstStyle/>
                    <a:p>
                      <a:r>
                        <a:rPr lang="en-US" sz="2200" b="0" i="0" dirty="0">
                          <a:latin typeface="Segoe UI Semibold" panose="020B0702040204020203" pitchFamily="34" charset="0"/>
                          <a:cs typeface="Segoe UI Semibold" panose="020B0702040204020203" pitchFamily="34" charset="0"/>
                        </a:rPr>
                        <a:t>Service level</a:t>
                      </a:r>
                    </a:p>
                  </a:txBody>
                  <a:tcPr marL="86072" marR="86072" marT="43036" marB="43036">
                    <a:solidFill>
                      <a:schemeClr val="accent1"/>
                    </a:solidFill>
                  </a:tcPr>
                </a:tc>
                <a:tc>
                  <a:txBody>
                    <a:bodyPr/>
                    <a:lstStyle/>
                    <a:p>
                      <a:r>
                        <a:rPr lang="en-US" sz="2200" b="0" i="0" dirty="0">
                          <a:latin typeface="Segoe UI Semibold" panose="020B0702040204020203" pitchFamily="34" charset="0"/>
                          <a:cs typeface="Segoe UI Semibold" panose="020B0702040204020203" pitchFamily="34" charset="0"/>
                        </a:rPr>
                        <a:t>Subscription</a:t>
                      </a:r>
                      <a:r>
                        <a:rPr lang="en-US" sz="2200" b="0" i="0" baseline="0" dirty="0">
                          <a:latin typeface="Segoe UI Semibold" panose="020B0702040204020203" pitchFamily="34" charset="0"/>
                          <a:cs typeface="Segoe UI Semibold" panose="020B0702040204020203" pitchFamily="34" charset="0"/>
                        </a:rPr>
                        <a:t> level</a:t>
                      </a:r>
                      <a:endParaRPr lang="en-US" sz="2200" b="0" i="0" dirty="0">
                        <a:latin typeface="Segoe UI Semibold" panose="020B0702040204020203" pitchFamily="34" charset="0"/>
                        <a:cs typeface="Segoe UI Semibold" panose="020B0702040204020203" pitchFamily="34" charset="0"/>
                      </a:endParaRPr>
                    </a:p>
                  </a:txBody>
                  <a:tcPr marL="86072" marR="86072" marT="43036" marB="43036">
                    <a:solidFill>
                      <a:schemeClr val="accent1"/>
                    </a:solidFill>
                  </a:tcPr>
                </a:tc>
                <a:extLst>
                  <a:ext uri="{0D108BD9-81ED-4DB2-BD59-A6C34878D82A}">
                    <a16:rowId xmlns:a16="http://schemas.microsoft.com/office/drawing/2014/main" val="3157971493"/>
                  </a:ext>
                </a:extLst>
              </a:tr>
              <a:tr h="1463226">
                <a:tc>
                  <a:txBody>
                    <a:bodyPr/>
                    <a:lstStyle/>
                    <a:p>
                      <a:r>
                        <a:rPr lang="en-US" sz="2200" b="0" i="0" dirty="0">
                          <a:latin typeface="Segoe UI Semibold" panose="020B0702040204020203" pitchFamily="34" charset="0"/>
                          <a:cs typeface="Segoe UI Semibold" panose="020B0702040204020203" pitchFamily="34" charset="0"/>
                        </a:rPr>
                        <a:t>Storage Queues</a:t>
                      </a:r>
                    </a:p>
                  </a:txBody>
                  <a:tcPr marL="86072" marR="86072" marT="43036" marB="43036"/>
                </a:tc>
                <a:tc>
                  <a:txBody>
                    <a:bodyPr/>
                    <a:lstStyle/>
                    <a:p>
                      <a:r>
                        <a:rPr lang="en-US" sz="2200" dirty="0"/>
                        <a:t>Queue</a:t>
                      </a:r>
                      <a:r>
                        <a:rPr lang="en-US" sz="2200" baseline="0" dirty="0"/>
                        <a:t> Size:</a:t>
                      </a:r>
                    </a:p>
                    <a:p>
                      <a:r>
                        <a:rPr lang="en-US" sz="2200" baseline="0" dirty="0"/>
                        <a:t>Max = 500 TB</a:t>
                      </a:r>
                    </a:p>
                    <a:p>
                      <a:r>
                        <a:rPr lang="en-US" sz="2200" baseline="0" dirty="0"/>
                        <a:t>Message Size:</a:t>
                      </a:r>
                    </a:p>
                    <a:p>
                      <a:r>
                        <a:rPr lang="en-US" sz="2200" baseline="0" dirty="0"/>
                        <a:t>Max = 64 KB</a:t>
                      </a:r>
                      <a:endParaRPr lang="en-US" sz="2200" dirty="0"/>
                    </a:p>
                  </a:txBody>
                  <a:tcPr marL="86072" marR="86072" marT="43036" marB="43036"/>
                </a:tc>
                <a:tc>
                  <a:txBody>
                    <a:bodyPr/>
                    <a:lstStyle/>
                    <a:p>
                      <a:r>
                        <a:rPr lang="en-US" sz="2200" dirty="0"/>
                        <a:t>Storage Accounts:</a:t>
                      </a:r>
                    </a:p>
                    <a:p>
                      <a:r>
                        <a:rPr lang="en-US" sz="2200" dirty="0"/>
                        <a:t>Max = 100</a:t>
                      </a:r>
                    </a:p>
                  </a:txBody>
                  <a:tcPr marL="86072" marR="86072" marT="43036" marB="43036"/>
                </a:tc>
                <a:extLst>
                  <a:ext uri="{0D108BD9-81ED-4DB2-BD59-A6C34878D82A}">
                    <a16:rowId xmlns:a16="http://schemas.microsoft.com/office/drawing/2014/main" val="4133688658"/>
                  </a:ext>
                </a:extLst>
              </a:tr>
              <a:tr h="761208">
                <a:tc>
                  <a:txBody>
                    <a:bodyPr/>
                    <a:lstStyle/>
                    <a:p>
                      <a:pPr lvl="0"/>
                      <a:r>
                        <a:rPr lang="en-US" sz="2200" b="0" i="0" dirty="0">
                          <a:latin typeface="Segoe UI Semibold" panose="020B0702040204020203" pitchFamily="34" charset="0"/>
                          <a:cs typeface="Segoe UI Semibold" panose="020B0702040204020203" pitchFamily="34" charset="0"/>
                        </a:rPr>
                        <a:t>Relay</a:t>
                      </a:r>
                    </a:p>
                  </a:txBody>
                  <a:tcPr marL="86072" marR="86072" marT="43036" marB="43036"/>
                </a:tc>
                <a:tc>
                  <a:txBody>
                    <a:bodyPr/>
                    <a:lstStyle/>
                    <a:p>
                      <a:pPr marL="0" marR="0" lvl="0" indent="0" algn="l" defTabSz="768113" rtl="0" eaLnBrk="1" fontAlgn="auto" latinLnBrk="0" hangingPunct="1">
                        <a:lnSpc>
                          <a:spcPct val="100000"/>
                        </a:lnSpc>
                        <a:spcBef>
                          <a:spcPts val="0"/>
                        </a:spcBef>
                        <a:spcAft>
                          <a:spcPts val="0"/>
                        </a:spcAft>
                        <a:buClrTx/>
                        <a:buSzTx/>
                        <a:buFontTx/>
                        <a:buNone/>
                        <a:tabLst/>
                        <a:defRPr/>
                      </a:pPr>
                      <a:r>
                        <a:rPr lang="en-US" sz="2200" kern="1200" dirty="0">
                          <a:solidFill>
                            <a:schemeClr val="tx1"/>
                          </a:solidFill>
                          <a:latin typeface="+mn-lt"/>
                          <a:ea typeface="+mn-ea"/>
                          <a:cs typeface="+mn-cs"/>
                        </a:rPr>
                        <a:t>Concurrent listeners on Relay Entity = 25</a:t>
                      </a:r>
                    </a:p>
                  </a:txBody>
                  <a:tcPr marL="86072" marR="86072" marT="43036" marB="43036"/>
                </a:tc>
                <a:tc>
                  <a:txBody>
                    <a:bodyPr/>
                    <a:lstStyle/>
                    <a:p>
                      <a:r>
                        <a:rPr lang="en-US" sz="2200" dirty="0"/>
                        <a:t>Relay endpoints per service namespace = 10,000</a:t>
                      </a:r>
                      <a:endParaRPr lang="en-US" sz="2200" kern="1200" dirty="0">
                        <a:solidFill>
                          <a:schemeClr val="tx1"/>
                        </a:solidFill>
                        <a:latin typeface="+mn-lt"/>
                        <a:ea typeface="+mn-ea"/>
                        <a:cs typeface="+mn-cs"/>
                      </a:endParaRPr>
                    </a:p>
                  </a:txBody>
                  <a:tcPr marL="86072" marR="86072" marT="43036" marB="43036"/>
                </a:tc>
                <a:extLst>
                  <a:ext uri="{0D108BD9-81ED-4DB2-BD59-A6C34878D82A}">
                    <a16:rowId xmlns:a16="http://schemas.microsoft.com/office/drawing/2014/main" val="1094197510"/>
                  </a:ext>
                </a:extLst>
              </a:tr>
              <a:tr h="1118937">
                <a:tc>
                  <a:txBody>
                    <a:bodyPr/>
                    <a:lstStyle/>
                    <a:p>
                      <a:pPr lvl="0"/>
                      <a:r>
                        <a:rPr lang="en-US" sz="2200" b="0" i="0" dirty="0">
                          <a:latin typeface="Segoe UI Semibold" panose="020B0702040204020203" pitchFamily="34" charset="0"/>
                          <a:cs typeface="Segoe UI Semibold" panose="020B0702040204020203" pitchFamily="34" charset="0"/>
                        </a:rPr>
                        <a:t>Service Bus</a:t>
                      </a:r>
                    </a:p>
                  </a:txBody>
                  <a:tcPr marL="86072" marR="86072" marT="43036" marB="43036"/>
                </a:tc>
                <a:tc>
                  <a:txBody>
                    <a:bodyPr/>
                    <a:lstStyle/>
                    <a:p>
                      <a:r>
                        <a:rPr lang="en-US" sz="2200" kern="1200" dirty="0">
                          <a:solidFill>
                            <a:schemeClr val="tx1"/>
                          </a:solidFill>
                          <a:latin typeface="+mn-lt"/>
                          <a:ea typeface="+mn-ea"/>
                          <a:cs typeface="+mn-cs"/>
                        </a:rPr>
                        <a:t>Message Size (varies by </a:t>
                      </a:r>
                      <a:r>
                        <a:rPr lang="en-US" sz="2200" kern="1200" dirty="0" err="1">
                          <a:solidFill>
                            <a:schemeClr val="tx1"/>
                          </a:solidFill>
                          <a:latin typeface="+mn-lt"/>
                          <a:ea typeface="+mn-ea"/>
                          <a:cs typeface="+mn-cs"/>
                        </a:rPr>
                        <a:t>sku</a:t>
                      </a:r>
                      <a:r>
                        <a:rPr lang="en-US" sz="2200" kern="1200" dirty="0">
                          <a:solidFill>
                            <a:schemeClr val="tx1"/>
                          </a:solidFill>
                          <a:latin typeface="+mn-lt"/>
                          <a:ea typeface="+mn-ea"/>
                          <a:cs typeface="+mn-cs"/>
                        </a:rPr>
                        <a:t>/edition):</a:t>
                      </a:r>
                    </a:p>
                    <a:p>
                      <a:r>
                        <a:rPr lang="en-US" sz="2200" kern="1200" dirty="0">
                          <a:solidFill>
                            <a:schemeClr val="tx1"/>
                          </a:solidFill>
                          <a:latin typeface="+mn-lt"/>
                          <a:ea typeface="+mn-ea"/>
                          <a:cs typeface="+mn-cs"/>
                        </a:rPr>
                        <a:t>256 KB or 1 MB</a:t>
                      </a:r>
                    </a:p>
                  </a:txBody>
                  <a:tcPr marL="86072" marR="86072" marT="43036" marB="43036"/>
                </a:tc>
                <a:tc>
                  <a:txBody>
                    <a:bodyPr/>
                    <a:lstStyle/>
                    <a:p>
                      <a:r>
                        <a:rPr lang="en-US" sz="2200" kern="1200" dirty="0">
                          <a:solidFill>
                            <a:schemeClr val="tx1"/>
                          </a:solidFill>
                          <a:latin typeface="+mn-lt"/>
                          <a:ea typeface="+mn-ea"/>
                          <a:cs typeface="+mn-cs"/>
                        </a:rPr>
                        <a:t>Namespaces:</a:t>
                      </a:r>
                    </a:p>
                    <a:p>
                      <a:r>
                        <a:rPr lang="en-US" sz="2200" kern="1200" dirty="0">
                          <a:solidFill>
                            <a:schemeClr val="tx1"/>
                          </a:solidFill>
                          <a:latin typeface="+mn-lt"/>
                          <a:ea typeface="+mn-ea"/>
                          <a:cs typeface="+mn-cs"/>
                        </a:rPr>
                        <a:t>Max = 100</a:t>
                      </a:r>
                    </a:p>
                  </a:txBody>
                  <a:tcPr marL="86072" marR="86072" marT="43036" marB="43036"/>
                </a:tc>
                <a:extLst>
                  <a:ext uri="{0D108BD9-81ED-4DB2-BD59-A6C34878D82A}">
                    <a16:rowId xmlns:a16="http://schemas.microsoft.com/office/drawing/2014/main" val="2747725307"/>
                  </a:ext>
                </a:extLst>
              </a:tr>
            </a:tbl>
          </a:graphicData>
        </a:graphic>
      </p:graphicFrame>
      <p:sp>
        <p:nvSpPr>
          <p:cNvPr id="5" name="Title 4"/>
          <p:cNvSpPr>
            <a:spLocks noGrp="1"/>
          </p:cNvSpPr>
          <p:nvPr>
            <p:ph type="title"/>
          </p:nvPr>
        </p:nvSpPr>
        <p:spPr>
          <a:xfrm>
            <a:off x="366169" y="295278"/>
            <a:ext cx="11702551" cy="917575"/>
          </a:xfrm>
        </p:spPr>
        <p:txBody>
          <a:bodyPr/>
          <a:lstStyle/>
          <a:p>
            <a:r>
              <a:rPr lang="en-US" dirty="0"/>
              <a:t>Hybrid Integration – Key quotas, limits</a:t>
            </a:r>
          </a:p>
        </p:txBody>
      </p:sp>
    </p:spTree>
    <p:extLst>
      <p:ext uri="{BB962C8B-B14F-4D97-AF65-F5344CB8AC3E}">
        <p14:creationId xmlns:p14="http://schemas.microsoft.com/office/powerpoint/2010/main" val="51959315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9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366168" y="1212851"/>
            <a:ext cx="11702553" cy="1754326"/>
          </a:xfrm>
        </p:spPr>
        <p:txBody>
          <a:bodyPr/>
          <a:lstStyle/>
          <a:p>
            <a:pPr marL="0" indent="0">
              <a:buNone/>
            </a:pPr>
            <a:r>
              <a:rPr lang="en-US" sz="2000" dirty="0"/>
              <a:t>Use Azure’s API Management to centralize all framework for your company’s deployed web services. </a:t>
            </a:r>
          </a:p>
          <a:p>
            <a:pPr marL="0" indent="0">
              <a:buNone/>
            </a:pPr>
            <a:r>
              <a:rPr lang="en-US" sz="2000" dirty="0">
                <a:solidFill>
                  <a:schemeClr val="tx1"/>
                </a:solidFill>
              </a:rPr>
              <a:t>The developer is tasked with concentrating on business logic instead rather than “infrastructure” type code. </a:t>
            </a:r>
          </a:p>
          <a:p>
            <a:pPr marL="0" indent="0">
              <a:buNone/>
            </a:pPr>
            <a:r>
              <a:rPr lang="en-US" sz="2000" dirty="0">
                <a:solidFill>
                  <a:schemeClr val="tx1"/>
                </a:solidFill>
              </a:rPr>
              <a:t>Centralize your frameworks in Azure’s API management service to allow the underlying web services to be deployed on different servers and even different technologies. </a:t>
            </a:r>
          </a:p>
          <a:p>
            <a:pPr marL="0" indent="0">
              <a:buNone/>
            </a:pPr>
            <a:r>
              <a:rPr lang="en-US" sz="2000" dirty="0">
                <a:solidFill>
                  <a:schemeClr val="tx1"/>
                </a:solidFill>
              </a:rPr>
              <a:t>Ultimately, consolidating services from multiple back-ends to a single entry point for service consumers.</a:t>
            </a:r>
          </a:p>
        </p:txBody>
      </p:sp>
      <p:sp>
        <p:nvSpPr>
          <p:cNvPr id="2" name="Title 1"/>
          <p:cNvSpPr>
            <a:spLocks noGrp="1"/>
          </p:cNvSpPr>
          <p:nvPr>
            <p:ph type="title"/>
          </p:nvPr>
        </p:nvSpPr>
        <p:spPr/>
        <p:txBody>
          <a:bodyPr/>
          <a:lstStyle/>
          <a:p>
            <a:r>
              <a:rPr lang="en-US" dirty="0">
                <a:latin typeface="Segoe UI Light" panose="020B0502040204020203" pitchFamily="34" charset="0"/>
                <a:cs typeface="Segoe UI Light" panose="020B0502040204020203" pitchFamily="34" charset="0"/>
              </a:rPr>
              <a:t>API management models</a:t>
            </a:r>
            <a:endParaRPr lang="en-US" dirty="0"/>
          </a:p>
        </p:txBody>
      </p:sp>
      <p:pic>
        <p:nvPicPr>
          <p:cNvPr id="4" name="Picture 3"/>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2940848" y="3192463"/>
            <a:ext cx="6811963" cy="3429000"/>
          </a:xfrm>
          <a:prstGeom prst="rect">
            <a:avLst/>
          </a:prstGeom>
        </p:spPr>
      </p:pic>
    </p:spTree>
    <p:extLst>
      <p:ext uri="{BB962C8B-B14F-4D97-AF65-F5344CB8AC3E}">
        <p14:creationId xmlns:p14="http://schemas.microsoft.com/office/powerpoint/2010/main" val="298565734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9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Segoe UI Light" panose="020B0502040204020203" pitchFamily="34" charset="0"/>
                <a:cs typeface="Segoe UI Light" panose="020B0502040204020203" pitchFamily="34" charset="0"/>
              </a:rPr>
              <a:t>Data Lake Store decisions</a:t>
            </a:r>
            <a:endParaRPr lang="en-US" dirty="0"/>
          </a:p>
        </p:txBody>
      </p:sp>
      <p:sp>
        <p:nvSpPr>
          <p:cNvPr id="8" name="Freeform: Shape 7"/>
          <p:cNvSpPr/>
          <p:nvPr/>
        </p:nvSpPr>
        <p:spPr>
          <a:xfrm>
            <a:off x="4416050" y="1212853"/>
            <a:ext cx="6892505" cy="1694867"/>
          </a:xfrm>
          <a:custGeom>
            <a:avLst/>
            <a:gdLst>
              <a:gd name="connsiteX0" fmla="*/ 0 w 6937384"/>
              <a:gd name="connsiteY0" fmla="*/ 171052 h 1368412"/>
              <a:gd name="connsiteX1" fmla="*/ 6253178 w 6937384"/>
              <a:gd name="connsiteY1" fmla="*/ 171052 h 1368412"/>
              <a:gd name="connsiteX2" fmla="*/ 6253178 w 6937384"/>
              <a:gd name="connsiteY2" fmla="*/ 0 h 1368412"/>
              <a:gd name="connsiteX3" fmla="*/ 6937384 w 6937384"/>
              <a:gd name="connsiteY3" fmla="*/ 684206 h 1368412"/>
              <a:gd name="connsiteX4" fmla="*/ 6253178 w 6937384"/>
              <a:gd name="connsiteY4" fmla="*/ 1368412 h 1368412"/>
              <a:gd name="connsiteX5" fmla="*/ 6253178 w 6937384"/>
              <a:gd name="connsiteY5" fmla="*/ 1197361 h 1368412"/>
              <a:gd name="connsiteX6" fmla="*/ 0 w 6937384"/>
              <a:gd name="connsiteY6" fmla="*/ 1197361 h 1368412"/>
              <a:gd name="connsiteX7" fmla="*/ 0 w 6937384"/>
              <a:gd name="connsiteY7" fmla="*/ 171052 h 13684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937384" h="1368412">
                <a:moveTo>
                  <a:pt x="0" y="171052"/>
                </a:moveTo>
                <a:lnTo>
                  <a:pt x="6253178" y="171052"/>
                </a:lnTo>
                <a:lnTo>
                  <a:pt x="6253178" y="0"/>
                </a:lnTo>
                <a:lnTo>
                  <a:pt x="6937384" y="684206"/>
                </a:lnTo>
                <a:lnTo>
                  <a:pt x="6253178" y="1368412"/>
                </a:lnTo>
                <a:lnTo>
                  <a:pt x="6253178" y="1197361"/>
                </a:lnTo>
                <a:lnTo>
                  <a:pt x="0" y="1197361"/>
                </a:lnTo>
                <a:lnTo>
                  <a:pt x="0" y="171052"/>
                </a:lnTo>
                <a:close/>
              </a:path>
            </a:pathLst>
          </a:custGeom>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228600" tIns="365760" rIns="365760" bIns="182481" numCol="1" spcCol="1270" anchor="t" anchorCtr="0">
            <a:noAutofit/>
          </a:bodyPr>
          <a:lstStyle/>
          <a:p>
            <a:pPr marL="285750" lvl="1" indent="-285750" defTabSz="800100">
              <a:lnSpc>
                <a:spcPct val="90000"/>
              </a:lnSpc>
              <a:spcBef>
                <a:spcPct val="0"/>
              </a:spcBef>
              <a:spcAft>
                <a:spcPct val="15000"/>
              </a:spcAft>
              <a:buFont typeface="Arial" panose="020B0604020202020204" pitchFamily="34" charset="0"/>
              <a:buChar char="•"/>
            </a:pPr>
            <a:r>
              <a:rPr lang="en-US" dirty="0"/>
              <a:t>Use appropriate mechanisms to secure access to Azure </a:t>
            </a:r>
            <a:br>
              <a:rPr lang="en-US" dirty="0"/>
            </a:br>
            <a:r>
              <a:rPr lang="en-US" dirty="0"/>
              <a:t>Data Lake Storage via Azure AD authentication, ARM </a:t>
            </a:r>
            <a:br>
              <a:rPr lang="en-US" dirty="0"/>
            </a:br>
            <a:r>
              <a:rPr lang="en-US" dirty="0"/>
              <a:t>RBAC feature and/POSIX-style permissions exposed </a:t>
            </a:r>
            <a:br>
              <a:rPr lang="en-US" dirty="0"/>
            </a:br>
            <a:r>
              <a:rPr lang="en-US" dirty="0"/>
              <a:t>by the </a:t>
            </a:r>
            <a:r>
              <a:rPr lang="en-US" dirty="0" err="1"/>
              <a:t>WebHDFS</a:t>
            </a:r>
            <a:r>
              <a:rPr lang="en-US" dirty="0"/>
              <a:t> protocol</a:t>
            </a:r>
          </a:p>
        </p:txBody>
      </p:sp>
      <p:sp>
        <p:nvSpPr>
          <p:cNvPr id="9" name="Freeform: Shape 8"/>
          <p:cNvSpPr/>
          <p:nvPr/>
        </p:nvSpPr>
        <p:spPr>
          <a:xfrm>
            <a:off x="1320269" y="1390963"/>
            <a:ext cx="3221976" cy="1333309"/>
          </a:xfrm>
          <a:custGeom>
            <a:avLst/>
            <a:gdLst>
              <a:gd name="connsiteX0" fmla="*/ 0 w 3221976"/>
              <a:gd name="connsiteY0" fmla="*/ 188426 h 1130532"/>
              <a:gd name="connsiteX1" fmla="*/ 188426 w 3221976"/>
              <a:gd name="connsiteY1" fmla="*/ 0 h 1130532"/>
              <a:gd name="connsiteX2" fmla="*/ 3033550 w 3221976"/>
              <a:gd name="connsiteY2" fmla="*/ 0 h 1130532"/>
              <a:gd name="connsiteX3" fmla="*/ 3221976 w 3221976"/>
              <a:gd name="connsiteY3" fmla="*/ 188426 h 1130532"/>
              <a:gd name="connsiteX4" fmla="*/ 3221976 w 3221976"/>
              <a:gd name="connsiteY4" fmla="*/ 942106 h 1130532"/>
              <a:gd name="connsiteX5" fmla="*/ 3033550 w 3221976"/>
              <a:gd name="connsiteY5" fmla="*/ 1130532 h 1130532"/>
              <a:gd name="connsiteX6" fmla="*/ 188426 w 3221976"/>
              <a:gd name="connsiteY6" fmla="*/ 1130532 h 1130532"/>
              <a:gd name="connsiteX7" fmla="*/ 0 w 3221976"/>
              <a:gd name="connsiteY7" fmla="*/ 942106 h 1130532"/>
              <a:gd name="connsiteX8" fmla="*/ 0 w 3221976"/>
              <a:gd name="connsiteY8" fmla="*/ 188426 h 11305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21976" h="1130532">
                <a:moveTo>
                  <a:pt x="0" y="188426"/>
                </a:moveTo>
                <a:cubicBezTo>
                  <a:pt x="0" y="84361"/>
                  <a:pt x="84361" y="0"/>
                  <a:pt x="188426" y="0"/>
                </a:cubicBezTo>
                <a:lnTo>
                  <a:pt x="3033550" y="0"/>
                </a:lnTo>
                <a:cubicBezTo>
                  <a:pt x="3137615" y="0"/>
                  <a:pt x="3221976" y="84361"/>
                  <a:pt x="3221976" y="188426"/>
                </a:cubicBezTo>
                <a:lnTo>
                  <a:pt x="3221976" y="942106"/>
                </a:lnTo>
                <a:cubicBezTo>
                  <a:pt x="3221976" y="1046171"/>
                  <a:pt x="3137615" y="1130532"/>
                  <a:pt x="3033550" y="1130532"/>
                </a:cubicBezTo>
                <a:lnTo>
                  <a:pt x="188426" y="1130532"/>
                </a:lnTo>
                <a:cubicBezTo>
                  <a:pt x="84361" y="1130532"/>
                  <a:pt x="0" y="1046171"/>
                  <a:pt x="0" y="942106"/>
                </a:cubicBezTo>
                <a:lnTo>
                  <a:pt x="0" y="188426"/>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77108" tIns="116148" rIns="177108" bIns="116148" numCol="1" spcCol="1270" anchor="ctr" anchorCtr="0">
            <a:noAutofit/>
          </a:bodyPr>
          <a:lstStyle/>
          <a:p>
            <a:pPr marL="0" lvl="0" indent="0" algn="ctr" defTabSz="1422400">
              <a:lnSpc>
                <a:spcPct val="90000"/>
              </a:lnSpc>
              <a:spcBef>
                <a:spcPct val="0"/>
              </a:spcBef>
              <a:spcAft>
                <a:spcPct val="35000"/>
              </a:spcAft>
              <a:buNone/>
            </a:pPr>
            <a:r>
              <a:rPr lang="en-US" sz="3200" b="0" kern="1200" dirty="0">
                <a:latin typeface="Segoe UI Semibold" panose="020B0702040204020203" pitchFamily="34" charset="0"/>
                <a:cs typeface="Segoe UI Semibold" panose="020B0702040204020203" pitchFamily="34" charset="0"/>
              </a:rPr>
              <a:t>Mandatory</a:t>
            </a:r>
          </a:p>
        </p:txBody>
      </p:sp>
      <p:sp>
        <p:nvSpPr>
          <p:cNvPr id="10" name="Freeform: Shape 9"/>
          <p:cNvSpPr/>
          <p:nvPr/>
        </p:nvSpPr>
        <p:spPr>
          <a:xfrm>
            <a:off x="4174858" y="2847299"/>
            <a:ext cx="7169239" cy="1641608"/>
          </a:xfrm>
          <a:custGeom>
            <a:avLst/>
            <a:gdLst>
              <a:gd name="connsiteX0" fmla="*/ 0 w 7091479"/>
              <a:gd name="connsiteY0" fmla="*/ 293845 h 2350760"/>
              <a:gd name="connsiteX1" fmla="*/ 5916099 w 7091479"/>
              <a:gd name="connsiteY1" fmla="*/ 293845 h 2350760"/>
              <a:gd name="connsiteX2" fmla="*/ 5916099 w 7091479"/>
              <a:gd name="connsiteY2" fmla="*/ 0 h 2350760"/>
              <a:gd name="connsiteX3" fmla="*/ 7091479 w 7091479"/>
              <a:gd name="connsiteY3" fmla="*/ 1175380 h 2350760"/>
              <a:gd name="connsiteX4" fmla="*/ 5916099 w 7091479"/>
              <a:gd name="connsiteY4" fmla="*/ 2350760 h 2350760"/>
              <a:gd name="connsiteX5" fmla="*/ 5916099 w 7091479"/>
              <a:gd name="connsiteY5" fmla="*/ 2056915 h 2350760"/>
              <a:gd name="connsiteX6" fmla="*/ 0 w 7091479"/>
              <a:gd name="connsiteY6" fmla="*/ 2056915 h 2350760"/>
              <a:gd name="connsiteX7" fmla="*/ 0 w 7091479"/>
              <a:gd name="connsiteY7" fmla="*/ 293845 h 2350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091479" h="2350760">
                <a:moveTo>
                  <a:pt x="0" y="293845"/>
                </a:moveTo>
                <a:lnTo>
                  <a:pt x="5916099" y="293845"/>
                </a:lnTo>
                <a:lnTo>
                  <a:pt x="5916099" y="0"/>
                </a:lnTo>
                <a:lnTo>
                  <a:pt x="7091479" y="1175380"/>
                </a:lnTo>
                <a:lnTo>
                  <a:pt x="5916099" y="2350760"/>
                </a:lnTo>
                <a:lnTo>
                  <a:pt x="5916099" y="2056915"/>
                </a:lnTo>
                <a:lnTo>
                  <a:pt x="0" y="2056915"/>
                </a:lnTo>
                <a:lnTo>
                  <a:pt x="0" y="293845"/>
                </a:lnTo>
                <a:close/>
              </a:path>
            </a:pathLst>
          </a:custGeom>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457200" tIns="457200" rIns="1064415" bIns="305275" numCol="1" spcCol="1270" anchor="t" anchorCtr="0">
            <a:noAutofit/>
          </a:bodyPr>
          <a:lstStyle/>
          <a:p>
            <a:pPr marL="285750" lvl="1" indent="-285750" defTabSz="800100">
              <a:lnSpc>
                <a:spcPct val="90000"/>
              </a:lnSpc>
              <a:spcBef>
                <a:spcPct val="0"/>
              </a:spcBef>
              <a:spcAft>
                <a:spcPct val="15000"/>
              </a:spcAft>
              <a:buFont typeface="Arial" panose="020B0604020202020204" pitchFamily="34" charset="0"/>
              <a:buChar char="•"/>
            </a:pPr>
            <a:r>
              <a:rPr lang="en-US" dirty="0"/>
              <a:t>When using the Import/Export service, the file sizes on the disks that you ship to Azure datacenter should not be greater than 200 GB</a:t>
            </a:r>
          </a:p>
        </p:txBody>
      </p:sp>
      <p:sp>
        <p:nvSpPr>
          <p:cNvPr id="11" name="Freeform: Shape 10"/>
          <p:cNvSpPr/>
          <p:nvPr/>
        </p:nvSpPr>
        <p:spPr>
          <a:xfrm>
            <a:off x="1328722" y="3047039"/>
            <a:ext cx="3213523" cy="1246404"/>
          </a:xfrm>
          <a:custGeom>
            <a:avLst/>
            <a:gdLst>
              <a:gd name="connsiteX0" fmla="*/ 0 w 3213523"/>
              <a:gd name="connsiteY0" fmla="*/ 295356 h 1772099"/>
              <a:gd name="connsiteX1" fmla="*/ 295356 w 3213523"/>
              <a:gd name="connsiteY1" fmla="*/ 0 h 1772099"/>
              <a:gd name="connsiteX2" fmla="*/ 2918167 w 3213523"/>
              <a:gd name="connsiteY2" fmla="*/ 0 h 1772099"/>
              <a:gd name="connsiteX3" fmla="*/ 3213523 w 3213523"/>
              <a:gd name="connsiteY3" fmla="*/ 295356 h 1772099"/>
              <a:gd name="connsiteX4" fmla="*/ 3213523 w 3213523"/>
              <a:gd name="connsiteY4" fmla="*/ 1476743 h 1772099"/>
              <a:gd name="connsiteX5" fmla="*/ 2918167 w 3213523"/>
              <a:gd name="connsiteY5" fmla="*/ 1772099 h 1772099"/>
              <a:gd name="connsiteX6" fmla="*/ 295356 w 3213523"/>
              <a:gd name="connsiteY6" fmla="*/ 1772099 h 1772099"/>
              <a:gd name="connsiteX7" fmla="*/ 0 w 3213523"/>
              <a:gd name="connsiteY7" fmla="*/ 1476743 h 1772099"/>
              <a:gd name="connsiteX8" fmla="*/ 0 w 3213523"/>
              <a:gd name="connsiteY8" fmla="*/ 295356 h 17720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13523" h="1772099">
                <a:moveTo>
                  <a:pt x="0" y="295356"/>
                </a:moveTo>
                <a:cubicBezTo>
                  <a:pt x="0" y="132235"/>
                  <a:pt x="132235" y="0"/>
                  <a:pt x="295356" y="0"/>
                </a:cubicBezTo>
                <a:lnTo>
                  <a:pt x="2918167" y="0"/>
                </a:lnTo>
                <a:cubicBezTo>
                  <a:pt x="3081288" y="0"/>
                  <a:pt x="3213523" y="132235"/>
                  <a:pt x="3213523" y="295356"/>
                </a:cubicBezTo>
                <a:lnTo>
                  <a:pt x="3213523" y="1476743"/>
                </a:lnTo>
                <a:cubicBezTo>
                  <a:pt x="3213523" y="1639864"/>
                  <a:pt x="3081288" y="1772099"/>
                  <a:pt x="2918167" y="1772099"/>
                </a:cubicBezTo>
                <a:lnTo>
                  <a:pt x="295356" y="1772099"/>
                </a:lnTo>
                <a:cubicBezTo>
                  <a:pt x="132235" y="1772099"/>
                  <a:pt x="0" y="1639864"/>
                  <a:pt x="0" y="1476743"/>
                </a:cubicBezTo>
                <a:lnTo>
                  <a:pt x="0" y="295356"/>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08427" tIns="147467" rIns="208427" bIns="147467" numCol="1" spcCol="1270" anchor="ctr" anchorCtr="0">
            <a:noAutofit/>
          </a:bodyPr>
          <a:lstStyle/>
          <a:p>
            <a:pPr marL="0" lvl="0" indent="0" algn="ctr" defTabSz="1422400">
              <a:lnSpc>
                <a:spcPct val="90000"/>
              </a:lnSpc>
              <a:spcBef>
                <a:spcPct val="0"/>
              </a:spcBef>
              <a:spcAft>
                <a:spcPct val="35000"/>
              </a:spcAft>
              <a:buNone/>
            </a:pPr>
            <a:r>
              <a:rPr lang="en-US" sz="3200" b="0" kern="1200" dirty="0">
                <a:solidFill>
                  <a:srgbClr val="FFFFFF"/>
                </a:solidFill>
                <a:latin typeface="Segoe UI Semibold" panose="020B0702040204020203" pitchFamily="34" charset="0"/>
                <a:ea typeface="+mn-ea"/>
                <a:cs typeface="Segoe UI Semibold" panose="020B0702040204020203" pitchFamily="34" charset="0"/>
              </a:rPr>
              <a:t>Recommended</a:t>
            </a:r>
          </a:p>
        </p:txBody>
      </p:sp>
      <p:sp>
        <p:nvSpPr>
          <p:cNvPr id="12" name="Freeform: Shape 11"/>
          <p:cNvSpPr/>
          <p:nvPr/>
        </p:nvSpPr>
        <p:spPr>
          <a:xfrm>
            <a:off x="4281381" y="4294313"/>
            <a:ext cx="7047019" cy="2547258"/>
          </a:xfrm>
          <a:custGeom>
            <a:avLst/>
            <a:gdLst>
              <a:gd name="connsiteX0" fmla="*/ 0 w 7125896"/>
              <a:gd name="connsiteY0" fmla="*/ 180910 h 1447281"/>
              <a:gd name="connsiteX1" fmla="*/ 6402256 w 7125896"/>
              <a:gd name="connsiteY1" fmla="*/ 180910 h 1447281"/>
              <a:gd name="connsiteX2" fmla="*/ 6402256 w 7125896"/>
              <a:gd name="connsiteY2" fmla="*/ 0 h 1447281"/>
              <a:gd name="connsiteX3" fmla="*/ 7125896 w 7125896"/>
              <a:gd name="connsiteY3" fmla="*/ 723641 h 1447281"/>
              <a:gd name="connsiteX4" fmla="*/ 6402256 w 7125896"/>
              <a:gd name="connsiteY4" fmla="*/ 1447281 h 1447281"/>
              <a:gd name="connsiteX5" fmla="*/ 6402256 w 7125896"/>
              <a:gd name="connsiteY5" fmla="*/ 1266371 h 1447281"/>
              <a:gd name="connsiteX6" fmla="*/ 0 w 7125896"/>
              <a:gd name="connsiteY6" fmla="*/ 1266371 h 1447281"/>
              <a:gd name="connsiteX7" fmla="*/ 0 w 7125896"/>
              <a:gd name="connsiteY7" fmla="*/ 180910 h 14472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125896" h="1447281">
                <a:moveTo>
                  <a:pt x="0" y="180910"/>
                </a:moveTo>
                <a:lnTo>
                  <a:pt x="6402256" y="180910"/>
                </a:lnTo>
                <a:lnTo>
                  <a:pt x="6402256" y="0"/>
                </a:lnTo>
                <a:lnTo>
                  <a:pt x="7125896" y="723641"/>
                </a:lnTo>
                <a:lnTo>
                  <a:pt x="6402256" y="1447281"/>
                </a:lnTo>
                <a:lnTo>
                  <a:pt x="6402256" y="1266371"/>
                </a:lnTo>
                <a:lnTo>
                  <a:pt x="0" y="1266371"/>
                </a:lnTo>
                <a:lnTo>
                  <a:pt x="0" y="180910"/>
                </a:lnTo>
                <a:close/>
              </a:path>
            </a:pathLst>
          </a:custGeom>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365760" tIns="457200" rIns="640080" bIns="192340" numCol="1" spcCol="1270" anchor="t" anchorCtr="0">
            <a:noAutofit/>
          </a:bodyPr>
          <a:lstStyle/>
          <a:p>
            <a:pPr marL="285750" lvl="0" indent="-285750">
              <a:buFont typeface="Arial" panose="020B0604020202020204" pitchFamily="34" charset="0"/>
              <a:buChar char="•"/>
            </a:pPr>
            <a:r>
              <a:rPr lang="en-US" dirty="0"/>
              <a:t>Integrate Azure Data Lake Store with other services – i.e. provision an Azure HDInsight cluster that uses Data Lake Store as the HDFS-compliant storage, use Azure Data Lake Storage as a Azure Data Factory data source or access it from OSS applications, such as Apache </a:t>
            </a:r>
            <a:r>
              <a:rPr lang="en-US" dirty="0" err="1"/>
              <a:t>Sqoop</a:t>
            </a:r>
            <a:r>
              <a:rPr lang="en-US" dirty="0"/>
              <a:t>, Apache Storm or Apache Hive</a:t>
            </a:r>
          </a:p>
        </p:txBody>
      </p:sp>
      <p:sp>
        <p:nvSpPr>
          <p:cNvPr id="13" name="Freeform: Shape 12"/>
          <p:cNvSpPr/>
          <p:nvPr/>
        </p:nvSpPr>
        <p:spPr>
          <a:xfrm>
            <a:off x="1259112" y="4611934"/>
            <a:ext cx="3210524" cy="1912016"/>
          </a:xfrm>
          <a:custGeom>
            <a:avLst/>
            <a:gdLst>
              <a:gd name="connsiteX0" fmla="*/ 0 w 3210524"/>
              <a:gd name="connsiteY0" fmla="*/ 191185 h 1147089"/>
              <a:gd name="connsiteX1" fmla="*/ 191185 w 3210524"/>
              <a:gd name="connsiteY1" fmla="*/ 0 h 1147089"/>
              <a:gd name="connsiteX2" fmla="*/ 3019339 w 3210524"/>
              <a:gd name="connsiteY2" fmla="*/ 0 h 1147089"/>
              <a:gd name="connsiteX3" fmla="*/ 3210524 w 3210524"/>
              <a:gd name="connsiteY3" fmla="*/ 191185 h 1147089"/>
              <a:gd name="connsiteX4" fmla="*/ 3210524 w 3210524"/>
              <a:gd name="connsiteY4" fmla="*/ 955904 h 1147089"/>
              <a:gd name="connsiteX5" fmla="*/ 3019339 w 3210524"/>
              <a:gd name="connsiteY5" fmla="*/ 1147089 h 1147089"/>
              <a:gd name="connsiteX6" fmla="*/ 191185 w 3210524"/>
              <a:gd name="connsiteY6" fmla="*/ 1147089 h 1147089"/>
              <a:gd name="connsiteX7" fmla="*/ 0 w 3210524"/>
              <a:gd name="connsiteY7" fmla="*/ 955904 h 1147089"/>
              <a:gd name="connsiteX8" fmla="*/ 0 w 3210524"/>
              <a:gd name="connsiteY8" fmla="*/ 191185 h 1147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10524" h="1147089">
                <a:moveTo>
                  <a:pt x="0" y="191185"/>
                </a:moveTo>
                <a:cubicBezTo>
                  <a:pt x="0" y="85596"/>
                  <a:pt x="85596" y="0"/>
                  <a:pt x="191185" y="0"/>
                </a:cubicBezTo>
                <a:lnTo>
                  <a:pt x="3019339" y="0"/>
                </a:lnTo>
                <a:cubicBezTo>
                  <a:pt x="3124928" y="0"/>
                  <a:pt x="3210524" y="85596"/>
                  <a:pt x="3210524" y="191185"/>
                </a:cubicBezTo>
                <a:lnTo>
                  <a:pt x="3210524" y="955904"/>
                </a:lnTo>
                <a:cubicBezTo>
                  <a:pt x="3210524" y="1061493"/>
                  <a:pt x="3124928" y="1147089"/>
                  <a:pt x="3019339" y="1147089"/>
                </a:cubicBezTo>
                <a:lnTo>
                  <a:pt x="191185" y="1147089"/>
                </a:lnTo>
                <a:cubicBezTo>
                  <a:pt x="85596" y="1147089"/>
                  <a:pt x="0" y="1061493"/>
                  <a:pt x="0" y="955904"/>
                </a:cubicBezTo>
                <a:lnTo>
                  <a:pt x="0" y="191185"/>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77916" tIns="116956" rIns="177916" bIns="116956" numCol="1" spcCol="1270" anchor="ctr" anchorCtr="0">
            <a:noAutofit/>
          </a:bodyPr>
          <a:lstStyle/>
          <a:p>
            <a:pPr marL="0" lvl="0" indent="0" algn="ctr" defTabSz="1422400">
              <a:lnSpc>
                <a:spcPct val="90000"/>
              </a:lnSpc>
              <a:spcBef>
                <a:spcPct val="0"/>
              </a:spcBef>
              <a:spcAft>
                <a:spcPct val="35000"/>
              </a:spcAft>
              <a:buNone/>
            </a:pPr>
            <a:r>
              <a:rPr lang="en-US" sz="3200" b="0" kern="1200" dirty="0">
                <a:solidFill>
                  <a:srgbClr val="FFFFFF"/>
                </a:solidFill>
                <a:latin typeface="Segoe UI Semibold" panose="020B0702040204020203" pitchFamily="34" charset="0"/>
                <a:ea typeface="+mn-ea"/>
                <a:cs typeface="Segoe UI Semibold" panose="020B0702040204020203" pitchFamily="34" charset="0"/>
              </a:rPr>
              <a:t>Optional</a:t>
            </a:r>
          </a:p>
        </p:txBody>
      </p:sp>
      <p:sp>
        <p:nvSpPr>
          <p:cNvPr id="4" name="Octagon 3"/>
          <p:cNvSpPr/>
          <p:nvPr/>
        </p:nvSpPr>
        <p:spPr>
          <a:xfrm>
            <a:off x="1107200" y="2484123"/>
            <a:ext cx="443098" cy="439889"/>
          </a:xfrm>
          <a:prstGeom prst="octagon">
            <a:avLst/>
          </a:prstGeom>
          <a:solidFill>
            <a:srgbClr val="CC0000"/>
          </a:solidFill>
        </p:spPr>
        <p:style>
          <a:lnRef idx="1">
            <a:schemeClr val="accent2"/>
          </a:lnRef>
          <a:fillRef idx="3">
            <a:schemeClr val="accent2"/>
          </a:fillRef>
          <a:effectRef idx="2">
            <a:schemeClr val="accent2"/>
          </a:effectRef>
          <a:fontRef idx="minor">
            <a:schemeClr val="lt1"/>
          </a:fontRef>
        </p:style>
        <p:txBody>
          <a:bodyPr rot="0" spcFirstLastPara="0" vert="horz" wrap="square" lIns="68583" tIns="34291" rIns="68583" bIns="34291" numCol="1" spcCol="0" rtlCol="0" fromWordArt="0" anchor="ctr" anchorCtr="0" forceAA="0" compatLnSpc="1">
            <a:prstTxWarp prst="textNoShape">
              <a:avLst/>
            </a:prstTxWarp>
            <a:noAutofit/>
          </a:bodyPr>
          <a:lstStyle/>
          <a:p>
            <a:endParaRPr lang="en-US" sz="1350" dirty="0"/>
          </a:p>
        </p:txBody>
      </p:sp>
      <p:sp>
        <p:nvSpPr>
          <p:cNvPr id="5" name="Isosceles Triangle 4"/>
          <p:cNvSpPr>
            <a:spLocks/>
          </p:cNvSpPr>
          <p:nvPr/>
        </p:nvSpPr>
        <p:spPr>
          <a:xfrm>
            <a:off x="1038785" y="3995273"/>
            <a:ext cx="579874" cy="457219"/>
          </a:xfrm>
          <a:prstGeom prst="triangle">
            <a:avLst/>
          </a:prstGeom>
          <a:solidFill>
            <a:srgbClr val="FFFF00"/>
          </a:solidFill>
        </p:spPr>
        <p:style>
          <a:lnRef idx="1">
            <a:schemeClr val="accent6"/>
          </a:lnRef>
          <a:fillRef idx="3">
            <a:schemeClr val="accent6"/>
          </a:fillRef>
          <a:effectRef idx="2">
            <a:schemeClr val="accent6"/>
          </a:effectRef>
          <a:fontRef idx="minor">
            <a:schemeClr val="lt1"/>
          </a:fontRef>
        </p:style>
        <p:txBody>
          <a:bodyPr rot="0" spcFirstLastPara="0" vert="horz" wrap="square" lIns="68583" tIns="34291" rIns="68583" bIns="34291" numCol="1" spcCol="0" rtlCol="0" fromWordArt="0" anchor="ctr" anchorCtr="0" forceAA="0" compatLnSpc="1">
            <a:prstTxWarp prst="textNoShape">
              <a:avLst/>
            </a:prstTxWarp>
            <a:noAutofit/>
          </a:bodyPr>
          <a:lstStyle/>
          <a:p>
            <a:endParaRPr lang="en-US" sz="1350"/>
          </a:p>
        </p:txBody>
      </p:sp>
      <p:sp>
        <p:nvSpPr>
          <p:cNvPr id="6" name="Oval 5"/>
          <p:cNvSpPr>
            <a:spLocks/>
          </p:cNvSpPr>
          <p:nvPr/>
        </p:nvSpPr>
        <p:spPr>
          <a:xfrm>
            <a:off x="1038785" y="6264074"/>
            <a:ext cx="474539" cy="475477"/>
          </a:xfrm>
          <a:prstGeom prst="ellipse">
            <a:avLst/>
          </a:prstGeom>
          <a:solidFill>
            <a:srgbClr val="00B050"/>
          </a:solidFill>
        </p:spPr>
        <p:style>
          <a:lnRef idx="1">
            <a:schemeClr val="accent3"/>
          </a:lnRef>
          <a:fillRef idx="3">
            <a:schemeClr val="accent3"/>
          </a:fillRef>
          <a:effectRef idx="2">
            <a:schemeClr val="accent3"/>
          </a:effectRef>
          <a:fontRef idx="minor">
            <a:schemeClr val="lt1"/>
          </a:fontRef>
        </p:style>
        <p:txBody>
          <a:bodyPr rot="0" spcFirstLastPara="0" vert="horz" wrap="square" lIns="68583" tIns="34291" rIns="68583" bIns="34291" numCol="1" spcCol="0" rtlCol="0" fromWordArt="0" anchor="ctr" anchorCtr="0" forceAA="0" compatLnSpc="1">
            <a:prstTxWarp prst="textNoShape">
              <a:avLst/>
            </a:prstTxWarp>
            <a:noAutofit/>
          </a:bodyPr>
          <a:lstStyle/>
          <a:p>
            <a:endParaRPr lang="en-US" sz="1350"/>
          </a:p>
        </p:txBody>
      </p:sp>
    </p:spTree>
    <p:extLst>
      <p:ext uri="{BB962C8B-B14F-4D97-AF65-F5344CB8AC3E}">
        <p14:creationId xmlns:p14="http://schemas.microsoft.com/office/powerpoint/2010/main" val="3937936426"/>
      </p:ext>
    </p:extLst>
  </p:cSld>
  <p:clrMapOvr>
    <a:masterClrMapping/>
  </p:clrMapOvr>
  <p:transition>
    <p:fade/>
  </p:transition>
</p:sld>
</file>

<file path=ppt/slides/slide19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Segoe UI Light" panose="020B0502040204020203" pitchFamily="34" charset="0"/>
                <a:cs typeface="Segoe UI Light" panose="020B0502040204020203" pitchFamily="34" charset="0"/>
              </a:rPr>
              <a:t>Data Lake Analytics decisions</a:t>
            </a:r>
            <a:endParaRPr lang="en-US" dirty="0"/>
          </a:p>
        </p:txBody>
      </p:sp>
      <p:sp>
        <p:nvSpPr>
          <p:cNvPr id="8" name="Freeform: Shape 7"/>
          <p:cNvSpPr/>
          <p:nvPr/>
        </p:nvSpPr>
        <p:spPr>
          <a:xfrm>
            <a:off x="4416051" y="1813423"/>
            <a:ext cx="5039922" cy="966071"/>
          </a:xfrm>
          <a:custGeom>
            <a:avLst/>
            <a:gdLst>
              <a:gd name="connsiteX0" fmla="*/ 0 w 6937384"/>
              <a:gd name="connsiteY0" fmla="*/ 171052 h 1368412"/>
              <a:gd name="connsiteX1" fmla="*/ 6253178 w 6937384"/>
              <a:gd name="connsiteY1" fmla="*/ 171052 h 1368412"/>
              <a:gd name="connsiteX2" fmla="*/ 6253178 w 6937384"/>
              <a:gd name="connsiteY2" fmla="*/ 0 h 1368412"/>
              <a:gd name="connsiteX3" fmla="*/ 6937384 w 6937384"/>
              <a:gd name="connsiteY3" fmla="*/ 684206 h 1368412"/>
              <a:gd name="connsiteX4" fmla="*/ 6253178 w 6937384"/>
              <a:gd name="connsiteY4" fmla="*/ 1368412 h 1368412"/>
              <a:gd name="connsiteX5" fmla="*/ 6253178 w 6937384"/>
              <a:gd name="connsiteY5" fmla="*/ 1197361 h 1368412"/>
              <a:gd name="connsiteX6" fmla="*/ 0 w 6937384"/>
              <a:gd name="connsiteY6" fmla="*/ 1197361 h 1368412"/>
              <a:gd name="connsiteX7" fmla="*/ 0 w 6937384"/>
              <a:gd name="connsiteY7" fmla="*/ 171052 h 13684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937384" h="1368412">
                <a:moveTo>
                  <a:pt x="0" y="171052"/>
                </a:moveTo>
                <a:lnTo>
                  <a:pt x="6253178" y="171052"/>
                </a:lnTo>
                <a:lnTo>
                  <a:pt x="6253178" y="0"/>
                </a:lnTo>
                <a:lnTo>
                  <a:pt x="6937384" y="684206"/>
                </a:lnTo>
                <a:lnTo>
                  <a:pt x="6253178" y="1368412"/>
                </a:lnTo>
                <a:lnTo>
                  <a:pt x="6253178" y="1197361"/>
                </a:lnTo>
                <a:lnTo>
                  <a:pt x="0" y="1197361"/>
                </a:lnTo>
                <a:lnTo>
                  <a:pt x="0" y="171052"/>
                </a:lnTo>
                <a:close/>
              </a:path>
            </a:pathLst>
          </a:custGeom>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228600" tIns="365760" rIns="365760" bIns="182481" numCol="1" spcCol="1270" anchor="t" anchorCtr="0">
            <a:noAutofit/>
          </a:bodyPr>
          <a:lstStyle/>
          <a:p>
            <a:pPr marL="285750" lvl="1" indent="-285750" defTabSz="800100">
              <a:lnSpc>
                <a:spcPct val="90000"/>
              </a:lnSpc>
              <a:spcBef>
                <a:spcPct val="0"/>
              </a:spcBef>
              <a:spcAft>
                <a:spcPct val="15000"/>
              </a:spcAft>
              <a:buFont typeface="Arial" panose="020B0604020202020204" pitchFamily="34" charset="0"/>
              <a:buChar char="•"/>
            </a:pPr>
            <a:r>
              <a:rPr lang="en-US" dirty="0"/>
              <a:t>None</a:t>
            </a:r>
          </a:p>
        </p:txBody>
      </p:sp>
      <p:sp>
        <p:nvSpPr>
          <p:cNvPr id="9" name="Freeform: Shape 8"/>
          <p:cNvSpPr/>
          <p:nvPr/>
        </p:nvSpPr>
        <p:spPr>
          <a:xfrm>
            <a:off x="1320269" y="1932802"/>
            <a:ext cx="3221976" cy="732972"/>
          </a:xfrm>
          <a:custGeom>
            <a:avLst/>
            <a:gdLst>
              <a:gd name="connsiteX0" fmla="*/ 0 w 3221976"/>
              <a:gd name="connsiteY0" fmla="*/ 188426 h 1130532"/>
              <a:gd name="connsiteX1" fmla="*/ 188426 w 3221976"/>
              <a:gd name="connsiteY1" fmla="*/ 0 h 1130532"/>
              <a:gd name="connsiteX2" fmla="*/ 3033550 w 3221976"/>
              <a:gd name="connsiteY2" fmla="*/ 0 h 1130532"/>
              <a:gd name="connsiteX3" fmla="*/ 3221976 w 3221976"/>
              <a:gd name="connsiteY3" fmla="*/ 188426 h 1130532"/>
              <a:gd name="connsiteX4" fmla="*/ 3221976 w 3221976"/>
              <a:gd name="connsiteY4" fmla="*/ 942106 h 1130532"/>
              <a:gd name="connsiteX5" fmla="*/ 3033550 w 3221976"/>
              <a:gd name="connsiteY5" fmla="*/ 1130532 h 1130532"/>
              <a:gd name="connsiteX6" fmla="*/ 188426 w 3221976"/>
              <a:gd name="connsiteY6" fmla="*/ 1130532 h 1130532"/>
              <a:gd name="connsiteX7" fmla="*/ 0 w 3221976"/>
              <a:gd name="connsiteY7" fmla="*/ 942106 h 1130532"/>
              <a:gd name="connsiteX8" fmla="*/ 0 w 3221976"/>
              <a:gd name="connsiteY8" fmla="*/ 188426 h 11305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21976" h="1130532">
                <a:moveTo>
                  <a:pt x="0" y="188426"/>
                </a:moveTo>
                <a:cubicBezTo>
                  <a:pt x="0" y="84361"/>
                  <a:pt x="84361" y="0"/>
                  <a:pt x="188426" y="0"/>
                </a:cubicBezTo>
                <a:lnTo>
                  <a:pt x="3033550" y="0"/>
                </a:lnTo>
                <a:cubicBezTo>
                  <a:pt x="3137615" y="0"/>
                  <a:pt x="3221976" y="84361"/>
                  <a:pt x="3221976" y="188426"/>
                </a:cubicBezTo>
                <a:lnTo>
                  <a:pt x="3221976" y="942106"/>
                </a:lnTo>
                <a:cubicBezTo>
                  <a:pt x="3221976" y="1046171"/>
                  <a:pt x="3137615" y="1130532"/>
                  <a:pt x="3033550" y="1130532"/>
                </a:cubicBezTo>
                <a:lnTo>
                  <a:pt x="188426" y="1130532"/>
                </a:lnTo>
                <a:cubicBezTo>
                  <a:pt x="84361" y="1130532"/>
                  <a:pt x="0" y="1046171"/>
                  <a:pt x="0" y="942106"/>
                </a:cubicBezTo>
                <a:lnTo>
                  <a:pt x="0" y="188426"/>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77108" tIns="116148" rIns="177108" bIns="116148" numCol="1" spcCol="1270" anchor="ctr" anchorCtr="0">
            <a:noAutofit/>
          </a:bodyPr>
          <a:lstStyle/>
          <a:p>
            <a:pPr marL="0" lvl="0" indent="0" algn="ctr" defTabSz="1422400">
              <a:lnSpc>
                <a:spcPct val="90000"/>
              </a:lnSpc>
              <a:spcBef>
                <a:spcPct val="0"/>
              </a:spcBef>
              <a:spcAft>
                <a:spcPct val="35000"/>
              </a:spcAft>
              <a:buNone/>
            </a:pPr>
            <a:r>
              <a:rPr lang="en-US" sz="3200" b="0" kern="1200" dirty="0">
                <a:latin typeface="Segoe UI Semibold" panose="020B0702040204020203" pitchFamily="34" charset="0"/>
                <a:cs typeface="Segoe UI Semibold" panose="020B0702040204020203" pitchFamily="34" charset="0"/>
              </a:rPr>
              <a:t>Mandatory</a:t>
            </a:r>
          </a:p>
        </p:txBody>
      </p:sp>
      <p:sp>
        <p:nvSpPr>
          <p:cNvPr id="10" name="Freeform: Shape 9"/>
          <p:cNvSpPr/>
          <p:nvPr/>
        </p:nvSpPr>
        <p:spPr>
          <a:xfrm>
            <a:off x="4174859" y="2847299"/>
            <a:ext cx="5242274" cy="1641608"/>
          </a:xfrm>
          <a:custGeom>
            <a:avLst/>
            <a:gdLst>
              <a:gd name="connsiteX0" fmla="*/ 0 w 7091479"/>
              <a:gd name="connsiteY0" fmla="*/ 293845 h 2350760"/>
              <a:gd name="connsiteX1" fmla="*/ 5916099 w 7091479"/>
              <a:gd name="connsiteY1" fmla="*/ 293845 h 2350760"/>
              <a:gd name="connsiteX2" fmla="*/ 5916099 w 7091479"/>
              <a:gd name="connsiteY2" fmla="*/ 0 h 2350760"/>
              <a:gd name="connsiteX3" fmla="*/ 7091479 w 7091479"/>
              <a:gd name="connsiteY3" fmla="*/ 1175380 h 2350760"/>
              <a:gd name="connsiteX4" fmla="*/ 5916099 w 7091479"/>
              <a:gd name="connsiteY4" fmla="*/ 2350760 h 2350760"/>
              <a:gd name="connsiteX5" fmla="*/ 5916099 w 7091479"/>
              <a:gd name="connsiteY5" fmla="*/ 2056915 h 2350760"/>
              <a:gd name="connsiteX6" fmla="*/ 0 w 7091479"/>
              <a:gd name="connsiteY6" fmla="*/ 2056915 h 2350760"/>
              <a:gd name="connsiteX7" fmla="*/ 0 w 7091479"/>
              <a:gd name="connsiteY7" fmla="*/ 293845 h 2350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091479" h="2350760">
                <a:moveTo>
                  <a:pt x="0" y="293845"/>
                </a:moveTo>
                <a:lnTo>
                  <a:pt x="5916099" y="293845"/>
                </a:lnTo>
                <a:lnTo>
                  <a:pt x="5916099" y="0"/>
                </a:lnTo>
                <a:lnTo>
                  <a:pt x="7091479" y="1175380"/>
                </a:lnTo>
                <a:lnTo>
                  <a:pt x="5916099" y="2350760"/>
                </a:lnTo>
                <a:lnTo>
                  <a:pt x="5916099" y="2056915"/>
                </a:lnTo>
                <a:lnTo>
                  <a:pt x="0" y="2056915"/>
                </a:lnTo>
                <a:lnTo>
                  <a:pt x="0" y="293845"/>
                </a:lnTo>
                <a:close/>
              </a:path>
            </a:pathLst>
          </a:custGeom>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457200" tIns="457200" rIns="1064415" bIns="305275" numCol="1" spcCol="1270" anchor="t" anchorCtr="0">
            <a:noAutofit/>
          </a:bodyPr>
          <a:lstStyle/>
          <a:p>
            <a:pPr marL="285750" lvl="1" indent="-285750" defTabSz="800100">
              <a:lnSpc>
                <a:spcPct val="90000"/>
              </a:lnSpc>
              <a:spcBef>
                <a:spcPct val="0"/>
              </a:spcBef>
              <a:spcAft>
                <a:spcPct val="15000"/>
              </a:spcAft>
              <a:buFont typeface="Arial" panose="020B0604020202020204" pitchFamily="34" charset="0"/>
              <a:buChar char="•"/>
            </a:pPr>
            <a:r>
              <a:rPr lang="en-US" dirty="0"/>
              <a:t>Use Azure Data Lake Analytics as a preferred option to derive insights from massive amounts of data</a:t>
            </a:r>
          </a:p>
        </p:txBody>
      </p:sp>
      <p:sp>
        <p:nvSpPr>
          <p:cNvPr id="11" name="Freeform: Shape 10"/>
          <p:cNvSpPr/>
          <p:nvPr/>
        </p:nvSpPr>
        <p:spPr>
          <a:xfrm>
            <a:off x="1328722" y="3047039"/>
            <a:ext cx="3213523" cy="1246404"/>
          </a:xfrm>
          <a:custGeom>
            <a:avLst/>
            <a:gdLst>
              <a:gd name="connsiteX0" fmla="*/ 0 w 3213523"/>
              <a:gd name="connsiteY0" fmla="*/ 295356 h 1772099"/>
              <a:gd name="connsiteX1" fmla="*/ 295356 w 3213523"/>
              <a:gd name="connsiteY1" fmla="*/ 0 h 1772099"/>
              <a:gd name="connsiteX2" fmla="*/ 2918167 w 3213523"/>
              <a:gd name="connsiteY2" fmla="*/ 0 h 1772099"/>
              <a:gd name="connsiteX3" fmla="*/ 3213523 w 3213523"/>
              <a:gd name="connsiteY3" fmla="*/ 295356 h 1772099"/>
              <a:gd name="connsiteX4" fmla="*/ 3213523 w 3213523"/>
              <a:gd name="connsiteY4" fmla="*/ 1476743 h 1772099"/>
              <a:gd name="connsiteX5" fmla="*/ 2918167 w 3213523"/>
              <a:gd name="connsiteY5" fmla="*/ 1772099 h 1772099"/>
              <a:gd name="connsiteX6" fmla="*/ 295356 w 3213523"/>
              <a:gd name="connsiteY6" fmla="*/ 1772099 h 1772099"/>
              <a:gd name="connsiteX7" fmla="*/ 0 w 3213523"/>
              <a:gd name="connsiteY7" fmla="*/ 1476743 h 1772099"/>
              <a:gd name="connsiteX8" fmla="*/ 0 w 3213523"/>
              <a:gd name="connsiteY8" fmla="*/ 295356 h 17720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13523" h="1772099">
                <a:moveTo>
                  <a:pt x="0" y="295356"/>
                </a:moveTo>
                <a:cubicBezTo>
                  <a:pt x="0" y="132235"/>
                  <a:pt x="132235" y="0"/>
                  <a:pt x="295356" y="0"/>
                </a:cubicBezTo>
                <a:lnTo>
                  <a:pt x="2918167" y="0"/>
                </a:lnTo>
                <a:cubicBezTo>
                  <a:pt x="3081288" y="0"/>
                  <a:pt x="3213523" y="132235"/>
                  <a:pt x="3213523" y="295356"/>
                </a:cubicBezTo>
                <a:lnTo>
                  <a:pt x="3213523" y="1476743"/>
                </a:lnTo>
                <a:cubicBezTo>
                  <a:pt x="3213523" y="1639864"/>
                  <a:pt x="3081288" y="1772099"/>
                  <a:pt x="2918167" y="1772099"/>
                </a:cubicBezTo>
                <a:lnTo>
                  <a:pt x="295356" y="1772099"/>
                </a:lnTo>
                <a:cubicBezTo>
                  <a:pt x="132235" y="1772099"/>
                  <a:pt x="0" y="1639864"/>
                  <a:pt x="0" y="1476743"/>
                </a:cubicBezTo>
                <a:lnTo>
                  <a:pt x="0" y="295356"/>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08427" tIns="147467" rIns="208427" bIns="147467" numCol="1" spcCol="1270" anchor="ctr" anchorCtr="0">
            <a:noAutofit/>
          </a:bodyPr>
          <a:lstStyle/>
          <a:p>
            <a:pPr marL="0" lvl="0" indent="0" algn="ctr" defTabSz="1422400">
              <a:lnSpc>
                <a:spcPct val="90000"/>
              </a:lnSpc>
              <a:spcBef>
                <a:spcPct val="0"/>
              </a:spcBef>
              <a:spcAft>
                <a:spcPct val="35000"/>
              </a:spcAft>
              <a:buNone/>
            </a:pPr>
            <a:r>
              <a:rPr lang="en-US" sz="3200" b="0" kern="1200" dirty="0">
                <a:solidFill>
                  <a:srgbClr val="FFFFFF"/>
                </a:solidFill>
                <a:latin typeface="Segoe UI Semibold" panose="020B0702040204020203" pitchFamily="34" charset="0"/>
                <a:ea typeface="+mn-ea"/>
                <a:cs typeface="Segoe UI Semibold" panose="020B0702040204020203" pitchFamily="34" charset="0"/>
              </a:rPr>
              <a:t>Recommended</a:t>
            </a:r>
          </a:p>
        </p:txBody>
      </p:sp>
      <p:sp>
        <p:nvSpPr>
          <p:cNvPr id="12" name="Freeform: Shape 11"/>
          <p:cNvSpPr/>
          <p:nvPr/>
        </p:nvSpPr>
        <p:spPr>
          <a:xfrm>
            <a:off x="4281381" y="4294313"/>
            <a:ext cx="5152905" cy="2547258"/>
          </a:xfrm>
          <a:custGeom>
            <a:avLst/>
            <a:gdLst>
              <a:gd name="connsiteX0" fmla="*/ 0 w 7125896"/>
              <a:gd name="connsiteY0" fmla="*/ 180910 h 1447281"/>
              <a:gd name="connsiteX1" fmla="*/ 6402256 w 7125896"/>
              <a:gd name="connsiteY1" fmla="*/ 180910 h 1447281"/>
              <a:gd name="connsiteX2" fmla="*/ 6402256 w 7125896"/>
              <a:gd name="connsiteY2" fmla="*/ 0 h 1447281"/>
              <a:gd name="connsiteX3" fmla="*/ 7125896 w 7125896"/>
              <a:gd name="connsiteY3" fmla="*/ 723641 h 1447281"/>
              <a:gd name="connsiteX4" fmla="*/ 6402256 w 7125896"/>
              <a:gd name="connsiteY4" fmla="*/ 1447281 h 1447281"/>
              <a:gd name="connsiteX5" fmla="*/ 6402256 w 7125896"/>
              <a:gd name="connsiteY5" fmla="*/ 1266371 h 1447281"/>
              <a:gd name="connsiteX6" fmla="*/ 0 w 7125896"/>
              <a:gd name="connsiteY6" fmla="*/ 1266371 h 1447281"/>
              <a:gd name="connsiteX7" fmla="*/ 0 w 7125896"/>
              <a:gd name="connsiteY7" fmla="*/ 180910 h 14472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125896" h="1447281">
                <a:moveTo>
                  <a:pt x="0" y="180910"/>
                </a:moveTo>
                <a:lnTo>
                  <a:pt x="6402256" y="180910"/>
                </a:lnTo>
                <a:lnTo>
                  <a:pt x="6402256" y="0"/>
                </a:lnTo>
                <a:lnTo>
                  <a:pt x="7125896" y="723641"/>
                </a:lnTo>
                <a:lnTo>
                  <a:pt x="6402256" y="1447281"/>
                </a:lnTo>
                <a:lnTo>
                  <a:pt x="6402256" y="1266371"/>
                </a:lnTo>
                <a:lnTo>
                  <a:pt x="0" y="1266371"/>
                </a:lnTo>
                <a:lnTo>
                  <a:pt x="0" y="180910"/>
                </a:lnTo>
                <a:close/>
              </a:path>
            </a:pathLst>
          </a:custGeom>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365760" tIns="548640" rIns="640080" bIns="192340" numCol="1" spcCol="1270" anchor="t" anchorCtr="0">
            <a:noAutofit/>
          </a:bodyPr>
          <a:lstStyle/>
          <a:p>
            <a:pPr marL="285750" lvl="0" indent="-285750">
              <a:buFont typeface="Arial" panose="020B0604020202020204" pitchFamily="34" charset="0"/>
              <a:buChar char="•"/>
            </a:pPr>
            <a:r>
              <a:rPr lang="en-US" dirty="0"/>
              <a:t>Integrate Azure Data Lake Analytics with other services – use Azure Blob storage, Azure SQL database, and Data Lake Analytics as a data source for Azure Data Lake Analytics queries</a:t>
            </a:r>
          </a:p>
        </p:txBody>
      </p:sp>
      <p:sp>
        <p:nvSpPr>
          <p:cNvPr id="13" name="Freeform: Shape 12"/>
          <p:cNvSpPr/>
          <p:nvPr/>
        </p:nvSpPr>
        <p:spPr>
          <a:xfrm>
            <a:off x="1259112" y="4611934"/>
            <a:ext cx="3210524" cy="1912016"/>
          </a:xfrm>
          <a:custGeom>
            <a:avLst/>
            <a:gdLst>
              <a:gd name="connsiteX0" fmla="*/ 0 w 3210524"/>
              <a:gd name="connsiteY0" fmla="*/ 191185 h 1147089"/>
              <a:gd name="connsiteX1" fmla="*/ 191185 w 3210524"/>
              <a:gd name="connsiteY1" fmla="*/ 0 h 1147089"/>
              <a:gd name="connsiteX2" fmla="*/ 3019339 w 3210524"/>
              <a:gd name="connsiteY2" fmla="*/ 0 h 1147089"/>
              <a:gd name="connsiteX3" fmla="*/ 3210524 w 3210524"/>
              <a:gd name="connsiteY3" fmla="*/ 191185 h 1147089"/>
              <a:gd name="connsiteX4" fmla="*/ 3210524 w 3210524"/>
              <a:gd name="connsiteY4" fmla="*/ 955904 h 1147089"/>
              <a:gd name="connsiteX5" fmla="*/ 3019339 w 3210524"/>
              <a:gd name="connsiteY5" fmla="*/ 1147089 h 1147089"/>
              <a:gd name="connsiteX6" fmla="*/ 191185 w 3210524"/>
              <a:gd name="connsiteY6" fmla="*/ 1147089 h 1147089"/>
              <a:gd name="connsiteX7" fmla="*/ 0 w 3210524"/>
              <a:gd name="connsiteY7" fmla="*/ 955904 h 1147089"/>
              <a:gd name="connsiteX8" fmla="*/ 0 w 3210524"/>
              <a:gd name="connsiteY8" fmla="*/ 191185 h 1147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10524" h="1147089">
                <a:moveTo>
                  <a:pt x="0" y="191185"/>
                </a:moveTo>
                <a:cubicBezTo>
                  <a:pt x="0" y="85596"/>
                  <a:pt x="85596" y="0"/>
                  <a:pt x="191185" y="0"/>
                </a:cubicBezTo>
                <a:lnTo>
                  <a:pt x="3019339" y="0"/>
                </a:lnTo>
                <a:cubicBezTo>
                  <a:pt x="3124928" y="0"/>
                  <a:pt x="3210524" y="85596"/>
                  <a:pt x="3210524" y="191185"/>
                </a:cubicBezTo>
                <a:lnTo>
                  <a:pt x="3210524" y="955904"/>
                </a:lnTo>
                <a:cubicBezTo>
                  <a:pt x="3210524" y="1061493"/>
                  <a:pt x="3124928" y="1147089"/>
                  <a:pt x="3019339" y="1147089"/>
                </a:cubicBezTo>
                <a:lnTo>
                  <a:pt x="191185" y="1147089"/>
                </a:lnTo>
                <a:cubicBezTo>
                  <a:pt x="85596" y="1147089"/>
                  <a:pt x="0" y="1061493"/>
                  <a:pt x="0" y="955904"/>
                </a:cubicBezTo>
                <a:lnTo>
                  <a:pt x="0" y="191185"/>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77916" tIns="116956" rIns="177916" bIns="116956" numCol="1" spcCol="1270" anchor="ctr" anchorCtr="0">
            <a:noAutofit/>
          </a:bodyPr>
          <a:lstStyle/>
          <a:p>
            <a:pPr marL="0" lvl="0" indent="0" algn="ctr" defTabSz="1422400">
              <a:lnSpc>
                <a:spcPct val="90000"/>
              </a:lnSpc>
              <a:spcBef>
                <a:spcPct val="0"/>
              </a:spcBef>
              <a:spcAft>
                <a:spcPct val="35000"/>
              </a:spcAft>
              <a:buNone/>
            </a:pPr>
            <a:r>
              <a:rPr lang="en-US" sz="3200" b="0" kern="1200" dirty="0">
                <a:solidFill>
                  <a:srgbClr val="FFFFFF"/>
                </a:solidFill>
                <a:latin typeface="Segoe UI Semibold" panose="020B0702040204020203" pitchFamily="34" charset="0"/>
                <a:ea typeface="+mn-ea"/>
                <a:cs typeface="Segoe UI Semibold" panose="020B0702040204020203" pitchFamily="34" charset="0"/>
              </a:rPr>
              <a:t>Optional</a:t>
            </a:r>
          </a:p>
        </p:txBody>
      </p:sp>
      <p:sp>
        <p:nvSpPr>
          <p:cNvPr id="4" name="Octagon 3"/>
          <p:cNvSpPr/>
          <p:nvPr/>
        </p:nvSpPr>
        <p:spPr>
          <a:xfrm>
            <a:off x="1107200" y="2370411"/>
            <a:ext cx="443098" cy="439889"/>
          </a:xfrm>
          <a:prstGeom prst="octagon">
            <a:avLst/>
          </a:prstGeom>
          <a:solidFill>
            <a:srgbClr val="CC0000"/>
          </a:solidFill>
        </p:spPr>
        <p:style>
          <a:lnRef idx="1">
            <a:schemeClr val="accent2"/>
          </a:lnRef>
          <a:fillRef idx="3">
            <a:schemeClr val="accent2"/>
          </a:fillRef>
          <a:effectRef idx="2">
            <a:schemeClr val="accent2"/>
          </a:effectRef>
          <a:fontRef idx="minor">
            <a:schemeClr val="lt1"/>
          </a:fontRef>
        </p:style>
        <p:txBody>
          <a:bodyPr rot="0" spcFirstLastPara="0" vert="horz" wrap="square" lIns="68583" tIns="34291" rIns="68583" bIns="34291" numCol="1" spcCol="0" rtlCol="0" fromWordArt="0" anchor="ctr" anchorCtr="0" forceAA="0" compatLnSpc="1">
            <a:prstTxWarp prst="textNoShape">
              <a:avLst/>
            </a:prstTxWarp>
            <a:noAutofit/>
          </a:bodyPr>
          <a:lstStyle/>
          <a:p>
            <a:endParaRPr lang="en-US" sz="1350" dirty="0"/>
          </a:p>
        </p:txBody>
      </p:sp>
      <p:sp>
        <p:nvSpPr>
          <p:cNvPr id="5" name="Isosceles Triangle 4"/>
          <p:cNvSpPr>
            <a:spLocks/>
          </p:cNvSpPr>
          <p:nvPr/>
        </p:nvSpPr>
        <p:spPr>
          <a:xfrm>
            <a:off x="1038785" y="3995273"/>
            <a:ext cx="579874" cy="457219"/>
          </a:xfrm>
          <a:prstGeom prst="triangle">
            <a:avLst/>
          </a:prstGeom>
          <a:solidFill>
            <a:srgbClr val="FFFF00"/>
          </a:solidFill>
        </p:spPr>
        <p:style>
          <a:lnRef idx="1">
            <a:schemeClr val="accent6"/>
          </a:lnRef>
          <a:fillRef idx="3">
            <a:schemeClr val="accent6"/>
          </a:fillRef>
          <a:effectRef idx="2">
            <a:schemeClr val="accent6"/>
          </a:effectRef>
          <a:fontRef idx="minor">
            <a:schemeClr val="lt1"/>
          </a:fontRef>
        </p:style>
        <p:txBody>
          <a:bodyPr rot="0" spcFirstLastPara="0" vert="horz" wrap="square" lIns="68583" tIns="34291" rIns="68583" bIns="34291" numCol="1" spcCol="0" rtlCol="0" fromWordArt="0" anchor="ctr" anchorCtr="0" forceAA="0" compatLnSpc="1">
            <a:prstTxWarp prst="textNoShape">
              <a:avLst/>
            </a:prstTxWarp>
            <a:noAutofit/>
          </a:bodyPr>
          <a:lstStyle/>
          <a:p>
            <a:endParaRPr lang="en-US" sz="1350"/>
          </a:p>
        </p:txBody>
      </p:sp>
      <p:sp>
        <p:nvSpPr>
          <p:cNvPr id="6" name="Oval 5"/>
          <p:cNvSpPr>
            <a:spLocks/>
          </p:cNvSpPr>
          <p:nvPr/>
        </p:nvSpPr>
        <p:spPr>
          <a:xfrm>
            <a:off x="1038785" y="6264074"/>
            <a:ext cx="474539" cy="475477"/>
          </a:xfrm>
          <a:prstGeom prst="ellipse">
            <a:avLst/>
          </a:prstGeom>
          <a:solidFill>
            <a:srgbClr val="00B050"/>
          </a:solidFill>
        </p:spPr>
        <p:style>
          <a:lnRef idx="1">
            <a:schemeClr val="accent3"/>
          </a:lnRef>
          <a:fillRef idx="3">
            <a:schemeClr val="accent3"/>
          </a:fillRef>
          <a:effectRef idx="2">
            <a:schemeClr val="accent3"/>
          </a:effectRef>
          <a:fontRef idx="minor">
            <a:schemeClr val="lt1"/>
          </a:fontRef>
        </p:style>
        <p:txBody>
          <a:bodyPr rot="0" spcFirstLastPara="0" vert="horz" wrap="square" lIns="68583" tIns="34291" rIns="68583" bIns="34291" numCol="1" spcCol="0" rtlCol="0" fromWordArt="0" anchor="ctr" anchorCtr="0" forceAA="0" compatLnSpc="1">
            <a:prstTxWarp prst="textNoShape">
              <a:avLst/>
            </a:prstTxWarp>
            <a:noAutofit/>
          </a:bodyPr>
          <a:lstStyle/>
          <a:p>
            <a:endParaRPr lang="en-US" sz="1350"/>
          </a:p>
        </p:txBody>
      </p:sp>
    </p:spTree>
    <p:extLst>
      <p:ext uri="{BB962C8B-B14F-4D97-AF65-F5344CB8AC3E}">
        <p14:creationId xmlns:p14="http://schemas.microsoft.com/office/powerpoint/2010/main" val="2269652624"/>
      </p:ext>
    </p:extLst>
  </p:cSld>
  <p:clrMapOvr>
    <a:masterClrMapping/>
  </p:clrMapOvr>
  <p:transition>
    <p:fade/>
  </p:transition>
</p:sld>
</file>

<file path=ppt/slides/slide19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Title 4"/>
          <p:cNvSpPr>
            <a:spLocks noGrp="1"/>
          </p:cNvSpPr>
          <p:nvPr>
            <p:ph type="title"/>
          </p:nvPr>
        </p:nvSpPr>
        <p:spPr>
          <a:xfrm>
            <a:off x="366169" y="295278"/>
            <a:ext cx="11702551" cy="917575"/>
          </a:xfrm>
        </p:spPr>
        <p:txBody>
          <a:bodyPr/>
          <a:lstStyle/>
          <a:p>
            <a:r>
              <a:rPr lang="en-US" dirty="0"/>
              <a:t>Analytics – Key decision points</a:t>
            </a:r>
          </a:p>
        </p:txBody>
      </p:sp>
      <p:graphicFrame>
        <p:nvGraphicFramePr>
          <p:cNvPr id="4" name="Table 3"/>
          <p:cNvGraphicFramePr>
            <a:graphicFrameLocks noGrp="1"/>
          </p:cNvGraphicFramePr>
          <p:nvPr>
            <p:extLst/>
          </p:nvPr>
        </p:nvGraphicFramePr>
        <p:xfrm>
          <a:off x="534266" y="1389322"/>
          <a:ext cx="10984338" cy="4712555"/>
        </p:xfrm>
        <a:graphic>
          <a:graphicData uri="http://schemas.openxmlformats.org/drawingml/2006/table">
            <a:tbl>
              <a:tblPr firstRow="1" bandRow="1">
                <a:tableStyleId>{F2DE63D5-997A-4646-A377-4702673A728D}</a:tableStyleId>
              </a:tblPr>
              <a:tblGrid>
                <a:gridCol w="2746084">
                  <a:extLst>
                    <a:ext uri="{9D8B030D-6E8A-4147-A177-3AD203B41FA5}">
                      <a16:colId xmlns:a16="http://schemas.microsoft.com/office/drawing/2014/main" val="3323723136"/>
                    </a:ext>
                  </a:extLst>
                </a:gridCol>
                <a:gridCol w="1982499">
                  <a:extLst>
                    <a:ext uri="{9D8B030D-6E8A-4147-A177-3AD203B41FA5}">
                      <a16:colId xmlns:a16="http://schemas.microsoft.com/office/drawing/2014/main" val="3937888222"/>
                    </a:ext>
                  </a:extLst>
                </a:gridCol>
                <a:gridCol w="2318812">
                  <a:extLst>
                    <a:ext uri="{9D8B030D-6E8A-4147-A177-3AD203B41FA5}">
                      <a16:colId xmlns:a16="http://schemas.microsoft.com/office/drawing/2014/main" val="1410519535"/>
                    </a:ext>
                  </a:extLst>
                </a:gridCol>
                <a:gridCol w="3936943">
                  <a:extLst>
                    <a:ext uri="{9D8B030D-6E8A-4147-A177-3AD203B41FA5}">
                      <a16:colId xmlns:a16="http://schemas.microsoft.com/office/drawing/2014/main" val="3764866363"/>
                    </a:ext>
                  </a:extLst>
                </a:gridCol>
              </a:tblGrid>
              <a:tr h="775549">
                <a:tc>
                  <a:txBody>
                    <a:bodyPr/>
                    <a:lstStyle/>
                    <a:p>
                      <a:r>
                        <a:rPr lang="en-US" sz="2200" b="0" i="0" dirty="0">
                          <a:latin typeface="Segoe UI Semibold" panose="020B0702040204020203" pitchFamily="34" charset="0"/>
                          <a:cs typeface="Segoe UI Semibold" panose="020B0702040204020203" pitchFamily="34" charset="0"/>
                        </a:rPr>
                        <a:t>Service name</a:t>
                      </a:r>
                    </a:p>
                  </a:txBody>
                  <a:tcPr marL="86172" marR="86172" marT="43086" marB="43086">
                    <a:solidFill>
                      <a:schemeClr val="accent1"/>
                    </a:solidFill>
                  </a:tcPr>
                </a:tc>
                <a:tc>
                  <a:txBody>
                    <a:bodyPr/>
                    <a:lstStyle/>
                    <a:p>
                      <a:r>
                        <a:rPr lang="en-US" sz="2200" b="0" i="0" dirty="0">
                          <a:latin typeface="Segoe UI Semibold" panose="020B0702040204020203" pitchFamily="34" charset="0"/>
                          <a:cs typeface="Segoe UI Semibold" panose="020B0702040204020203" pitchFamily="34" charset="0"/>
                        </a:rPr>
                        <a:t>Management</a:t>
                      </a:r>
                    </a:p>
                  </a:txBody>
                  <a:tcPr marL="86172" marR="86172" marT="43086" marB="43086">
                    <a:solidFill>
                      <a:schemeClr val="accent1"/>
                    </a:solidFill>
                  </a:tcPr>
                </a:tc>
                <a:tc>
                  <a:txBody>
                    <a:bodyPr/>
                    <a:lstStyle/>
                    <a:p>
                      <a:r>
                        <a:rPr lang="en-US" sz="2200" b="0" i="0" dirty="0">
                          <a:latin typeface="Segoe UI Semibold" panose="020B0702040204020203" pitchFamily="34" charset="0"/>
                          <a:cs typeface="Segoe UI Semibold" panose="020B0702040204020203" pitchFamily="34" charset="0"/>
                        </a:rPr>
                        <a:t>Peering (public, private, both)</a:t>
                      </a:r>
                    </a:p>
                  </a:txBody>
                  <a:tcPr marL="86172" marR="86172" marT="43086" marB="43086">
                    <a:solidFill>
                      <a:schemeClr val="accent1"/>
                    </a:solidFill>
                  </a:tcPr>
                </a:tc>
                <a:tc>
                  <a:txBody>
                    <a:bodyPr/>
                    <a:lstStyle/>
                    <a:p>
                      <a:r>
                        <a:rPr lang="en-US" sz="2200" b="0" i="0" dirty="0">
                          <a:latin typeface="Segoe UI Semibold" panose="020B0702040204020203" pitchFamily="34" charset="0"/>
                          <a:cs typeface="Segoe UI Semibold" panose="020B0702040204020203" pitchFamily="34" charset="0"/>
                        </a:rPr>
                        <a:t>Connectivity options</a:t>
                      </a:r>
                    </a:p>
                    <a:p>
                      <a:r>
                        <a:rPr lang="en-US" sz="2200" b="0" i="0" dirty="0">
                          <a:latin typeface="Segoe UI Semibold" panose="020B0702040204020203" pitchFamily="34" charset="0"/>
                          <a:cs typeface="Segoe UI Semibold" panose="020B0702040204020203" pitchFamily="34" charset="0"/>
                        </a:rPr>
                        <a:t>(To on-</a:t>
                      </a:r>
                      <a:r>
                        <a:rPr lang="en-US" sz="2200" b="0" i="0" dirty="0" err="1">
                          <a:latin typeface="Segoe UI Semibold" panose="020B0702040204020203" pitchFamily="34" charset="0"/>
                          <a:cs typeface="Segoe UI Semibold" panose="020B0702040204020203" pitchFamily="34" charset="0"/>
                        </a:rPr>
                        <a:t>prem</a:t>
                      </a:r>
                      <a:r>
                        <a:rPr lang="en-US" sz="2200" b="0" i="0" dirty="0">
                          <a:latin typeface="Segoe UI Semibold" panose="020B0702040204020203" pitchFamily="34" charset="0"/>
                          <a:cs typeface="Segoe UI Semibold" panose="020B0702040204020203" pitchFamily="34" charset="0"/>
                        </a:rPr>
                        <a:t> resources)</a:t>
                      </a:r>
                    </a:p>
                  </a:txBody>
                  <a:tcPr marL="86172" marR="86172" marT="43086" marB="43086">
                    <a:solidFill>
                      <a:schemeClr val="accent1"/>
                    </a:solidFill>
                  </a:tcPr>
                </a:tc>
                <a:extLst>
                  <a:ext uri="{0D108BD9-81ED-4DB2-BD59-A6C34878D82A}">
                    <a16:rowId xmlns:a16="http://schemas.microsoft.com/office/drawing/2014/main" val="3157971493"/>
                  </a:ext>
                </a:extLst>
              </a:tr>
              <a:tr h="1438013">
                <a:tc>
                  <a:txBody>
                    <a:bodyPr/>
                    <a:lstStyle/>
                    <a:p>
                      <a:r>
                        <a:rPr lang="en-US" sz="2200" b="0" i="0" dirty="0">
                          <a:latin typeface="Segoe UI Semibold" panose="020B0702040204020203" pitchFamily="34" charset="0"/>
                          <a:cs typeface="Segoe UI Semibold" panose="020B0702040204020203" pitchFamily="34" charset="0"/>
                        </a:rPr>
                        <a:t>HD Insights</a:t>
                      </a:r>
                    </a:p>
                  </a:txBody>
                  <a:tcPr marL="86172" marR="86172" marT="43086" marB="43086"/>
                </a:tc>
                <a:tc>
                  <a:txBody>
                    <a:bodyPr/>
                    <a:lstStyle/>
                    <a:p>
                      <a:r>
                        <a:rPr lang="en-US" sz="2200" dirty="0"/>
                        <a:t>ARM</a:t>
                      </a:r>
                    </a:p>
                  </a:txBody>
                  <a:tcPr marL="86172" marR="86172" marT="43086" marB="43086"/>
                </a:tc>
                <a:tc>
                  <a:txBody>
                    <a:bodyPr/>
                    <a:lstStyle/>
                    <a:p>
                      <a:r>
                        <a:rPr lang="en-US" sz="2200" dirty="0"/>
                        <a:t>Both</a:t>
                      </a:r>
                    </a:p>
                  </a:txBody>
                  <a:tcPr marL="86172" marR="86172" marT="43086" marB="43086"/>
                </a:tc>
                <a:tc>
                  <a:txBody>
                    <a:bodyPr/>
                    <a:lstStyle/>
                    <a:p>
                      <a:pPr marL="0" marR="0" lvl="0" indent="0" algn="l" defTabSz="768113" rtl="0" eaLnBrk="1" fontAlgn="auto" latinLnBrk="0" hangingPunct="1">
                        <a:lnSpc>
                          <a:spcPct val="100000"/>
                        </a:lnSpc>
                        <a:spcBef>
                          <a:spcPts val="0"/>
                        </a:spcBef>
                        <a:spcAft>
                          <a:spcPts val="0"/>
                        </a:spcAft>
                        <a:buClrTx/>
                        <a:buSzTx/>
                        <a:buFontTx/>
                        <a:buNone/>
                        <a:tabLst/>
                        <a:defRPr/>
                      </a:pPr>
                      <a:r>
                        <a:rPr lang="en-US" sz="2200" dirty="0"/>
                        <a:t>S2S, P2S – Location Based </a:t>
                      </a:r>
                      <a:r>
                        <a:rPr lang="en-US" sz="2200" dirty="0" err="1"/>
                        <a:t>VNet</a:t>
                      </a:r>
                      <a:r>
                        <a:rPr lang="en-US" sz="2200" dirty="0"/>
                        <a:t> only, Classic </a:t>
                      </a:r>
                      <a:r>
                        <a:rPr lang="en-US" sz="2200" dirty="0" err="1"/>
                        <a:t>VNet</a:t>
                      </a:r>
                      <a:r>
                        <a:rPr lang="en-US" sz="2200" baseline="0" dirty="0"/>
                        <a:t> for Windows based clusters, ARM </a:t>
                      </a:r>
                      <a:r>
                        <a:rPr lang="en-US" sz="2200" baseline="0" dirty="0" err="1"/>
                        <a:t>VNet</a:t>
                      </a:r>
                      <a:r>
                        <a:rPr lang="en-US" sz="2200" baseline="0" dirty="0"/>
                        <a:t> for Linux-based clusters</a:t>
                      </a:r>
                      <a:endParaRPr lang="en-US" sz="2200" dirty="0"/>
                    </a:p>
                  </a:txBody>
                  <a:tcPr marL="86172" marR="86172" marT="43086" marB="43086"/>
                </a:tc>
                <a:extLst>
                  <a:ext uri="{0D108BD9-81ED-4DB2-BD59-A6C34878D82A}">
                    <a16:rowId xmlns:a16="http://schemas.microsoft.com/office/drawing/2014/main" val="4133688658"/>
                  </a:ext>
                </a:extLst>
              </a:tr>
              <a:tr h="430861">
                <a:tc>
                  <a:txBody>
                    <a:bodyPr/>
                    <a:lstStyle/>
                    <a:p>
                      <a:pPr lvl="0"/>
                      <a:r>
                        <a:rPr lang="en-US" sz="2200" b="0" i="0" dirty="0">
                          <a:latin typeface="Segoe UI Semibold" panose="020B0702040204020203" pitchFamily="34" charset="0"/>
                          <a:cs typeface="Segoe UI Semibold" panose="020B0702040204020203" pitchFamily="34" charset="0"/>
                        </a:rPr>
                        <a:t>Machine</a:t>
                      </a:r>
                      <a:r>
                        <a:rPr lang="en-US" sz="2200" b="0" i="0" baseline="0" dirty="0">
                          <a:latin typeface="Segoe UI Semibold" panose="020B0702040204020203" pitchFamily="34" charset="0"/>
                          <a:cs typeface="Segoe UI Semibold" panose="020B0702040204020203" pitchFamily="34" charset="0"/>
                        </a:rPr>
                        <a:t> Learning</a:t>
                      </a:r>
                      <a:endParaRPr lang="en-US" sz="2200" b="0" i="0" dirty="0">
                        <a:latin typeface="Segoe UI Semibold" panose="020B0702040204020203" pitchFamily="34" charset="0"/>
                        <a:cs typeface="Segoe UI Semibold" panose="020B0702040204020203" pitchFamily="34" charset="0"/>
                      </a:endParaRPr>
                    </a:p>
                  </a:txBody>
                  <a:tcPr marL="86172" marR="86172" marT="43086" marB="43086"/>
                </a:tc>
                <a:tc>
                  <a:txBody>
                    <a:bodyPr/>
                    <a:lstStyle/>
                    <a:p>
                      <a:r>
                        <a:rPr lang="en-US" sz="2200" dirty="0"/>
                        <a:t>ARM</a:t>
                      </a:r>
                    </a:p>
                  </a:txBody>
                  <a:tcPr marL="86172" marR="86172" marT="43086" marB="43086"/>
                </a:tc>
                <a:tc>
                  <a:txBody>
                    <a:bodyPr/>
                    <a:lstStyle/>
                    <a:p>
                      <a:r>
                        <a:rPr lang="en-US" sz="2200" dirty="0"/>
                        <a:t>Public</a:t>
                      </a:r>
                    </a:p>
                  </a:txBody>
                  <a:tcPr marL="86172" marR="86172" marT="43086" marB="43086"/>
                </a:tc>
                <a:tc>
                  <a:txBody>
                    <a:bodyPr/>
                    <a:lstStyle/>
                    <a:p>
                      <a:r>
                        <a:rPr lang="en-US" sz="2200" dirty="0"/>
                        <a:t>-</a:t>
                      </a:r>
                    </a:p>
                  </a:txBody>
                  <a:tcPr marL="86172" marR="86172" marT="43086" marB="43086"/>
                </a:tc>
                <a:extLst>
                  <a:ext uri="{0D108BD9-81ED-4DB2-BD59-A6C34878D82A}">
                    <a16:rowId xmlns:a16="http://schemas.microsoft.com/office/drawing/2014/main" val="1987288546"/>
                  </a:ext>
                </a:extLst>
              </a:tr>
              <a:tr h="430861">
                <a:tc>
                  <a:txBody>
                    <a:bodyPr/>
                    <a:lstStyle/>
                    <a:p>
                      <a:pPr lvl="0"/>
                      <a:r>
                        <a:rPr lang="en-US" sz="2200" b="0" i="0" dirty="0">
                          <a:latin typeface="Segoe UI Semibold" panose="020B0702040204020203" pitchFamily="34" charset="0"/>
                          <a:cs typeface="Segoe UI Semibold" panose="020B0702040204020203" pitchFamily="34" charset="0"/>
                        </a:rPr>
                        <a:t>Stream Analytics</a:t>
                      </a:r>
                    </a:p>
                  </a:txBody>
                  <a:tcPr marL="86172" marR="86172" marT="43086" marB="43086"/>
                </a:tc>
                <a:tc>
                  <a:txBody>
                    <a:bodyPr/>
                    <a:lstStyle/>
                    <a:p>
                      <a:r>
                        <a:rPr lang="en-US" sz="2200" dirty="0"/>
                        <a:t>ARM</a:t>
                      </a:r>
                    </a:p>
                  </a:txBody>
                  <a:tcPr marL="86172" marR="86172" marT="43086" marB="43086"/>
                </a:tc>
                <a:tc>
                  <a:txBody>
                    <a:bodyPr/>
                    <a:lstStyle/>
                    <a:p>
                      <a:r>
                        <a:rPr lang="en-US" sz="2200" dirty="0"/>
                        <a:t>Public</a:t>
                      </a:r>
                    </a:p>
                  </a:txBody>
                  <a:tcPr marL="86172" marR="86172" marT="43086" marB="43086"/>
                </a:tc>
                <a:tc>
                  <a:txBody>
                    <a:bodyPr/>
                    <a:lstStyle/>
                    <a:p>
                      <a:r>
                        <a:rPr lang="en-US" sz="2200" dirty="0"/>
                        <a:t>-</a:t>
                      </a:r>
                    </a:p>
                  </a:txBody>
                  <a:tcPr marL="86172" marR="86172" marT="43086" marB="43086"/>
                </a:tc>
                <a:extLst>
                  <a:ext uri="{0D108BD9-81ED-4DB2-BD59-A6C34878D82A}">
                    <a16:rowId xmlns:a16="http://schemas.microsoft.com/office/drawing/2014/main" val="3123354572"/>
                  </a:ext>
                </a:extLst>
              </a:tr>
              <a:tr h="430861">
                <a:tc>
                  <a:txBody>
                    <a:bodyPr/>
                    <a:lstStyle/>
                    <a:p>
                      <a:pPr lvl="0"/>
                      <a:r>
                        <a:rPr lang="en-US" sz="2200" b="0" i="0" dirty="0">
                          <a:latin typeface="Segoe UI Semibold" panose="020B0702040204020203" pitchFamily="34" charset="0"/>
                          <a:cs typeface="Segoe UI Semibold" panose="020B0702040204020203" pitchFamily="34" charset="0"/>
                        </a:rPr>
                        <a:t>Data Factory</a:t>
                      </a:r>
                    </a:p>
                  </a:txBody>
                  <a:tcPr marL="86172" marR="86172" marT="43086" marB="43086"/>
                </a:tc>
                <a:tc>
                  <a:txBody>
                    <a:bodyPr/>
                    <a:lstStyle/>
                    <a:p>
                      <a:r>
                        <a:rPr lang="en-US" sz="2200" dirty="0"/>
                        <a:t>ARM</a:t>
                      </a:r>
                    </a:p>
                  </a:txBody>
                  <a:tcPr marL="86172" marR="86172" marT="43086" marB="43086"/>
                </a:tc>
                <a:tc>
                  <a:txBody>
                    <a:bodyPr/>
                    <a:lstStyle/>
                    <a:p>
                      <a:r>
                        <a:rPr lang="en-US" sz="2200" dirty="0"/>
                        <a:t>Public</a:t>
                      </a:r>
                    </a:p>
                  </a:txBody>
                  <a:tcPr marL="86172" marR="86172" marT="43086" marB="43086"/>
                </a:tc>
                <a:tc>
                  <a:txBody>
                    <a:bodyPr/>
                    <a:lstStyle/>
                    <a:p>
                      <a:r>
                        <a:rPr lang="en-US" sz="2200" dirty="0"/>
                        <a:t>-</a:t>
                      </a:r>
                    </a:p>
                  </a:txBody>
                  <a:tcPr marL="86172" marR="86172" marT="43086" marB="43086"/>
                </a:tc>
                <a:extLst>
                  <a:ext uri="{0D108BD9-81ED-4DB2-BD59-A6C34878D82A}">
                    <a16:rowId xmlns:a16="http://schemas.microsoft.com/office/drawing/2014/main" val="2747725307"/>
                  </a:ext>
                </a:extLst>
              </a:tr>
              <a:tr h="430861">
                <a:tc>
                  <a:txBody>
                    <a:bodyPr/>
                    <a:lstStyle/>
                    <a:p>
                      <a:pPr lvl="0"/>
                      <a:r>
                        <a:rPr lang="en-US" sz="2200" b="0" i="0" dirty="0">
                          <a:latin typeface="Segoe UI Semibold" panose="020B0702040204020203" pitchFamily="34" charset="0"/>
                          <a:cs typeface="Segoe UI Semibold" panose="020B0702040204020203" pitchFamily="34" charset="0"/>
                        </a:rPr>
                        <a:t>Event Hubs</a:t>
                      </a:r>
                    </a:p>
                  </a:txBody>
                  <a:tcPr marL="86172" marR="86172" marT="43086" marB="43086"/>
                </a:tc>
                <a:tc>
                  <a:txBody>
                    <a:bodyPr/>
                    <a:lstStyle/>
                    <a:p>
                      <a:r>
                        <a:rPr lang="en-US" sz="2200" dirty="0"/>
                        <a:t>ASM/PS</a:t>
                      </a:r>
                    </a:p>
                  </a:txBody>
                  <a:tcPr marL="86172" marR="86172" marT="43086" marB="43086"/>
                </a:tc>
                <a:tc>
                  <a:txBody>
                    <a:bodyPr/>
                    <a:lstStyle/>
                    <a:p>
                      <a:r>
                        <a:rPr lang="en-US" sz="2200" dirty="0"/>
                        <a:t>Public</a:t>
                      </a:r>
                    </a:p>
                  </a:txBody>
                  <a:tcPr marL="86172" marR="86172" marT="43086" marB="43086"/>
                </a:tc>
                <a:tc>
                  <a:txBody>
                    <a:bodyPr/>
                    <a:lstStyle/>
                    <a:p>
                      <a:r>
                        <a:rPr lang="en-US" sz="2200" dirty="0"/>
                        <a:t>-</a:t>
                      </a:r>
                    </a:p>
                  </a:txBody>
                  <a:tcPr marL="86172" marR="86172" marT="43086" marB="43086"/>
                </a:tc>
                <a:extLst>
                  <a:ext uri="{0D108BD9-81ED-4DB2-BD59-A6C34878D82A}">
                    <a16:rowId xmlns:a16="http://schemas.microsoft.com/office/drawing/2014/main" val="4183746000"/>
                  </a:ext>
                </a:extLst>
              </a:tr>
              <a:tr h="775549">
                <a:tc>
                  <a:txBody>
                    <a:bodyPr/>
                    <a:lstStyle/>
                    <a:p>
                      <a:r>
                        <a:rPr lang="en-US" sz="2200" b="0" i="0" dirty="0">
                          <a:latin typeface="Segoe UI Semibold" panose="020B0702040204020203" pitchFamily="34" charset="0"/>
                          <a:cs typeface="Segoe UI Semibold" panose="020B0702040204020203" pitchFamily="34" charset="0"/>
                        </a:rPr>
                        <a:t>Mobile Engagement</a:t>
                      </a:r>
                    </a:p>
                  </a:txBody>
                  <a:tcPr marL="86172" marR="86172" marT="43086" marB="43086"/>
                </a:tc>
                <a:tc>
                  <a:txBody>
                    <a:bodyPr/>
                    <a:lstStyle/>
                    <a:p>
                      <a:r>
                        <a:rPr lang="en-US" sz="2200" dirty="0"/>
                        <a:t>REST</a:t>
                      </a:r>
                    </a:p>
                  </a:txBody>
                  <a:tcPr marL="86172" marR="86172" marT="43086" marB="43086"/>
                </a:tc>
                <a:tc>
                  <a:txBody>
                    <a:bodyPr/>
                    <a:lstStyle/>
                    <a:p>
                      <a:r>
                        <a:rPr lang="en-US" sz="2200" dirty="0"/>
                        <a:t>-</a:t>
                      </a:r>
                    </a:p>
                  </a:txBody>
                  <a:tcPr marL="86172" marR="86172" marT="43086" marB="43086"/>
                </a:tc>
                <a:tc>
                  <a:txBody>
                    <a:bodyPr/>
                    <a:lstStyle/>
                    <a:p>
                      <a:r>
                        <a:rPr lang="en-US" sz="2200" dirty="0"/>
                        <a:t>-</a:t>
                      </a:r>
                    </a:p>
                  </a:txBody>
                  <a:tcPr marL="86172" marR="86172" marT="43086" marB="43086"/>
                </a:tc>
                <a:extLst>
                  <a:ext uri="{0D108BD9-81ED-4DB2-BD59-A6C34878D82A}">
                    <a16:rowId xmlns:a16="http://schemas.microsoft.com/office/drawing/2014/main" val="1616361047"/>
                  </a:ext>
                </a:extLst>
              </a:tr>
            </a:tbl>
          </a:graphicData>
        </a:graphic>
      </p:graphicFrame>
    </p:spTree>
    <p:extLst>
      <p:ext uri="{BB962C8B-B14F-4D97-AF65-F5344CB8AC3E}">
        <p14:creationId xmlns:p14="http://schemas.microsoft.com/office/powerpoint/2010/main" val="343654062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9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Title 4"/>
          <p:cNvSpPr>
            <a:spLocks noGrp="1"/>
          </p:cNvSpPr>
          <p:nvPr>
            <p:ph type="title"/>
          </p:nvPr>
        </p:nvSpPr>
        <p:spPr>
          <a:xfrm>
            <a:off x="366169" y="295278"/>
            <a:ext cx="11702551" cy="917575"/>
          </a:xfrm>
        </p:spPr>
        <p:txBody>
          <a:bodyPr/>
          <a:lstStyle/>
          <a:p>
            <a:r>
              <a:rPr lang="en-US" dirty="0"/>
              <a:t>Analytics – Key quotas, limits</a:t>
            </a:r>
          </a:p>
        </p:txBody>
      </p:sp>
      <p:graphicFrame>
        <p:nvGraphicFramePr>
          <p:cNvPr id="6" name="Table 5"/>
          <p:cNvGraphicFramePr>
            <a:graphicFrameLocks noGrp="1"/>
          </p:cNvGraphicFramePr>
          <p:nvPr>
            <p:extLst/>
          </p:nvPr>
        </p:nvGraphicFramePr>
        <p:xfrm>
          <a:off x="547010" y="1494151"/>
          <a:ext cx="10971594" cy="4520878"/>
        </p:xfrm>
        <a:graphic>
          <a:graphicData uri="http://schemas.openxmlformats.org/drawingml/2006/table">
            <a:tbl>
              <a:tblPr firstRow="1" bandRow="1">
                <a:tableStyleId>{F2DE63D5-997A-4646-A377-4702673A728D}</a:tableStyleId>
              </a:tblPr>
              <a:tblGrid>
                <a:gridCol w="3068221">
                  <a:extLst>
                    <a:ext uri="{9D8B030D-6E8A-4147-A177-3AD203B41FA5}">
                      <a16:colId xmlns:a16="http://schemas.microsoft.com/office/drawing/2014/main" val="3323723136"/>
                    </a:ext>
                  </a:extLst>
                </a:gridCol>
                <a:gridCol w="3709586">
                  <a:extLst>
                    <a:ext uri="{9D8B030D-6E8A-4147-A177-3AD203B41FA5}">
                      <a16:colId xmlns:a16="http://schemas.microsoft.com/office/drawing/2014/main" val="3937888222"/>
                    </a:ext>
                  </a:extLst>
                </a:gridCol>
                <a:gridCol w="4193787">
                  <a:extLst>
                    <a:ext uri="{9D8B030D-6E8A-4147-A177-3AD203B41FA5}">
                      <a16:colId xmlns:a16="http://schemas.microsoft.com/office/drawing/2014/main" val="1410519535"/>
                    </a:ext>
                  </a:extLst>
                </a:gridCol>
              </a:tblGrid>
              <a:tr h="615324">
                <a:tc>
                  <a:txBody>
                    <a:bodyPr/>
                    <a:lstStyle/>
                    <a:p>
                      <a:r>
                        <a:rPr lang="en-US" sz="2200" b="0" i="0" dirty="0">
                          <a:latin typeface="Segoe UI Semibold" panose="020B0702040204020203" pitchFamily="34" charset="0"/>
                          <a:cs typeface="Segoe UI Semibold" panose="020B0702040204020203" pitchFamily="34" charset="0"/>
                        </a:rPr>
                        <a:t>Service name</a:t>
                      </a:r>
                    </a:p>
                  </a:txBody>
                  <a:tcPr marL="86072" marR="86072" marT="43036" marB="43036">
                    <a:solidFill>
                      <a:schemeClr val="accent1"/>
                    </a:solidFill>
                  </a:tcPr>
                </a:tc>
                <a:tc>
                  <a:txBody>
                    <a:bodyPr/>
                    <a:lstStyle/>
                    <a:p>
                      <a:r>
                        <a:rPr lang="en-US" sz="2200" b="0" i="0" dirty="0">
                          <a:latin typeface="Segoe UI Semibold" panose="020B0702040204020203" pitchFamily="34" charset="0"/>
                          <a:cs typeface="Segoe UI Semibold" panose="020B0702040204020203" pitchFamily="34" charset="0"/>
                        </a:rPr>
                        <a:t>Service level</a:t>
                      </a:r>
                    </a:p>
                  </a:txBody>
                  <a:tcPr marL="86072" marR="86072" marT="43036" marB="43036">
                    <a:solidFill>
                      <a:schemeClr val="accent1"/>
                    </a:solidFill>
                  </a:tcPr>
                </a:tc>
                <a:tc>
                  <a:txBody>
                    <a:bodyPr/>
                    <a:lstStyle/>
                    <a:p>
                      <a:r>
                        <a:rPr lang="en-US" sz="2200" b="0" i="0" dirty="0">
                          <a:latin typeface="Segoe UI Semibold" panose="020B0702040204020203" pitchFamily="34" charset="0"/>
                          <a:cs typeface="Segoe UI Semibold" panose="020B0702040204020203" pitchFamily="34" charset="0"/>
                        </a:rPr>
                        <a:t>Subscription</a:t>
                      </a:r>
                      <a:r>
                        <a:rPr lang="en-US" sz="2200" b="0" i="0" baseline="0" dirty="0">
                          <a:latin typeface="Segoe UI Semibold" panose="020B0702040204020203" pitchFamily="34" charset="0"/>
                          <a:cs typeface="Segoe UI Semibold" panose="020B0702040204020203" pitchFamily="34" charset="0"/>
                        </a:rPr>
                        <a:t> level</a:t>
                      </a:r>
                      <a:endParaRPr lang="en-US" sz="2200" b="0" i="0" dirty="0">
                        <a:latin typeface="Segoe UI Semibold" panose="020B0702040204020203" pitchFamily="34" charset="0"/>
                        <a:cs typeface="Segoe UI Semibold" panose="020B0702040204020203" pitchFamily="34" charset="0"/>
                      </a:endParaRPr>
                    </a:p>
                  </a:txBody>
                  <a:tcPr marL="86072" marR="86072" marT="43036" marB="43036">
                    <a:solidFill>
                      <a:schemeClr val="accent1"/>
                    </a:solidFill>
                  </a:tcPr>
                </a:tc>
                <a:extLst>
                  <a:ext uri="{0D108BD9-81ED-4DB2-BD59-A6C34878D82A}">
                    <a16:rowId xmlns:a16="http://schemas.microsoft.com/office/drawing/2014/main" val="3157971493"/>
                  </a:ext>
                </a:extLst>
              </a:tr>
              <a:tr h="430361">
                <a:tc>
                  <a:txBody>
                    <a:bodyPr/>
                    <a:lstStyle/>
                    <a:p>
                      <a:r>
                        <a:rPr lang="en-US" sz="2200" b="0" i="0" dirty="0">
                          <a:latin typeface="Segoe UI Semibold" panose="020B0702040204020203" pitchFamily="34" charset="0"/>
                          <a:cs typeface="Segoe UI Semibold" panose="020B0702040204020203" pitchFamily="34" charset="0"/>
                        </a:rPr>
                        <a:t>HD Insights</a:t>
                      </a:r>
                    </a:p>
                  </a:txBody>
                  <a:tcPr marL="86072" marR="86072" marT="43036" marB="43036"/>
                </a:tc>
                <a:tc>
                  <a:txBody>
                    <a:bodyPr/>
                    <a:lstStyle/>
                    <a:p>
                      <a:r>
                        <a:rPr lang="en-US" sz="2200" dirty="0"/>
                        <a:t>-</a:t>
                      </a:r>
                    </a:p>
                  </a:txBody>
                  <a:tcPr marL="86072" marR="86072" marT="43036" marB="43036"/>
                </a:tc>
                <a:tc>
                  <a:txBody>
                    <a:bodyPr/>
                    <a:lstStyle/>
                    <a:p>
                      <a:r>
                        <a:rPr lang="en-US" sz="2200" dirty="0"/>
                        <a:t>-</a:t>
                      </a:r>
                    </a:p>
                  </a:txBody>
                  <a:tcPr marL="86072" marR="86072" marT="43036" marB="43036"/>
                </a:tc>
                <a:extLst>
                  <a:ext uri="{0D108BD9-81ED-4DB2-BD59-A6C34878D82A}">
                    <a16:rowId xmlns:a16="http://schemas.microsoft.com/office/drawing/2014/main" val="4133688658"/>
                  </a:ext>
                </a:extLst>
              </a:tr>
              <a:tr h="430361">
                <a:tc>
                  <a:txBody>
                    <a:bodyPr/>
                    <a:lstStyle/>
                    <a:p>
                      <a:pPr lvl="0"/>
                      <a:r>
                        <a:rPr lang="en-US" sz="2200" b="0" i="0" dirty="0">
                          <a:latin typeface="Segoe UI Semibold" panose="020B0702040204020203" pitchFamily="34" charset="0"/>
                          <a:cs typeface="Segoe UI Semibold" panose="020B0702040204020203" pitchFamily="34" charset="0"/>
                        </a:rPr>
                        <a:t>Machine</a:t>
                      </a:r>
                      <a:r>
                        <a:rPr lang="en-US" sz="2200" b="0" i="0" baseline="0" dirty="0">
                          <a:latin typeface="Segoe UI Semibold" panose="020B0702040204020203" pitchFamily="34" charset="0"/>
                          <a:cs typeface="Segoe UI Semibold" panose="020B0702040204020203" pitchFamily="34" charset="0"/>
                        </a:rPr>
                        <a:t> Learning</a:t>
                      </a:r>
                      <a:endParaRPr lang="en-US" sz="2200" b="0" i="0" dirty="0">
                        <a:latin typeface="Segoe UI Semibold" panose="020B0702040204020203" pitchFamily="34" charset="0"/>
                        <a:cs typeface="Segoe UI Semibold" panose="020B0702040204020203" pitchFamily="34" charset="0"/>
                      </a:endParaRPr>
                    </a:p>
                  </a:txBody>
                  <a:tcPr marL="86072" marR="86072" marT="43036" marB="43036"/>
                </a:tc>
                <a:tc>
                  <a:txBody>
                    <a:bodyPr/>
                    <a:lstStyle/>
                    <a:p>
                      <a:r>
                        <a:rPr lang="en-US" sz="2200" dirty="0"/>
                        <a:t>-</a:t>
                      </a:r>
                    </a:p>
                  </a:txBody>
                  <a:tcPr marL="86072" marR="86072" marT="43036" marB="43036"/>
                </a:tc>
                <a:tc>
                  <a:txBody>
                    <a:bodyPr/>
                    <a:lstStyle/>
                    <a:p>
                      <a:r>
                        <a:rPr lang="en-US" sz="2200" dirty="0"/>
                        <a:t>-</a:t>
                      </a:r>
                    </a:p>
                  </a:txBody>
                  <a:tcPr marL="86072" marR="86072" marT="43036" marB="43036"/>
                </a:tc>
                <a:extLst>
                  <a:ext uri="{0D108BD9-81ED-4DB2-BD59-A6C34878D82A}">
                    <a16:rowId xmlns:a16="http://schemas.microsoft.com/office/drawing/2014/main" val="1987288546"/>
                  </a:ext>
                </a:extLst>
              </a:tr>
              <a:tr h="761208">
                <a:tc>
                  <a:txBody>
                    <a:bodyPr/>
                    <a:lstStyle/>
                    <a:p>
                      <a:pPr lvl="0"/>
                      <a:r>
                        <a:rPr lang="en-US" sz="2200" b="0" i="0" dirty="0">
                          <a:latin typeface="Segoe UI Semibold" panose="020B0702040204020203" pitchFamily="34" charset="0"/>
                          <a:cs typeface="Segoe UI Semibold" panose="020B0702040204020203" pitchFamily="34" charset="0"/>
                        </a:rPr>
                        <a:t>Stream Analytics</a:t>
                      </a:r>
                    </a:p>
                  </a:txBody>
                  <a:tcPr marL="86072" marR="86072" marT="43036" marB="43036"/>
                </a:tc>
                <a:tc>
                  <a:txBody>
                    <a:bodyPr/>
                    <a:lstStyle/>
                    <a:p>
                      <a:r>
                        <a:rPr lang="en-US" sz="2200" kern="1200" dirty="0">
                          <a:solidFill>
                            <a:schemeClr val="tx1"/>
                          </a:solidFill>
                          <a:latin typeface="+mn-lt"/>
                          <a:ea typeface="+mn-ea"/>
                          <a:cs typeface="+mn-cs"/>
                        </a:rPr>
                        <a:t>Max 60 inputs, 60 outputs, 60 functions per job</a:t>
                      </a:r>
                    </a:p>
                  </a:txBody>
                  <a:tcPr marL="86072" marR="86072" marT="43036" marB="43036"/>
                </a:tc>
                <a:tc>
                  <a:txBody>
                    <a:bodyPr/>
                    <a:lstStyle/>
                    <a:p>
                      <a:r>
                        <a:rPr lang="en-US" sz="2200" dirty="0"/>
                        <a:t>1500 jobs per subscription/region</a:t>
                      </a:r>
                    </a:p>
                  </a:txBody>
                  <a:tcPr marL="86072" marR="86072" marT="43036" marB="43036"/>
                </a:tc>
                <a:extLst>
                  <a:ext uri="{0D108BD9-81ED-4DB2-BD59-A6C34878D82A}">
                    <a16:rowId xmlns:a16="http://schemas.microsoft.com/office/drawing/2014/main" val="1094197510"/>
                  </a:ext>
                </a:extLst>
              </a:tr>
              <a:tr h="761208">
                <a:tc>
                  <a:txBody>
                    <a:bodyPr/>
                    <a:lstStyle/>
                    <a:p>
                      <a:pPr lvl="0"/>
                      <a:r>
                        <a:rPr lang="en-US" sz="2200" b="0" i="0" dirty="0">
                          <a:latin typeface="Segoe UI Semibold" panose="020B0702040204020203" pitchFamily="34" charset="0"/>
                          <a:cs typeface="Segoe UI Semibold" panose="020B0702040204020203" pitchFamily="34" charset="0"/>
                        </a:rPr>
                        <a:t>Data Factory</a:t>
                      </a:r>
                    </a:p>
                  </a:txBody>
                  <a:tcPr marL="86072" marR="86072" marT="43036" marB="43036"/>
                </a:tc>
                <a:tc>
                  <a:txBody>
                    <a:bodyPr/>
                    <a:lstStyle/>
                    <a:p>
                      <a:r>
                        <a:rPr lang="en-US" sz="2200" dirty="0"/>
                        <a:t>2500 pipelines within</a:t>
                      </a:r>
                      <a:r>
                        <a:rPr lang="en-US" sz="2200" baseline="0" dirty="0"/>
                        <a:t> factory</a:t>
                      </a:r>
                      <a:endParaRPr lang="en-US" sz="2200" dirty="0"/>
                    </a:p>
                  </a:txBody>
                  <a:tcPr marL="86072" marR="86072" marT="43036" marB="43036"/>
                </a:tc>
                <a:tc>
                  <a:txBody>
                    <a:bodyPr/>
                    <a:lstStyle/>
                    <a:p>
                      <a:r>
                        <a:rPr lang="en-US" sz="2200" dirty="0"/>
                        <a:t>50 factories/subscription</a:t>
                      </a:r>
                    </a:p>
                  </a:txBody>
                  <a:tcPr marL="86072" marR="86072" marT="43036" marB="43036"/>
                </a:tc>
                <a:extLst>
                  <a:ext uri="{0D108BD9-81ED-4DB2-BD59-A6C34878D82A}">
                    <a16:rowId xmlns:a16="http://schemas.microsoft.com/office/drawing/2014/main" val="2747725307"/>
                  </a:ext>
                </a:extLst>
              </a:tr>
              <a:tr h="761208">
                <a:tc>
                  <a:txBody>
                    <a:bodyPr/>
                    <a:lstStyle/>
                    <a:p>
                      <a:pPr lvl="0"/>
                      <a:r>
                        <a:rPr lang="en-US" sz="2200" b="0" i="0" dirty="0">
                          <a:latin typeface="Segoe UI Semibold" panose="020B0702040204020203" pitchFamily="34" charset="0"/>
                          <a:cs typeface="Segoe UI Semibold" panose="020B0702040204020203" pitchFamily="34" charset="0"/>
                        </a:rPr>
                        <a:t>Event Hubs</a:t>
                      </a:r>
                    </a:p>
                  </a:txBody>
                  <a:tcPr marL="86072" marR="86072" marT="43036" marB="43036"/>
                </a:tc>
                <a:tc>
                  <a:txBody>
                    <a:bodyPr/>
                    <a:lstStyle/>
                    <a:p>
                      <a:r>
                        <a:rPr lang="en-US" sz="2200" dirty="0"/>
                        <a:t>1-7</a:t>
                      </a:r>
                      <a:r>
                        <a:rPr lang="en-US" sz="2200" baseline="0" dirty="0"/>
                        <a:t> days retention, 256KB max event size</a:t>
                      </a:r>
                      <a:endParaRPr lang="en-US" sz="2200" dirty="0"/>
                    </a:p>
                  </a:txBody>
                  <a:tcPr marL="86072" marR="86072" marT="43036" marB="43036"/>
                </a:tc>
                <a:tc>
                  <a:txBody>
                    <a:bodyPr/>
                    <a:lstStyle/>
                    <a:p>
                      <a:r>
                        <a:rPr lang="en-US" sz="2200" dirty="0"/>
                        <a:t>10 Event Hubs/namespace</a:t>
                      </a:r>
                    </a:p>
                  </a:txBody>
                  <a:tcPr marL="86072" marR="86072" marT="43036" marB="43036"/>
                </a:tc>
                <a:extLst>
                  <a:ext uri="{0D108BD9-81ED-4DB2-BD59-A6C34878D82A}">
                    <a16:rowId xmlns:a16="http://schemas.microsoft.com/office/drawing/2014/main" val="4183746000"/>
                  </a:ext>
                </a:extLst>
              </a:tr>
              <a:tr h="761208">
                <a:tc>
                  <a:txBody>
                    <a:bodyPr/>
                    <a:lstStyle/>
                    <a:p>
                      <a:r>
                        <a:rPr lang="en-US" sz="2200" b="0" i="0" dirty="0">
                          <a:latin typeface="Segoe UI Semibold" panose="020B0702040204020203" pitchFamily="34" charset="0"/>
                          <a:cs typeface="Segoe UI Semibold" panose="020B0702040204020203" pitchFamily="34" charset="0"/>
                        </a:rPr>
                        <a:t>Mobile Engagement</a:t>
                      </a:r>
                    </a:p>
                  </a:txBody>
                  <a:tcPr marL="86072" marR="86072" marT="43036" marB="43036"/>
                </a:tc>
                <a:tc>
                  <a:txBody>
                    <a:bodyPr/>
                    <a:lstStyle/>
                    <a:p>
                      <a:r>
                        <a:rPr lang="en-US" sz="2200" dirty="0"/>
                        <a:t>50 active push campaigns/app</a:t>
                      </a:r>
                    </a:p>
                  </a:txBody>
                  <a:tcPr marL="86072" marR="86072" marT="43036" marB="43036"/>
                </a:tc>
                <a:tc>
                  <a:txBody>
                    <a:bodyPr/>
                    <a:lstStyle/>
                    <a:p>
                      <a:r>
                        <a:rPr lang="en-US" sz="2200" dirty="0"/>
                        <a:t>1000 total push campaigns/app</a:t>
                      </a:r>
                    </a:p>
                  </a:txBody>
                  <a:tcPr marL="86072" marR="86072" marT="43036" marB="43036"/>
                </a:tc>
                <a:extLst>
                  <a:ext uri="{0D108BD9-81ED-4DB2-BD59-A6C34878D82A}">
                    <a16:rowId xmlns:a16="http://schemas.microsoft.com/office/drawing/2014/main" val="1616361047"/>
                  </a:ext>
                </a:extLst>
              </a:tr>
            </a:tbl>
          </a:graphicData>
        </a:graphic>
      </p:graphicFrame>
    </p:spTree>
    <p:extLst>
      <p:ext uri="{BB962C8B-B14F-4D97-AF65-F5344CB8AC3E}">
        <p14:creationId xmlns:p14="http://schemas.microsoft.com/office/powerpoint/2010/main" val="98135274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showMasterSp="0">
  <p:cSld>
    <p:bg>
      <p:bgPr>
        <a:solidFill>
          <a:schemeClr val="tx1"/>
        </a:solidFill>
        <a:effectLst/>
      </p:bgPr>
    </p:bg>
    <p:spTree>
      <p:nvGrpSpPr>
        <p:cNvPr id="1" name=""/>
        <p:cNvGrpSpPr/>
        <p:nvPr/>
      </p:nvGrpSpPr>
      <p:grpSpPr>
        <a:xfrm>
          <a:off x="0" y="0"/>
          <a:ext cx="0" cy="0"/>
          <a:chOff x="0" y="0"/>
          <a:chExt cx="0" cy="0"/>
        </a:xfrm>
      </p:grpSpPr>
      <p:sp>
        <p:nvSpPr>
          <p:cNvPr id="9" name="Title 3">
            <a:extLst>
              <a:ext uri="{FF2B5EF4-FFF2-40B4-BE49-F238E27FC236}">
                <a16:creationId xmlns:a16="http://schemas.microsoft.com/office/drawing/2014/main" id="{32A657E7-C6D5-4FFF-9845-9583E5395C0E}"/>
              </a:ext>
            </a:extLst>
          </p:cNvPr>
          <p:cNvSpPr txBox="1">
            <a:spLocks/>
          </p:cNvSpPr>
          <p:nvPr/>
        </p:nvSpPr>
        <p:spPr>
          <a:xfrm>
            <a:off x="445477" y="127366"/>
            <a:ext cx="11702551" cy="917575"/>
          </a:xfrm>
          <a:prstGeom prst="rect">
            <a:avLst/>
          </a:prstGeom>
        </p:spPr>
        <p:txBody>
          <a:bodyPr vert="horz" wrap="square" lIns="146304" tIns="91440" rIns="146304" bIns="91440" rtlCol="0" anchor="t">
            <a:noAutofit/>
          </a:bodyPr>
          <a:lstStyle>
            <a:lvl1pPr algn="l" defTabSz="932594" rtl="0" eaLnBrk="1" latinLnBrk="0" hangingPunct="1">
              <a:lnSpc>
                <a:spcPct val="90000"/>
              </a:lnSpc>
              <a:spcBef>
                <a:spcPct val="0"/>
              </a:spcBef>
              <a:buNone/>
              <a:defRPr lang="en-US" sz="4800" b="0" kern="1200" cap="none" spc="-101" baseline="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594" rtl="0" eaLnBrk="1" fontAlgn="auto" latinLnBrk="0" hangingPunct="1">
              <a:lnSpc>
                <a:spcPct val="90000"/>
              </a:lnSpc>
              <a:spcBef>
                <a:spcPct val="0"/>
              </a:spcBef>
              <a:spcAft>
                <a:spcPts val="0"/>
              </a:spcAft>
              <a:buClrTx/>
              <a:buSzTx/>
              <a:buFontTx/>
              <a:buNone/>
              <a:tabLst/>
              <a:defRPr/>
            </a:pPr>
            <a:r>
              <a:rPr kumimoji="0" lang="en-US" sz="4799" b="0" i="0" u="none" strike="noStrike" kern="1200" cap="none" spc="-101" normalizeH="0" baseline="0" noProof="0" dirty="0">
                <a:ln w="3175">
                  <a:noFill/>
                </a:ln>
                <a:solidFill>
                  <a:srgbClr val="505050"/>
                </a:solidFill>
                <a:effectLst/>
                <a:uLnTx/>
                <a:uFillTx/>
                <a:latin typeface="Segoe UI Light"/>
                <a:ea typeface="+mn-ea"/>
                <a:cs typeface="Segoe UI" pitchFamily="34" charset="0"/>
              </a:rPr>
              <a:t>PaaS Menu </a:t>
            </a:r>
            <a:r>
              <a:rPr kumimoji="0" lang="en-US" sz="3200" b="1" i="0" u="none" strike="noStrike" kern="1200" cap="none" spc="-101" normalizeH="0" baseline="0" noProof="0" dirty="0">
                <a:ln w="3175">
                  <a:noFill/>
                </a:ln>
                <a:solidFill>
                  <a:schemeClr val="accent1"/>
                </a:solidFill>
                <a:effectLst/>
                <a:uLnTx/>
                <a:uFillTx/>
                <a:latin typeface="Segoe UI Light"/>
                <a:ea typeface="+mn-ea"/>
                <a:cs typeface="Segoe UI" pitchFamily="34" charset="0"/>
              </a:rPr>
              <a:t>Blue</a:t>
            </a:r>
            <a:r>
              <a:rPr kumimoji="0" lang="en-US" sz="3200" b="0" i="0" u="none" strike="noStrike" kern="1200" cap="none" spc="-101" normalizeH="0" baseline="0" noProof="0" dirty="0">
                <a:ln w="3175">
                  <a:noFill/>
                </a:ln>
                <a:solidFill>
                  <a:srgbClr val="505050"/>
                </a:solidFill>
                <a:effectLst/>
                <a:uLnTx/>
                <a:uFillTx/>
                <a:latin typeface="Segoe UI Light"/>
                <a:ea typeface="+mn-ea"/>
                <a:cs typeface="Segoe UI" pitchFamily="34" charset="0"/>
              </a:rPr>
              <a:t> Core, </a:t>
            </a:r>
            <a:r>
              <a:rPr kumimoji="0" lang="en-US" sz="3200" b="0" i="1" u="none" strike="noStrike" kern="1200" cap="none" spc="-101" normalizeH="0" baseline="0" noProof="0" dirty="0">
                <a:ln w="3175">
                  <a:noFill/>
                </a:ln>
                <a:solidFill>
                  <a:srgbClr val="505050"/>
                </a:solidFill>
                <a:effectLst/>
                <a:uLnTx/>
                <a:uFillTx/>
                <a:latin typeface="Segoe UI Light"/>
                <a:ea typeface="+mn-ea"/>
                <a:cs typeface="Segoe UI" pitchFamily="34" charset="0"/>
              </a:rPr>
              <a:t>Grey optional</a:t>
            </a:r>
            <a:endParaRPr kumimoji="0" lang="en-US" sz="4799" b="0" i="1" u="none" strike="noStrike" kern="1200" cap="none" spc="-101" normalizeH="0" baseline="0" noProof="0" dirty="0">
              <a:ln w="3175">
                <a:noFill/>
              </a:ln>
              <a:solidFill>
                <a:srgbClr val="505050"/>
              </a:solidFill>
              <a:effectLst/>
              <a:uLnTx/>
              <a:uFillTx/>
              <a:latin typeface="Segoe UI Light"/>
              <a:ea typeface="+mn-ea"/>
              <a:cs typeface="Segoe UI" pitchFamily="34" charset="0"/>
            </a:endParaRPr>
          </a:p>
        </p:txBody>
      </p:sp>
      <mc:AlternateContent xmlns:mc="http://schemas.openxmlformats.org/markup-compatibility/2006">
        <mc:Choice xmlns:psuz="http://schemas.microsoft.com/office/powerpoint/2016/summaryzoom" Requires="psuz">
          <p:graphicFrame>
            <p:nvGraphicFramePr>
              <p:cNvPr id="5" name="Summary Zoom 4">
                <a:extLst>
                  <a:ext uri="{FF2B5EF4-FFF2-40B4-BE49-F238E27FC236}">
                    <a16:creationId xmlns:a16="http://schemas.microsoft.com/office/drawing/2014/main" id="{44672DBE-90CB-49E7-956A-34376FD284DC}"/>
                  </a:ext>
                </a:extLst>
              </p:cNvPr>
              <p:cNvGraphicFramePr>
                <a:graphicFrameLocks noChangeAspect="1"/>
              </p:cNvGraphicFramePr>
              <p:nvPr>
                <p:extLst>
                  <p:ext uri="{D42A27DB-BD31-4B8C-83A1-F6EECF244321}">
                    <p14:modId xmlns:p14="http://schemas.microsoft.com/office/powerpoint/2010/main" val="2659775112"/>
                  </p:ext>
                </p:extLst>
              </p:nvPr>
            </p:nvGraphicFramePr>
            <p:xfrm>
              <a:off x="445477" y="984738"/>
              <a:ext cx="11426092" cy="6009787"/>
            </p:xfrm>
            <a:graphic>
              <a:graphicData uri="http://schemas.microsoft.com/office/powerpoint/2016/summaryzoom">
                <psuz:summaryZm>
                  <psuz:summaryZmObj sectionId="{112A0E33-DE47-49FB-99EF-74B1E45FA0E4}">
                    <psuz:zmPr id="{C0A60C18-167B-40F5-BB06-D6AF7679A242}" transitionDur="1000">
                      <p166:blipFill xmlns:p166="http://schemas.microsoft.com/office/powerpoint/2016/6/main">
                        <a:blip r:embed="rId3"/>
                        <a:stretch>
                          <a:fillRect/>
                        </a:stretch>
                      </p166:blipFill>
                      <p166:spPr xmlns:p166="http://schemas.microsoft.com/office/powerpoint/2016/6/main">
                        <a:xfrm>
                          <a:off x="760917" y="156257"/>
                          <a:ext cx="1923158" cy="1081761"/>
                        </a:xfrm>
                        <a:prstGeom prst="rect">
                          <a:avLst/>
                        </a:prstGeom>
                        <a:ln w="3175">
                          <a:solidFill>
                            <a:prstClr val="ltGray"/>
                          </a:solidFill>
                        </a:ln>
                      </p166:spPr>
                    </psuz:zmPr>
                  </psuz:summaryZmObj>
                  <psuz:summaryZmObj sectionId="{6BD07EB8-8F1F-4954-B6B7-F149B833918F}">
                    <psuz:zmPr id="{CA1825A9-C297-40F6-86A4-7ED3174B6F10}" transitionDur="1000">
                      <p166:blipFill xmlns:p166="http://schemas.microsoft.com/office/powerpoint/2016/6/main">
                        <a:blip r:embed="rId4"/>
                        <a:stretch>
                          <a:fillRect/>
                        </a:stretch>
                      </p166:blipFill>
                      <p166:spPr xmlns:p166="http://schemas.microsoft.com/office/powerpoint/2016/6/main">
                        <a:xfrm>
                          <a:off x="2756192" y="156257"/>
                          <a:ext cx="1923158" cy="1081761"/>
                        </a:xfrm>
                        <a:prstGeom prst="rect">
                          <a:avLst/>
                        </a:prstGeom>
                        <a:ln w="3175">
                          <a:solidFill>
                            <a:prstClr val="ltGray"/>
                          </a:solidFill>
                        </a:ln>
                      </p166:spPr>
                    </psuz:zmPr>
                  </psuz:summaryZmObj>
                  <psuz:summaryZmObj sectionId="{0EC2D5CE-F725-44B1-BA1D-33FDA7D5DA90}">
                    <psuz:zmPr id="{C1D70FA3-508E-41B3-8802-DF9791DE2D57}" transitionDur="1000">
                      <p166:blipFill xmlns:p166="http://schemas.microsoft.com/office/powerpoint/2016/6/main">
                        <a:blip r:embed="rId5"/>
                        <a:stretch>
                          <a:fillRect/>
                        </a:stretch>
                      </p166:blipFill>
                      <p166:spPr xmlns:p166="http://schemas.microsoft.com/office/powerpoint/2016/6/main">
                        <a:xfrm>
                          <a:off x="4751467" y="156257"/>
                          <a:ext cx="1923158" cy="1081761"/>
                        </a:xfrm>
                        <a:prstGeom prst="rect">
                          <a:avLst/>
                        </a:prstGeom>
                        <a:ln w="3175">
                          <a:solidFill>
                            <a:prstClr val="ltGray"/>
                          </a:solidFill>
                        </a:ln>
                      </p166:spPr>
                    </psuz:zmPr>
                  </psuz:summaryZmObj>
                  <psuz:summaryZmObj sectionId="{008F1E41-9C16-4740-97A9-67A3E998BDD7}">
                    <psuz:zmPr id="{EAAE6D0B-00C4-4077-9ABF-72624B7541DC}" transitionDur="1000">
                      <p166:blipFill xmlns:p166="http://schemas.microsoft.com/office/powerpoint/2016/6/main">
                        <a:blip r:embed="rId6"/>
                        <a:stretch>
                          <a:fillRect/>
                        </a:stretch>
                      </p166:blipFill>
                      <p166:spPr xmlns:p166="http://schemas.microsoft.com/office/powerpoint/2016/6/main">
                        <a:xfrm>
                          <a:off x="6746742" y="156257"/>
                          <a:ext cx="1923158" cy="1081761"/>
                        </a:xfrm>
                        <a:prstGeom prst="rect">
                          <a:avLst/>
                        </a:prstGeom>
                        <a:ln w="3175">
                          <a:solidFill>
                            <a:prstClr val="ltGray"/>
                          </a:solidFill>
                        </a:ln>
                      </p166:spPr>
                    </psuz:zmPr>
                  </psuz:summaryZmObj>
                  <psuz:summaryZmObj sectionId="{019CC40A-D8EC-4CEA-9455-35585C56104C}">
                    <psuz:zmPr id="{29ED1EE2-4FC9-4E2C-A12E-175B858A4575}" transitionDur="1000">
                      <p166:blipFill xmlns:p166="http://schemas.microsoft.com/office/powerpoint/2016/6/main">
                        <a:blip r:embed="rId7"/>
                        <a:stretch>
                          <a:fillRect/>
                        </a:stretch>
                      </p166:blipFill>
                      <p166:spPr xmlns:p166="http://schemas.microsoft.com/office/powerpoint/2016/6/main">
                        <a:xfrm>
                          <a:off x="8742017" y="156257"/>
                          <a:ext cx="1923158" cy="1081761"/>
                        </a:xfrm>
                        <a:prstGeom prst="rect">
                          <a:avLst/>
                        </a:prstGeom>
                        <a:ln w="3175">
                          <a:solidFill>
                            <a:prstClr val="ltGray"/>
                          </a:solidFill>
                        </a:ln>
                      </p166:spPr>
                    </psuz:zmPr>
                  </psuz:summaryZmObj>
                  <psuz:summaryZmObj sectionId="{567D9A8F-5E21-4E24-9ED2-92DBB4082C2F}">
                    <psuz:zmPr id="{88B8BC57-2513-412D-AC98-5825FC8CAB5D}" transitionDur="1000">
                      <p166:blipFill xmlns:p166="http://schemas.microsoft.com/office/powerpoint/2016/6/main">
                        <a:blip r:embed="rId8"/>
                        <a:stretch>
                          <a:fillRect/>
                        </a:stretch>
                      </p166:blipFill>
                      <p166:spPr xmlns:p166="http://schemas.microsoft.com/office/powerpoint/2016/6/main">
                        <a:xfrm>
                          <a:off x="760917" y="1310135"/>
                          <a:ext cx="1923158" cy="1081761"/>
                        </a:xfrm>
                        <a:prstGeom prst="rect">
                          <a:avLst/>
                        </a:prstGeom>
                        <a:ln w="3175">
                          <a:solidFill>
                            <a:prstClr val="ltGray"/>
                          </a:solidFill>
                        </a:ln>
                      </p166:spPr>
                    </psuz:zmPr>
                  </psuz:summaryZmObj>
                  <psuz:summaryZmObj sectionId="{C8920DA7-5933-47E3-BD7B-C0B63AA4AF10}">
                    <psuz:zmPr id="{199B08EF-CAF0-4A55-987E-A2E3FF231AF4}" transitionDur="1000">
                      <p166:blipFill xmlns:p166="http://schemas.microsoft.com/office/powerpoint/2016/6/main">
                        <a:blip r:embed="rId9"/>
                        <a:stretch>
                          <a:fillRect/>
                        </a:stretch>
                      </p166:blipFill>
                      <p166:spPr xmlns:p166="http://schemas.microsoft.com/office/powerpoint/2016/6/main">
                        <a:xfrm>
                          <a:off x="2756192" y="1310135"/>
                          <a:ext cx="1923158" cy="1081761"/>
                        </a:xfrm>
                        <a:prstGeom prst="rect">
                          <a:avLst/>
                        </a:prstGeom>
                        <a:ln w="3175">
                          <a:solidFill>
                            <a:prstClr val="ltGray"/>
                          </a:solidFill>
                        </a:ln>
                      </p166:spPr>
                    </psuz:zmPr>
                  </psuz:summaryZmObj>
                  <psuz:summaryZmObj sectionId="{5BCCC7CE-FAD6-4D0C-8BD7-E5DAC25E30E9}">
                    <psuz:zmPr id="{36FE1AE7-3E3C-43C5-9218-F04A00BE9B74}" transitionDur="1000">
                      <p166:blipFill xmlns:p166="http://schemas.microsoft.com/office/powerpoint/2016/6/main">
                        <a:blip r:embed="rId10"/>
                        <a:stretch>
                          <a:fillRect/>
                        </a:stretch>
                      </p166:blipFill>
                      <p166:spPr xmlns:p166="http://schemas.microsoft.com/office/powerpoint/2016/6/main">
                        <a:xfrm>
                          <a:off x="4751467" y="1310135"/>
                          <a:ext cx="1923158" cy="1081761"/>
                        </a:xfrm>
                        <a:prstGeom prst="rect">
                          <a:avLst/>
                        </a:prstGeom>
                        <a:ln w="3175">
                          <a:solidFill>
                            <a:prstClr val="ltGray"/>
                          </a:solidFill>
                        </a:ln>
                      </p166:spPr>
                    </psuz:zmPr>
                  </psuz:summaryZmObj>
                  <psuz:summaryZmObj sectionId="{2F5DBA78-903E-48D8-BCF2-9869598B8E8E}">
                    <psuz:zmPr id="{A44A2803-DF3D-41BB-BDE7-FD9F30F3856E}" transitionDur="1000">
                      <p166:blipFill xmlns:p166="http://schemas.microsoft.com/office/powerpoint/2016/6/main">
                        <a:blip r:embed="rId11"/>
                        <a:stretch>
                          <a:fillRect/>
                        </a:stretch>
                      </p166:blipFill>
                      <p166:spPr xmlns:p166="http://schemas.microsoft.com/office/powerpoint/2016/6/main">
                        <a:xfrm>
                          <a:off x="6746742" y="1310135"/>
                          <a:ext cx="1923158" cy="1081761"/>
                        </a:xfrm>
                        <a:prstGeom prst="rect">
                          <a:avLst/>
                        </a:prstGeom>
                        <a:ln w="3175">
                          <a:solidFill>
                            <a:prstClr val="ltGray"/>
                          </a:solidFill>
                        </a:ln>
                      </p166:spPr>
                    </psuz:zmPr>
                  </psuz:summaryZmObj>
                  <psuz:summaryZmObj sectionId="{B4808352-554A-4816-85EC-CB01AFB7FD64}">
                    <psuz:zmPr id="{52EEF29F-23F6-46FD-94E5-CEB3CB03F1F6}" transitionDur="1000">
                      <p166:blipFill xmlns:p166="http://schemas.microsoft.com/office/powerpoint/2016/6/main">
                        <a:blip r:embed="rId12"/>
                        <a:stretch>
                          <a:fillRect/>
                        </a:stretch>
                      </p166:blipFill>
                      <p166:spPr xmlns:p166="http://schemas.microsoft.com/office/powerpoint/2016/6/main">
                        <a:xfrm>
                          <a:off x="8742017" y="1310135"/>
                          <a:ext cx="1923158" cy="1081761"/>
                        </a:xfrm>
                        <a:prstGeom prst="rect">
                          <a:avLst/>
                        </a:prstGeom>
                        <a:ln w="3175">
                          <a:solidFill>
                            <a:prstClr val="ltGray"/>
                          </a:solidFill>
                        </a:ln>
                      </p166:spPr>
                    </psuz:zmPr>
                  </psuz:summaryZmObj>
                  <psuz:summaryZmObj sectionId="{5ED17204-55DE-4F1A-9F05-861A7DF0BD35}">
                    <psuz:zmPr id="{9084BCEC-0F6B-4185-AF64-F54898E3E206}" transitionDur="1000">
                      <p166:blipFill xmlns:p166="http://schemas.microsoft.com/office/powerpoint/2016/6/main">
                        <a:blip r:embed="rId13"/>
                        <a:stretch>
                          <a:fillRect/>
                        </a:stretch>
                      </p166:blipFill>
                      <p166:spPr xmlns:p166="http://schemas.microsoft.com/office/powerpoint/2016/6/main">
                        <a:xfrm>
                          <a:off x="760917" y="2464013"/>
                          <a:ext cx="1923158" cy="1081761"/>
                        </a:xfrm>
                        <a:prstGeom prst="rect">
                          <a:avLst/>
                        </a:prstGeom>
                        <a:ln w="3175">
                          <a:solidFill>
                            <a:prstClr val="ltGray"/>
                          </a:solidFill>
                        </a:ln>
                      </p166:spPr>
                    </psuz:zmPr>
                  </psuz:summaryZmObj>
                  <psuz:summaryZmObj sectionId="{9FD7B033-4BB0-4143-99D7-486A8522CB28}">
                    <psuz:zmPr id="{6416AAAA-BA77-4756-A393-489B4145FCB9}" transitionDur="1000">
                      <p166:blipFill xmlns:p166="http://schemas.microsoft.com/office/powerpoint/2016/6/main">
                        <a:blip r:embed="rId14"/>
                        <a:stretch>
                          <a:fillRect/>
                        </a:stretch>
                      </p166:blipFill>
                      <p166:spPr xmlns:p166="http://schemas.microsoft.com/office/powerpoint/2016/6/main">
                        <a:xfrm>
                          <a:off x="2756192" y="2464013"/>
                          <a:ext cx="1923158" cy="1081761"/>
                        </a:xfrm>
                        <a:prstGeom prst="rect">
                          <a:avLst/>
                        </a:prstGeom>
                        <a:ln w="3175">
                          <a:solidFill>
                            <a:prstClr val="ltGray"/>
                          </a:solidFill>
                        </a:ln>
                      </p166:spPr>
                    </psuz:zmPr>
                  </psuz:summaryZmObj>
                  <psuz:summaryZmObj sectionId="{5582730D-BD27-4C70-BFA7-7A3DCFC9211A}">
                    <psuz:zmPr id="{038BB236-3635-424E-A0B3-BD586755E0AC}" transitionDur="1000">
                      <p166:blipFill xmlns:p166="http://schemas.microsoft.com/office/powerpoint/2016/6/main">
                        <a:blip r:embed="rId15"/>
                        <a:stretch>
                          <a:fillRect/>
                        </a:stretch>
                      </p166:blipFill>
                      <p166:spPr xmlns:p166="http://schemas.microsoft.com/office/powerpoint/2016/6/main">
                        <a:xfrm>
                          <a:off x="4751467" y="2464013"/>
                          <a:ext cx="1923158" cy="1081761"/>
                        </a:xfrm>
                        <a:prstGeom prst="rect">
                          <a:avLst/>
                        </a:prstGeom>
                        <a:ln w="3175">
                          <a:solidFill>
                            <a:prstClr val="ltGray"/>
                          </a:solidFill>
                        </a:ln>
                      </p166:spPr>
                    </psuz:zmPr>
                  </psuz:summaryZmObj>
                  <psuz:summaryZmObj sectionId="{1778A4A5-B1FA-4792-A71A-F3D2DDC1CAD9}">
                    <psuz:zmPr id="{C2E82059-64D9-46AD-AA3B-3327276ADE59}" transitionDur="1000">
                      <p166:blipFill xmlns:p166="http://schemas.microsoft.com/office/powerpoint/2016/6/main">
                        <a:blip r:embed="rId16"/>
                        <a:stretch>
                          <a:fillRect/>
                        </a:stretch>
                      </p166:blipFill>
                      <p166:spPr xmlns:p166="http://schemas.microsoft.com/office/powerpoint/2016/6/main">
                        <a:xfrm>
                          <a:off x="6746742" y="2464013"/>
                          <a:ext cx="1923158" cy="1081761"/>
                        </a:xfrm>
                        <a:prstGeom prst="rect">
                          <a:avLst/>
                        </a:prstGeom>
                        <a:ln w="3175">
                          <a:solidFill>
                            <a:prstClr val="ltGray"/>
                          </a:solidFill>
                        </a:ln>
                      </p166:spPr>
                    </psuz:zmPr>
                  </psuz:summaryZmObj>
                  <psuz:summaryZmObj sectionId="{9B3E75E7-AB5C-4C71-B165-3F563838B248}">
                    <psuz:zmPr id="{67EE8349-5933-43E3-B4DA-F12C5E6D0D7E}" transitionDur="1000">
                      <p166:blipFill xmlns:p166="http://schemas.microsoft.com/office/powerpoint/2016/6/main">
                        <a:blip r:embed="rId17"/>
                        <a:stretch>
                          <a:fillRect/>
                        </a:stretch>
                      </p166:blipFill>
                      <p166:spPr xmlns:p166="http://schemas.microsoft.com/office/powerpoint/2016/6/main">
                        <a:xfrm>
                          <a:off x="8742017" y="2464013"/>
                          <a:ext cx="1923158" cy="1081761"/>
                        </a:xfrm>
                        <a:prstGeom prst="rect">
                          <a:avLst/>
                        </a:prstGeom>
                        <a:ln w="3175">
                          <a:solidFill>
                            <a:prstClr val="ltGray"/>
                          </a:solidFill>
                        </a:ln>
                      </p166:spPr>
                    </psuz:zmPr>
                  </psuz:summaryZmObj>
                  <psuz:summaryZmObj sectionId="{A12D195D-E5C4-4027-8896-8110F5D04CFB}">
                    <psuz:zmPr id="{95AA28EB-B30E-4EAE-A8CB-1B6A4F49B87E}" transitionDur="1000">
                      <p166:blipFill xmlns:p166="http://schemas.microsoft.com/office/powerpoint/2016/6/main">
                        <a:blip r:embed="rId18"/>
                        <a:stretch>
                          <a:fillRect/>
                        </a:stretch>
                      </p166:blipFill>
                      <p166:spPr xmlns:p166="http://schemas.microsoft.com/office/powerpoint/2016/6/main">
                        <a:xfrm>
                          <a:off x="760917" y="3617891"/>
                          <a:ext cx="1923158" cy="1081761"/>
                        </a:xfrm>
                        <a:prstGeom prst="rect">
                          <a:avLst/>
                        </a:prstGeom>
                        <a:ln w="3175">
                          <a:solidFill>
                            <a:prstClr val="ltGray"/>
                          </a:solidFill>
                        </a:ln>
                      </p166:spPr>
                    </psuz:zmPr>
                  </psuz:summaryZmObj>
                  <psuz:summaryZmObj sectionId="{6AE18490-1A91-441A-A355-E3CBAB24096C}">
                    <psuz:zmPr id="{591C72D2-BF42-44BF-9ABD-0430FCCE8CDA}" transitionDur="1000">
                      <p166:blipFill xmlns:p166="http://schemas.microsoft.com/office/powerpoint/2016/6/main">
                        <a:blip r:embed="rId19"/>
                        <a:stretch>
                          <a:fillRect/>
                        </a:stretch>
                      </p166:blipFill>
                      <p166:spPr xmlns:p166="http://schemas.microsoft.com/office/powerpoint/2016/6/main">
                        <a:xfrm>
                          <a:off x="2756192" y="3617891"/>
                          <a:ext cx="1923158" cy="1081761"/>
                        </a:xfrm>
                        <a:prstGeom prst="rect">
                          <a:avLst/>
                        </a:prstGeom>
                        <a:ln w="3175">
                          <a:solidFill>
                            <a:prstClr val="ltGray"/>
                          </a:solidFill>
                        </a:ln>
                      </p166:spPr>
                    </psuz:zmPr>
                  </psuz:summaryZmObj>
                  <psuz:summaryZmObj sectionId="{A0CE8758-2A69-45AB-B1A4-9CC1DE8425E3}">
                    <psuz:zmPr id="{2DD93534-5EE0-4EA6-9401-F012C80002AC}" transitionDur="1000">
                      <p166:blipFill xmlns:p166="http://schemas.microsoft.com/office/powerpoint/2016/6/main">
                        <a:blip r:embed="rId20"/>
                        <a:stretch>
                          <a:fillRect/>
                        </a:stretch>
                      </p166:blipFill>
                      <p166:spPr xmlns:p166="http://schemas.microsoft.com/office/powerpoint/2016/6/main">
                        <a:xfrm>
                          <a:off x="4751467" y="3617891"/>
                          <a:ext cx="1923158" cy="1081761"/>
                        </a:xfrm>
                        <a:prstGeom prst="rect">
                          <a:avLst/>
                        </a:prstGeom>
                        <a:ln w="3175">
                          <a:solidFill>
                            <a:prstClr val="ltGray"/>
                          </a:solidFill>
                        </a:ln>
                      </p166:spPr>
                    </psuz:zmPr>
                  </psuz:summaryZmObj>
                  <psuz:summaryZmObj sectionId="{A8E04229-A301-4841-910A-860B6D2572DE}">
                    <psuz:zmPr id="{A13AE4F8-8E2B-4105-B9AE-E823F24BAF4B}" transitionDur="1000">
                      <p166:blipFill xmlns:p166="http://schemas.microsoft.com/office/powerpoint/2016/6/main">
                        <a:blip r:embed="rId21"/>
                        <a:stretch>
                          <a:fillRect/>
                        </a:stretch>
                      </p166:blipFill>
                      <p166:spPr xmlns:p166="http://schemas.microsoft.com/office/powerpoint/2016/6/main">
                        <a:xfrm>
                          <a:off x="6746742" y="3617891"/>
                          <a:ext cx="1923158" cy="1081761"/>
                        </a:xfrm>
                        <a:prstGeom prst="rect">
                          <a:avLst/>
                        </a:prstGeom>
                        <a:ln w="3175">
                          <a:solidFill>
                            <a:prstClr val="ltGray"/>
                          </a:solidFill>
                        </a:ln>
                      </p166:spPr>
                    </psuz:zmPr>
                  </psuz:summaryZmObj>
                  <psuz:summaryZmObj sectionId="{9AFF906D-B6CC-44E6-BD09-7F20E1432024}">
                    <psuz:zmPr id="{3C94EC4C-F598-4301-9C2A-8A24EBED3516}" transitionDur="1000">
                      <p166:blipFill xmlns:p166="http://schemas.microsoft.com/office/powerpoint/2016/6/main">
                        <a:blip r:embed="rId22"/>
                        <a:stretch>
                          <a:fillRect/>
                        </a:stretch>
                      </p166:blipFill>
                      <p166:spPr xmlns:p166="http://schemas.microsoft.com/office/powerpoint/2016/6/main">
                        <a:xfrm>
                          <a:off x="8742017" y="3617891"/>
                          <a:ext cx="1923158" cy="1081761"/>
                        </a:xfrm>
                        <a:prstGeom prst="rect">
                          <a:avLst/>
                        </a:prstGeom>
                        <a:ln w="3175">
                          <a:solidFill>
                            <a:prstClr val="ltGray"/>
                          </a:solidFill>
                        </a:ln>
                      </p166:spPr>
                    </psuz:zmPr>
                  </psuz:summaryZmObj>
                  <psuz:summaryZmObj sectionId="{78FC6F54-FA6A-4F74-95D1-EED90FC97FB6}">
                    <psuz:zmPr id="{AA67AF78-B926-4B37-839D-32E8864F49E7}" transitionDur="1000">
                      <p166:blipFill xmlns:p166="http://schemas.microsoft.com/office/powerpoint/2016/6/main">
                        <a:blip r:embed="rId23"/>
                        <a:stretch>
                          <a:fillRect/>
                        </a:stretch>
                      </p166:blipFill>
                      <p166:spPr xmlns:p166="http://schemas.microsoft.com/office/powerpoint/2016/6/main">
                        <a:xfrm>
                          <a:off x="760917" y="4771769"/>
                          <a:ext cx="1923158" cy="1081761"/>
                        </a:xfrm>
                        <a:prstGeom prst="rect">
                          <a:avLst/>
                        </a:prstGeom>
                        <a:ln w="3175">
                          <a:solidFill>
                            <a:prstClr val="ltGray"/>
                          </a:solidFill>
                        </a:ln>
                      </p166:spPr>
                    </psuz:zmPr>
                  </psuz:summaryZmObj>
                  <psuz:summaryZmObj sectionId="{D127F27C-160D-4623-ADE5-55A94484FF8F}">
                    <psuz:zmPr id="{30DF5F69-B0A7-4EEF-B4A3-97A7893BF8EC}" transitionDur="1000">
                      <p166:blipFill xmlns:p166="http://schemas.microsoft.com/office/powerpoint/2016/6/main">
                        <a:blip r:embed="rId24"/>
                        <a:stretch>
                          <a:fillRect/>
                        </a:stretch>
                      </p166:blipFill>
                      <p166:spPr xmlns:p166="http://schemas.microsoft.com/office/powerpoint/2016/6/main">
                        <a:xfrm>
                          <a:off x="2756192" y="4771769"/>
                          <a:ext cx="1923158" cy="1081761"/>
                        </a:xfrm>
                        <a:prstGeom prst="rect">
                          <a:avLst/>
                        </a:prstGeom>
                        <a:ln w="3175">
                          <a:solidFill>
                            <a:prstClr val="ltGray"/>
                          </a:solidFill>
                        </a:ln>
                      </p166:spPr>
                    </psuz:zmPr>
                  </psuz:summaryZmObj>
                  <psuz:summaryZmObj sectionId="{561A67E6-287B-4FD6-B040-EA5C5A3C400B}">
                    <psuz:zmPr id="{96EFDABB-894F-403E-8028-5552D9622660}" transitionDur="1000">
                      <p166:blipFill xmlns:p166="http://schemas.microsoft.com/office/powerpoint/2016/6/main">
                        <a:blip r:embed="rId25"/>
                        <a:stretch>
                          <a:fillRect/>
                        </a:stretch>
                      </p166:blipFill>
                      <p166:spPr xmlns:p166="http://schemas.microsoft.com/office/powerpoint/2016/6/main">
                        <a:xfrm>
                          <a:off x="4751467" y="4771769"/>
                          <a:ext cx="1923158" cy="1081761"/>
                        </a:xfrm>
                        <a:prstGeom prst="rect">
                          <a:avLst/>
                        </a:prstGeom>
                        <a:ln w="3175">
                          <a:solidFill>
                            <a:prstClr val="ltGray"/>
                          </a:solidFill>
                        </a:ln>
                      </p166:spPr>
                    </psuz:zmPr>
                  </psuz:summaryZmObj>
                  <psuz:summaryZmObj sectionId="{B1A43153-192A-4D8F-804D-34B061CE10E5}">
                    <psuz:zmPr id="{F5DC86A8-F1A6-430F-948D-E4034F1DE9C3}" transitionDur="1000">
                      <p166:blipFill xmlns:p166="http://schemas.microsoft.com/office/powerpoint/2016/6/main">
                        <a:blip r:embed="rId26"/>
                        <a:stretch>
                          <a:fillRect/>
                        </a:stretch>
                      </p166:blipFill>
                      <p166:spPr xmlns:p166="http://schemas.microsoft.com/office/powerpoint/2016/6/main">
                        <a:xfrm>
                          <a:off x="6746742" y="4771769"/>
                          <a:ext cx="1923158" cy="1081761"/>
                        </a:xfrm>
                        <a:prstGeom prst="rect">
                          <a:avLst/>
                        </a:prstGeom>
                        <a:ln w="3175">
                          <a:solidFill>
                            <a:prstClr val="ltGray"/>
                          </a:solidFill>
                        </a:ln>
                      </p166:spPr>
                    </psuz:zmPr>
                  </psuz:summaryZmObj>
                  <psuz:summaryZmObj sectionId="{B6120E6C-5DE8-44E8-BC4E-BE1619BAF0A0}">
                    <psuz:zmPr id="{2DFAE0D0-4F38-4297-A796-53CC3606D77E}" transitionDur="1000">
                      <p166:blipFill xmlns:p166="http://schemas.microsoft.com/office/powerpoint/2016/6/main">
                        <a:blip r:embed="rId27"/>
                        <a:stretch>
                          <a:fillRect/>
                        </a:stretch>
                      </p166:blipFill>
                      <p166:spPr xmlns:p166="http://schemas.microsoft.com/office/powerpoint/2016/6/main">
                        <a:xfrm>
                          <a:off x="8742017" y="4771769"/>
                          <a:ext cx="1923158" cy="1081761"/>
                        </a:xfrm>
                        <a:prstGeom prst="rect">
                          <a:avLst/>
                        </a:prstGeom>
                        <a:ln w="3175">
                          <a:solidFill>
                            <a:prstClr val="ltGray"/>
                          </a:solidFill>
                        </a:ln>
                      </p166:spPr>
                    </psuz:zmPr>
                  </psuz:summaryZmObj>
                  <psuz:gridLayout/>
                </psuz:summaryZm>
              </a:graphicData>
            </a:graphic>
          </p:graphicFrame>
        </mc:Choice>
        <mc:Fallback>
          <p:grpSp>
            <p:nvGrpSpPr>
              <p:cNvPr id="5" name="Summary Zoom 4">
                <a:extLst>
                  <a:ext uri="{FF2B5EF4-FFF2-40B4-BE49-F238E27FC236}">
                    <a16:creationId xmlns:a16="http://schemas.microsoft.com/office/drawing/2014/main" id="{44672DBE-90CB-49E7-956A-34376FD284DC}"/>
                  </a:ext>
                </a:extLst>
              </p:cNvPr>
              <p:cNvGrpSpPr>
                <a:grpSpLocks noGrp="1" noUngrp="1" noRot="1" noChangeAspect="1" noMove="1" noResize="1"/>
              </p:cNvGrpSpPr>
              <p:nvPr/>
            </p:nvGrpSpPr>
            <p:grpSpPr>
              <a:xfrm>
                <a:off x="445477" y="984738"/>
                <a:ext cx="11426092" cy="6009787"/>
                <a:chOff x="445477" y="984738"/>
                <a:chExt cx="11426092" cy="6009787"/>
              </a:xfrm>
            </p:grpSpPr>
            <p:pic>
              <p:nvPicPr>
                <p:cNvPr id="2" name="Picture 2"/>
                <p:cNvPicPr>
                  <a:picLocks noSelect="1" noRot="1" noChangeAspect="1" noMove="1" noResize="1" noEditPoints="1" noAdjustHandles="1" noChangeArrowheads="1" noChangeShapeType="1"/>
                </p:cNvPicPr>
                <p:nvPr/>
              </p:nvPicPr>
              <p:blipFill>
                <a:blip r:embed="rId3"/>
                <a:stretch>
                  <a:fillRect/>
                </a:stretch>
              </p:blipFill>
              <p:spPr>
                <a:xfrm>
                  <a:off x="1206394" y="1140995"/>
                  <a:ext cx="1923158" cy="1081761"/>
                </a:xfrm>
                <a:prstGeom prst="rect">
                  <a:avLst/>
                </a:prstGeom>
                <a:ln w="3175">
                  <a:solidFill>
                    <a:prstClr val="ltGray"/>
                  </a:solidFill>
                </a:ln>
              </p:spPr>
            </p:pic>
            <p:pic>
              <p:nvPicPr>
                <p:cNvPr id="3" name="Picture 3">
                  <a:hlinkClick r:id="rId28" action="ppaction://hlinksldjump"/>
                </p:cNvPr>
                <p:cNvPicPr>
                  <a:picLocks noSelect="1" noRot="1" noChangeAspect="1" noMove="1" noResize="1" noEditPoints="1" noAdjustHandles="1" noChangeArrowheads="1" noChangeShapeType="1"/>
                </p:cNvPicPr>
                <p:nvPr/>
              </p:nvPicPr>
              <p:blipFill>
                <a:blip r:embed="rId4"/>
                <a:stretch>
                  <a:fillRect/>
                </a:stretch>
              </p:blipFill>
              <p:spPr>
                <a:xfrm>
                  <a:off x="3201669" y="1140995"/>
                  <a:ext cx="1923158" cy="1081761"/>
                </a:xfrm>
                <a:prstGeom prst="rect">
                  <a:avLst/>
                </a:prstGeom>
                <a:ln w="3175">
                  <a:solidFill>
                    <a:prstClr val="ltGray"/>
                  </a:solidFill>
                </a:ln>
              </p:spPr>
            </p:pic>
            <p:pic>
              <p:nvPicPr>
                <p:cNvPr id="4" name="Picture 4">
                  <a:hlinkClick r:id="rId29" action="ppaction://hlinksldjump"/>
                </p:cNvPr>
                <p:cNvPicPr>
                  <a:picLocks noSelect="1" noRot="1" noChangeAspect="1" noMove="1" noResize="1" noEditPoints="1" noAdjustHandles="1" noChangeArrowheads="1" noChangeShapeType="1"/>
                </p:cNvPicPr>
                <p:nvPr/>
              </p:nvPicPr>
              <p:blipFill>
                <a:blip r:embed="rId5"/>
                <a:stretch>
                  <a:fillRect/>
                </a:stretch>
              </p:blipFill>
              <p:spPr>
                <a:xfrm>
                  <a:off x="5196944" y="1140995"/>
                  <a:ext cx="1923158" cy="1081761"/>
                </a:xfrm>
                <a:prstGeom prst="rect">
                  <a:avLst/>
                </a:prstGeom>
                <a:ln w="3175">
                  <a:solidFill>
                    <a:prstClr val="ltGray"/>
                  </a:solidFill>
                </a:ln>
              </p:spPr>
            </p:pic>
            <p:pic>
              <p:nvPicPr>
                <p:cNvPr id="6" name="Picture 6">
                  <a:hlinkClick r:id="rId30" action="ppaction://hlinksldjump"/>
                </p:cNvPr>
                <p:cNvPicPr>
                  <a:picLocks noSelect="1" noRot="1" noChangeAspect="1" noMove="1" noResize="1" noEditPoints="1" noAdjustHandles="1" noChangeArrowheads="1" noChangeShapeType="1"/>
                </p:cNvPicPr>
                <p:nvPr/>
              </p:nvPicPr>
              <p:blipFill>
                <a:blip r:embed="rId6"/>
                <a:stretch>
                  <a:fillRect/>
                </a:stretch>
              </p:blipFill>
              <p:spPr>
                <a:xfrm>
                  <a:off x="7192219" y="1140995"/>
                  <a:ext cx="1923158" cy="1081761"/>
                </a:xfrm>
                <a:prstGeom prst="rect">
                  <a:avLst/>
                </a:prstGeom>
                <a:ln w="3175">
                  <a:solidFill>
                    <a:prstClr val="ltGray"/>
                  </a:solidFill>
                </a:ln>
              </p:spPr>
            </p:pic>
            <p:pic>
              <p:nvPicPr>
                <p:cNvPr id="8" name="Picture 8">
                  <a:hlinkClick r:id="rId31" action="ppaction://hlinksldjump"/>
                </p:cNvPr>
                <p:cNvPicPr>
                  <a:picLocks noSelect="1" noRot="1" noChangeAspect="1" noMove="1" noResize="1" noEditPoints="1" noAdjustHandles="1" noChangeArrowheads="1" noChangeShapeType="1"/>
                </p:cNvPicPr>
                <p:nvPr/>
              </p:nvPicPr>
              <p:blipFill>
                <a:blip r:embed="rId7"/>
                <a:stretch>
                  <a:fillRect/>
                </a:stretch>
              </p:blipFill>
              <p:spPr>
                <a:xfrm>
                  <a:off x="9187494" y="1140995"/>
                  <a:ext cx="1923158" cy="1081761"/>
                </a:xfrm>
                <a:prstGeom prst="rect">
                  <a:avLst/>
                </a:prstGeom>
                <a:ln w="3175">
                  <a:solidFill>
                    <a:prstClr val="ltGray"/>
                  </a:solidFill>
                </a:ln>
              </p:spPr>
            </p:pic>
            <p:pic>
              <p:nvPicPr>
                <p:cNvPr id="10" name="Picture 10">
                  <a:hlinkClick r:id="rId32" action="ppaction://hlinksldjump"/>
                </p:cNvPr>
                <p:cNvPicPr>
                  <a:picLocks noSelect="1" noRot="1" noChangeAspect="1" noMove="1" noResize="1" noEditPoints="1" noAdjustHandles="1" noChangeArrowheads="1" noChangeShapeType="1"/>
                </p:cNvPicPr>
                <p:nvPr/>
              </p:nvPicPr>
              <p:blipFill>
                <a:blip r:embed="rId8"/>
                <a:stretch>
                  <a:fillRect/>
                </a:stretch>
              </p:blipFill>
              <p:spPr>
                <a:xfrm>
                  <a:off x="1206394" y="2294873"/>
                  <a:ext cx="1923158" cy="1081761"/>
                </a:xfrm>
                <a:prstGeom prst="rect">
                  <a:avLst/>
                </a:prstGeom>
                <a:ln w="3175">
                  <a:solidFill>
                    <a:prstClr val="ltGray"/>
                  </a:solidFill>
                </a:ln>
              </p:spPr>
            </p:pic>
            <p:pic>
              <p:nvPicPr>
                <p:cNvPr id="11" name="Picture 11">
                  <a:hlinkClick r:id="rId33" action="ppaction://hlinksldjump"/>
                </p:cNvPr>
                <p:cNvPicPr>
                  <a:picLocks noSelect="1" noRot="1" noChangeAspect="1" noMove="1" noResize="1" noEditPoints="1" noAdjustHandles="1" noChangeArrowheads="1" noChangeShapeType="1"/>
                </p:cNvPicPr>
                <p:nvPr/>
              </p:nvPicPr>
              <p:blipFill>
                <a:blip r:embed="rId9"/>
                <a:stretch>
                  <a:fillRect/>
                </a:stretch>
              </p:blipFill>
              <p:spPr>
                <a:xfrm>
                  <a:off x="3201669" y="2294873"/>
                  <a:ext cx="1923158" cy="1081761"/>
                </a:xfrm>
                <a:prstGeom prst="rect">
                  <a:avLst/>
                </a:prstGeom>
                <a:ln w="3175">
                  <a:solidFill>
                    <a:prstClr val="ltGray"/>
                  </a:solidFill>
                </a:ln>
              </p:spPr>
            </p:pic>
            <p:pic>
              <p:nvPicPr>
                <p:cNvPr id="12" name="Picture 12">
                  <a:hlinkClick r:id="rId34" action="ppaction://hlinksldjump"/>
                </p:cNvPr>
                <p:cNvPicPr>
                  <a:picLocks noSelect="1" noRot="1" noChangeAspect="1" noMove="1" noResize="1" noEditPoints="1" noAdjustHandles="1" noChangeArrowheads="1" noChangeShapeType="1"/>
                </p:cNvPicPr>
                <p:nvPr/>
              </p:nvPicPr>
              <p:blipFill>
                <a:blip r:embed="rId10"/>
                <a:stretch>
                  <a:fillRect/>
                </a:stretch>
              </p:blipFill>
              <p:spPr>
                <a:xfrm>
                  <a:off x="5196944" y="2294873"/>
                  <a:ext cx="1923158" cy="1081761"/>
                </a:xfrm>
                <a:prstGeom prst="rect">
                  <a:avLst/>
                </a:prstGeom>
                <a:ln w="3175">
                  <a:solidFill>
                    <a:prstClr val="ltGray"/>
                  </a:solidFill>
                </a:ln>
              </p:spPr>
            </p:pic>
            <p:pic>
              <p:nvPicPr>
                <p:cNvPr id="13" name="Picture 13">
                  <a:hlinkClick r:id="rId35" action="ppaction://hlinksldjump"/>
                </p:cNvPr>
                <p:cNvPicPr>
                  <a:picLocks noSelect="1" noRot="1" noChangeAspect="1" noMove="1" noResize="1" noEditPoints="1" noAdjustHandles="1" noChangeArrowheads="1" noChangeShapeType="1"/>
                </p:cNvPicPr>
                <p:nvPr/>
              </p:nvPicPr>
              <p:blipFill>
                <a:blip r:embed="rId11"/>
                <a:stretch>
                  <a:fillRect/>
                </a:stretch>
              </p:blipFill>
              <p:spPr>
                <a:xfrm>
                  <a:off x="7192219" y="2294873"/>
                  <a:ext cx="1923158" cy="1081761"/>
                </a:xfrm>
                <a:prstGeom prst="rect">
                  <a:avLst/>
                </a:prstGeom>
                <a:ln w="3175">
                  <a:solidFill>
                    <a:prstClr val="ltGray"/>
                  </a:solidFill>
                </a:ln>
              </p:spPr>
            </p:pic>
            <p:pic>
              <p:nvPicPr>
                <p:cNvPr id="14" name="Picture 14">
                  <a:hlinkClick r:id="rId36" action="ppaction://hlinksldjump"/>
                </p:cNvPr>
                <p:cNvPicPr>
                  <a:picLocks noSelect="1" noRot="1" noChangeAspect="1" noMove="1" noResize="1" noEditPoints="1" noAdjustHandles="1" noChangeArrowheads="1" noChangeShapeType="1"/>
                </p:cNvPicPr>
                <p:nvPr/>
              </p:nvPicPr>
              <p:blipFill>
                <a:blip r:embed="rId12"/>
                <a:stretch>
                  <a:fillRect/>
                </a:stretch>
              </p:blipFill>
              <p:spPr>
                <a:xfrm>
                  <a:off x="9187494" y="2294873"/>
                  <a:ext cx="1923158" cy="1081761"/>
                </a:xfrm>
                <a:prstGeom prst="rect">
                  <a:avLst/>
                </a:prstGeom>
                <a:ln w="3175">
                  <a:solidFill>
                    <a:prstClr val="ltGray"/>
                  </a:solidFill>
                </a:ln>
              </p:spPr>
            </p:pic>
            <p:pic>
              <p:nvPicPr>
                <p:cNvPr id="15" name="Picture 15">
                  <a:hlinkClick r:id="rId37" action="ppaction://hlinksldjump"/>
                </p:cNvPr>
                <p:cNvPicPr>
                  <a:picLocks noSelect="1" noRot="1" noChangeAspect="1" noMove="1" noResize="1" noEditPoints="1" noAdjustHandles="1" noChangeArrowheads="1" noChangeShapeType="1"/>
                </p:cNvPicPr>
                <p:nvPr/>
              </p:nvPicPr>
              <p:blipFill>
                <a:blip r:embed="rId13"/>
                <a:stretch>
                  <a:fillRect/>
                </a:stretch>
              </p:blipFill>
              <p:spPr>
                <a:xfrm>
                  <a:off x="1206394" y="3448751"/>
                  <a:ext cx="1923158" cy="1081761"/>
                </a:xfrm>
                <a:prstGeom prst="rect">
                  <a:avLst/>
                </a:prstGeom>
                <a:ln w="3175">
                  <a:solidFill>
                    <a:prstClr val="ltGray"/>
                  </a:solidFill>
                </a:ln>
              </p:spPr>
            </p:pic>
            <p:pic>
              <p:nvPicPr>
                <p:cNvPr id="16" name="Picture 16">
                  <a:hlinkClick r:id="rId38" action="ppaction://hlinksldjump"/>
                </p:cNvPr>
                <p:cNvPicPr>
                  <a:picLocks noSelect="1" noRot="1" noChangeAspect="1" noMove="1" noResize="1" noEditPoints="1" noAdjustHandles="1" noChangeArrowheads="1" noChangeShapeType="1"/>
                </p:cNvPicPr>
                <p:nvPr/>
              </p:nvPicPr>
              <p:blipFill>
                <a:blip r:embed="rId14"/>
                <a:stretch>
                  <a:fillRect/>
                </a:stretch>
              </p:blipFill>
              <p:spPr>
                <a:xfrm>
                  <a:off x="3201669" y="3448751"/>
                  <a:ext cx="1923158" cy="1081761"/>
                </a:xfrm>
                <a:prstGeom prst="rect">
                  <a:avLst/>
                </a:prstGeom>
                <a:ln w="3175">
                  <a:solidFill>
                    <a:prstClr val="ltGray"/>
                  </a:solidFill>
                </a:ln>
              </p:spPr>
            </p:pic>
            <p:pic>
              <p:nvPicPr>
                <p:cNvPr id="17" name="Picture 17">
                  <a:hlinkClick r:id="rId39" action="ppaction://hlinksldjump"/>
                </p:cNvPr>
                <p:cNvPicPr>
                  <a:picLocks noSelect="1" noRot="1" noChangeAspect="1" noMove="1" noResize="1" noEditPoints="1" noAdjustHandles="1" noChangeArrowheads="1" noChangeShapeType="1"/>
                </p:cNvPicPr>
                <p:nvPr/>
              </p:nvPicPr>
              <p:blipFill>
                <a:blip r:embed="rId15"/>
                <a:stretch>
                  <a:fillRect/>
                </a:stretch>
              </p:blipFill>
              <p:spPr>
                <a:xfrm>
                  <a:off x="5196944" y="3448751"/>
                  <a:ext cx="1923158" cy="1081761"/>
                </a:xfrm>
                <a:prstGeom prst="rect">
                  <a:avLst/>
                </a:prstGeom>
                <a:ln w="3175">
                  <a:solidFill>
                    <a:prstClr val="ltGray"/>
                  </a:solidFill>
                </a:ln>
              </p:spPr>
            </p:pic>
            <p:pic>
              <p:nvPicPr>
                <p:cNvPr id="18" name="Picture 18">
                  <a:hlinkClick r:id="rId40" action="ppaction://hlinksldjump"/>
                </p:cNvPr>
                <p:cNvPicPr>
                  <a:picLocks noSelect="1" noRot="1" noChangeAspect="1" noMove="1" noResize="1" noEditPoints="1" noAdjustHandles="1" noChangeArrowheads="1" noChangeShapeType="1"/>
                </p:cNvPicPr>
                <p:nvPr/>
              </p:nvPicPr>
              <p:blipFill>
                <a:blip r:embed="rId16"/>
                <a:stretch>
                  <a:fillRect/>
                </a:stretch>
              </p:blipFill>
              <p:spPr>
                <a:xfrm>
                  <a:off x="7192219" y="3448751"/>
                  <a:ext cx="1923158" cy="1081761"/>
                </a:xfrm>
                <a:prstGeom prst="rect">
                  <a:avLst/>
                </a:prstGeom>
                <a:ln w="3175">
                  <a:solidFill>
                    <a:prstClr val="ltGray"/>
                  </a:solidFill>
                </a:ln>
              </p:spPr>
            </p:pic>
            <p:pic>
              <p:nvPicPr>
                <p:cNvPr id="19" name="Picture 19">
                  <a:hlinkClick r:id="rId41" action="ppaction://hlinksldjump"/>
                </p:cNvPr>
                <p:cNvPicPr>
                  <a:picLocks noSelect="1" noRot="1" noChangeAspect="1" noMove="1" noResize="1" noEditPoints="1" noAdjustHandles="1" noChangeArrowheads="1" noChangeShapeType="1"/>
                </p:cNvPicPr>
                <p:nvPr/>
              </p:nvPicPr>
              <p:blipFill>
                <a:blip r:embed="rId17"/>
                <a:stretch>
                  <a:fillRect/>
                </a:stretch>
              </p:blipFill>
              <p:spPr>
                <a:xfrm>
                  <a:off x="9187494" y="3448751"/>
                  <a:ext cx="1923158" cy="1081761"/>
                </a:xfrm>
                <a:prstGeom prst="rect">
                  <a:avLst/>
                </a:prstGeom>
                <a:ln w="3175">
                  <a:solidFill>
                    <a:prstClr val="ltGray"/>
                  </a:solidFill>
                </a:ln>
              </p:spPr>
            </p:pic>
            <p:pic>
              <p:nvPicPr>
                <p:cNvPr id="20" name="Picture 20">
                  <a:hlinkClick r:id="rId42" action="ppaction://hlinksldjump"/>
                </p:cNvPr>
                <p:cNvPicPr>
                  <a:picLocks noSelect="1" noRot="1" noChangeAspect="1" noMove="1" noResize="1" noEditPoints="1" noAdjustHandles="1" noChangeArrowheads="1" noChangeShapeType="1"/>
                </p:cNvPicPr>
                <p:nvPr/>
              </p:nvPicPr>
              <p:blipFill>
                <a:blip r:embed="rId18"/>
                <a:stretch>
                  <a:fillRect/>
                </a:stretch>
              </p:blipFill>
              <p:spPr>
                <a:xfrm>
                  <a:off x="1206394" y="4602629"/>
                  <a:ext cx="1923158" cy="1081761"/>
                </a:xfrm>
                <a:prstGeom prst="rect">
                  <a:avLst/>
                </a:prstGeom>
                <a:ln w="3175">
                  <a:solidFill>
                    <a:prstClr val="ltGray"/>
                  </a:solidFill>
                </a:ln>
              </p:spPr>
            </p:pic>
            <p:pic>
              <p:nvPicPr>
                <p:cNvPr id="21" name="Picture 21">
                  <a:hlinkClick r:id="rId43" action="ppaction://hlinksldjump"/>
                </p:cNvPr>
                <p:cNvPicPr>
                  <a:picLocks noSelect="1" noRot="1" noChangeAspect="1" noMove="1" noResize="1" noEditPoints="1" noAdjustHandles="1" noChangeArrowheads="1" noChangeShapeType="1"/>
                </p:cNvPicPr>
                <p:nvPr/>
              </p:nvPicPr>
              <p:blipFill>
                <a:blip r:embed="rId19"/>
                <a:stretch>
                  <a:fillRect/>
                </a:stretch>
              </p:blipFill>
              <p:spPr>
                <a:xfrm>
                  <a:off x="3201669" y="4602629"/>
                  <a:ext cx="1923158" cy="1081761"/>
                </a:xfrm>
                <a:prstGeom prst="rect">
                  <a:avLst/>
                </a:prstGeom>
                <a:ln w="3175">
                  <a:solidFill>
                    <a:prstClr val="ltGray"/>
                  </a:solidFill>
                </a:ln>
              </p:spPr>
            </p:pic>
            <p:pic>
              <p:nvPicPr>
                <p:cNvPr id="22" name="Picture 22">
                  <a:hlinkClick r:id="rId44" action="ppaction://hlinksldjump"/>
                </p:cNvPr>
                <p:cNvPicPr>
                  <a:picLocks noSelect="1" noRot="1" noChangeAspect="1" noMove="1" noResize="1" noEditPoints="1" noAdjustHandles="1" noChangeArrowheads="1" noChangeShapeType="1"/>
                </p:cNvPicPr>
                <p:nvPr/>
              </p:nvPicPr>
              <p:blipFill>
                <a:blip r:embed="rId20"/>
                <a:stretch>
                  <a:fillRect/>
                </a:stretch>
              </p:blipFill>
              <p:spPr>
                <a:xfrm>
                  <a:off x="5196944" y="4602629"/>
                  <a:ext cx="1923158" cy="1081761"/>
                </a:xfrm>
                <a:prstGeom prst="rect">
                  <a:avLst/>
                </a:prstGeom>
                <a:ln w="3175">
                  <a:solidFill>
                    <a:prstClr val="ltGray"/>
                  </a:solidFill>
                </a:ln>
              </p:spPr>
            </p:pic>
            <p:pic>
              <p:nvPicPr>
                <p:cNvPr id="23" name="Picture 23">
                  <a:hlinkClick r:id="rId45" action="ppaction://hlinksldjump"/>
                </p:cNvPr>
                <p:cNvPicPr>
                  <a:picLocks noSelect="1" noRot="1" noChangeAspect="1" noMove="1" noResize="1" noEditPoints="1" noAdjustHandles="1" noChangeArrowheads="1" noChangeShapeType="1"/>
                </p:cNvPicPr>
                <p:nvPr/>
              </p:nvPicPr>
              <p:blipFill>
                <a:blip r:embed="rId21"/>
                <a:stretch>
                  <a:fillRect/>
                </a:stretch>
              </p:blipFill>
              <p:spPr>
                <a:xfrm>
                  <a:off x="7192219" y="4602629"/>
                  <a:ext cx="1923158" cy="1081761"/>
                </a:xfrm>
                <a:prstGeom prst="rect">
                  <a:avLst/>
                </a:prstGeom>
                <a:ln w="3175">
                  <a:solidFill>
                    <a:prstClr val="ltGray"/>
                  </a:solidFill>
                </a:ln>
              </p:spPr>
            </p:pic>
            <p:pic>
              <p:nvPicPr>
                <p:cNvPr id="24" name="Picture 24">
                  <a:hlinkClick r:id="rId46" action="ppaction://hlinksldjump"/>
                </p:cNvPr>
                <p:cNvPicPr>
                  <a:picLocks noSelect="1" noRot="1" noChangeAspect="1" noMove="1" noResize="1" noEditPoints="1" noAdjustHandles="1" noChangeArrowheads="1" noChangeShapeType="1"/>
                </p:cNvPicPr>
                <p:nvPr/>
              </p:nvPicPr>
              <p:blipFill>
                <a:blip r:embed="rId22"/>
                <a:stretch>
                  <a:fillRect/>
                </a:stretch>
              </p:blipFill>
              <p:spPr>
                <a:xfrm>
                  <a:off x="9187494" y="4602629"/>
                  <a:ext cx="1923158" cy="1081761"/>
                </a:xfrm>
                <a:prstGeom prst="rect">
                  <a:avLst/>
                </a:prstGeom>
                <a:ln w="3175">
                  <a:solidFill>
                    <a:prstClr val="ltGray"/>
                  </a:solidFill>
                </a:ln>
              </p:spPr>
            </p:pic>
            <p:pic>
              <p:nvPicPr>
                <p:cNvPr id="25" name="Picture 25">
                  <a:hlinkClick r:id="rId47" action="ppaction://hlinksldjump"/>
                </p:cNvPr>
                <p:cNvPicPr>
                  <a:picLocks noSelect="1" noRot="1" noChangeAspect="1" noMove="1" noResize="1" noEditPoints="1" noAdjustHandles="1" noChangeArrowheads="1" noChangeShapeType="1"/>
                </p:cNvPicPr>
                <p:nvPr/>
              </p:nvPicPr>
              <p:blipFill>
                <a:blip r:embed="rId23"/>
                <a:stretch>
                  <a:fillRect/>
                </a:stretch>
              </p:blipFill>
              <p:spPr>
                <a:xfrm>
                  <a:off x="1206394" y="5756507"/>
                  <a:ext cx="1923158" cy="1081761"/>
                </a:xfrm>
                <a:prstGeom prst="rect">
                  <a:avLst/>
                </a:prstGeom>
                <a:ln w="3175">
                  <a:solidFill>
                    <a:prstClr val="ltGray"/>
                  </a:solidFill>
                </a:ln>
              </p:spPr>
            </p:pic>
            <p:pic>
              <p:nvPicPr>
                <p:cNvPr id="26" name="Picture 26">
                  <a:hlinkClick r:id="rId48" action="ppaction://hlinksldjump"/>
                </p:cNvPr>
                <p:cNvPicPr>
                  <a:picLocks noSelect="1" noRot="1" noChangeAspect="1" noMove="1" noResize="1" noEditPoints="1" noAdjustHandles="1" noChangeArrowheads="1" noChangeShapeType="1"/>
                </p:cNvPicPr>
                <p:nvPr/>
              </p:nvPicPr>
              <p:blipFill>
                <a:blip r:embed="rId24"/>
                <a:stretch>
                  <a:fillRect/>
                </a:stretch>
              </p:blipFill>
              <p:spPr>
                <a:xfrm>
                  <a:off x="3201669" y="5756507"/>
                  <a:ext cx="1923158" cy="1081761"/>
                </a:xfrm>
                <a:prstGeom prst="rect">
                  <a:avLst/>
                </a:prstGeom>
                <a:ln w="3175">
                  <a:solidFill>
                    <a:prstClr val="ltGray"/>
                  </a:solidFill>
                </a:ln>
              </p:spPr>
            </p:pic>
            <p:pic>
              <p:nvPicPr>
                <p:cNvPr id="27" name="Picture 27">
                  <a:hlinkClick r:id="rId49" action="ppaction://hlinksldjump"/>
                </p:cNvPr>
                <p:cNvPicPr>
                  <a:picLocks noSelect="1" noRot="1" noChangeAspect="1" noMove="1" noResize="1" noEditPoints="1" noAdjustHandles="1" noChangeArrowheads="1" noChangeShapeType="1"/>
                </p:cNvPicPr>
                <p:nvPr/>
              </p:nvPicPr>
              <p:blipFill>
                <a:blip r:embed="rId25"/>
                <a:stretch>
                  <a:fillRect/>
                </a:stretch>
              </p:blipFill>
              <p:spPr>
                <a:xfrm>
                  <a:off x="5196944" y="5756507"/>
                  <a:ext cx="1923158" cy="1081761"/>
                </a:xfrm>
                <a:prstGeom prst="rect">
                  <a:avLst/>
                </a:prstGeom>
                <a:ln w="3175">
                  <a:solidFill>
                    <a:prstClr val="ltGray"/>
                  </a:solidFill>
                </a:ln>
              </p:spPr>
            </p:pic>
            <p:pic>
              <p:nvPicPr>
                <p:cNvPr id="28" name="Picture 28">
                  <a:hlinkClick r:id="rId50" action="ppaction://hlinksldjump"/>
                </p:cNvPr>
                <p:cNvPicPr>
                  <a:picLocks noSelect="1" noRot="1" noChangeAspect="1" noMove="1" noResize="1" noEditPoints="1" noAdjustHandles="1" noChangeArrowheads="1" noChangeShapeType="1"/>
                </p:cNvPicPr>
                <p:nvPr/>
              </p:nvPicPr>
              <p:blipFill>
                <a:blip r:embed="rId26"/>
                <a:stretch>
                  <a:fillRect/>
                </a:stretch>
              </p:blipFill>
              <p:spPr>
                <a:xfrm>
                  <a:off x="7192219" y="5756507"/>
                  <a:ext cx="1923158" cy="1081761"/>
                </a:xfrm>
                <a:prstGeom prst="rect">
                  <a:avLst/>
                </a:prstGeom>
                <a:ln w="3175">
                  <a:solidFill>
                    <a:prstClr val="ltGray"/>
                  </a:solidFill>
                </a:ln>
              </p:spPr>
            </p:pic>
            <p:pic>
              <p:nvPicPr>
                <p:cNvPr id="29" name="Picture 29">
                  <a:hlinkClick r:id="rId51" action="ppaction://hlinksldjump"/>
                </p:cNvPr>
                <p:cNvPicPr>
                  <a:picLocks noSelect="1" noRot="1" noChangeAspect="1" noMove="1" noResize="1" noEditPoints="1" noAdjustHandles="1" noChangeArrowheads="1" noChangeShapeType="1"/>
                </p:cNvPicPr>
                <p:nvPr/>
              </p:nvPicPr>
              <p:blipFill>
                <a:blip r:embed="rId27"/>
                <a:stretch>
                  <a:fillRect/>
                </a:stretch>
              </p:blipFill>
              <p:spPr>
                <a:xfrm>
                  <a:off x="9187494" y="5756507"/>
                  <a:ext cx="1923158" cy="1081761"/>
                </a:xfrm>
                <a:prstGeom prst="rect">
                  <a:avLst/>
                </a:prstGeom>
                <a:ln w="3175">
                  <a:solidFill>
                    <a:prstClr val="ltGray"/>
                  </a:solidFill>
                </a:ln>
              </p:spPr>
            </p:pic>
          </p:grpSp>
        </mc:Fallback>
      </mc:AlternateContent>
      <p:cxnSp>
        <p:nvCxnSpPr>
          <p:cNvPr id="7" name="Straight Arrow Connector 6">
            <a:extLst>
              <a:ext uri="{FF2B5EF4-FFF2-40B4-BE49-F238E27FC236}">
                <a16:creationId xmlns:a16="http://schemas.microsoft.com/office/drawing/2014/main" id="{8F7A6781-AF9E-4F65-9F58-B5524A6F4EED}"/>
              </a:ext>
            </a:extLst>
          </p:cNvPr>
          <p:cNvCxnSpPr/>
          <p:nvPr/>
        </p:nvCxnSpPr>
        <p:spPr>
          <a:xfrm>
            <a:off x="1195751" y="1015994"/>
            <a:ext cx="3446584" cy="0"/>
          </a:xfrm>
          <a:prstGeom prst="straightConnector1">
            <a:avLst/>
          </a:prstGeom>
          <a:ln w="25400">
            <a:solidFill>
              <a:srgbClr val="000000"/>
            </a:solidFill>
            <a:headEnd type="none"/>
            <a:tailEnd type="triangle"/>
          </a:ln>
          <a:effectLst>
            <a:outerShdw blurRad="50800" dist="38100" dir="8100000" algn="tr"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955821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366168" y="1212850"/>
            <a:ext cx="10483539" cy="4228850"/>
          </a:xfrm>
        </p:spPr>
        <p:txBody>
          <a:bodyPr/>
          <a:lstStyle/>
          <a:p>
            <a:r>
              <a:rPr lang="en-US" dirty="0"/>
              <a:t>Make composing Cloud Apps easy</a:t>
            </a:r>
          </a:p>
          <a:p>
            <a:r>
              <a:rPr lang="en-US" dirty="0"/>
              <a:t>Develop Functions in C#, Node.js, F#, Python, PHP, Batch, and more </a:t>
            </a:r>
          </a:p>
          <a:p>
            <a:r>
              <a:rPr lang="en-US" dirty="0"/>
              <a:t>Easily schedule event-driven tasks across services</a:t>
            </a:r>
          </a:p>
          <a:p>
            <a:r>
              <a:rPr lang="en-US" dirty="0"/>
              <a:t>Expose functions as HTTP API endpoints</a:t>
            </a:r>
          </a:p>
          <a:p>
            <a:r>
              <a:rPr lang="en-US" dirty="0"/>
              <a:t>Scale functions based on customer demand</a:t>
            </a:r>
          </a:p>
          <a:p>
            <a:r>
              <a:rPr lang="en-US" dirty="0"/>
              <a:t>Easily integrate with Logic Apps </a:t>
            </a:r>
          </a:p>
        </p:txBody>
      </p:sp>
      <p:sp>
        <p:nvSpPr>
          <p:cNvPr id="2" name="Title 1"/>
          <p:cNvSpPr>
            <a:spLocks noGrp="1"/>
          </p:cNvSpPr>
          <p:nvPr>
            <p:ph type="title"/>
          </p:nvPr>
        </p:nvSpPr>
        <p:spPr/>
        <p:txBody>
          <a:bodyPr/>
          <a:lstStyle/>
          <a:p>
            <a:r>
              <a:rPr lang="en-US" dirty="0"/>
              <a:t>Azure functions</a:t>
            </a:r>
          </a:p>
        </p:txBody>
      </p:sp>
    </p:spTree>
    <p:extLst>
      <p:ext uri="{BB962C8B-B14F-4D97-AF65-F5344CB8AC3E}">
        <p14:creationId xmlns:p14="http://schemas.microsoft.com/office/powerpoint/2010/main" val="261429405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5"/>
          <p:cNvSpPr txBox="1">
            <a:spLocks/>
          </p:cNvSpPr>
          <p:nvPr/>
        </p:nvSpPr>
        <p:spPr>
          <a:xfrm>
            <a:off x="6461209" y="1211287"/>
            <a:ext cx="5631166" cy="1858970"/>
          </a:xfrm>
          <a:prstGeom prst="rect">
            <a:avLst/>
          </a:prstGeom>
        </p:spPr>
        <p:txBody>
          <a:bodyPr vert="horz" wrap="square" lIns="146304" tIns="91440" rIns="146304" bIns="91440" rtlCol="0">
            <a:spAutoFit/>
          </a:bodyPr>
          <a:lstStyle>
            <a:lvl1pPr marL="287293" marR="0" indent="-287293" algn="l" defTabSz="932594" rtl="0" eaLnBrk="1" fontAlgn="auto" latinLnBrk="0" hangingPunct="1">
              <a:lnSpc>
                <a:spcPct val="90000"/>
              </a:lnSpc>
              <a:spcBef>
                <a:spcPts val="1224"/>
              </a:spcBef>
              <a:spcAft>
                <a:spcPts val="0"/>
              </a:spcAft>
              <a:buClr>
                <a:schemeClr val="tx2"/>
              </a:buClr>
              <a:buSzPct val="90000"/>
              <a:buFont typeface="Arial" pitchFamily="34" charset="0"/>
              <a:buChar char="•"/>
              <a:tabLst/>
              <a:defRPr sz="3200" kern="1200" spc="0" baseline="0">
                <a:gradFill>
                  <a:gsLst>
                    <a:gs pos="1250">
                      <a:schemeClr val="tx2"/>
                    </a:gs>
                    <a:gs pos="99000">
                      <a:schemeClr val="tx2"/>
                    </a:gs>
                  </a:gsLst>
                  <a:lin ang="5400000" scaled="0"/>
                </a:gradFill>
                <a:latin typeface="+mj-lt"/>
                <a:ea typeface="+mn-ea"/>
                <a:cs typeface="+mn-cs"/>
              </a:defRPr>
            </a:lvl1pPr>
            <a:lvl2pPr marL="531081" marR="0" indent="-233158" algn="l" defTabSz="932594"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2pPr>
            <a:lvl3pPr marL="699475" marR="0" indent="-168392" algn="l" defTabSz="932594"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3pPr>
            <a:lvl4pPr marL="880818" marR="0" indent="-181345" algn="l" defTabSz="932594" rtl="0" eaLnBrk="1" fontAlgn="auto" latinLnBrk="0" hangingPunct="1">
              <a:lnSpc>
                <a:spcPct val="90000"/>
              </a:lnSpc>
              <a:spcBef>
                <a:spcPct val="20000"/>
              </a:spcBef>
              <a:spcAft>
                <a:spcPts val="0"/>
              </a:spcAft>
              <a:buClrTx/>
              <a:buSzPct val="90000"/>
              <a:buFont typeface="Arial" pitchFamily="34" charset="0"/>
              <a:buChar char="•"/>
              <a:tabLst/>
              <a:defRPr sz="1600" kern="1200" spc="0" baseline="0">
                <a:gradFill>
                  <a:gsLst>
                    <a:gs pos="1250">
                      <a:schemeClr val="tx1"/>
                    </a:gs>
                    <a:gs pos="100000">
                      <a:schemeClr val="tx1"/>
                    </a:gs>
                  </a:gsLst>
                  <a:lin ang="5400000" scaled="0"/>
                </a:gradFill>
                <a:latin typeface="+mn-lt"/>
                <a:ea typeface="+mn-ea"/>
                <a:cs typeface="+mn-cs"/>
              </a:defRPr>
            </a:lvl4pPr>
            <a:lvl5pPr marL="1049211" marR="0" indent="-168392" algn="l" defTabSz="932594" rtl="0" eaLnBrk="1" fontAlgn="auto" latinLnBrk="0" hangingPunct="1">
              <a:lnSpc>
                <a:spcPct val="90000"/>
              </a:lnSpc>
              <a:spcBef>
                <a:spcPct val="20000"/>
              </a:spcBef>
              <a:spcAft>
                <a:spcPts val="0"/>
              </a:spcAft>
              <a:buClrTx/>
              <a:buSzPct val="90000"/>
              <a:buFont typeface="Arial" pitchFamily="34" charset="0"/>
              <a:buChar char="•"/>
              <a:tabLst/>
              <a:defRPr sz="1600" kern="1200" spc="0" baseline="0">
                <a:gradFill>
                  <a:gsLst>
                    <a:gs pos="1250">
                      <a:schemeClr val="tx1"/>
                    </a:gs>
                    <a:gs pos="100000">
                      <a:schemeClr val="tx1"/>
                    </a:gs>
                  </a:gsLst>
                  <a:lin ang="5400000" scaled="0"/>
                </a:gradFill>
                <a:latin typeface="+mn-lt"/>
                <a:ea typeface="+mn-ea"/>
                <a:cs typeface="+mn-cs"/>
              </a:defRPr>
            </a:lvl5pPr>
            <a:lvl6pPr marL="2564633" indent="-233149" algn="l" defTabSz="93259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932" indent="-233149" algn="l" defTabSz="93259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229" indent="-233149" algn="l" defTabSz="93259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528" indent="-233149" algn="l" defTabSz="932594"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dirty="0"/>
              <a:t>Composed of:</a:t>
            </a:r>
          </a:p>
          <a:p>
            <a:pPr marL="342900" lvl="1" indent="-342900"/>
            <a:r>
              <a:rPr lang="en-US" sz="2000" dirty="0"/>
              <a:t>A front-end resource pool for SSL termination and load balancing</a:t>
            </a:r>
          </a:p>
          <a:p>
            <a:pPr marL="342900" lvl="1" indent="-342900"/>
            <a:r>
              <a:rPr lang="en-US" sz="2000" dirty="0"/>
              <a:t>One to three worker compute resource pools</a:t>
            </a:r>
          </a:p>
        </p:txBody>
      </p:sp>
      <p:sp>
        <p:nvSpPr>
          <p:cNvPr id="2" name="Title 1"/>
          <p:cNvSpPr>
            <a:spLocks noGrp="1"/>
          </p:cNvSpPr>
          <p:nvPr>
            <p:ph type="title"/>
          </p:nvPr>
        </p:nvSpPr>
        <p:spPr/>
        <p:txBody>
          <a:bodyPr/>
          <a:lstStyle/>
          <a:p>
            <a:r>
              <a:rPr lang="en-US" dirty="0"/>
              <a:t>App Service Environment (ASE)</a:t>
            </a:r>
          </a:p>
        </p:txBody>
      </p:sp>
      <p:sp>
        <p:nvSpPr>
          <p:cNvPr id="6" name="Text Placeholder 5"/>
          <p:cNvSpPr>
            <a:spLocks noGrp="1"/>
          </p:cNvSpPr>
          <p:nvPr>
            <p:ph type="body" sz="quarter" idx="10"/>
          </p:nvPr>
        </p:nvSpPr>
        <p:spPr>
          <a:xfrm>
            <a:off x="365597" y="1211287"/>
            <a:ext cx="5631166" cy="4942892"/>
          </a:xfrm>
        </p:spPr>
        <p:txBody>
          <a:bodyPr/>
          <a:lstStyle/>
          <a:p>
            <a:pPr marL="0" indent="0">
              <a:buNone/>
            </a:pPr>
            <a:r>
              <a:rPr lang="en-US" dirty="0"/>
              <a:t>Fully isolated and dedicated environment for Web Apps, Mobile Apps, and API Apps</a:t>
            </a:r>
          </a:p>
          <a:p>
            <a:pPr marL="0" indent="0">
              <a:buNone/>
            </a:pPr>
            <a:endParaRPr lang="en-US" dirty="0"/>
          </a:p>
          <a:p>
            <a:pPr marL="0" indent="0">
              <a:buNone/>
            </a:pPr>
            <a:r>
              <a:rPr lang="en-US" dirty="0"/>
              <a:t>Virtual Network support (v1)</a:t>
            </a:r>
          </a:p>
          <a:p>
            <a:pPr marL="0" indent="0">
              <a:buNone/>
            </a:pPr>
            <a:endParaRPr lang="en-US" dirty="0"/>
          </a:p>
          <a:p>
            <a:pPr marL="0" indent="0">
              <a:buNone/>
            </a:pPr>
            <a:r>
              <a:rPr lang="en-US" dirty="0"/>
              <a:t>Support Site-to-Site VPN and ExpressRoute</a:t>
            </a:r>
          </a:p>
          <a:p>
            <a:pPr marL="0" indent="0">
              <a:buNone/>
            </a:pPr>
            <a:endParaRPr lang="en-US" dirty="0"/>
          </a:p>
        </p:txBody>
      </p:sp>
    </p:spTree>
    <p:extLst>
      <p:ext uri="{BB962C8B-B14F-4D97-AF65-F5344CB8AC3E}">
        <p14:creationId xmlns:p14="http://schemas.microsoft.com/office/powerpoint/2010/main" val="273200688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ervice Fabric</a:t>
            </a:r>
          </a:p>
        </p:txBody>
      </p:sp>
    </p:spTree>
    <p:extLst>
      <p:ext uri="{BB962C8B-B14F-4D97-AF65-F5344CB8AC3E}">
        <p14:creationId xmlns:p14="http://schemas.microsoft.com/office/powerpoint/2010/main" val="373966257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 name="Rectangle 60"/>
          <p:cNvSpPr/>
          <p:nvPr/>
        </p:nvSpPr>
        <p:spPr>
          <a:xfrm>
            <a:off x="517245" y="2799510"/>
            <a:ext cx="11101384" cy="1045055"/>
          </a:xfrm>
          <a:prstGeom prst="rect">
            <a:avLst/>
          </a:prstGeom>
          <a:solidFill>
            <a:schemeClr val="tx2"/>
          </a:solidFill>
          <a:ln w="38100" cap="flat" cmpd="sng" algn="ctr">
            <a:noFill/>
            <a:prstDash val="solid"/>
            <a:miter lim="800000"/>
          </a:ln>
          <a:effectLst/>
        </p:spPr>
        <p:txBody>
          <a:bodyPr rtlCol="0" anchor="ctr"/>
          <a:lstStyle/>
          <a:p>
            <a:pPr algn="ctr" defTabSz="914309">
              <a:defRPr/>
            </a:pPr>
            <a:endParaRPr lang="en-US" b="1" kern="0">
              <a:latin typeface="Calibri" panose="020F0502020204030204"/>
            </a:endParaRPr>
          </a:p>
        </p:txBody>
      </p:sp>
      <p:sp>
        <p:nvSpPr>
          <p:cNvPr id="4" name="Rectangle 3"/>
          <p:cNvSpPr/>
          <p:nvPr/>
        </p:nvSpPr>
        <p:spPr bwMode="auto">
          <a:xfrm>
            <a:off x="517245" y="2079687"/>
            <a:ext cx="11101384" cy="77346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7" name="Title 6"/>
          <p:cNvSpPr>
            <a:spLocks noGrp="1"/>
          </p:cNvSpPr>
          <p:nvPr>
            <p:ph type="title"/>
          </p:nvPr>
        </p:nvSpPr>
        <p:spPr/>
        <p:txBody>
          <a:bodyPr/>
          <a:lstStyle/>
          <a:p>
            <a:r>
              <a:rPr lang="en-US" dirty="0"/>
              <a:t>Microsoft Azure Service Fabric</a:t>
            </a:r>
          </a:p>
        </p:txBody>
      </p:sp>
      <p:sp>
        <p:nvSpPr>
          <p:cNvPr id="20" name="Text Placeholder 1"/>
          <p:cNvSpPr txBox="1">
            <a:spLocks/>
          </p:cNvSpPr>
          <p:nvPr/>
        </p:nvSpPr>
        <p:spPr>
          <a:xfrm>
            <a:off x="366168" y="1212852"/>
            <a:ext cx="11702552" cy="1487318"/>
          </a:xfrm>
          <a:prstGeom prst="rect">
            <a:avLst/>
          </a:prstGeom>
        </p:spPr>
        <p:txBody>
          <a:bodyPr/>
          <a:lstStyle>
            <a:lvl1pPr marL="342846" marR="0" indent="-342846" algn="l" defTabSz="932594" rtl="0" eaLnBrk="1" fontAlgn="auto" latinLnBrk="0" hangingPunct="1">
              <a:lnSpc>
                <a:spcPct val="90000"/>
              </a:lnSpc>
              <a:spcBef>
                <a:spcPct val="20000"/>
              </a:spcBef>
              <a:spcAft>
                <a:spcPts val="0"/>
              </a:spcAft>
              <a:buClrTx/>
              <a:buSzPct val="90000"/>
              <a:buFont typeface="Arial" pitchFamily="34" charset="0"/>
              <a:buChar char="•"/>
              <a:tabLst/>
              <a:defRPr sz="4800" kern="1200" spc="0" baseline="0">
                <a:gradFill>
                  <a:gsLst>
                    <a:gs pos="1250">
                      <a:schemeClr val="tx1"/>
                    </a:gs>
                    <a:gs pos="100000">
                      <a:schemeClr val="tx1"/>
                    </a:gs>
                  </a:gsLst>
                  <a:lin ang="5400000" scaled="0"/>
                </a:gradFill>
                <a:latin typeface="+mj-lt"/>
                <a:ea typeface="+mn-ea"/>
                <a:cs typeface="+mn-cs"/>
              </a:defRPr>
            </a:lvl1pPr>
            <a:lvl2pPr marL="615935" marR="0" indent="-273044" algn="l" defTabSz="932594" rtl="0" eaLnBrk="1" fontAlgn="auto" latinLnBrk="0" hangingPunct="1">
              <a:lnSpc>
                <a:spcPct val="90000"/>
              </a:lnSpc>
              <a:spcBef>
                <a:spcPct val="20000"/>
              </a:spcBef>
              <a:spcAft>
                <a:spcPts val="0"/>
              </a:spcAft>
              <a:buClrTx/>
              <a:buSzPct val="90000"/>
              <a:buFont typeface="Arial" pitchFamily="34" charset="0"/>
              <a:buChar char="•"/>
              <a:tabLst/>
              <a:defRPr sz="3200" kern="1200" spc="0" baseline="0">
                <a:gradFill>
                  <a:gsLst>
                    <a:gs pos="1250">
                      <a:schemeClr val="tx1"/>
                    </a:gs>
                    <a:gs pos="100000">
                      <a:schemeClr val="tx1"/>
                    </a:gs>
                  </a:gsLst>
                  <a:lin ang="5400000" scaled="0"/>
                </a:gradFill>
                <a:latin typeface="+mn-lt"/>
                <a:ea typeface="+mn-ea"/>
                <a:cs typeface="+mn-cs"/>
              </a:defRPr>
            </a:lvl2pPr>
            <a:lvl3pPr marL="840296" marR="0" indent="-226478" algn="l" defTabSz="932594" rtl="0" eaLnBrk="1" fontAlgn="auto" latinLnBrk="0" hangingPunct="1">
              <a:lnSpc>
                <a:spcPct val="90000"/>
              </a:lnSpc>
              <a:spcBef>
                <a:spcPct val="20000"/>
              </a:spcBef>
              <a:spcAft>
                <a:spcPts val="0"/>
              </a:spcAft>
              <a:buClrTx/>
              <a:buSzPct val="90000"/>
              <a:buFont typeface="Arial" pitchFamily="34" charset="0"/>
              <a:buChar char="•"/>
              <a:tabLst/>
              <a:defRPr sz="2667" kern="1200" spc="0" baseline="0">
                <a:gradFill>
                  <a:gsLst>
                    <a:gs pos="1250">
                      <a:schemeClr val="tx1"/>
                    </a:gs>
                    <a:gs pos="100000">
                      <a:schemeClr val="tx1"/>
                    </a:gs>
                  </a:gsLst>
                  <a:lin ang="5400000" scaled="0"/>
                </a:gradFill>
                <a:latin typeface="+mn-lt"/>
                <a:ea typeface="+mn-ea"/>
                <a:cs typeface="+mn-cs"/>
              </a:defRPr>
            </a:lvl3pPr>
            <a:lvl4pPr marL="1064657" marR="0" indent="-226478" algn="l" defTabSz="93259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4pPr>
            <a:lvl5pPr marL="1219170" marR="0" indent="-226478" algn="l" defTabSz="93259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5pPr>
            <a:lvl6pPr marL="2564633" indent="-233149" algn="l" defTabSz="93259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932" indent="-233149" algn="l" defTabSz="93259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229" indent="-233149" algn="l" defTabSz="93259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528" indent="-233149" algn="l" defTabSz="932594"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3200" dirty="0">
                <a:solidFill>
                  <a:schemeClr val="tx2"/>
                </a:solidFill>
              </a:rPr>
              <a:t>A platform for reliable, </a:t>
            </a:r>
            <a:r>
              <a:rPr lang="en-US" sz="3200" dirty="0" err="1">
                <a:solidFill>
                  <a:schemeClr val="tx2"/>
                </a:solidFill>
              </a:rPr>
              <a:t>hyperscale</a:t>
            </a:r>
            <a:r>
              <a:rPr lang="en-US" sz="3200" dirty="0">
                <a:solidFill>
                  <a:schemeClr val="tx2"/>
                </a:solidFill>
              </a:rPr>
              <a:t>, microservice-based applications</a:t>
            </a:r>
          </a:p>
        </p:txBody>
      </p:sp>
      <p:sp>
        <p:nvSpPr>
          <p:cNvPr id="26" name="Hexagon 25"/>
          <p:cNvSpPr/>
          <p:nvPr/>
        </p:nvSpPr>
        <p:spPr>
          <a:xfrm>
            <a:off x="533813" y="2677732"/>
            <a:ext cx="274879" cy="247959"/>
          </a:xfrm>
          <a:prstGeom prst="hexagon">
            <a:avLst/>
          </a:prstGeom>
          <a:solidFill>
            <a:schemeClr val="tx2"/>
          </a:solidFill>
          <a:ln w="12700" cap="flat" cmpd="sng" algn="ctr">
            <a:noFill/>
            <a:prstDash val="solid"/>
            <a:miter lim="800000"/>
          </a:ln>
          <a:effectLst/>
        </p:spPr>
        <p:txBody>
          <a:bodyPr rtlCol="0" anchor="ctr"/>
          <a:lstStyle/>
          <a:p>
            <a:pPr algn="ctr" defTabSz="914309">
              <a:defRPr/>
            </a:pPr>
            <a:endParaRPr lang="en-US" kern="0">
              <a:latin typeface="Calibri" panose="020F0502020204030204"/>
            </a:endParaRPr>
          </a:p>
        </p:txBody>
      </p:sp>
      <p:sp>
        <p:nvSpPr>
          <p:cNvPr id="28" name="Hexagon 27"/>
          <p:cNvSpPr/>
          <p:nvPr/>
        </p:nvSpPr>
        <p:spPr>
          <a:xfrm>
            <a:off x="992774" y="2677732"/>
            <a:ext cx="274879" cy="247959"/>
          </a:xfrm>
          <a:prstGeom prst="hexagon">
            <a:avLst/>
          </a:prstGeom>
          <a:solidFill>
            <a:schemeClr val="tx2"/>
          </a:solidFill>
          <a:ln w="12700" cap="flat" cmpd="sng" algn="ctr">
            <a:noFill/>
            <a:prstDash val="solid"/>
            <a:miter lim="800000"/>
          </a:ln>
          <a:effectLst/>
        </p:spPr>
        <p:txBody>
          <a:bodyPr rtlCol="0" anchor="ctr"/>
          <a:lstStyle/>
          <a:p>
            <a:pPr algn="ctr" defTabSz="914309">
              <a:defRPr/>
            </a:pPr>
            <a:endParaRPr lang="en-US" kern="0">
              <a:latin typeface="Calibri" panose="020F0502020204030204"/>
            </a:endParaRPr>
          </a:p>
        </p:txBody>
      </p:sp>
      <p:sp>
        <p:nvSpPr>
          <p:cNvPr id="29" name="Hexagon 28"/>
          <p:cNvSpPr/>
          <p:nvPr/>
        </p:nvSpPr>
        <p:spPr>
          <a:xfrm>
            <a:off x="1454221" y="2677732"/>
            <a:ext cx="274879" cy="247959"/>
          </a:xfrm>
          <a:prstGeom prst="hexagon">
            <a:avLst/>
          </a:prstGeom>
          <a:solidFill>
            <a:schemeClr val="tx2"/>
          </a:solidFill>
          <a:ln w="12700" cap="flat" cmpd="sng" algn="ctr">
            <a:noFill/>
            <a:prstDash val="solid"/>
            <a:miter lim="800000"/>
          </a:ln>
          <a:effectLst/>
        </p:spPr>
        <p:txBody>
          <a:bodyPr rtlCol="0" anchor="ctr"/>
          <a:lstStyle/>
          <a:p>
            <a:pPr algn="ctr" defTabSz="914309">
              <a:defRPr/>
            </a:pPr>
            <a:endParaRPr lang="en-US" kern="0">
              <a:latin typeface="Calibri" panose="020F0502020204030204"/>
            </a:endParaRPr>
          </a:p>
        </p:txBody>
      </p:sp>
      <p:sp>
        <p:nvSpPr>
          <p:cNvPr id="30" name="Hexagon 29"/>
          <p:cNvSpPr/>
          <p:nvPr/>
        </p:nvSpPr>
        <p:spPr>
          <a:xfrm>
            <a:off x="1913182" y="2677732"/>
            <a:ext cx="274879" cy="247959"/>
          </a:xfrm>
          <a:prstGeom prst="hexagon">
            <a:avLst/>
          </a:prstGeom>
          <a:solidFill>
            <a:schemeClr val="tx2"/>
          </a:solidFill>
          <a:ln w="12700" cap="flat" cmpd="sng" algn="ctr">
            <a:noFill/>
            <a:prstDash val="solid"/>
            <a:miter lim="800000"/>
          </a:ln>
          <a:effectLst/>
        </p:spPr>
        <p:txBody>
          <a:bodyPr rtlCol="0" anchor="ctr"/>
          <a:lstStyle/>
          <a:p>
            <a:pPr algn="ctr" defTabSz="914309">
              <a:defRPr/>
            </a:pPr>
            <a:endParaRPr lang="en-US" kern="0">
              <a:latin typeface="Calibri" panose="020F0502020204030204"/>
            </a:endParaRPr>
          </a:p>
        </p:txBody>
      </p:sp>
      <p:sp>
        <p:nvSpPr>
          <p:cNvPr id="31" name="Hexagon 30"/>
          <p:cNvSpPr/>
          <p:nvPr/>
        </p:nvSpPr>
        <p:spPr>
          <a:xfrm>
            <a:off x="2375815" y="2677732"/>
            <a:ext cx="274879" cy="247959"/>
          </a:xfrm>
          <a:prstGeom prst="hexagon">
            <a:avLst/>
          </a:prstGeom>
          <a:solidFill>
            <a:schemeClr val="tx2"/>
          </a:solidFill>
          <a:ln w="12700" cap="flat" cmpd="sng" algn="ctr">
            <a:noFill/>
            <a:prstDash val="solid"/>
            <a:miter lim="800000"/>
          </a:ln>
          <a:effectLst/>
        </p:spPr>
        <p:txBody>
          <a:bodyPr rtlCol="0" anchor="ctr"/>
          <a:lstStyle/>
          <a:p>
            <a:pPr algn="ctr" defTabSz="914309">
              <a:defRPr/>
            </a:pPr>
            <a:endParaRPr lang="en-US" kern="0">
              <a:latin typeface="Calibri" panose="020F0502020204030204"/>
            </a:endParaRPr>
          </a:p>
        </p:txBody>
      </p:sp>
      <p:sp>
        <p:nvSpPr>
          <p:cNvPr id="32" name="Hexagon 31"/>
          <p:cNvSpPr/>
          <p:nvPr/>
        </p:nvSpPr>
        <p:spPr>
          <a:xfrm>
            <a:off x="2831105" y="2677732"/>
            <a:ext cx="274879" cy="247959"/>
          </a:xfrm>
          <a:prstGeom prst="hexagon">
            <a:avLst/>
          </a:prstGeom>
          <a:solidFill>
            <a:schemeClr val="tx2"/>
          </a:solidFill>
          <a:ln w="12700" cap="flat" cmpd="sng" algn="ctr">
            <a:noFill/>
            <a:prstDash val="solid"/>
            <a:miter lim="800000"/>
          </a:ln>
          <a:effectLst/>
        </p:spPr>
        <p:txBody>
          <a:bodyPr rtlCol="0" anchor="ctr"/>
          <a:lstStyle/>
          <a:p>
            <a:pPr algn="ctr" defTabSz="914309">
              <a:defRPr/>
            </a:pPr>
            <a:endParaRPr lang="en-US" kern="0">
              <a:latin typeface="Calibri" panose="020F0502020204030204"/>
            </a:endParaRPr>
          </a:p>
        </p:txBody>
      </p:sp>
      <p:sp>
        <p:nvSpPr>
          <p:cNvPr id="35" name="Hexagon 34"/>
          <p:cNvSpPr/>
          <p:nvPr/>
        </p:nvSpPr>
        <p:spPr>
          <a:xfrm>
            <a:off x="3288881" y="2677732"/>
            <a:ext cx="274879" cy="247959"/>
          </a:xfrm>
          <a:prstGeom prst="hexagon">
            <a:avLst/>
          </a:prstGeom>
          <a:solidFill>
            <a:schemeClr val="tx2"/>
          </a:solidFill>
          <a:ln w="12700" cap="flat" cmpd="sng" algn="ctr">
            <a:noFill/>
            <a:prstDash val="solid"/>
            <a:miter lim="800000"/>
          </a:ln>
          <a:effectLst/>
        </p:spPr>
        <p:txBody>
          <a:bodyPr rtlCol="0" anchor="ctr"/>
          <a:lstStyle/>
          <a:p>
            <a:pPr algn="ctr" defTabSz="914309">
              <a:defRPr/>
            </a:pPr>
            <a:endParaRPr lang="en-US" kern="0">
              <a:latin typeface="Calibri" panose="020F0502020204030204"/>
            </a:endParaRPr>
          </a:p>
        </p:txBody>
      </p:sp>
      <p:sp>
        <p:nvSpPr>
          <p:cNvPr id="40" name="Hexagon 39"/>
          <p:cNvSpPr/>
          <p:nvPr/>
        </p:nvSpPr>
        <p:spPr>
          <a:xfrm>
            <a:off x="3756829" y="2677732"/>
            <a:ext cx="274879" cy="247959"/>
          </a:xfrm>
          <a:prstGeom prst="hexagon">
            <a:avLst/>
          </a:prstGeom>
          <a:solidFill>
            <a:schemeClr val="tx2"/>
          </a:solidFill>
          <a:ln w="12700" cap="flat" cmpd="sng" algn="ctr">
            <a:noFill/>
            <a:prstDash val="solid"/>
            <a:miter lim="800000"/>
          </a:ln>
          <a:effectLst/>
        </p:spPr>
        <p:txBody>
          <a:bodyPr rtlCol="0" anchor="ctr"/>
          <a:lstStyle/>
          <a:p>
            <a:pPr algn="ctr" defTabSz="914309">
              <a:defRPr/>
            </a:pPr>
            <a:endParaRPr lang="en-US" kern="0">
              <a:latin typeface="Calibri" panose="020F0502020204030204"/>
            </a:endParaRPr>
          </a:p>
        </p:txBody>
      </p:sp>
      <p:sp>
        <p:nvSpPr>
          <p:cNvPr id="45" name="Hexagon 44"/>
          <p:cNvSpPr/>
          <p:nvPr/>
        </p:nvSpPr>
        <p:spPr>
          <a:xfrm>
            <a:off x="4218628" y="2679053"/>
            <a:ext cx="274879" cy="247959"/>
          </a:xfrm>
          <a:prstGeom prst="hexagon">
            <a:avLst/>
          </a:prstGeom>
          <a:solidFill>
            <a:schemeClr val="tx2"/>
          </a:solidFill>
          <a:ln w="12700" cap="flat" cmpd="sng" algn="ctr">
            <a:noFill/>
            <a:prstDash val="solid"/>
            <a:miter lim="800000"/>
          </a:ln>
          <a:effectLst/>
        </p:spPr>
        <p:txBody>
          <a:bodyPr rtlCol="0" anchor="ctr"/>
          <a:lstStyle/>
          <a:p>
            <a:pPr algn="ctr" defTabSz="914309">
              <a:defRPr/>
            </a:pPr>
            <a:endParaRPr lang="en-US" kern="0">
              <a:latin typeface="Calibri" panose="020F0502020204030204"/>
            </a:endParaRPr>
          </a:p>
        </p:txBody>
      </p:sp>
      <p:sp>
        <p:nvSpPr>
          <p:cNvPr id="46" name="Hexagon 45"/>
          <p:cNvSpPr/>
          <p:nvPr/>
        </p:nvSpPr>
        <p:spPr>
          <a:xfrm>
            <a:off x="4677590" y="2679053"/>
            <a:ext cx="274879" cy="247959"/>
          </a:xfrm>
          <a:prstGeom prst="hexagon">
            <a:avLst/>
          </a:prstGeom>
          <a:solidFill>
            <a:schemeClr val="tx2"/>
          </a:solidFill>
          <a:ln w="12700" cap="flat" cmpd="sng" algn="ctr">
            <a:noFill/>
            <a:prstDash val="solid"/>
            <a:miter lim="800000"/>
          </a:ln>
          <a:effectLst/>
        </p:spPr>
        <p:txBody>
          <a:bodyPr rtlCol="0" anchor="ctr"/>
          <a:lstStyle/>
          <a:p>
            <a:pPr algn="ctr" defTabSz="914309">
              <a:defRPr/>
            </a:pPr>
            <a:endParaRPr lang="en-US" kern="0">
              <a:latin typeface="Calibri" panose="020F0502020204030204"/>
            </a:endParaRPr>
          </a:p>
        </p:txBody>
      </p:sp>
      <p:sp>
        <p:nvSpPr>
          <p:cNvPr id="47" name="Hexagon 46"/>
          <p:cNvSpPr/>
          <p:nvPr/>
        </p:nvSpPr>
        <p:spPr>
          <a:xfrm>
            <a:off x="5139037" y="2679053"/>
            <a:ext cx="274879" cy="247959"/>
          </a:xfrm>
          <a:prstGeom prst="hexagon">
            <a:avLst/>
          </a:prstGeom>
          <a:solidFill>
            <a:schemeClr val="tx2"/>
          </a:solidFill>
          <a:ln w="12700" cap="flat" cmpd="sng" algn="ctr">
            <a:noFill/>
            <a:prstDash val="solid"/>
            <a:miter lim="800000"/>
          </a:ln>
          <a:effectLst/>
        </p:spPr>
        <p:txBody>
          <a:bodyPr rtlCol="0" anchor="ctr"/>
          <a:lstStyle/>
          <a:p>
            <a:pPr algn="ctr" defTabSz="914309">
              <a:defRPr/>
            </a:pPr>
            <a:endParaRPr lang="en-US" kern="0">
              <a:latin typeface="Calibri" panose="020F0502020204030204"/>
            </a:endParaRPr>
          </a:p>
        </p:txBody>
      </p:sp>
      <p:sp>
        <p:nvSpPr>
          <p:cNvPr id="48" name="Hexagon 47"/>
          <p:cNvSpPr/>
          <p:nvPr/>
        </p:nvSpPr>
        <p:spPr>
          <a:xfrm>
            <a:off x="5597998" y="2679053"/>
            <a:ext cx="274879" cy="247959"/>
          </a:xfrm>
          <a:prstGeom prst="hexagon">
            <a:avLst/>
          </a:prstGeom>
          <a:solidFill>
            <a:schemeClr val="tx2"/>
          </a:solidFill>
          <a:ln w="12700" cap="flat" cmpd="sng" algn="ctr">
            <a:noFill/>
            <a:prstDash val="solid"/>
            <a:miter lim="800000"/>
          </a:ln>
          <a:effectLst/>
        </p:spPr>
        <p:txBody>
          <a:bodyPr rtlCol="0" anchor="ctr"/>
          <a:lstStyle/>
          <a:p>
            <a:pPr algn="ctr" defTabSz="914309">
              <a:defRPr/>
            </a:pPr>
            <a:endParaRPr lang="en-US" kern="0">
              <a:latin typeface="Calibri" panose="020F0502020204030204"/>
            </a:endParaRPr>
          </a:p>
        </p:txBody>
      </p:sp>
      <p:sp>
        <p:nvSpPr>
          <p:cNvPr id="49" name="Hexagon 48"/>
          <p:cNvSpPr/>
          <p:nvPr/>
        </p:nvSpPr>
        <p:spPr>
          <a:xfrm>
            <a:off x="6056959" y="2679053"/>
            <a:ext cx="274879" cy="247959"/>
          </a:xfrm>
          <a:prstGeom prst="hexagon">
            <a:avLst/>
          </a:prstGeom>
          <a:solidFill>
            <a:schemeClr val="tx2"/>
          </a:solidFill>
          <a:ln w="12700" cap="flat" cmpd="sng" algn="ctr">
            <a:noFill/>
            <a:prstDash val="solid"/>
            <a:miter lim="800000"/>
          </a:ln>
          <a:effectLst/>
        </p:spPr>
        <p:txBody>
          <a:bodyPr rtlCol="0" anchor="ctr"/>
          <a:lstStyle/>
          <a:p>
            <a:pPr algn="ctr" defTabSz="914309">
              <a:defRPr/>
            </a:pPr>
            <a:endParaRPr lang="en-US" kern="0">
              <a:latin typeface="Calibri" panose="020F0502020204030204"/>
            </a:endParaRPr>
          </a:p>
        </p:txBody>
      </p:sp>
      <p:sp>
        <p:nvSpPr>
          <p:cNvPr id="50" name="Hexagon 49"/>
          <p:cNvSpPr/>
          <p:nvPr/>
        </p:nvSpPr>
        <p:spPr>
          <a:xfrm>
            <a:off x="6518814" y="2679053"/>
            <a:ext cx="274879" cy="247959"/>
          </a:xfrm>
          <a:prstGeom prst="hexagon">
            <a:avLst/>
          </a:prstGeom>
          <a:solidFill>
            <a:schemeClr val="tx2"/>
          </a:solidFill>
          <a:ln w="12700" cap="flat" cmpd="sng" algn="ctr">
            <a:noFill/>
            <a:prstDash val="solid"/>
            <a:miter lim="800000"/>
          </a:ln>
          <a:effectLst/>
        </p:spPr>
        <p:txBody>
          <a:bodyPr rtlCol="0" anchor="ctr"/>
          <a:lstStyle/>
          <a:p>
            <a:pPr algn="ctr" defTabSz="914309">
              <a:defRPr/>
            </a:pPr>
            <a:endParaRPr lang="en-US" kern="0">
              <a:latin typeface="Calibri" panose="020F0502020204030204"/>
            </a:endParaRPr>
          </a:p>
        </p:txBody>
      </p:sp>
      <p:sp>
        <p:nvSpPr>
          <p:cNvPr id="51" name="Hexagon 50"/>
          <p:cNvSpPr/>
          <p:nvPr/>
        </p:nvSpPr>
        <p:spPr>
          <a:xfrm>
            <a:off x="6980262" y="2679053"/>
            <a:ext cx="274879" cy="247959"/>
          </a:xfrm>
          <a:prstGeom prst="hexagon">
            <a:avLst/>
          </a:prstGeom>
          <a:solidFill>
            <a:schemeClr val="tx2"/>
          </a:solidFill>
          <a:ln w="12700" cap="flat" cmpd="sng" algn="ctr">
            <a:noFill/>
            <a:prstDash val="solid"/>
            <a:miter lim="800000"/>
          </a:ln>
          <a:effectLst/>
        </p:spPr>
        <p:txBody>
          <a:bodyPr rtlCol="0" anchor="ctr"/>
          <a:lstStyle/>
          <a:p>
            <a:pPr algn="ctr" defTabSz="914309">
              <a:defRPr/>
            </a:pPr>
            <a:endParaRPr lang="en-US" kern="0">
              <a:latin typeface="Calibri" panose="020F0502020204030204"/>
            </a:endParaRPr>
          </a:p>
        </p:txBody>
      </p:sp>
      <p:sp>
        <p:nvSpPr>
          <p:cNvPr id="52" name="Hexagon 51"/>
          <p:cNvSpPr/>
          <p:nvPr/>
        </p:nvSpPr>
        <p:spPr>
          <a:xfrm>
            <a:off x="7439223" y="2679053"/>
            <a:ext cx="274879" cy="247959"/>
          </a:xfrm>
          <a:prstGeom prst="hexagon">
            <a:avLst/>
          </a:prstGeom>
          <a:solidFill>
            <a:schemeClr val="tx2"/>
          </a:solidFill>
          <a:ln w="12700" cap="flat" cmpd="sng" algn="ctr">
            <a:noFill/>
            <a:prstDash val="solid"/>
            <a:miter lim="800000"/>
          </a:ln>
          <a:effectLst/>
        </p:spPr>
        <p:txBody>
          <a:bodyPr rtlCol="0" anchor="ctr"/>
          <a:lstStyle/>
          <a:p>
            <a:pPr algn="ctr" defTabSz="914309">
              <a:defRPr/>
            </a:pPr>
            <a:endParaRPr lang="en-US" kern="0">
              <a:latin typeface="Calibri" panose="020F0502020204030204"/>
            </a:endParaRPr>
          </a:p>
        </p:txBody>
      </p:sp>
      <p:sp>
        <p:nvSpPr>
          <p:cNvPr id="53" name="Hexagon 52"/>
          <p:cNvSpPr/>
          <p:nvPr/>
        </p:nvSpPr>
        <p:spPr>
          <a:xfrm>
            <a:off x="7903462" y="2682597"/>
            <a:ext cx="274879" cy="247959"/>
          </a:xfrm>
          <a:prstGeom prst="hexagon">
            <a:avLst/>
          </a:prstGeom>
          <a:solidFill>
            <a:schemeClr val="tx2"/>
          </a:solidFill>
          <a:ln w="12700" cap="flat" cmpd="sng" algn="ctr">
            <a:noFill/>
            <a:prstDash val="solid"/>
            <a:miter lim="800000"/>
          </a:ln>
          <a:effectLst/>
        </p:spPr>
        <p:txBody>
          <a:bodyPr rtlCol="0" anchor="ctr"/>
          <a:lstStyle/>
          <a:p>
            <a:pPr algn="ctr" defTabSz="914309">
              <a:defRPr/>
            </a:pPr>
            <a:endParaRPr lang="en-US" kern="0">
              <a:latin typeface="Calibri" panose="020F0502020204030204"/>
            </a:endParaRPr>
          </a:p>
        </p:txBody>
      </p:sp>
      <p:sp>
        <p:nvSpPr>
          <p:cNvPr id="54" name="Hexagon 53"/>
          <p:cNvSpPr/>
          <p:nvPr/>
        </p:nvSpPr>
        <p:spPr>
          <a:xfrm>
            <a:off x="8362895" y="2682597"/>
            <a:ext cx="274879" cy="247959"/>
          </a:xfrm>
          <a:prstGeom prst="hexagon">
            <a:avLst/>
          </a:prstGeom>
          <a:solidFill>
            <a:schemeClr val="tx2"/>
          </a:solidFill>
          <a:ln w="12700" cap="flat" cmpd="sng" algn="ctr">
            <a:noFill/>
            <a:prstDash val="solid"/>
            <a:miter lim="800000"/>
          </a:ln>
          <a:effectLst/>
        </p:spPr>
        <p:txBody>
          <a:bodyPr rtlCol="0" anchor="ctr"/>
          <a:lstStyle/>
          <a:p>
            <a:pPr algn="ctr" defTabSz="914309">
              <a:defRPr/>
            </a:pPr>
            <a:endParaRPr lang="en-US" kern="0">
              <a:latin typeface="Calibri" panose="020F0502020204030204"/>
            </a:endParaRPr>
          </a:p>
        </p:txBody>
      </p:sp>
      <p:sp>
        <p:nvSpPr>
          <p:cNvPr id="55" name="Hexagon 54"/>
          <p:cNvSpPr/>
          <p:nvPr/>
        </p:nvSpPr>
        <p:spPr>
          <a:xfrm>
            <a:off x="8816221" y="2682597"/>
            <a:ext cx="274879" cy="247959"/>
          </a:xfrm>
          <a:prstGeom prst="hexagon">
            <a:avLst/>
          </a:prstGeom>
          <a:solidFill>
            <a:schemeClr val="tx2"/>
          </a:solidFill>
          <a:ln w="12700" cap="flat" cmpd="sng" algn="ctr">
            <a:noFill/>
            <a:prstDash val="solid"/>
            <a:miter lim="800000"/>
          </a:ln>
          <a:effectLst/>
        </p:spPr>
        <p:txBody>
          <a:bodyPr rtlCol="0" anchor="ctr"/>
          <a:lstStyle/>
          <a:p>
            <a:pPr algn="ctr" defTabSz="914309">
              <a:defRPr/>
            </a:pPr>
            <a:endParaRPr lang="en-US" kern="0">
              <a:latin typeface="Calibri" panose="020F0502020204030204"/>
            </a:endParaRPr>
          </a:p>
        </p:txBody>
      </p:sp>
      <p:sp>
        <p:nvSpPr>
          <p:cNvPr id="56" name="Hexagon 55"/>
          <p:cNvSpPr/>
          <p:nvPr/>
        </p:nvSpPr>
        <p:spPr>
          <a:xfrm>
            <a:off x="9275183" y="2682597"/>
            <a:ext cx="274879" cy="247959"/>
          </a:xfrm>
          <a:prstGeom prst="hexagon">
            <a:avLst/>
          </a:prstGeom>
          <a:solidFill>
            <a:schemeClr val="tx2"/>
          </a:solidFill>
          <a:ln w="12700" cap="flat" cmpd="sng" algn="ctr">
            <a:noFill/>
            <a:prstDash val="solid"/>
            <a:miter lim="800000"/>
          </a:ln>
          <a:effectLst/>
        </p:spPr>
        <p:txBody>
          <a:bodyPr rtlCol="0" anchor="ctr"/>
          <a:lstStyle/>
          <a:p>
            <a:pPr algn="ctr" defTabSz="914309">
              <a:defRPr/>
            </a:pPr>
            <a:endParaRPr lang="en-US" kern="0">
              <a:latin typeface="Calibri" panose="020F0502020204030204"/>
            </a:endParaRPr>
          </a:p>
        </p:txBody>
      </p:sp>
      <p:sp>
        <p:nvSpPr>
          <p:cNvPr id="57" name="Hexagon 56"/>
          <p:cNvSpPr/>
          <p:nvPr/>
        </p:nvSpPr>
        <p:spPr>
          <a:xfrm>
            <a:off x="9735482" y="2682597"/>
            <a:ext cx="274879" cy="247959"/>
          </a:xfrm>
          <a:prstGeom prst="hexagon">
            <a:avLst/>
          </a:prstGeom>
          <a:solidFill>
            <a:schemeClr val="tx2"/>
          </a:solidFill>
          <a:ln w="12700" cap="flat" cmpd="sng" algn="ctr">
            <a:noFill/>
            <a:prstDash val="solid"/>
            <a:miter lim="800000"/>
          </a:ln>
          <a:effectLst/>
        </p:spPr>
        <p:txBody>
          <a:bodyPr rtlCol="0" anchor="ctr"/>
          <a:lstStyle/>
          <a:p>
            <a:pPr algn="ctr" defTabSz="914309">
              <a:defRPr/>
            </a:pPr>
            <a:endParaRPr lang="en-US" kern="0">
              <a:latin typeface="Calibri" panose="020F0502020204030204"/>
            </a:endParaRPr>
          </a:p>
        </p:txBody>
      </p:sp>
      <p:sp>
        <p:nvSpPr>
          <p:cNvPr id="58" name="Hexagon 57"/>
          <p:cNvSpPr/>
          <p:nvPr/>
        </p:nvSpPr>
        <p:spPr>
          <a:xfrm>
            <a:off x="10197337" y="2682597"/>
            <a:ext cx="274879" cy="247959"/>
          </a:xfrm>
          <a:prstGeom prst="hexagon">
            <a:avLst/>
          </a:prstGeom>
          <a:solidFill>
            <a:schemeClr val="tx2"/>
          </a:solidFill>
          <a:ln w="12700" cap="flat" cmpd="sng" algn="ctr">
            <a:noFill/>
            <a:prstDash val="solid"/>
            <a:miter lim="800000"/>
          </a:ln>
          <a:effectLst/>
        </p:spPr>
        <p:txBody>
          <a:bodyPr rtlCol="0" anchor="ctr"/>
          <a:lstStyle/>
          <a:p>
            <a:pPr algn="ctr" defTabSz="914309">
              <a:defRPr/>
            </a:pPr>
            <a:endParaRPr lang="en-US" kern="0">
              <a:latin typeface="Calibri" panose="020F0502020204030204"/>
            </a:endParaRPr>
          </a:p>
        </p:txBody>
      </p:sp>
      <p:sp>
        <p:nvSpPr>
          <p:cNvPr id="59" name="Hexagon 58"/>
          <p:cNvSpPr/>
          <p:nvPr/>
        </p:nvSpPr>
        <p:spPr>
          <a:xfrm>
            <a:off x="10655112" y="2682597"/>
            <a:ext cx="274879" cy="247959"/>
          </a:xfrm>
          <a:prstGeom prst="hexagon">
            <a:avLst/>
          </a:prstGeom>
          <a:solidFill>
            <a:schemeClr val="tx2"/>
          </a:solidFill>
          <a:ln w="12700" cap="flat" cmpd="sng" algn="ctr">
            <a:noFill/>
            <a:prstDash val="solid"/>
            <a:miter lim="800000"/>
          </a:ln>
          <a:effectLst/>
        </p:spPr>
        <p:txBody>
          <a:bodyPr rtlCol="0" anchor="ctr"/>
          <a:lstStyle/>
          <a:p>
            <a:pPr algn="ctr" defTabSz="914309">
              <a:defRPr/>
            </a:pPr>
            <a:endParaRPr lang="en-US" kern="0">
              <a:latin typeface="Calibri" panose="020F0502020204030204"/>
            </a:endParaRPr>
          </a:p>
        </p:txBody>
      </p:sp>
      <p:sp>
        <p:nvSpPr>
          <p:cNvPr id="60" name="Hexagon 59"/>
          <p:cNvSpPr/>
          <p:nvPr/>
        </p:nvSpPr>
        <p:spPr>
          <a:xfrm>
            <a:off x="11116967" y="2682597"/>
            <a:ext cx="274879" cy="247959"/>
          </a:xfrm>
          <a:prstGeom prst="hexagon">
            <a:avLst/>
          </a:prstGeom>
          <a:solidFill>
            <a:schemeClr val="tx2"/>
          </a:solidFill>
          <a:ln w="12700" cap="flat" cmpd="sng" algn="ctr">
            <a:noFill/>
            <a:prstDash val="solid"/>
            <a:miter lim="800000"/>
          </a:ln>
          <a:effectLst/>
        </p:spPr>
        <p:txBody>
          <a:bodyPr rtlCol="0" anchor="ctr"/>
          <a:lstStyle/>
          <a:p>
            <a:pPr algn="ctr" defTabSz="914309">
              <a:defRPr/>
            </a:pPr>
            <a:endParaRPr lang="en-US" kern="0">
              <a:latin typeface="Calibri" panose="020F0502020204030204"/>
            </a:endParaRPr>
          </a:p>
        </p:txBody>
      </p:sp>
      <p:sp>
        <p:nvSpPr>
          <p:cNvPr id="62" name="TextBox 61"/>
          <p:cNvSpPr txBox="1"/>
          <p:nvPr/>
        </p:nvSpPr>
        <p:spPr>
          <a:xfrm>
            <a:off x="5075734" y="2793875"/>
            <a:ext cx="2316985" cy="461665"/>
          </a:xfrm>
          <a:prstGeom prst="rect">
            <a:avLst/>
          </a:prstGeom>
          <a:noFill/>
        </p:spPr>
        <p:txBody>
          <a:bodyPr wrap="square" rtlCol="0">
            <a:spAutoFit/>
          </a:bodyPr>
          <a:lstStyle/>
          <a:p>
            <a:pPr defTabSz="914309"/>
            <a:r>
              <a:rPr lang="en-US" sz="2400" dirty="0">
                <a:solidFill>
                  <a:schemeClr val="bg1"/>
                </a:solidFill>
                <a:latin typeface="Segoe UI Semibold" panose="020B0702040204020203" pitchFamily="34" charset="0"/>
                <a:cs typeface="Segoe UI Semibold" panose="020B0702040204020203" pitchFamily="34" charset="0"/>
              </a:rPr>
              <a:t>Service Fabric</a:t>
            </a:r>
          </a:p>
        </p:txBody>
      </p:sp>
      <p:sp>
        <p:nvSpPr>
          <p:cNvPr id="63" name="TextBox 62"/>
          <p:cNvSpPr txBox="1"/>
          <p:nvPr/>
        </p:nvSpPr>
        <p:spPr>
          <a:xfrm>
            <a:off x="601293" y="2916953"/>
            <a:ext cx="1228093" cy="261610"/>
          </a:xfrm>
          <a:prstGeom prst="rect">
            <a:avLst/>
          </a:prstGeom>
          <a:noFill/>
        </p:spPr>
        <p:txBody>
          <a:bodyPr wrap="square" rtlCol="0">
            <a:spAutoFit/>
          </a:bodyPr>
          <a:lstStyle/>
          <a:p>
            <a:pPr defTabSz="914309"/>
            <a:r>
              <a:rPr lang="en-US" sz="1100" dirty="0">
                <a:solidFill>
                  <a:schemeClr val="bg1"/>
                </a:solidFill>
                <a:latin typeface="Segoe UI Semibold" panose="020B0702040204020203" pitchFamily="34" charset="0"/>
                <a:cs typeface="Segoe UI Semibold" panose="020B0702040204020203" pitchFamily="34" charset="0"/>
              </a:rPr>
              <a:t>High Availability</a:t>
            </a:r>
          </a:p>
        </p:txBody>
      </p:sp>
      <p:sp>
        <p:nvSpPr>
          <p:cNvPr id="64" name="TextBox 63"/>
          <p:cNvSpPr txBox="1"/>
          <p:nvPr/>
        </p:nvSpPr>
        <p:spPr>
          <a:xfrm>
            <a:off x="2054102" y="3528671"/>
            <a:ext cx="1183209" cy="261610"/>
          </a:xfrm>
          <a:prstGeom prst="rect">
            <a:avLst/>
          </a:prstGeom>
          <a:noFill/>
        </p:spPr>
        <p:txBody>
          <a:bodyPr wrap="square" rtlCol="0">
            <a:spAutoFit/>
          </a:bodyPr>
          <a:lstStyle/>
          <a:p>
            <a:pPr defTabSz="914309"/>
            <a:r>
              <a:rPr lang="en-US" sz="1100" dirty="0">
                <a:solidFill>
                  <a:schemeClr val="bg1"/>
                </a:solidFill>
                <a:latin typeface="Segoe UI Semibold" panose="020B0702040204020203" pitchFamily="34" charset="0"/>
                <a:cs typeface="Segoe UI Semibold" panose="020B0702040204020203" pitchFamily="34" charset="0"/>
              </a:rPr>
              <a:t>Hyper-Scale</a:t>
            </a:r>
          </a:p>
        </p:txBody>
      </p:sp>
      <p:sp>
        <p:nvSpPr>
          <p:cNvPr id="65" name="TextBox 64"/>
          <p:cNvSpPr txBox="1"/>
          <p:nvPr/>
        </p:nvSpPr>
        <p:spPr>
          <a:xfrm>
            <a:off x="2005335" y="2953331"/>
            <a:ext cx="1403713" cy="261610"/>
          </a:xfrm>
          <a:prstGeom prst="rect">
            <a:avLst/>
          </a:prstGeom>
          <a:noFill/>
        </p:spPr>
        <p:txBody>
          <a:bodyPr wrap="square" rtlCol="0">
            <a:spAutoFit/>
          </a:bodyPr>
          <a:lstStyle/>
          <a:p>
            <a:pPr defTabSz="914309"/>
            <a:r>
              <a:rPr lang="en-US" sz="1100" dirty="0">
                <a:solidFill>
                  <a:schemeClr val="bg1"/>
                </a:solidFill>
                <a:latin typeface="Segoe UI Semibold" panose="020B0702040204020203" pitchFamily="34" charset="0"/>
                <a:cs typeface="Segoe UI Semibold" panose="020B0702040204020203" pitchFamily="34" charset="0"/>
              </a:rPr>
              <a:t>Hybrid Operations</a:t>
            </a:r>
          </a:p>
        </p:txBody>
      </p:sp>
      <p:sp>
        <p:nvSpPr>
          <p:cNvPr id="66" name="TextBox 65"/>
          <p:cNvSpPr txBox="1"/>
          <p:nvPr/>
        </p:nvSpPr>
        <p:spPr>
          <a:xfrm>
            <a:off x="2565645" y="3265518"/>
            <a:ext cx="1074647" cy="261610"/>
          </a:xfrm>
          <a:prstGeom prst="rect">
            <a:avLst/>
          </a:prstGeom>
          <a:noFill/>
        </p:spPr>
        <p:txBody>
          <a:bodyPr wrap="square" rtlCol="0">
            <a:spAutoFit/>
          </a:bodyPr>
          <a:lstStyle/>
          <a:p>
            <a:pPr defTabSz="914309"/>
            <a:r>
              <a:rPr lang="en-US" sz="1100" dirty="0">
                <a:solidFill>
                  <a:schemeClr val="bg1"/>
                </a:solidFill>
                <a:latin typeface="Segoe UI Semibold" panose="020B0702040204020203" pitchFamily="34" charset="0"/>
                <a:cs typeface="Segoe UI Semibold" panose="020B0702040204020203" pitchFamily="34" charset="0"/>
              </a:rPr>
              <a:t>High Density</a:t>
            </a:r>
          </a:p>
        </p:txBody>
      </p:sp>
      <p:grpSp>
        <p:nvGrpSpPr>
          <p:cNvPr id="67" name="Group 66"/>
          <p:cNvGrpSpPr/>
          <p:nvPr/>
        </p:nvGrpSpPr>
        <p:grpSpPr>
          <a:xfrm>
            <a:off x="534469" y="2108216"/>
            <a:ext cx="11084160" cy="654818"/>
            <a:chOff x="534536" y="1849823"/>
            <a:chExt cx="11085575" cy="654902"/>
          </a:xfrm>
        </p:grpSpPr>
        <p:sp>
          <p:nvSpPr>
            <p:cNvPr id="68" name="Hexagon 67"/>
            <p:cNvSpPr/>
            <p:nvPr/>
          </p:nvSpPr>
          <p:spPr>
            <a:xfrm>
              <a:off x="534536" y="1853051"/>
              <a:ext cx="274914" cy="247991"/>
            </a:xfrm>
            <a:prstGeom prst="hexagon">
              <a:avLst/>
            </a:prstGeom>
            <a:solidFill>
              <a:srgbClr val="5B9BD5"/>
            </a:solidFill>
            <a:ln w="12700" cap="flat" cmpd="sng" algn="ctr">
              <a:noFill/>
              <a:prstDash val="solid"/>
              <a:miter lim="800000"/>
            </a:ln>
            <a:effectLst/>
          </p:spPr>
          <p:txBody>
            <a:bodyPr rtlCol="0" anchor="ctr"/>
            <a:lstStyle/>
            <a:p>
              <a:pPr algn="ctr" defTabSz="914309">
                <a:defRPr/>
              </a:pPr>
              <a:endParaRPr lang="en-US" kern="0">
                <a:solidFill>
                  <a:srgbClr val="FFFFFF"/>
                </a:solidFill>
                <a:latin typeface="Calibri" panose="020F0502020204030204"/>
              </a:endParaRPr>
            </a:p>
          </p:txBody>
        </p:sp>
        <p:sp>
          <p:nvSpPr>
            <p:cNvPr id="69" name="Hexagon 68"/>
            <p:cNvSpPr/>
            <p:nvPr/>
          </p:nvSpPr>
          <p:spPr>
            <a:xfrm>
              <a:off x="765473" y="1984139"/>
              <a:ext cx="274914" cy="247991"/>
            </a:xfrm>
            <a:prstGeom prst="hexagon">
              <a:avLst/>
            </a:prstGeom>
            <a:solidFill>
              <a:srgbClr val="5B9BD5"/>
            </a:solidFill>
            <a:ln w="12700" cap="flat" cmpd="sng" algn="ctr">
              <a:noFill/>
              <a:prstDash val="solid"/>
              <a:miter lim="800000"/>
            </a:ln>
            <a:effectLst/>
          </p:spPr>
          <p:txBody>
            <a:bodyPr rtlCol="0" anchor="ctr"/>
            <a:lstStyle/>
            <a:p>
              <a:pPr algn="ctr" defTabSz="914309">
                <a:defRPr/>
              </a:pPr>
              <a:endParaRPr lang="en-US" kern="0">
                <a:solidFill>
                  <a:srgbClr val="FFFFFF"/>
                </a:solidFill>
                <a:latin typeface="Calibri" panose="020F0502020204030204"/>
              </a:endParaRPr>
            </a:p>
          </p:txBody>
        </p:sp>
        <p:sp>
          <p:nvSpPr>
            <p:cNvPr id="70" name="Hexagon 69"/>
            <p:cNvSpPr/>
            <p:nvPr/>
          </p:nvSpPr>
          <p:spPr>
            <a:xfrm>
              <a:off x="534536" y="2119776"/>
              <a:ext cx="274914" cy="247991"/>
            </a:xfrm>
            <a:prstGeom prst="hexagon">
              <a:avLst/>
            </a:prstGeom>
            <a:solidFill>
              <a:srgbClr val="5B9BD5"/>
            </a:solidFill>
            <a:ln w="12700" cap="flat" cmpd="sng" algn="ctr">
              <a:noFill/>
              <a:prstDash val="solid"/>
              <a:miter lim="800000"/>
            </a:ln>
            <a:effectLst/>
          </p:spPr>
          <p:txBody>
            <a:bodyPr rtlCol="0" anchor="ctr"/>
            <a:lstStyle/>
            <a:p>
              <a:pPr algn="ctr" defTabSz="914309">
                <a:defRPr/>
              </a:pPr>
              <a:endParaRPr lang="en-US" kern="0">
                <a:solidFill>
                  <a:srgbClr val="FFFFFF"/>
                </a:solidFill>
                <a:latin typeface="Calibri" panose="020F0502020204030204"/>
              </a:endParaRPr>
            </a:p>
          </p:txBody>
        </p:sp>
        <p:sp>
          <p:nvSpPr>
            <p:cNvPr id="71" name="Hexagon 70"/>
            <p:cNvSpPr/>
            <p:nvPr/>
          </p:nvSpPr>
          <p:spPr>
            <a:xfrm>
              <a:off x="765473" y="2250864"/>
              <a:ext cx="274914" cy="247991"/>
            </a:xfrm>
            <a:prstGeom prst="hexagon">
              <a:avLst/>
            </a:prstGeom>
            <a:solidFill>
              <a:srgbClr val="5B9BD5"/>
            </a:solidFill>
            <a:ln w="12700" cap="flat" cmpd="sng" algn="ctr">
              <a:noFill/>
              <a:prstDash val="solid"/>
              <a:miter lim="800000"/>
            </a:ln>
            <a:effectLst/>
          </p:spPr>
          <p:txBody>
            <a:bodyPr rtlCol="0" anchor="ctr"/>
            <a:lstStyle/>
            <a:p>
              <a:pPr algn="ctr" defTabSz="914309">
                <a:defRPr/>
              </a:pPr>
              <a:endParaRPr lang="en-US" kern="0">
                <a:solidFill>
                  <a:srgbClr val="FFFFFF"/>
                </a:solidFill>
                <a:latin typeface="Calibri" panose="020F0502020204030204"/>
              </a:endParaRPr>
            </a:p>
          </p:txBody>
        </p:sp>
        <p:cxnSp>
          <p:nvCxnSpPr>
            <p:cNvPr id="72" name="Straight Connector 71"/>
            <p:cNvCxnSpPr/>
            <p:nvPr/>
          </p:nvCxnSpPr>
          <p:spPr>
            <a:xfrm>
              <a:off x="671993" y="2243771"/>
              <a:ext cx="230937" cy="135637"/>
            </a:xfrm>
            <a:prstGeom prst="line">
              <a:avLst/>
            </a:prstGeom>
            <a:noFill/>
            <a:ln w="6350" cap="flat" cmpd="sng" algn="ctr">
              <a:solidFill>
                <a:srgbClr val="5B9BD5"/>
              </a:solidFill>
              <a:prstDash val="solid"/>
              <a:miter lim="800000"/>
            </a:ln>
            <a:effectLst/>
          </p:spPr>
        </p:cxnSp>
        <p:cxnSp>
          <p:nvCxnSpPr>
            <p:cNvPr id="73" name="Straight Connector 72"/>
            <p:cNvCxnSpPr/>
            <p:nvPr/>
          </p:nvCxnSpPr>
          <p:spPr>
            <a:xfrm>
              <a:off x="671993" y="1972496"/>
              <a:ext cx="230937" cy="135637"/>
            </a:xfrm>
            <a:prstGeom prst="line">
              <a:avLst/>
            </a:prstGeom>
            <a:noFill/>
            <a:ln w="6350" cap="flat" cmpd="sng" algn="ctr">
              <a:solidFill>
                <a:srgbClr val="5B9BD5"/>
              </a:solidFill>
              <a:prstDash val="solid"/>
              <a:miter lim="800000"/>
            </a:ln>
            <a:effectLst/>
          </p:spPr>
        </p:cxnSp>
        <p:cxnSp>
          <p:nvCxnSpPr>
            <p:cNvPr id="74" name="Straight Connector 73"/>
            <p:cNvCxnSpPr/>
            <p:nvPr/>
          </p:nvCxnSpPr>
          <p:spPr>
            <a:xfrm>
              <a:off x="899173" y="2102313"/>
              <a:ext cx="230937" cy="135637"/>
            </a:xfrm>
            <a:prstGeom prst="line">
              <a:avLst/>
            </a:prstGeom>
            <a:noFill/>
            <a:ln w="6350" cap="flat" cmpd="sng" algn="ctr">
              <a:solidFill>
                <a:srgbClr val="5B9BD5"/>
              </a:solidFill>
              <a:prstDash val="solid"/>
              <a:miter lim="800000"/>
            </a:ln>
            <a:effectLst/>
          </p:spPr>
        </p:cxnSp>
        <p:cxnSp>
          <p:nvCxnSpPr>
            <p:cNvPr id="75" name="Straight Connector 74"/>
            <p:cNvCxnSpPr/>
            <p:nvPr/>
          </p:nvCxnSpPr>
          <p:spPr>
            <a:xfrm flipH="1">
              <a:off x="899173" y="2243771"/>
              <a:ext cx="230937" cy="135637"/>
            </a:xfrm>
            <a:prstGeom prst="line">
              <a:avLst/>
            </a:prstGeom>
            <a:noFill/>
            <a:ln w="6350" cap="flat" cmpd="sng" algn="ctr">
              <a:solidFill>
                <a:srgbClr val="5B9BD5"/>
              </a:solidFill>
              <a:prstDash val="solid"/>
              <a:miter lim="800000"/>
            </a:ln>
            <a:effectLst/>
          </p:spPr>
        </p:cxnSp>
        <p:cxnSp>
          <p:nvCxnSpPr>
            <p:cNvPr id="76" name="Straight Connector 75"/>
            <p:cNvCxnSpPr/>
            <p:nvPr/>
          </p:nvCxnSpPr>
          <p:spPr>
            <a:xfrm>
              <a:off x="899174" y="2113954"/>
              <a:ext cx="33" cy="268599"/>
            </a:xfrm>
            <a:prstGeom prst="line">
              <a:avLst/>
            </a:prstGeom>
            <a:noFill/>
            <a:ln w="6350" cap="flat" cmpd="sng" algn="ctr">
              <a:solidFill>
                <a:srgbClr val="5B9BD5"/>
              </a:solidFill>
              <a:prstDash val="solid"/>
              <a:miter lim="800000"/>
            </a:ln>
            <a:effectLst/>
          </p:spPr>
        </p:cxnSp>
        <p:cxnSp>
          <p:nvCxnSpPr>
            <p:cNvPr id="77" name="Straight Connector 76"/>
            <p:cNvCxnSpPr/>
            <p:nvPr/>
          </p:nvCxnSpPr>
          <p:spPr>
            <a:xfrm flipV="1">
              <a:off x="668270" y="2108133"/>
              <a:ext cx="230903" cy="129817"/>
            </a:xfrm>
            <a:prstGeom prst="line">
              <a:avLst/>
            </a:prstGeom>
            <a:noFill/>
            <a:ln w="6350" cap="flat" cmpd="sng" algn="ctr">
              <a:solidFill>
                <a:srgbClr val="5B9BD5"/>
              </a:solidFill>
              <a:prstDash val="solid"/>
              <a:miter lim="800000"/>
            </a:ln>
            <a:effectLst/>
          </p:spPr>
        </p:cxnSp>
        <p:cxnSp>
          <p:nvCxnSpPr>
            <p:cNvPr id="78" name="Straight Connector 77"/>
            <p:cNvCxnSpPr/>
            <p:nvPr/>
          </p:nvCxnSpPr>
          <p:spPr>
            <a:xfrm flipV="1">
              <a:off x="899173" y="1966675"/>
              <a:ext cx="230937" cy="147278"/>
            </a:xfrm>
            <a:prstGeom prst="line">
              <a:avLst/>
            </a:prstGeom>
            <a:noFill/>
            <a:ln w="6350" cap="flat" cmpd="sng" algn="ctr">
              <a:solidFill>
                <a:srgbClr val="5B9BD5"/>
              </a:solidFill>
              <a:prstDash val="solid"/>
              <a:miter lim="800000"/>
            </a:ln>
            <a:effectLst/>
          </p:spPr>
        </p:cxnSp>
        <p:cxnSp>
          <p:nvCxnSpPr>
            <p:cNvPr id="79" name="Straight Connector 78"/>
            <p:cNvCxnSpPr/>
            <p:nvPr/>
          </p:nvCxnSpPr>
          <p:spPr>
            <a:xfrm>
              <a:off x="671976" y="1997116"/>
              <a:ext cx="33" cy="268599"/>
            </a:xfrm>
            <a:prstGeom prst="line">
              <a:avLst/>
            </a:prstGeom>
            <a:noFill/>
            <a:ln w="6350" cap="flat" cmpd="sng" algn="ctr">
              <a:solidFill>
                <a:srgbClr val="5B9BD5"/>
              </a:solidFill>
              <a:prstDash val="solid"/>
              <a:miter lim="800000"/>
            </a:ln>
            <a:effectLst/>
          </p:spPr>
        </p:cxnSp>
        <p:sp>
          <p:nvSpPr>
            <p:cNvPr id="80" name="Hexagon 79"/>
            <p:cNvSpPr/>
            <p:nvPr/>
          </p:nvSpPr>
          <p:spPr>
            <a:xfrm>
              <a:off x="993556" y="1853051"/>
              <a:ext cx="274914" cy="247991"/>
            </a:xfrm>
            <a:prstGeom prst="hexagon">
              <a:avLst/>
            </a:prstGeom>
            <a:solidFill>
              <a:srgbClr val="5B9BD5"/>
            </a:solidFill>
            <a:ln w="12700" cap="flat" cmpd="sng" algn="ctr">
              <a:noFill/>
              <a:prstDash val="solid"/>
              <a:miter lim="800000"/>
            </a:ln>
            <a:effectLst/>
          </p:spPr>
          <p:txBody>
            <a:bodyPr rtlCol="0" anchor="ctr"/>
            <a:lstStyle/>
            <a:p>
              <a:pPr algn="ctr" defTabSz="914309">
                <a:defRPr/>
              </a:pPr>
              <a:endParaRPr lang="en-US" kern="0">
                <a:solidFill>
                  <a:srgbClr val="FFFFFF"/>
                </a:solidFill>
                <a:latin typeface="Calibri" panose="020F0502020204030204"/>
              </a:endParaRPr>
            </a:p>
          </p:txBody>
        </p:sp>
        <p:sp>
          <p:nvSpPr>
            <p:cNvPr id="81" name="Hexagon 80"/>
            <p:cNvSpPr/>
            <p:nvPr/>
          </p:nvSpPr>
          <p:spPr>
            <a:xfrm>
              <a:off x="1224493" y="1984139"/>
              <a:ext cx="274914" cy="247991"/>
            </a:xfrm>
            <a:prstGeom prst="hexagon">
              <a:avLst/>
            </a:prstGeom>
            <a:solidFill>
              <a:srgbClr val="5B9BD5"/>
            </a:solidFill>
            <a:ln w="12700" cap="flat" cmpd="sng" algn="ctr">
              <a:noFill/>
              <a:prstDash val="solid"/>
              <a:miter lim="800000"/>
            </a:ln>
            <a:effectLst/>
          </p:spPr>
          <p:txBody>
            <a:bodyPr rtlCol="0" anchor="ctr"/>
            <a:lstStyle/>
            <a:p>
              <a:pPr algn="ctr" defTabSz="914309">
                <a:defRPr/>
              </a:pPr>
              <a:endParaRPr lang="en-US" kern="0">
                <a:solidFill>
                  <a:srgbClr val="FFFFFF"/>
                </a:solidFill>
                <a:latin typeface="Calibri" panose="020F0502020204030204"/>
              </a:endParaRPr>
            </a:p>
          </p:txBody>
        </p:sp>
        <p:sp>
          <p:nvSpPr>
            <p:cNvPr id="82" name="Hexagon 81"/>
            <p:cNvSpPr/>
            <p:nvPr/>
          </p:nvSpPr>
          <p:spPr>
            <a:xfrm>
              <a:off x="993556" y="2119776"/>
              <a:ext cx="274914" cy="247991"/>
            </a:xfrm>
            <a:prstGeom prst="hexagon">
              <a:avLst/>
            </a:prstGeom>
            <a:solidFill>
              <a:srgbClr val="5B9BD5"/>
            </a:solidFill>
            <a:ln w="12700" cap="flat" cmpd="sng" algn="ctr">
              <a:noFill/>
              <a:prstDash val="solid"/>
              <a:miter lim="800000"/>
            </a:ln>
            <a:effectLst/>
          </p:spPr>
          <p:txBody>
            <a:bodyPr rtlCol="0" anchor="ctr"/>
            <a:lstStyle/>
            <a:p>
              <a:pPr algn="ctr" defTabSz="914309">
                <a:defRPr/>
              </a:pPr>
              <a:endParaRPr lang="en-US" kern="0">
                <a:solidFill>
                  <a:srgbClr val="FFFFFF"/>
                </a:solidFill>
                <a:latin typeface="Calibri" panose="020F0502020204030204"/>
              </a:endParaRPr>
            </a:p>
          </p:txBody>
        </p:sp>
        <p:sp>
          <p:nvSpPr>
            <p:cNvPr id="83" name="Hexagon 82"/>
            <p:cNvSpPr/>
            <p:nvPr/>
          </p:nvSpPr>
          <p:spPr>
            <a:xfrm>
              <a:off x="1224493" y="2250864"/>
              <a:ext cx="274914" cy="247991"/>
            </a:xfrm>
            <a:prstGeom prst="hexagon">
              <a:avLst/>
            </a:prstGeom>
            <a:solidFill>
              <a:srgbClr val="5B9BD5"/>
            </a:solidFill>
            <a:ln w="12700" cap="flat" cmpd="sng" algn="ctr">
              <a:noFill/>
              <a:prstDash val="solid"/>
              <a:miter lim="800000"/>
            </a:ln>
            <a:effectLst/>
          </p:spPr>
          <p:txBody>
            <a:bodyPr rtlCol="0" anchor="ctr"/>
            <a:lstStyle/>
            <a:p>
              <a:pPr algn="ctr" defTabSz="914309">
                <a:defRPr/>
              </a:pPr>
              <a:endParaRPr lang="en-US" kern="0">
                <a:solidFill>
                  <a:srgbClr val="FFFFFF"/>
                </a:solidFill>
                <a:latin typeface="Calibri" panose="020F0502020204030204"/>
              </a:endParaRPr>
            </a:p>
          </p:txBody>
        </p:sp>
        <p:cxnSp>
          <p:nvCxnSpPr>
            <p:cNvPr id="84" name="Straight Connector 83"/>
            <p:cNvCxnSpPr/>
            <p:nvPr/>
          </p:nvCxnSpPr>
          <p:spPr>
            <a:xfrm>
              <a:off x="1131013" y="2243771"/>
              <a:ext cx="230937" cy="135637"/>
            </a:xfrm>
            <a:prstGeom prst="line">
              <a:avLst/>
            </a:prstGeom>
            <a:noFill/>
            <a:ln w="6350" cap="flat" cmpd="sng" algn="ctr">
              <a:solidFill>
                <a:srgbClr val="5B9BD5"/>
              </a:solidFill>
              <a:prstDash val="solid"/>
              <a:miter lim="800000"/>
            </a:ln>
            <a:effectLst/>
          </p:spPr>
        </p:cxnSp>
        <p:cxnSp>
          <p:nvCxnSpPr>
            <p:cNvPr id="85" name="Straight Connector 84"/>
            <p:cNvCxnSpPr/>
            <p:nvPr/>
          </p:nvCxnSpPr>
          <p:spPr>
            <a:xfrm>
              <a:off x="1131013" y="1977045"/>
              <a:ext cx="230937" cy="135637"/>
            </a:xfrm>
            <a:prstGeom prst="line">
              <a:avLst/>
            </a:prstGeom>
            <a:noFill/>
            <a:ln w="6350" cap="flat" cmpd="sng" algn="ctr">
              <a:solidFill>
                <a:srgbClr val="5B9BD5"/>
              </a:solidFill>
              <a:prstDash val="solid"/>
              <a:miter lim="800000"/>
            </a:ln>
            <a:effectLst/>
          </p:spPr>
        </p:cxnSp>
        <p:cxnSp>
          <p:nvCxnSpPr>
            <p:cNvPr id="86" name="Straight Connector 85"/>
            <p:cNvCxnSpPr/>
            <p:nvPr/>
          </p:nvCxnSpPr>
          <p:spPr>
            <a:xfrm>
              <a:off x="1358193" y="2102313"/>
              <a:ext cx="230937" cy="135637"/>
            </a:xfrm>
            <a:prstGeom prst="line">
              <a:avLst/>
            </a:prstGeom>
            <a:noFill/>
            <a:ln w="6350" cap="flat" cmpd="sng" algn="ctr">
              <a:solidFill>
                <a:srgbClr val="5B9BD5"/>
              </a:solidFill>
              <a:prstDash val="solid"/>
              <a:miter lim="800000"/>
            </a:ln>
            <a:effectLst/>
          </p:spPr>
        </p:cxnSp>
        <p:cxnSp>
          <p:nvCxnSpPr>
            <p:cNvPr id="87" name="Straight Connector 86"/>
            <p:cNvCxnSpPr/>
            <p:nvPr/>
          </p:nvCxnSpPr>
          <p:spPr>
            <a:xfrm flipH="1">
              <a:off x="1358193" y="2243771"/>
              <a:ext cx="230937" cy="135637"/>
            </a:xfrm>
            <a:prstGeom prst="line">
              <a:avLst/>
            </a:prstGeom>
            <a:noFill/>
            <a:ln w="6350" cap="flat" cmpd="sng" algn="ctr">
              <a:solidFill>
                <a:srgbClr val="5B9BD5"/>
              </a:solidFill>
              <a:prstDash val="solid"/>
              <a:miter lim="800000"/>
            </a:ln>
            <a:effectLst/>
          </p:spPr>
        </p:cxnSp>
        <p:cxnSp>
          <p:nvCxnSpPr>
            <p:cNvPr id="88" name="Straight Connector 87"/>
            <p:cNvCxnSpPr/>
            <p:nvPr/>
          </p:nvCxnSpPr>
          <p:spPr>
            <a:xfrm>
              <a:off x="1358194" y="2113954"/>
              <a:ext cx="33" cy="268599"/>
            </a:xfrm>
            <a:prstGeom prst="line">
              <a:avLst/>
            </a:prstGeom>
            <a:noFill/>
            <a:ln w="6350" cap="flat" cmpd="sng" algn="ctr">
              <a:solidFill>
                <a:srgbClr val="5B9BD5"/>
              </a:solidFill>
              <a:prstDash val="solid"/>
              <a:miter lim="800000"/>
            </a:ln>
            <a:effectLst/>
          </p:spPr>
        </p:cxnSp>
        <p:cxnSp>
          <p:nvCxnSpPr>
            <p:cNvPr id="89" name="Straight Connector 88"/>
            <p:cNvCxnSpPr/>
            <p:nvPr/>
          </p:nvCxnSpPr>
          <p:spPr>
            <a:xfrm flipV="1">
              <a:off x="1127290" y="2108133"/>
              <a:ext cx="230903" cy="129817"/>
            </a:xfrm>
            <a:prstGeom prst="line">
              <a:avLst/>
            </a:prstGeom>
            <a:noFill/>
            <a:ln w="6350" cap="flat" cmpd="sng" algn="ctr">
              <a:solidFill>
                <a:srgbClr val="5B9BD5"/>
              </a:solidFill>
              <a:prstDash val="solid"/>
              <a:miter lim="800000"/>
            </a:ln>
            <a:effectLst/>
          </p:spPr>
        </p:cxnSp>
        <p:cxnSp>
          <p:nvCxnSpPr>
            <p:cNvPr id="90" name="Straight Connector 89"/>
            <p:cNvCxnSpPr/>
            <p:nvPr/>
          </p:nvCxnSpPr>
          <p:spPr>
            <a:xfrm flipV="1">
              <a:off x="1358193" y="1966675"/>
              <a:ext cx="230937" cy="147278"/>
            </a:xfrm>
            <a:prstGeom prst="line">
              <a:avLst/>
            </a:prstGeom>
            <a:noFill/>
            <a:ln w="6350" cap="flat" cmpd="sng" algn="ctr">
              <a:solidFill>
                <a:srgbClr val="5B9BD5"/>
              </a:solidFill>
              <a:prstDash val="solid"/>
              <a:miter lim="800000"/>
            </a:ln>
            <a:effectLst/>
          </p:spPr>
        </p:cxnSp>
        <p:cxnSp>
          <p:nvCxnSpPr>
            <p:cNvPr id="91" name="Straight Connector 90"/>
            <p:cNvCxnSpPr/>
            <p:nvPr/>
          </p:nvCxnSpPr>
          <p:spPr>
            <a:xfrm>
              <a:off x="1130996" y="1997116"/>
              <a:ext cx="33" cy="268599"/>
            </a:xfrm>
            <a:prstGeom prst="line">
              <a:avLst/>
            </a:prstGeom>
            <a:noFill/>
            <a:ln w="6350" cap="flat" cmpd="sng" algn="ctr">
              <a:solidFill>
                <a:srgbClr val="5B9BD5"/>
              </a:solidFill>
              <a:prstDash val="solid"/>
              <a:miter lim="800000"/>
            </a:ln>
            <a:effectLst/>
          </p:spPr>
        </p:cxnSp>
        <p:sp>
          <p:nvSpPr>
            <p:cNvPr id="92" name="Hexagon 91"/>
            <p:cNvSpPr/>
            <p:nvPr/>
          </p:nvSpPr>
          <p:spPr>
            <a:xfrm>
              <a:off x="1455062" y="1853051"/>
              <a:ext cx="274914" cy="247991"/>
            </a:xfrm>
            <a:prstGeom prst="hexagon">
              <a:avLst/>
            </a:prstGeom>
            <a:solidFill>
              <a:srgbClr val="5B9BD5"/>
            </a:solidFill>
            <a:ln w="12700" cap="flat" cmpd="sng" algn="ctr">
              <a:noFill/>
              <a:prstDash val="solid"/>
              <a:miter lim="800000"/>
            </a:ln>
            <a:effectLst/>
          </p:spPr>
          <p:txBody>
            <a:bodyPr rtlCol="0" anchor="ctr"/>
            <a:lstStyle/>
            <a:p>
              <a:pPr algn="ctr" defTabSz="914309">
                <a:defRPr/>
              </a:pPr>
              <a:endParaRPr lang="en-US" kern="0">
                <a:solidFill>
                  <a:srgbClr val="FFFFFF"/>
                </a:solidFill>
                <a:latin typeface="Calibri" panose="020F0502020204030204"/>
              </a:endParaRPr>
            </a:p>
          </p:txBody>
        </p:sp>
        <p:sp>
          <p:nvSpPr>
            <p:cNvPr id="93" name="Hexagon 92"/>
            <p:cNvSpPr/>
            <p:nvPr/>
          </p:nvSpPr>
          <p:spPr>
            <a:xfrm>
              <a:off x="1685999" y="1984139"/>
              <a:ext cx="274914" cy="247991"/>
            </a:xfrm>
            <a:prstGeom prst="hexagon">
              <a:avLst/>
            </a:prstGeom>
            <a:solidFill>
              <a:srgbClr val="5B9BD5"/>
            </a:solidFill>
            <a:ln w="12700" cap="flat" cmpd="sng" algn="ctr">
              <a:noFill/>
              <a:prstDash val="solid"/>
              <a:miter lim="800000"/>
            </a:ln>
            <a:effectLst/>
          </p:spPr>
          <p:txBody>
            <a:bodyPr rtlCol="0" anchor="ctr"/>
            <a:lstStyle/>
            <a:p>
              <a:pPr algn="ctr" defTabSz="914309">
                <a:defRPr/>
              </a:pPr>
              <a:endParaRPr lang="en-US" kern="0">
                <a:solidFill>
                  <a:srgbClr val="FFFFFF"/>
                </a:solidFill>
                <a:latin typeface="Calibri" panose="020F0502020204030204"/>
              </a:endParaRPr>
            </a:p>
          </p:txBody>
        </p:sp>
        <p:sp>
          <p:nvSpPr>
            <p:cNvPr id="94" name="Hexagon 93"/>
            <p:cNvSpPr/>
            <p:nvPr/>
          </p:nvSpPr>
          <p:spPr>
            <a:xfrm>
              <a:off x="1455062" y="2119776"/>
              <a:ext cx="274914" cy="247991"/>
            </a:xfrm>
            <a:prstGeom prst="hexagon">
              <a:avLst/>
            </a:prstGeom>
            <a:solidFill>
              <a:srgbClr val="5B9BD5"/>
            </a:solidFill>
            <a:ln w="12700" cap="flat" cmpd="sng" algn="ctr">
              <a:noFill/>
              <a:prstDash val="solid"/>
              <a:miter lim="800000"/>
            </a:ln>
            <a:effectLst/>
          </p:spPr>
          <p:txBody>
            <a:bodyPr rtlCol="0" anchor="ctr"/>
            <a:lstStyle/>
            <a:p>
              <a:pPr algn="ctr" defTabSz="914309">
                <a:defRPr/>
              </a:pPr>
              <a:endParaRPr lang="en-US" kern="0">
                <a:solidFill>
                  <a:srgbClr val="FFFFFF"/>
                </a:solidFill>
                <a:latin typeface="Calibri" panose="020F0502020204030204"/>
              </a:endParaRPr>
            </a:p>
          </p:txBody>
        </p:sp>
        <p:sp>
          <p:nvSpPr>
            <p:cNvPr id="95" name="Hexagon 94"/>
            <p:cNvSpPr/>
            <p:nvPr/>
          </p:nvSpPr>
          <p:spPr>
            <a:xfrm>
              <a:off x="1685999" y="2250864"/>
              <a:ext cx="274914" cy="247991"/>
            </a:xfrm>
            <a:prstGeom prst="hexagon">
              <a:avLst/>
            </a:prstGeom>
            <a:solidFill>
              <a:srgbClr val="5B9BD5"/>
            </a:solidFill>
            <a:ln w="12700" cap="flat" cmpd="sng" algn="ctr">
              <a:noFill/>
              <a:prstDash val="solid"/>
              <a:miter lim="800000"/>
            </a:ln>
            <a:effectLst/>
          </p:spPr>
          <p:txBody>
            <a:bodyPr rtlCol="0" anchor="ctr"/>
            <a:lstStyle/>
            <a:p>
              <a:pPr algn="ctr" defTabSz="914309">
                <a:defRPr/>
              </a:pPr>
              <a:endParaRPr lang="en-US" kern="0">
                <a:solidFill>
                  <a:srgbClr val="FFFFFF"/>
                </a:solidFill>
                <a:latin typeface="Calibri" panose="020F0502020204030204"/>
              </a:endParaRPr>
            </a:p>
          </p:txBody>
        </p:sp>
        <p:cxnSp>
          <p:nvCxnSpPr>
            <p:cNvPr id="96" name="Straight Connector 95"/>
            <p:cNvCxnSpPr/>
            <p:nvPr/>
          </p:nvCxnSpPr>
          <p:spPr>
            <a:xfrm>
              <a:off x="1592519" y="2243771"/>
              <a:ext cx="230937" cy="135637"/>
            </a:xfrm>
            <a:prstGeom prst="line">
              <a:avLst/>
            </a:prstGeom>
            <a:noFill/>
            <a:ln w="6350" cap="flat" cmpd="sng" algn="ctr">
              <a:solidFill>
                <a:srgbClr val="5B9BD5"/>
              </a:solidFill>
              <a:prstDash val="solid"/>
              <a:miter lim="800000"/>
            </a:ln>
            <a:effectLst/>
          </p:spPr>
        </p:cxnSp>
        <p:cxnSp>
          <p:nvCxnSpPr>
            <p:cNvPr id="97" name="Straight Connector 96"/>
            <p:cNvCxnSpPr/>
            <p:nvPr/>
          </p:nvCxnSpPr>
          <p:spPr>
            <a:xfrm>
              <a:off x="1592519" y="1972496"/>
              <a:ext cx="230937" cy="135637"/>
            </a:xfrm>
            <a:prstGeom prst="line">
              <a:avLst/>
            </a:prstGeom>
            <a:noFill/>
            <a:ln w="6350" cap="flat" cmpd="sng" algn="ctr">
              <a:solidFill>
                <a:srgbClr val="5B9BD5"/>
              </a:solidFill>
              <a:prstDash val="solid"/>
              <a:miter lim="800000"/>
            </a:ln>
            <a:effectLst/>
          </p:spPr>
        </p:cxnSp>
        <p:cxnSp>
          <p:nvCxnSpPr>
            <p:cNvPr id="98" name="Straight Connector 97"/>
            <p:cNvCxnSpPr/>
            <p:nvPr/>
          </p:nvCxnSpPr>
          <p:spPr>
            <a:xfrm>
              <a:off x="1819699" y="2102313"/>
              <a:ext cx="230937" cy="135637"/>
            </a:xfrm>
            <a:prstGeom prst="line">
              <a:avLst/>
            </a:prstGeom>
            <a:noFill/>
            <a:ln w="6350" cap="flat" cmpd="sng" algn="ctr">
              <a:solidFill>
                <a:srgbClr val="5B9BD5"/>
              </a:solidFill>
              <a:prstDash val="solid"/>
              <a:miter lim="800000"/>
            </a:ln>
            <a:effectLst/>
          </p:spPr>
        </p:cxnSp>
        <p:cxnSp>
          <p:nvCxnSpPr>
            <p:cNvPr id="99" name="Straight Connector 98"/>
            <p:cNvCxnSpPr/>
            <p:nvPr/>
          </p:nvCxnSpPr>
          <p:spPr>
            <a:xfrm flipH="1">
              <a:off x="1819699" y="2243771"/>
              <a:ext cx="230937" cy="135637"/>
            </a:xfrm>
            <a:prstGeom prst="line">
              <a:avLst/>
            </a:prstGeom>
            <a:noFill/>
            <a:ln w="6350" cap="flat" cmpd="sng" algn="ctr">
              <a:solidFill>
                <a:srgbClr val="5B9BD5"/>
              </a:solidFill>
              <a:prstDash val="solid"/>
              <a:miter lim="800000"/>
            </a:ln>
            <a:effectLst/>
          </p:spPr>
        </p:cxnSp>
        <p:cxnSp>
          <p:nvCxnSpPr>
            <p:cNvPr id="100" name="Straight Connector 99"/>
            <p:cNvCxnSpPr/>
            <p:nvPr/>
          </p:nvCxnSpPr>
          <p:spPr>
            <a:xfrm>
              <a:off x="1819700" y="2113954"/>
              <a:ext cx="33" cy="268599"/>
            </a:xfrm>
            <a:prstGeom prst="line">
              <a:avLst/>
            </a:prstGeom>
            <a:noFill/>
            <a:ln w="6350" cap="flat" cmpd="sng" algn="ctr">
              <a:solidFill>
                <a:srgbClr val="5B9BD5"/>
              </a:solidFill>
              <a:prstDash val="solid"/>
              <a:miter lim="800000"/>
            </a:ln>
            <a:effectLst/>
          </p:spPr>
        </p:cxnSp>
        <p:cxnSp>
          <p:nvCxnSpPr>
            <p:cNvPr id="101" name="Straight Connector 100"/>
            <p:cNvCxnSpPr/>
            <p:nvPr/>
          </p:nvCxnSpPr>
          <p:spPr>
            <a:xfrm flipV="1">
              <a:off x="1588796" y="2108133"/>
              <a:ext cx="230903" cy="129817"/>
            </a:xfrm>
            <a:prstGeom prst="line">
              <a:avLst/>
            </a:prstGeom>
            <a:noFill/>
            <a:ln w="6350" cap="flat" cmpd="sng" algn="ctr">
              <a:solidFill>
                <a:srgbClr val="5B9BD5"/>
              </a:solidFill>
              <a:prstDash val="solid"/>
              <a:miter lim="800000"/>
            </a:ln>
            <a:effectLst/>
          </p:spPr>
        </p:cxnSp>
        <p:cxnSp>
          <p:nvCxnSpPr>
            <p:cNvPr id="102" name="Straight Connector 101"/>
            <p:cNvCxnSpPr/>
            <p:nvPr/>
          </p:nvCxnSpPr>
          <p:spPr>
            <a:xfrm flipV="1">
              <a:off x="1819699" y="1966675"/>
              <a:ext cx="230937" cy="147278"/>
            </a:xfrm>
            <a:prstGeom prst="line">
              <a:avLst/>
            </a:prstGeom>
            <a:noFill/>
            <a:ln w="6350" cap="flat" cmpd="sng" algn="ctr">
              <a:solidFill>
                <a:srgbClr val="5B9BD5"/>
              </a:solidFill>
              <a:prstDash val="solid"/>
              <a:miter lim="800000"/>
            </a:ln>
            <a:effectLst/>
          </p:spPr>
        </p:cxnSp>
        <p:cxnSp>
          <p:nvCxnSpPr>
            <p:cNvPr id="103" name="Straight Connector 102"/>
            <p:cNvCxnSpPr/>
            <p:nvPr/>
          </p:nvCxnSpPr>
          <p:spPr>
            <a:xfrm>
              <a:off x="1592502" y="2001665"/>
              <a:ext cx="33" cy="268599"/>
            </a:xfrm>
            <a:prstGeom prst="line">
              <a:avLst/>
            </a:prstGeom>
            <a:noFill/>
            <a:ln w="6350" cap="flat" cmpd="sng" algn="ctr">
              <a:solidFill>
                <a:srgbClr val="5B9BD5"/>
              </a:solidFill>
              <a:prstDash val="solid"/>
              <a:miter lim="800000"/>
            </a:ln>
            <a:effectLst/>
          </p:spPr>
        </p:cxnSp>
        <p:sp>
          <p:nvSpPr>
            <p:cNvPr id="104" name="Hexagon 103"/>
            <p:cNvSpPr/>
            <p:nvPr/>
          </p:nvSpPr>
          <p:spPr>
            <a:xfrm>
              <a:off x="1914082" y="1853051"/>
              <a:ext cx="274914" cy="247991"/>
            </a:xfrm>
            <a:prstGeom prst="hexagon">
              <a:avLst/>
            </a:prstGeom>
            <a:solidFill>
              <a:srgbClr val="5B9BD5"/>
            </a:solidFill>
            <a:ln w="12700" cap="flat" cmpd="sng" algn="ctr">
              <a:noFill/>
              <a:prstDash val="solid"/>
              <a:miter lim="800000"/>
            </a:ln>
            <a:effectLst/>
          </p:spPr>
          <p:txBody>
            <a:bodyPr rtlCol="0" anchor="ctr"/>
            <a:lstStyle/>
            <a:p>
              <a:pPr algn="ctr" defTabSz="914309">
                <a:defRPr/>
              </a:pPr>
              <a:endParaRPr lang="en-US" kern="0">
                <a:solidFill>
                  <a:srgbClr val="FFFFFF"/>
                </a:solidFill>
                <a:latin typeface="Calibri" panose="020F0502020204030204"/>
              </a:endParaRPr>
            </a:p>
          </p:txBody>
        </p:sp>
        <p:sp>
          <p:nvSpPr>
            <p:cNvPr id="105" name="Hexagon 104"/>
            <p:cNvSpPr/>
            <p:nvPr/>
          </p:nvSpPr>
          <p:spPr>
            <a:xfrm>
              <a:off x="2145019" y="1984139"/>
              <a:ext cx="274914" cy="247991"/>
            </a:xfrm>
            <a:prstGeom prst="hexagon">
              <a:avLst/>
            </a:prstGeom>
            <a:solidFill>
              <a:srgbClr val="5B9BD5"/>
            </a:solidFill>
            <a:ln w="12700" cap="flat" cmpd="sng" algn="ctr">
              <a:noFill/>
              <a:prstDash val="solid"/>
              <a:miter lim="800000"/>
            </a:ln>
            <a:effectLst/>
          </p:spPr>
          <p:txBody>
            <a:bodyPr rtlCol="0" anchor="ctr"/>
            <a:lstStyle/>
            <a:p>
              <a:pPr algn="ctr" defTabSz="914309">
                <a:defRPr/>
              </a:pPr>
              <a:endParaRPr lang="en-US" kern="0">
                <a:solidFill>
                  <a:srgbClr val="FFFFFF"/>
                </a:solidFill>
                <a:latin typeface="Calibri" panose="020F0502020204030204"/>
              </a:endParaRPr>
            </a:p>
          </p:txBody>
        </p:sp>
        <p:sp>
          <p:nvSpPr>
            <p:cNvPr id="106" name="Hexagon 105"/>
            <p:cNvSpPr/>
            <p:nvPr/>
          </p:nvSpPr>
          <p:spPr>
            <a:xfrm>
              <a:off x="1914082" y="2119776"/>
              <a:ext cx="274914" cy="247991"/>
            </a:xfrm>
            <a:prstGeom prst="hexagon">
              <a:avLst/>
            </a:prstGeom>
            <a:solidFill>
              <a:srgbClr val="5B9BD5"/>
            </a:solidFill>
            <a:ln w="12700" cap="flat" cmpd="sng" algn="ctr">
              <a:noFill/>
              <a:prstDash val="solid"/>
              <a:miter lim="800000"/>
            </a:ln>
            <a:effectLst/>
          </p:spPr>
          <p:txBody>
            <a:bodyPr rtlCol="0" anchor="ctr"/>
            <a:lstStyle/>
            <a:p>
              <a:pPr algn="ctr" defTabSz="914309">
                <a:defRPr/>
              </a:pPr>
              <a:endParaRPr lang="en-US" kern="0">
                <a:solidFill>
                  <a:srgbClr val="FFFFFF"/>
                </a:solidFill>
                <a:latin typeface="Calibri" panose="020F0502020204030204"/>
              </a:endParaRPr>
            </a:p>
          </p:txBody>
        </p:sp>
        <p:sp>
          <p:nvSpPr>
            <p:cNvPr id="107" name="Hexagon 106"/>
            <p:cNvSpPr/>
            <p:nvPr/>
          </p:nvSpPr>
          <p:spPr>
            <a:xfrm>
              <a:off x="2145019" y="2250864"/>
              <a:ext cx="274914" cy="247991"/>
            </a:xfrm>
            <a:prstGeom prst="hexagon">
              <a:avLst/>
            </a:prstGeom>
            <a:solidFill>
              <a:srgbClr val="5B9BD5"/>
            </a:solidFill>
            <a:ln w="12700" cap="flat" cmpd="sng" algn="ctr">
              <a:noFill/>
              <a:prstDash val="solid"/>
              <a:miter lim="800000"/>
            </a:ln>
            <a:effectLst/>
          </p:spPr>
          <p:txBody>
            <a:bodyPr rtlCol="0" anchor="ctr"/>
            <a:lstStyle/>
            <a:p>
              <a:pPr algn="ctr" defTabSz="914309">
                <a:defRPr/>
              </a:pPr>
              <a:endParaRPr lang="en-US" kern="0">
                <a:solidFill>
                  <a:srgbClr val="FFFFFF"/>
                </a:solidFill>
                <a:latin typeface="Calibri" panose="020F0502020204030204"/>
              </a:endParaRPr>
            </a:p>
          </p:txBody>
        </p:sp>
        <p:cxnSp>
          <p:nvCxnSpPr>
            <p:cNvPr id="108" name="Straight Connector 107"/>
            <p:cNvCxnSpPr/>
            <p:nvPr/>
          </p:nvCxnSpPr>
          <p:spPr>
            <a:xfrm>
              <a:off x="2051539" y="2243771"/>
              <a:ext cx="230937" cy="135637"/>
            </a:xfrm>
            <a:prstGeom prst="line">
              <a:avLst/>
            </a:prstGeom>
            <a:noFill/>
            <a:ln w="6350" cap="flat" cmpd="sng" algn="ctr">
              <a:solidFill>
                <a:srgbClr val="5B9BD5"/>
              </a:solidFill>
              <a:prstDash val="solid"/>
              <a:miter lim="800000"/>
            </a:ln>
            <a:effectLst/>
          </p:spPr>
        </p:cxnSp>
        <p:cxnSp>
          <p:nvCxnSpPr>
            <p:cNvPr id="109" name="Straight Connector 108"/>
            <p:cNvCxnSpPr/>
            <p:nvPr/>
          </p:nvCxnSpPr>
          <p:spPr>
            <a:xfrm>
              <a:off x="2051539" y="1972496"/>
              <a:ext cx="230937" cy="135637"/>
            </a:xfrm>
            <a:prstGeom prst="line">
              <a:avLst/>
            </a:prstGeom>
            <a:noFill/>
            <a:ln w="6350" cap="flat" cmpd="sng" algn="ctr">
              <a:solidFill>
                <a:srgbClr val="5B9BD5"/>
              </a:solidFill>
              <a:prstDash val="solid"/>
              <a:miter lim="800000"/>
            </a:ln>
            <a:effectLst/>
          </p:spPr>
        </p:cxnSp>
        <p:cxnSp>
          <p:nvCxnSpPr>
            <p:cNvPr id="110" name="Straight Connector 109"/>
            <p:cNvCxnSpPr/>
            <p:nvPr/>
          </p:nvCxnSpPr>
          <p:spPr>
            <a:xfrm>
              <a:off x="2278719" y="2102313"/>
              <a:ext cx="230937" cy="135637"/>
            </a:xfrm>
            <a:prstGeom prst="line">
              <a:avLst/>
            </a:prstGeom>
            <a:noFill/>
            <a:ln w="6350" cap="flat" cmpd="sng" algn="ctr">
              <a:solidFill>
                <a:srgbClr val="5B9BD5"/>
              </a:solidFill>
              <a:prstDash val="solid"/>
              <a:miter lim="800000"/>
            </a:ln>
            <a:effectLst/>
          </p:spPr>
        </p:cxnSp>
        <p:cxnSp>
          <p:nvCxnSpPr>
            <p:cNvPr id="111" name="Straight Connector 110"/>
            <p:cNvCxnSpPr/>
            <p:nvPr/>
          </p:nvCxnSpPr>
          <p:spPr>
            <a:xfrm flipH="1">
              <a:off x="2278719" y="2243771"/>
              <a:ext cx="230937" cy="135637"/>
            </a:xfrm>
            <a:prstGeom prst="line">
              <a:avLst/>
            </a:prstGeom>
            <a:noFill/>
            <a:ln w="6350" cap="flat" cmpd="sng" algn="ctr">
              <a:solidFill>
                <a:srgbClr val="5B9BD5"/>
              </a:solidFill>
              <a:prstDash val="solid"/>
              <a:miter lim="800000"/>
            </a:ln>
            <a:effectLst/>
          </p:spPr>
        </p:cxnSp>
        <p:cxnSp>
          <p:nvCxnSpPr>
            <p:cNvPr id="112" name="Straight Connector 111"/>
            <p:cNvCxnSpPr/>
            <p:nvPr/>
          </p:nvCxnSpPr>
          <p:spPr>
            <a:xfrm>
              <a:off x="2278720" y="2109405"/>
              <a:ext cx="33" cy="268599"/>
            </a:xfrm>
            <a:prstGeom prst="line">
              <a:avLst/>
            </a:prstGeom>
            <a:noFill/>
            <a:ln w="6350" cap="flat" cmpd="sng" algn="ctr">
              <a:solidFill>
                <a:srgbClr val="5B9BD5"/>
              </a:solidFill>
              <a:prstDash val="solid"/>
              <a:miter lim="800000"/>
            </a:ln>
            <a:effectLst/>
          </p:spPr>
        </p:cxnSp>
        <p:cxnSp>
          <p:nvCxnSpPr>
            <p:cNvPr id="113" name="Straight Connector 112"/>
            <p:cNvCxnSpPr/>
            <p:nvPr/>
          </p:nvCxnSpPr>
          <p:spPr>
            <a:xfrm flipV="1">
              <a:off x="2047816" y="2108133"/>
              <a:ext cx="230903" cy="129817"/>
            </a:xfrm>
            <a:prstGeom prst="line">
              <a:avLst/>
            </a:prstGeom>
            <a:noFill/>
            <a:ln w="6350" cap="flat" cmpd="sng" algn="ctr">
              <a:solidFill>
                <a:srgbClr val="5B9BD5"/>
              </a:solidFill>
              <a:prstDash val="solid"/>
              <a:miter lim="800000"/>
            </a:ln>
            <a:effectLst/>
          </p:spPr>
        </p:cxnSp>
        <p:cxnSp>
          <p:nvCxnSpPr>
            <p:cNvPr id="114" name="Straight Connector 113"/>
            <p:cNvCxnSpPr/>
            <p:nvPr/>
          </p:nvCxnSpPr>
          <p:spPr>
            <a:xfrm flipV="1">
              <a:off x="2278719" y="1966675"/>
              <a:ext cx="230937" cy="147278"/>
            </a:xfrm>
            <a:prstGeom prst="line">
              <a:avLst/>
            </a:prstGeom>
            <a:noFill/>
            <a:ln w="6350" cap="flat" cmpd="sng" algn="ctr">
              <a:solidFill>
                <a:srgbClr val="5B9BD5"/>
              </a:solidFill>
              <a:prstDash val="solid"/>
              <a:miter lim="800000"/>
            </a:ln>
            <a:effectLst/>
          </p:spPr>
        </p:cxnSp>
        <p:cxnSp>
          <p:nvCxnSpPr>
            <p:cNvPr id="115" name="Straight Connector 114"/>
            <p:cNvCxnSpPr/>
            <p:nvPr/>
          </p:nvCxnSpPr>
          <p:spPr>
            <a:xfrm>
              <a:off x="2051522" y="2001665"/>
              <a:ext cx="33" cy="268599"/>
            </a:xfrm>
            <a:prstGeom prst="line">
              <a:avLst/>
            </a:prstGeom>
            <a:noFill/>
            <a:ln w="6350" cap="flat" cmpd="sng" algn="ctr">
              <a:solidFill>
                <a:srgbClr val="5B9BD5"/>
              </a:solidFill>
              <a:prstDash val="solid"/>
              <a:miter lim="800000"/>
            </a:ln>
            <a:effectLst/>
          </p:spPr>
        </p:cxnSp>
        <p:sp>
          <p:nvSpPr>
            <p:cNvPr id="116" name="Hexagon 115"/>
            <p:cNvSpPr/>
            <p:nvPr/>
          </p:nvSpPr>
          <p:spPr>
            <a:xfrm>
              <a:off x="2373102" y="1853051"/>
              <a:ext cx="274914" cy="247991"/>
            </a:xfrm>
            <a:prstGeom prst="hexagon">
              <a:avLst/>
            </a:prstGeom>
            <a:solidFill>
              <a:srgbClr val="5B9BD5"/>
            </a:solidFill>
            <a:ln w="12700" cap="flat" cmpd="sng" algn="ctr">
              <a:noFill/>
              <a:prstDash val="solid"/>
              <a:miter lim="800000"/>
            </a:ln>
            <a:effectLst/>
          </p:spPr>
          <p:txBody>
            <a:bodyPr rtlCol="0" anchor="ctr"/>
            <a:lstStyle/>
            <a:p>
              <a:pPr algn="ctr" defTabSz="914309">
                <a:defRPr/>
              </a:pPr>
              <a:endParaRPr lang="en-US" kern="0">
                <a:solidFill>
                  <a:srgbClr val="FFFFFF"/>
                </a:solidFill>
                <a:latin typeface="Calibri" panose="020F0502020204030204"/>
              </a:endParaRPr>
            </a:p>
          </p:txBody>
        </p:sp>
        <p:sp>
          <p:nvSpPr>
            <p:cNvPr id="117" name="Hexagon 116"/>
            <p:cNvSpPr/>
            <p:nvPr/>
          </p:nvSpPr>
          <p:spPr>
            <a:xfrm>
              <a:off x="2600367" y="1984139"/>
              <a:ext cx="274914" cy="247991"/>
            </a:xfrm>
            <a:prstGeom prst="hexagon">
              <a:avLst/>
            </a:prstGeom>
            <a:solidFill>
              <a:srgbClr val="5B9BD5"/>
            </a:solidFill>
            <a:ln w="12700" cap="flat" cmpd="sng" algn="ctr">
              <a:noFill/>
              <a:prstDash val="solid"/>
              <a:miter lim="800000"/>
            </a:ln>
            <a:effectLst/>
          </p:spPr>
          <p:txBody>
            <a:bodyPr rtlCol="0" anchor="ctr"/>
            <a:lstStyle/>
            <a:p>
              <a:pPr algn="ctr" defTabSz="914309">
                <a:defRPr/>
              </a:pPr>
              <a:endParaRPr lang="en-US" kern="0">
                <a:solidFill>
                  <a:srgbClr val="FFFFFF"/>
                </a:solidFill>
                <a:latin typeface="Calibri" panose="020F0502020204030204"/>
              </a:endParaRPr>
            </a:p>
          </p:txBody>
        </p:sp>
        <p:sp>
          <p:nvSpPr>
            <p:cNvPr id="118" name="Hexagon 117"/>
            <p:cNvSpPr/>
            <p:nvPr/>
          </p:nvSpPr>
          <p:spPr>
            <a:xfrm>
              <a:off x="2373102" y="2119776"/>
              <a:ext cx="274914" cy="247991"/>
            </a:xfrm>
            <a:prstGeom prst="hexagon">
              <a:avLst/>
            </a:prstGeom>
            <a:solidFill>
              <a:srgbClr val="5B9BD5"/>
            </a:solidFill>
            <a:ln w="12700" cap="flat" cmpd="sng" algn="ctr">
              <a:noFill/>
              <a:prstDash val="solid"/>
              <a:miter lim="800000"/>
            </a:ln>
            <a:effectLst/>
          </p:spPr>
          <p:txBody>
            <a:bodyPr rtlCol="0" anchor="ctr"/>
            <a:lstStyle/>
            <a:p>
              <a:pPr algn="ctr" defTabSz="914309">
                <a:defRPr/>
              </a:pPr>
              <a:endParaRPr lang="en-US" kern="0">
                <a:solidFill>
                  <a:srgbClr val="FFFFFF"/>
                </a:solidFill>
                <a:latin typeface="Calibri" panose="020F0502020204030204"/>
              </a:endParaRPr>
            </a:p>
          </p:txBody>
        </p:sp>
        <p:sp>
          <p:nvSpPr>
            <p:cNvPr id="119" name="Hexagon 118"/>
            <p:cNvSpPr/>
            <p:nvPr/>
          </p:nvSpPr>
          <p:spPr>
            <a:xfrm>
              <a:off x="2600367" y="2250864"/>
              <a:ext cx="274914" cy="247991"/>
            </a:xfrm>
            <a:prstGeom prst="hexagon">
              <a:avLst/>
            </a:prstGeom>
            <a:solidFill>
              <a:srgbClr val="5B9BD5"/>
            </a:solidFill>
            <a:ln w="12700" cap="flat" cmpd="sng" algn="ctr">
              <a:noFill/>
              <a:prstDash val="solid"/>
              <a:miter lim="800000"/>
            </a:ln>
            <a:effectLst/>
          </p:spPr>
          <p:txBody>
            <a:bodyPr rtlCol="0" anchor="ctr"/>
            <a:lstStyle/>
            <a:p>
              <a:pPr algn="ctr" defTabSz="914309">
                <a:defRPr/>
              </a:pPr>
              <a:endParaRPr lang="en-US" kern="0">
                <a:solidFill>
                  <a:srgbClr val="FFFFFF"/>
                </a:solidFill>
                <a:latin typeface="Calibri" panose="020F0502020204030204"/>
              </a:endParaRPr>
            </a:p>
          </p:txBody>
        </p:sp>
        <p:cxnSp>
          <p:nvCxnSpPr>
            <p:cNvPr id="120" name="Straight Connector 119"/>
            <p:cNvCxnSpPr/>
            <p:nvPr/>
          </p:nvCxnSpPr>
          <p:spPr>
            <a:xfrm>
              <a:off x="2506887" y="2243771"/>
              <a:ext cx="230937" cy="135637"/>
            </a:xfrm>
            <a:prstGeom prst="line">
              <a:avLst/>
            </a:prstGeom>
            <a:noFill/>
            <a:ln w="6350" cap="flat" cmpd="sng" algn="ctr">
              <a:solidFill>
                <a:srgbClr val="5B9BD5"/>
              </a:solidFill>
              <a:prstDash val="solid"/>
              <a:miter lim="800000"/>
            </a:ln>
            <a:effectLst/>
          </p:spPr>
        </p:cxnSp>
        <p:cxnSp>
          <p:nvCxnSpPr>
            <p:cNvPr id="121" name="Straight Connector 120"/>
            <p:cNvCxnSpPr/>
            <p:nvPr/>
          </p:nvCxnSpPr>
          <p:spPr>
            <a:xfrm>
              <a:off x="2506887" y="1972496"/>
              <a:ext cx="230937" cy="135637"/>
            </a:xfrm>
            <a:prstGeom prst="line">
              <a:avLst/>
            </a:prstGeom>
            <a:noFill/>
            <a:ln w="6350" cap="flat" cmpd="sng" algn="ctr">
              <a:solidFill>
                <a:srgbClr val="5B9BD5"/>
              </a:solidFill>
              <a:prstDash val="solid"/>
              <a:miter lim="800000"/>
            </a:ln>
            <a:effectLst/>
          </p:spPr>
        </p:cxnSp>
        <p:cxnSp>
          <p:nvCxnSpPr>
            <p:cNvPr id="122" name="Straight Connector 121"/>
            <p:cNvCxnSpPr/>
            <p:nvPr/>
          </p:nvCxnSpPr>
          <p:spPr>
            <a:xfrm>
              <a:off x="2734067" y="2102313"/>
              <a:ext cx="230937" cy="135637"/>
            </a:xfrm>
            <a:prstGeom prst="line">
              <a:avLst/>
            </a:prstGeom>
            <a:noFill/>
            <a:ln w="6350" cap="flat" cmpd="sng" algn="ctr">
              <a:solidFill>
                <a:srgbClr val="5B9BD5"/>
              </a:solidFill>
              <a:prstDash val="solid"/>
              <a:miter lim="800000"/>
            </a:ln>
            <a:effectLst/>
          </p:spPr>
        </p:cxnSp>
        <p:cxnSp>
          <p:nvCxnSpPr>
            <p:cNvPr id="123" name="Straight Connector 122"/>
            <p:cNvCxnSpPr/>
            <p:nvPr/>
          </p:nvCxnSpPr>
          <p:spPr>
            <a:xfrm flipH="1">
              <a:off x="2734067" y="2243771"/>
              <a:ext cx="230937" cy="135637"/>
            </a:xfrm>
            <a:prstGeom prst="line">
              <a:avLst/>
            </a:prstGeom>
            <a:noFill/>
            <a:ln w="6350" cap="flat" cmpd="sng" algn="ctr">
              <a:solidFill>
                <a:srgbClr val="5B9BD5"/>
              </a:solidFill>
              <a:prstDash val="solid"/>
              <a:miter lim="800000"/>
            </a:ln>
            <a:effectLst/>
          </p:spPr>
        </p:cxnSp>
        <p:cxnSp>
          <p:nvCxnSpPr>
            <p:cNvPr id="124" name="Straight Connector 123"/>
            <p:cNvCxnSpPr/>
            <p:nvPr/>
          </p:nvCxnSpPr>
          <p:spPr>
            <a:xfrm>
              <a:off x="2734068" y="2113954"/>
              <a:ext cx="33" cy="268599"/>
            </a:xfrm>
            <a:prstGeom prst="line">
              <a:avLst/>
            </a:prstGeom>
            <a:noFill/>
            <a:ln w="6350" cap="flat" cmpd="sng" algn="ctr">
              <a:solidFill>
                <a:srgbClr val="5B9BD5"/>
              </a:solidFill>
              <a:prstDash val="solid"/>
              <a:miter lim="800000"/>
            </a:ln>
            <a:effectLst/>
          </p:spPr>
        </p:cxnSp>
        <p:cxnSp>
          <p:nvCxnSpPr>
            <p:cNvPr id="125" name="Straight Connector 124"/>
            <p:cNvCxnSpPr/>
            <p:nvPr/>
          </p:nvCxnSpPr>
          <p:spPr>
            <a:xfrm flipV="1">
              <a:off x="2503164" y="2108133"/>
              <a:ext cx="230903" cy="129817"/>
            </a:xfrm>
            <a:prstGeom prst="line">
              <a:avLst/>
            </a:prstGeom>
            <a:noFill/>
            <a:ln w="6350" cap="flat" cmpd="sng" algn="ctr">
              <a:solidFill>
                <a:srgbClr val="5B9BD5"/>
              </a:solidFill>
              <a:prstDash val="solid"/>
              <a:miter lim="800000"/>
            </a:ln>
            <a:effectLst/>
          </p:spPr>
        </p:cxnSp>
        <p:cxnSp>
          <p:nvCxnSpPr>
            <p:cNvPr id="126" name="Straight Connector 125"/>
            <p:cNvCxnSpPr/>
            <p:nvPr/>
          </p:nvCxnSpPr>
          <p:spPr>
            <a:xfrm flipV="1">
              <a:off x="2734067" y="1966675"/>
              <a:ext cx="230937" cy="147278"/>
            </a:xfrm>
            <a:prstGeom prst="line">
              <a:avLst/>
            </a:prstGeom>
            <a:noFill/>
            <a:ln w="6350" cap="flat" cmpd="sng" algn="ctr">
              <a:solidFill>
                <a:srgbClr val="5B9BD5"/>
              </a:solidFill>
              <a:prstDash val="solid"/>
              <a:miter lim="800000"/>
            </a:ln>
            <a:effectLst/>
          </p:spPr>
        </p:cxnSp>
        <p:cxnSp>
          <p:nvCxnSpPr>
            <p:cNvPr id="127" name="Straight Connector 126"/>
            <p:cNvCxnSpPr/>
            <p:nvPr/>
          </p:nvCxnSpPr>
          <p:spPr>
            <a:xfrm>
              <a:off x="2510542" y="1997116"/>
              <a:ext cx="33" cy="268599"/>
            </a:xfrm>
            <a:prstGeom prst="line">
              <a:avLst/>
            </a:prstGeom>
            <a:noFill/>
            <a:ln w="6350" cap="flat" cmpd="sng" algn="ctr">
              <a:solidFill>
                <a:srgbClr val="5B9BD5"/>
              </a:solidFill>
              <a:prstDash val="solid"/>
              <a:miter lim="800000"/>
            </a:ln>
            <a:effectLst/>
          </p:spPr>
        </p:cxnSp>
        <p:sp>
          <p:nvSpPr>
            <p:cNvPr id="128" name="Hexagon 127"/>
            <p:cNvSpPr/>
            <p:nvPr/>
          </p:nvSpPr>
          <p:spPr>
            <a:xfrm>
              <a:off x="2828450" y="1853051"/>
              <a:ext cx="274914" cy="247991"/>
            </a:xfrm>
            <a:prstGeom prst="hexagon">
              <a:avLst/>
            </a:prstGeom>
            <a:solidFill>
              <a:srgbClr val="5B9BD5"/>
            </a:solidFill>
            <a:ln w="12700" cap="flat" cmpd="sng" algn="ctr">
              <a:noFill/>
              <a:prstDash val="solid"/>
              <a:miter lim="800000"/>
            </a:ln>
            <a:effectLst/>
          </p:spPr>
          <p:txBody>
            <a:bodyPr rtlCol="0" anchor="ctr"/>
            <a:lstStyle/>
            <a:p>
              <a:pPr algn="ctr" defTabSz="914309">
                <a:defRPr/>
              </a:pPr>
              <a:endParaRPr lang="en-US" kern="0">
                <a:solidFill>
                  <a:srgbClr val="FFFFFF"/>
                </a:solidFill>
                <a:latin typeface="Calibri" panose="020F0502020204030204"/>
              </a:endParaRPr>
            </a:p>
          </p:txBody>
        </p:sp>
        <p:sp>
          <p:nvSpPr>
            <p:cNvPr id="129" name="Hexagon 128"/>
            <p:cNvSpPr/>
            <p:nvPr/>
          </p:nvSpPr>
          <p:spPr>
            <a:xfrm>
              <a:off x="3059387" y="1984139"/>
              <a:ext cx="274914" cy="247991"/>
            </a:xfrm>
            <a:prstGeom prst="hexagon">
              <a:avLst/>
            </a:prstGeom>
            <a:solidFill>
              <a:srgbClr val="5B9BD5"/>
            </a:solidFill>
            <a:ln w="12700" cap="flat" cmpd="sng" algn="ctr">
              <a:noFill/>
              <a:prstDash val="solid"/>
              <a:miter lim="800000"/>
            </a:ln>
            <a:effectLst/>
          </p:spPr>
          <p:txBody>
            <a:bodyPr rtlCol="0" anchor="ctr"/>
            <a:lstStyle/>
            <a:p>
              <a:pPr algn="ctr" defTabSz="914309">
                <a:defRPr/>
              </a:pPr>
              <a:endParaRPr lang="en-US" kern="0">
                <a:solidFill>
                  <a:srgbClr val="FFFFFF"/>
                </a:solidFill>
                <a:latin typeface="Calibri" panose="020F0502020204030204"/>
              </a:endParaRPr>
            </a:p>
          </p:txBody>
        </p:sp>
        <p:sp>
          <p:nvSpPr>
            <p:cNvPr id="130" name="Hexagon 129"/>
            <p:cNvSpPr/>
            <p:nvPr/>
          </p:nvSpPr>
          <p:spPr>
            <a:xfrm>
              <a:off x="2828450" y="2119776"/>
              <a:ext cx="274914" cy="247991"/>
            </a:xfrm>
            <a:prstGeom prst="hexagon">
              <a:avLst/>
            </a:prstGeom>
            <a:solidFill>
              <a:srgbClr val="5B9BD5"/>
            </a:solidFill>
            <a:ln w="12700" cap="flat" cmpd="sng" algn="ctr">
              <a:noFill/>
              <a:prstDash val="solid"/>
              <a:miter lim="800000"/>
            </a:ln>
            <a:effectLst/>
          </p:spPr>
          <p:txBody>
            <a:bodyPr rtlCol="0" anchor="ctr"/>
            <a:lstStyle/>
            <a:p>
              <a:pPr algn="ctr" defTabSz="914309">
                <a:defRPr/>
              </a:pPr>
              <a:endParaRPr lang="en-US" kern="0">
                <a:solidFill>
                  <a:srgbClr val="FFFFFF"/>
                </a:solidFill>
                <a:latin typeface="Calibri" panose="020F0502020204030204"/>
              </a:endParaRPr>
            </a:p>
          </p:txBody>
        </p:sp>
        <p:sp>
          <p:nvSpPr>
            <p:cNvPr id="131" name="Hexagon 130"/>
            <p:cNvSpPr/>
            <p:nvPr/>
          </p:nvSpPr>
          <p:spPr>
            <a:xfrm>
              <a:off x="3059387" y="2250864"/>
              <a:ext cx="274914" cy="247991"/>
            </a:xfrm>
            <a:prstGeom prst="hexagon">
              <a:avLst/>
            </a:prstGeom>
            <a:solidFill>
              <a:srgbClr val="5B9BD5"/>
            </a:solidFill>
            <a:ln w="12700" cap="flat" cmpd="sng" algn="ctr">
              <a:noFill/>
              <a:prstDash val="solid"/>
              <a:miter lim="800000"/>
            </a:ln>
            <a:effectLst/>
          </p:spPr>
          <p:txBody>
            <a:bodyPr rtlCol="0" anchor="ctr"/>
            <a:lstStyle/>
            <a:p>
              <a:pPr algn="ctr" defTabSz="914309">
                <a:defRPr/>
              </a:pPr>
              <a:endParaRPr lang="en-US" kern="0">
                <a:solidFill>
                  <a:srgbClr val="FFFFFF"/>
                </a:solidFill>
                <a:latin typeface="Calibri" panose="020F0502020204030204"/>
              </a:endParaRPr>
            </a:p>
          </p:txBody>
        </p:sp>
        <p:cxnSp>
          <p:nvCxnSpPr>
            <p:cNvPr id="132" name="Straight Connector 131"/>
            <p:cNvCxnSpPr/>
            <p:nvPr/>
          </p:nvCxnSpPr>
          <p:spPr>
            <a:xfrm>
              <a:off x="2965907" y="2243771"/>
              <a:ext cx="230937" cy="135637"/>
            </a:xfrm>
            <a:prstGeom prst="line">
              <a:avLst/>
            </a:prstGeom>
            <a:noFill/>
            <a:ln w="6350" cap="flat" cmpd="sng" algn="ctr">
              <a:solidFill>
                <a:srgbClr val="5B9BD5"/>
              </a:solidFill>
              <a:prstDash val="solid"/>
              <a:miter lim="800000"/>
            </a:ln>
            <a:effectLst/>
          </p:spPr>
        </p:cxnSp>
        <p:cxnSp>
          <p:nvCxnSpPr>
            <p:cNvPr id="133" name="Straight Connector 132"/>
            <p:cNvCxnSpPr/>
            <p:nvPr/>
          </p:nvCxnSpPr>
          <p:spPr>
            <a:xfrm>
              <a:off x="2965907" y="1972496"/>
              <a:ext cx="230937" cy="135637"/>
            </a:xfrm>
            <a:prstGeom prst="line">
              <a:avLst/>
            </a:prstGeom>
            <a:noFill/>
            <a:ln w="6350" cap="flat" cmpd="sng" algn="ctr">
              <a:solidFill>
                <a:srgbClr val="5B9BD5"/>
              </a:solidFill>
              <a:prstDash val="solid"/>
              <a:miter lim="800000"/>
            </a:ln>
            <a:effectLst/>
          </p:spPr>
        </p:cxnSp>
        <p:cxnSp>
          <p:nvCxnSpPr>
            <p:cNvPr id="134" name="Straight Connector 133"/>
            <p:cNvCxnSpPr/>
            <p:nvPr/>
          </p:nvCxnSpPr>
          <p:spPr>
            <a:xfrm>
              <a:off x="3193087" y="2102313"/>
              <a:ext cx="230937" cy="135637"/>
            </a:xfrm>
            <a:prstGeom prst="line">
              <a:avLst/>
            </a:prstGeom>
            <a:noFill/>
            <a:ln w="6350" cap="flat" cmpd="sng" algn="ctr">
              <a:solidFill>
                <a:srgbClr val="5B9BD5"/>
              </a:solidFill>
              <a:prstDash val="solid"/>
              <a:miter lim="800000"/>
            </a:ln>
            <a:effectLst/>
          </p:spPr>
        </p:cxnSp>
        <p:cxnSp>
          <p:nvCxnSpPr>
            <p:cNvPr id="135" name="Straight Connector 134"/>
            <p:cNvCxnSpPr/>
            <p:nvPr/>
          </p:nvCxnSpPr>
          <p:spPr>
            <a:xfrm flipH="1">
              <a:off x="3193087" y="2243771"/>
              <a:ext cx="230937" cy="135637"/>
            </a:xfrm>
            <a:prstGeom prst="line">
              <a:avLst/>
            </a:prstGeom>
            <a:noFill/>
            <a:ln w="6350" cap="flat" cmpd="sng" algn="ctr">
              <a:solidFill>
                <a:srgbClr val="5B9BD5"/>
              </a:solidFill>
              <a:prstDash val="solid"/>
              <a:miter lim="800000"/>
            </a:ln>
            <a:effectLst/>
          </p:spPr>
        </p:cxnSp>
        <p:cxnSp>
          <p:nvCxnSpPr>
            <p:cNvPr id="136" name="Straight Connector 135"/>
            <p:cNvCxnSpPr/>
            <p:nvPr/>
          </p:nvCxnSpPr>
          <p:spPr>
            <a:xfrm>
              <a:off x="3193088" y="2113954"/>
              <a:ext cx="33" cy="268599"/>
            </a:xfrm>
            <a:prstGeom prst="line">
              <a:avLst/>
            </a:prstGeom>
            <a:noFill/>
            <a:ln w="6350" cap="flat" cmpd="sng" algn="ctr">
              <a:solidFill>
                <a:srgbClr val="5B9BD5"/>
              </a:solidFill>
              <a:prstDash val="solid"/>
              <a:miter lim="800000"/>
            </a:ln>
            <a:effectLst/>
          </p:spPr>
        </p:cxnSp>
        <p:cxnSp>
          <p:nvCxnSpPr>
            <p:cNvPr id="137" name="Straight Connector 136"/>
            <p:cNvCxnSpPr/>
            <p:nvPr/>
          </p:nvCxnSpPr>
          <p:spPr>
            <a:xfrm flipV="1">
              <a:off x="2962184" y="2108133"/>
              <a:ext cx="230903" cy="129817"/>
            </a:xfrm>
            <a:prstGeom prst="line">
              <a:avLst/>
            </a:prstGeom>
            <a:noFill/>
            <a:ln w="6350" cap="flat" cmpd="sng" algn="ctr">
              <a:solidFill>
                <a:srgbClr val="5B9BD5"/>
              </a:solidFill>
              <a:prstDash val="solid"/>
              <a:miter lim="800000"/>
            </a:ln>
            <a:effectLst/>
          </p:spPr>
        </p:cxnSp>
        <p:cxnSp>
          <p:nvCxnSpPr>
            <p:cNvPr id="138" name="Straight Connector 137"/>
            <p:cNvCxnSpPr/>
            <p:nvPr/>
          </p:nvCxnSpPr>
          <p:spPr>
            <a:xfrm flipV="1">
              <a:off x="3193087" y="1966675"/>
              <a:ext cx="230937" cy="147278"/>
            </a:xfrm>
            <a:prstGeom prst="line">
              <a:avLst/>
            </a:prstGeom>
            <a:noFill/>
            <a:ln w="6350" cap="flat" cmpd="sng" algn="ctr">
              <a:solidFill>
                <a:srgbClr val="5B9BD5"/>
              </a:solidFill>
              <a:prstDash val="solid"/>
              <a:miter lim="800000"/>
            </a:ln>
            <a:effectLst/>
          </p:spPr>
        </p:cxnSp>
        <p:cxnSp>
          <p:nvCxnSpPr>
            <p:cNvPr id="139" name="Straight Connector 138"/>
            <p:cNvCxnSpPr/>
            <p:nvPr/>
          </p:nvCxnSpPr>
          <p:spPr>
            <a:xfrm>
              <a:off x="2965890" y="1997116"/>
              <a:ext cx="33" cy="268599"/>
            </a:xfrm>
            <a:prstGeom prst="line">
              <a:avLst/>
            </a:prstGeom>
            <a:noFill/>
            <a:ln w="6350" cap="flat" cmpd="sng" algn="ctr">
              <a:solidFill>
                <a:srgbClr val="5B9BD5"/>
              </a:solidFill>
              <a:prstDash val="solid"/>
              <a:miter lim="800000"/>
            </a:ln>
            <a:effectLst/>
          </p:spPr>
        </p:cxnSp>
        <p:sp>
          <p:nvSpPr>
            <p:cNvPr id="140" name="Hexagon 139"/>
            <p:cNvSpPr/>
            <p:nvPr/>
          </p:nvSpPr>
          <p:spPr>
            <a:xfrm>
              <a:off x="3289956" y="1853051"/>
              <a:ext cx="274914" cy="247991"/>
            </a:xfrm>
            <a:prstGeom prst="hexagon">
              <a:avLst/>
            </a:prstGeom>
            <a:solidFill>
              <a:srgbClr val="5B9BD5"/>
            </a:solidFill>
            <a:ln w="12700" cap="flat" cmpd="sng" algn="ctr">
              <a:noFill/>
              <a:prstDash val="solid"/>
              <a:miter lim="800000"/>
            </a:ln>
            <a:effectLst/>
          </p:spPr>
          <p:txBody>
            <a:bodyPr rtlCol="0" anchor="ctr"/>
            <a:lstStyle/>
            <a:p>
              <a:pPr algn="ctr" defTabSz="914309">
                <a:defRPr/>
              </a:pPr>
              <a:endParaRPr lang="en-US" kern="0">
                <a:solidFill>
                  <a:srgbClr val="FFFFFF"/>
                </a:solidFill>
                <a:latin typeface="Calibri" panose="020F0502020204030204"/>
              </a:endParaRPr>
            </a:p>
          </p:txBody>
        </p:sp>
        <p:sp>
          <p:nvSpPr>
            <p:cNvPr id="141" name="Hexagon 140"/>
            <p:cNvSpPr/>
            <p:nvPr/>
          </p:nvSpPr>
          <p:spPr>
            <a:xfrm>
              <a:off x="3520893" y="1984139"/>
              <a:ext cx="274914" cy="247991"/>
            </a:xfrm>
            <a:prstGeom prst="hexagon">
              <a:avLst/>
            </a:prstGeom>
            <a:solidFill>
              <a:srgbClr val="5B9BD5"/>
            </a:solidFill>
            <a:ln w="12700" cap="flat" cmpd="sng" algn="ctr">
              <a:noFill/>
              <a:prstDash val="solid"/>
              <a:miter lim="800000"/>
            </a:ln>
            <a:effectLst/>
          </p:spPr>
          <p:txBody>
            <a:bodyPr rtlCol="0" anchor="ctr"/>
            <a:lstStyle/>
            <a:p>
              <a:pPr algn="ctr" defTabSz="914309">
                <a:defRPr/>
              </a:pPr>
              <a:endParaRPr lang="en-US" kern="0">
                <a:solidFill>
                  <a:srgbClr val="FFFFFF"/>
                </a:solidFill>
                <a:latin typeface="Calibri" panose="020F0502020204030204"/>
              </a:endParaRPr>
            </a:p>
          </p:txBody>
        </p:sp>
        <p:sp>
          <p:nvSpPr>
            <p:cNvPr id="142" name="Hexagon 141"/>
            <p:cNvSpPr/>
            <p:nvPr/>
          </p:nvSpPr>
          <p:spPr>
            <a:xfrm>
              <a:off x="3289956" y="2119776"/>
              <a:ext cx="274914" cy="247991"/>
            </a:xfrm>
            <a:prstGeom prst="hexagon">
              <a:avLst/>
            </a:prstGeom>
            <a:solidFill>
              <a:srgbClr val="5B9BD5"/>
            </a:solidFill>
            <a:ln w="12700" cap="flat" cmpd="sng" algn="ctr">
              <a:noFill/>
              <a:prstDash val="solid"/>
              <a:miter lim="800000"/>
            </a:ln>
            <a:effectLst/>
          </p:spPr>
          <p:txBody>
            <a:bodyPr rtlCol="0" anchor="ctr"/>
            <a:lstStyle/>
            <a:p>
              <a:pPr algn="ctr" defTabSz="914309">
                <a:defRPr/>
              </a:pPr>
              <a:endParaRPr lang="en-US" kern="0">
                <a:solidFill>
                  <a:srgbClr val="FFFFFF"/>
                </a:solidFill>
                <a:latin typeface="Calibri" panose="020F0502020204030204"/>
              </a:endParaRPr>
            </a:p>
          </p:txBody>
        </p:sp>
        <p:sp>
          <p:nvSpPr>
            <p:cNvPr id="143" name="Hexagon 142"/>
            <p:cNvSpPr/>
            <p:nvPr/>
          </p:nvSpPr>
          <p:spPr>
            <a:xfrm>
              <a:off x="3520893" y="2250864"/>
              <a:ext cx="274914" cy="247991"/>
            </a:xfrm>
            <a:prstGeom prst="hexagon">
              <a:avLst/>
            </a:prstGeom>
            <a:solidFill>
              <a:srgbClr val="5B9BD5"/>
            </a:solidFill>
            <a:ln w="12700" cap="flat" cmpd="sng" algn="ctr">
              <a:noFill/>
              <a:prstDash val="solid"/>
              <a:miter lim="800000"/>
            </a:ln>
            <a:effectLst/>
          </p:spPr>
          <p:txBody>
            <a:bodyPr rtlCol="0" anchor="ctr"/>
            <a:lstStyle/>
            <a:p>
              <a:pPr algn="ctr" defTabSz="914309">
                <a:defRPr/>
              </a:pPr>
              <a:endParaRPr lang="en-US" kern="0">
                <a:solidFill>
                  <a:srgbClr val="FFFFFF"/>
                </a:solidFill>
                <a:latin typeface="Calibri" panose="020F0502020204030204"/>
              </a:endParaRPr>
            </a:p>
          </p:txBody>
        </p:sp>
        <p:cxnSp>
          <p:nvCxnSpPr>
            <p:cNvPr id="144" name="Straight Connector 143"/>
            <p:cNvCxnSpPr/>
            <p:nvPr/>
          </p:nvCxnSpPr>
          <p:spPr>
            <a:xfrm>
              <a:off x="3427413" y="2243771"/>
              <a:ext cx="230937" cy="135637"/>
            </a:xfrm>
            <a:prstGeom prst="line">
              <a:avLst/>
            </a:prstGeom>
            <a:noFill/>
            <a:ln w="6350" cap="flat" cmpd="sng" algn="ctr">
              <a:solidFill>
                <a:srgbClr val="5B9BD5"/>
              </a:solidFill>
              <a:prstDash val="solid"/>
              <a:miter lim="800000"/>
            </a:ln>
            <a:effectLst/>
          </p:spPr>
        </p:cxnSp>
        <p:cxnSp>
          <p:nvCxnSpPr>
            <p:cNvPr id="145" name="Straight Connector 144"/>
            <p:cNvCxnSpPr/>
            <p:nvPr/>
          </p:nvCxnSpPr>
          <p:spPr>
            <a:xfrm>
              <a:off x="3427413" y="1972496"/>
              <a:ext cx="230937" cy="135637"/>
            </a:xfrm>
            <a:prstGeom prst="line">
              <a:avLst/>
            </a:prstGeom>
            <a:noFill/>
            <a:ln w="6350" cap="flat" cmpd="sng" algn="ctr">
              <a:solidFill>
                <a:srgbClr val="5B9BD5"/>
              </a:solidFill>
              <a:prstDash val="solid"/>
              <a:miter lim="800000"/>
            </a:ln>
            <a:effectLst/>
          </p:spPr>
        </p:cxnSp>
        <p:cxnSp>
          <p:nvCxnSpPr>
            <p:cNvPr id="146" name="Straight Connector 145"/>
            <p:cNvCxnSpPr/>
            <p:nvPr/>
          </p:nvCxnSpPr>
          <p:spPr>
            <a:xfrm>
              <a:off x="3654593" y="2102313"/>
              <a:ext cx="230937" cy="135637"/>
            </a:xfrm>
            <a:prstGeom prst="line">
              <a:avLst/>
            </a:prstGeom>
            <a:noFill/>
            <a:ln w="6350" cap="flat" cmpd="sng" algn="ctr">
              <a:solidFill>
                <a:srgbClr val="5B9BD5"/>
              </a:solidFill>
              <a:prstDash val="solid"/>
              <a:miter lim="800000"/>
            </a:ln>
            <a:effectLst/>
          </p:spPr>
        </p:cxnSp>
        <p:cxnSp>
          <p:nvCxnSpPr>
            <p:cNvPr id="147" name="Straight Connector 146"/>
            <p:cNvCxnSpPr/>
            <p:nvPr/>
          </p:nvCxnSpPr>
          <p:spPr>
            <a:xfrm flipH="1">
              <a:off x="3654593" y="2243771"/>
              <a:ext cx="230937" cy="135637"/>
            </a:xfrm>
            <a:prstGeom prst="line">
              <a:avLst/>
            </a:prstGeom>
            <a:noFill/>
            <a:ln w="6350" cap="flat" cmpd="sng" algn="ctr">
              <a:solidFill>
                <a:srgbClr val="5B9BD5"/>
              </a:solidFill>
              <a:prstDash val="solid"/>
              <a:miter lim="800000"/>
            </a:ln>
            <a:effectLst/>
          </p:spPr>
        </p:cxnSp>
        <p:cxnSp>
          <p:nvCxnSpPr>
            <p:cNvPr id="148" name="Straight Connector 147"/>
            <p:cNvCxnSpPr/>
            <p:nvPr/>
          </p:nvCxnSpPr>
          <p:spPr>
            <a:xfrm>
              <a:off x="3654594" y="2113954"/>
              <a:ext cx="33" cy="268599"/>
            </a:xfrm>
            <a:prstGeom prst="line">
              <a:avLst/>
            </a:prstGeom>
            <a:noFill/>
            <a:ln w="6350" cap="flat" cmpd="sng" algn="ctr">
              <a:solidFill>
                <a:srgbClr val="5B9BD5"/>
              </a:solidFill>
              <a:prstDash val="solid"/>
              <a:miter lim="800000"/>
            </a:ln>
            <a:effectLst/>
          </p:spPr>
        </p:cxnSp>
        <p:cxnSp>
          <p:nvCxnSpPr>
            <p:cNvPr id="149" name="Straight Connector 148"/>
            <p:cNvCxnSpPr/>
            <p:nvPr/>
          </p:nvCxnSpPr>
          <p:spPr>
            <a:xfrm flipV="1">
              <a:off x="3423690" y="2108133"/>
              <a:ext cx="230903" cy="129817"/>
            </a:xfrm>
            <a:prstGeom prst="line">
              <a:avLst/>
            </a:prstGeom>
            <a:noFill/>
            <a:ln w="6350" cap="flat" cmpd="sng" algn="ctr">
              <a:solidFill>
                <a:srgbClr val="5B9BD5"/>
              </a:solidFill>
              <a:prstDash val="solid"/>
              <a:miter lim="800000"/>
            </a:ln>
            <a:effectLst/>
          </p:spPr>
        </p:cxnSp>
        <p:cxnSp>
          <p:nvCxnSpPr>
            <p:cNvPr id="150" name="Straight Connector 149"/>
            <p:cNvCxnSpPr/>
            <p:nvPr/>
          </p:nvCxnSpPr>
          <p:spPr>
            <a:xfrm flipV="1">
              <a:off x="3654593" y="1966675"/>
              <a:ext cx="230937" cy="147278"/>
            </a:xfrm>
            <a:prstGeom prst="line">
              <a:avLst/>
            </a:prstGeom>
            <a:noFill/>
            <a:ln w="6350" cap="flat" cmpd="sng" algn="ctr">
              <a:solidFill>
                <a:srgbClr val="5B9BD5"/>
              </a:solidFill>
              <a:prstDash val="solid"/>
              <a:miter lim="800000"/>
            </a:ln>
            <a:effectLst/>
          </p:spPr>
        </p:cxnSp>
        <p:cxnSp>
          <p:nvCxnSpPr>
            <p:cNvPr id="151" name="Straight Connector 150"/>
            <p:cNvCxnSpPr/>
            <p:nvPr/>
          </p:nvCxnSpPr>
          <p:spPr>
            <a:xfrm>
              <a:off x="3427396" y="1997116"/>
              <a:ext cx="33" cy="268599"/>
            </a:xfrm>
            <a:prstGeom prst="line">
              <a:avLst/>
            </a:prstGeom>
            <a:noFill/>
            <a:ln w="6350" cap="flat" cmpd="sng" algn="ctr">
              <a:solidFill>
                <a:srgbClr val="5B9BD5"/>
              </a:solidFill>
              <a:prstDash val="solid"/>
              <a:miter lim="800000"/>
            </a:ln>
            <a:effectLst/>
          </p:spPr>
        </p:cxnSp>
        <p:sp>
          <p:nvSpPr>
            <p:cNvPr id="152" name="Hexagon 151"/>
            <p:cNvSpPr/>
            <p:nvPr/>
          </p:nvSpPr>
          <p:spPr>
            <a:xfrm>
              <a:off x="3753132" y="1853051"/>
              <a:ext cx="274914" cy="247991"/>
            </a:xfrm>
            <a:prstGeom prst="hexagon">
              <a:avLst/>
            </a:prstGeom>
            <a:solidFill>
              <a:srgbClr val="5B9BD5"/>
            </a:solidFill>
            <a:ln w="12700" cap="flat" cmpd="sng" algn="ctr">
              <a:noFill/>
              <a:prstDash val="solid"/>
              <a:miter lim="800000"/>
            </a:ln>
            <a:effectLst/>
          </p:spPr>
          <p:txBody>
            <a:bodyPr rtlCol="0" anchor="ctr"/>
            <a:lstStyle/>
            <a:p>
              <a:pPr algn="ctr" defTabSz="914309">
                <a:defRPr/>
              </a:pPr>
              <a:endParaRPr lang="en-US" kern="0">
                <a:solidFill>
                  <a:srgbClr val="FFFFFF"/>
                </a:solidFill>
                <a:latin typeface="Calibri" panose="020F0502020204030204"/>
              </a:endParaRPr>
            </a:p>
          </p:txBody>
        </p:sp>
        <p:sp>
          <p:nvSpPr>
            <p:cNvPr id="153" name="Hexagon 152"/>
            <p:cNvSpPr/>
            <p:nvPr/>
          </p:nvSpPr>
          <p:spPr>
            <a:xfrm>
              <a:off x="3984069" y="1984139"/>
              <a:ext cx="274914" cy="247991"/>
            </a:xfrm>
            <a:prstGeom prst="hexagon">
              <a:avLst/>
            </a:prstGeom>
            <a:solidFill>
              <a:srgbClr val="5B9BD5"/>
            </a:solidFill>
            <a:ln w="12700" cap="flat" cmpd="sng" algn="ctr">
              <a:noFill/>
              <a:prstDash val="solid"/>
              <a:miter lim="800000"/>
            </a:ln>
            <a:effectLst/>
          </p:spPr>
          <p:txBody>
            <a:bodyPr rtlCol="0" anchor="ctr"/>
            <a:lstStyle/>
            <a:p>
              <a:pPr algn="ctr" defTabSz="914309">
                <a:defRPr/>
              </a:pPr>
              <a:endParaRPr lang="en-US" kern="0">
                <a:solidFill>
                  <a:srgbClr val="FFFFFF"/>
                </a:solidFill>
                <a:latin typeface="Calibri" panose="020F0502020204030204"/>
              </a:endParaRPr>
            </a:p>
          </p:txBody>
        </p:sp>
        <p:sp>
          <p:nvSpPr>
            <p:cNvPr id="154" name="Hexagon 153"/>
            <p:cNvSpPr/>
            <p:nvPr/>
          </p:nvSpPr>
          <p:spPr>
            <a:xfrm>
              <a:off x="3753132" y="2119776"/>
              <a:ext cx="274914" cy="247991"/>
            </a:xfrm>
            <a:prstGeom prst="hexagon">
              <a:avLst/>
            </a:prstGeom>
            <a:solidFill>
              <a:srgbClr val="5B9BD5"/>
            </a:solidFill>
            <a:ln w="12700" cap="flat" cmpd="sng" algn="ctr">
              <a:noFill/>
              <a:prstDash val="solid"/>
              <a:miter lim="800000"/>
            </a:ln>
            <a:effectLst/>
          </p:spPr>
          <p:txBody>
            <a:bodyPr rtlCol="0" anchor="ctr"/>
            <a:lstStyle/>
            <a:p>
              <a:pPr algn="ctr" defTabSz="914309">
                <a:defRPr/>
              </a:pPr>
              <a:endParaRPr lang="en-US" kern="0">
                <a:solidFill>
                  <a:srgbClr val="FFFFFF"/>
                </a:solidFill>
                <a:latin typeface="Calibri" panose="020F0502020204030204"/>
              </a:endParaRPr>
            </a:p>
          </p:txBody>
        </p:sp>
        <p:sp>
          <p:nvSpPr>
            <p:cNvPr id="155" name="Hexagon 154"/>
            <p:cNvSpPr/>
            <p:nvPr/>
          </p:nvSpPr>
          <p:spPr>
            <a:xfrm>
              <a:off x="3984069" y="2250864"/>
              <a:ext cx="274914" cy="247991"/>
            </a:xfrm>
            <a:prstGeom prst="hexagon">
              <a:avLst/>
            </a:prstGeom>
            <a:solidFill>
              <a:srgbClr val="5B9BD5"/>
            </a:solidFill>
            <a:ln w="12700" cap="flat" cmpd="sng" algn="ctr">
              <a:noFill/>
              <a:prstDash val="solid"/>
              <a:miter lim="800000"/>
            </a:ln>
            <a:effectLst/>
          </p:spPr>
          <p:txBody>
            <a:bodyPr rtlCol="0" anchor="ctr"/>
            <a:lstStyle/>
            <a:p>
              <a:pPr algn="ctr" defTabSz="914309">
                <a:defRPr/>
              </a:pPr>
              <a:endParaRPr lang="en-US" kern="0">
                <a:solidFill>
                  <a:srgbClr val="FFFFFF"/>
                </a:solidFill>
                <a:latin typeface="Calibri" panose="020F0502020204030204"/>
              </a:endParaRPr>
            </a:p>
          </p:txBody>
        </p:sp>
        <p:cxnSp>
          <p:nvCxnSpPr>
            <p:cNvPr id="156" name="Straight Connector 155"/>
            <p:cNvCxnSpPr/>
            <p:nvPr/>
          </p:nvCxnSpPr>
          <p:spPr>
            <a:xfrm>
              <a:off x="3890589" y="2243771"/>
              <a:ext cx="230937" cy="135637"/>
            </a:xfrm>
            <a:prstGeom prst="line">
              <a:avLst/>
            </a:prstGeom>
            <a:noFill/>
            <a:ln w="6350" cap="flat" cmpd="sng" algn="ctr">
              <a:solidFill>
                <a:srgbClr val="5B9BD5"/>
              </a:solidFill>
              <a:prstDash val="solid"/>
              <a:miter lim="800000"/>
            </a:ln>
            <a:effectLst/>
          </p:spPr>
        </p:cxnSp>
        <p:cxnSp>
          <p:nvCxnSpPr>
            <p:cNvPr id="157" name="Straight Connector 156"/>
            <p:cNvCxnSpPr/>
            <p:nvPr/>
          </p:nvCxnSpPr>
          <p:spPr>
            <a:xfrm>
              <a:off x="3890589" y="1972496"/>
              <a:ext cx="230937" cy="135637"/>
            </a:xfrm>
            <a:prstGeom prst="line">
              <a:avLst/>
            </a:prstGeom>
            <a:noFill/>
            <a:ln w="6350" cap="flat" cmpd="sng" algn="ctr">
              <a:solidFill>
                <a:srgbClr val="5B9BD5"/>
              </a:solidFill>
              <a:prstDash val="solid"/>
              <a:miter lim="800000"/>
            </a:ln>
            <a:effectLst/>
          </p:spPr>
        </p:cxnSp>
        <p:cxnSp>
          <p:nvCxnSpPr>
            <p:cNvPr id="158" name="Straight Connector 157"/>
            <p:cNvCxnSpPr/>
            <p:nvPr/>
          </p:nvCxnSpPr>
          <p:spPr>
            <a:xfrm>
              <a:off x="4108054" y="2107644"/>
              <a:ext cx="230937" cy="135637"/>
            </a:xfrm>
            <a:prstGeom prst="line">
              <a:avLst/>
            </a:prstGeom>
            <a:noFill/>
            <a:ln w="6350" cap="flat" cmpd="sng" algn="ctr">
              <a:solidFill>
                <a:srgbClr val="5B9BD5"/>
              </a:solidFill>
              <a:prstDash val="solid"/>
              <a:miter lim="800000"/>
            </a:ln>
            <a:effectLst/>
          </p:spPr>
        </p:cxnSp>
        <p:cxnSp>
          <p:nvCxnSpPr>
            <p:cNvPr id="159" name="Straight Connector 158"/>
            <p:cNvCxnSpPr/>
            <p:nvPr/>
          </p:nvCxnSpPr>
          <p:spPr>
            <a:xfrm flipH="1">
              <a:off x="4108054" y="2249102"/>
              <a:ext cx="230937" cy="135637"/>
            </a:xfrm>
            <a:prstGeom prst="line">
              <a:avLst/>
            </a:prstGeom>
            <a:noFill/>
            <a:ln w="6350" cap="flat" cmpd="sng" algn="ctr">
              <a:solidFill>
                <a:srgbClr val="5B9BD5"/>
              </a:solidFill>
              <a:prstDash val="solid"/>
              <a:miter lim="800000"/>
            </a:ln>
            <a:effectLst/>
          </p:spPr>
        </p:cxnSp>
        <p:cxnSp>
          <p:nvCxnSpPr>
            <p:cNvPr id="160" name="Straight Connector 159"/>
            <p:cNvCxnSpPr/>
            <p:nvPr/>
          </p:nvCxnSpPr>
          <p:spPr>
            <a:xfrm>
              <a:off x="4119275" y="2119285"/>
              <a:ext cx="33" cy="268599"/>
            </a:xfrm>
            <a:prstGeom prst="line">
              <a:avLst/>
            </a:prstGeom>
            <a:noFill/>
            <a:ln w="6350" cap="flat" cmpd="sng" algn="ctr">
              <a:solidFill>
                <a:srgbClr val="5B9BD5"/>
              </a:solidFill>
              <a:prstDash val="solid"/>
              <a:miter lim="800000"/>
            </a:ln>
            <a:effectLst/>
          </p:spPr>
        </p:cxnSp>
        <p:cxnSp>
          <p:nvCxnSpPr>
            <p:cNvPr id="161" name="Straight Connector 160"/>
            <p:cNvCxnSpPr/>
            <p:nvPr/>
          </p:nvCxnSpPr>
          <p:spPr>
            <a:xfrm flipV="1">
              <a:off x="3886866" y="2108133"/>
              <a:ext cx="230903" cy="129817"/>
            </a:xfrm>
            <a:prstGeom prst="line">
              <a:avLst/>
            </a:prstGeom>
            <a:noFill/>
            <a:ln w="6350" cap="flat" cmpd="sng" algn="ctr">
              <a:solidFill>
                <a:srgbClr val="5B9BD5"/>
              </a:solidFill>
              <a:prstDash val="solid"/>
              <a:miter lim="800000"/>
            </a:ln>
            <a:effectLst/>
          </p:spPr>
        </p:cxnSp>
        <p:cxnSp>
          <p:nvCxnSpPr>
            <p:cNvPr id="162" name="Straight Connector 161"/>
            <p:cNvCxnSpPr/>
            <p:nvPr/>
          </p:nvCxnSpPr>
          <p:spPr>
            <a:xfrm flipV="1">
              <a:off x="4108054" y="1972006"/>
              <a:ext cx="230937" cy="147278"/>
            </a:xfrm>
            <a:prstGeom prst="line">
              <a:avLst/>
            </a:prstGeom>
            <a:noFill/>
            <a:ln w="6350" cap="flat" cmpd="sng" algn="ctr">
              <a:solidFill>
                <a:srgbClr val="5B9BD5"/>
              </a:solidFill>
              <a:prstDash val="solid"/>
              <a:miter lim="800000"/>
            </a:ln>
            <a:effectLst/>
          </p:spPr>
        </p:cxnSp>
        <p:cxnSp>
          <p:nvCxnSpPr>
            <p:cNvPr id="163" name="Straight Connector 162"/>
            <p:cNvCxnSpPr/>
            <p:nvPr/>
          </p:nvCxnSpPr>
          <p:spPr>
            <a:xfrm>
              <a:off x="3890572" y="1997116"/>
              <a:ext cx="33" cy="268599"/>
            </a:xfrm>
            <a:prstGeom prst="line">
              <a:avLst/>
            </a:prstGeom>
            <a:noFill/>
            <a:ln w="6350" cap="flat" cmpd="sng" algn="ctr">
              <a:solidFill>
                <a:srgbClr val="5B9BD5"/>
              </a:solidFill>
              <a:prstDash val="solid"/>
              <a:miter lim="800000"/>
            </a:ln>
            <a:effectLst/>
          </p:spPr>
        </p:cxnSp>
        <p:sp>
          <p:nvSpPr>
            <p:cNvPr id="164" name="Hexagon 163"/>
            <p:cNvSpPr/>
            <p:nvPr/>
          </p:nvSpPr>
          <p:spPr>
            <a:xfrm>
              <a:off x="4214990" y="1854372"/>
              <a:ext cx="274914" cy="247991"/>
            </a:xfrm>
            <a:prstGeom prst="hexagon">
              <a:avLst/>
            </a:prstGeom>
            <a:solidFill>
              <a:srgbClr val="5B9BD5"/>
            </a:solidFill>
            <a:ln w="12700" cap="flat" cmpd="sng" algn="ctr">
              <a:noFill/>
              <a:prstDash val="solid"/>
              <a:miter lim="800000"/>
            </a:ln>
            <a:effectLst/>
          </p:spPr>
          <p:txBody>
            <a:bodyPr rtlCol="0" anchor="ctr"/>
            <a:lstStyle/>
            <a:p>
              <a:pPr algn="ctr" defTabSz="914309">
                <a:defRPr/>
              </a:pPr>
              <a:endParaRPr lang="en-US" kern="0">
                <a:solidFill>
                  <a:srgbClr val="FFFFFF"/>
                </a:solidFill>
                <a:latin typeface="Calibri" panose="020F0502020204030204"/>
              </a:endParaRPr>
            </a:p>
          </p:txBody>
        </p:sp>
        <p:sp>
          <p:nvSpPr>
            <p:cNvPr id="165" name="Hexagon 164"/>
            <p:cNvSpPr/>
            <p:nvPr/>
          </p:nvSpPr>
          <p:spPr>
            <a:xfrm>
              <a:off x="4445927" y="1985460"/>
              <a:ext cx="274914" cy="247991"/>
            </a:xfrm>
            <a:prstGeom prst="hexagon">
              <a:avLst/>
            </a:prstGeom>
            <a:solidFill>
              <a:srgbClr val="5B9BD5"/>
            </a:solidFill>
            <a:ln w="12700" cap="flat" cmpd="sng" algn="ctr">
              <a:noFill/>
              <a:prstDash val="solid"/>
              <a:miter lim="800000"/>
            </a:ln>
            <a:effectLst/>
          </p:spPr>
          <p:txBody>
            <a:bodyPr rtlCol="0" anchor="ctr"/>
            <a:lstStyle/>
            <a:p>
              <a:pPr algn="ctr" defTabSz="914309">
                <a:defRPr/>
              </a:pPr>
              <a:endParaRPr lang="en-US" kern="0">
                <a:solidFill>
                  <a:srgbClr val="FFFFFF"/>
                </a:solidFill>
                <a:latin typeface="Calibri" panose="020F0502020204030204"/>
              </a:endParaRPr>
            </a:p>
          </p:txBody>
        </p:sp>
        <p:sp>
          <p:nvSpPr>
            <p:cNvPr id="166" name="Hexagon 165"/>
            <p:cNvSpPr/>
            <p:nvPr/>
          </p:nvSpPr>
          <p:spPr>
            <a:xfrm>
              <a:off x="4214990" y="2121097"/>
              <a:ext cx="274914" cy="247991"/>
            </a:xfrm>
            <a:prstGeom prst="hexagon">
              <a:avLst/>
            </a:prstGeom>
            <a:solidFill>
              <a:srgbClr val="5B9BD5"/>
            </a:solidFill>
            <a:ln w="12700" cap="flat" cmpd="sng" algn="ctr">
              <a:noFill/>
              <a:prstDash val="solid"/>
              <a:miter lim="800000"/>
            </a:ln>
            <a:effectLst/>
          </p:spPr>
          <p:txBody>
            <a:bodyPr rtlCol="0" anchor="ctr"/>
            <a:lstStyle/>
            <a:p>
              <a:pPr algn="ctr" defTabSz="914309">
                <a:defRPr/>
              </a:pPr>
              <a:endParaRPr lang="en-US" kern="0">
                <a:solidFill>
                  <a:srgbClr val="FFFFFF"/>
                </a:solidFill>
                <a:latin typeface="Calibri" panose="020F0502020204030204"/>
              </a:endParaRPr>
            </a:p>
          </p:txBody>
        </p:sp>
        <p:sp>
          <p:nvSpPr>
            <p:cNvPr id="167" name="Hexagon 166"/>
            <p:cNvSpPr/>
            <p:nvPr/>
          </p:nvSpPr>
          <p:spPr>
            <a:xfrm>
              <a:off x="4445927" y="2256734"/>
              <a:ext cx="274914" cy="247991"/>
            </a:xfrm>
            <a:prstGeom prst="hexagon">
              <a:avLst/>
            </a:prstGeom>
            <a:solidFill>
              <a:srgbClr val="5B9BD5"/>
            </a:solidFill>
            <a:ln w="12700" cap="flat" cmpd="sng" algn="ctr">
              <a:noFill/>
              <a:prstDash val="solid"/>
              <a:miter lim="800000"/>
            </a:ln>
            <a:effectLst/>
          </p:spPr>
          <p:txBody>
            <a:bodyPr rtlCol="0" anchor="ctr"/>
            <a:lstStyle/>
            <a:p>
              <a:pPr algn="ctr" defTabSz="914309">
                <a:defRPr/>
              </a:pPr>
              <a:endParaRPr lang="en-US" kern="0">
                <a:solidFill>
                  <a:srgbClr val="FFFFFF"/>
                </a:solidFill>
                <a:latin typeface="Calibri" panose="020F0502020204030204"/>
              </a:endParaRPr>
            </a:p>
          </p:txBody>
        </p:sp>
        <p:cxnSp>
          <p:nvCxnSpPr>
            <p:cNvPr id="168" name="Straight Connector 167"/>
            <p:cNvCxnSpPr/>
            <p:nvPr/>
          </p:nvCxnSpPr>
          <p:spPr>
            <a:xfrm>
              <a:off x="4352447" y="2245092"/>
              <a:ext cx="230937" cy="135637"/>
            </a:xfrm>
            <a:prstGeom prst="line">
              <a:avLst/>
            </a:prstGeom>
            <a:noFill/>
            <a:ln w="6350" cap="flat" cmpd="sng" algn="ctr">
              <a:solidFill>
                <a:srgbClr val="5B9BD5"/>
              </a:solidFill>
              <a:prstDash val="solid"/>
              <a:miter lim="800000"/>
            </a:ln>
            <a:effectLst/>
          </p:spPr>
        </p:cxnSp>
        <p:cxnSp>
          <p:nvCxnSpPr>
            <p:cNvPr id="169" name="Straight Connector 168"/>
            <p:cNvCxnSpPr/>
            <p:nvPr/>
          </p:nvCxnSpPr>
          <p:spPr>
            <a:xfrm>
              <a:off x="4352447" y="1973817"/>
              <a:ext cx="230937" cy="135637"/>
            </a:xfrm>
            <a:prstGeom prst="line">
              <a:avLst/>
            </a:prstGeom>
            <a:noFill/>
            <a:ln w="6350" cap="flat" cmpd="sng" algn="ctr">
              <a:solidFill>
                <a:srgbClr val="5B9BD5"/>
              </a:solidFill>
              <a:prstDash val="solid"/>
              <a:miter lim="800000"/>
            </a:ln>
            <a:effectLst/>
          </p:spPr>
        </p:cxnSp>
        <p:cxnSp>
          <p:nvCxnSpPr>
            <p:cNvPr id="170" name="Straight Connector 169"/>
            <p:cNvCxnSpPr/>
            <p:nvPr/>
          </p:nvCxnSpPr>
          <p:spPr>
            <a:xfrm>
              <a:off x="4579627" y="2103634"/>
              <a:ext cx="230937" cy="135637"/>
            </a:xfrm>
            <a:prstGeom prst="line">
              <a:avLst/>
            </a:prstGeom>
            <a:noFill/>
            <a:ln w="6350" cap="flat" cmpd="sng" algn="ctr">
              <a:solidFill>
                <a:srgbClr val="5B9BD5"/>
              </a:solidFill>
              <a:prstDash val="solid"/>
              <a:miter lim="800000"/>
            </a:ln>
            <a:effectLst/>
          </p:spPr>
        </p:cxnSp>
        <p:cxnSp>
          <p:nvCxnSpPr>
            <p:cNvPr id="171" name="Straight Connector 170"/>
            <p:cNvCxnSpPr/>
            <p:nvPr/>
          </p:nvCxnSpPr>
          <p:spPr>
            <a:xfrm flipH="1">
              <a:off x="4579627" y="2245092"/>
              <a:ext cx="230937" cy="135637"/>
            </a:xfrm>
            <a:prstGeom prst="line">
              <a:avLst/>
            </a:prstGeom>
            <a:noFill/>
            <a:ln w="6350" cap="flat" cmpd="sng" algn="ctr">
              <a:solidFill>
                <a:srgbClr val="5B9BD5"/>
              </a:solidFill>
              <a:prstDash val="solid"/>
              <a:miter lim="800000"/>
            </a:ln>
            <a:effectLst/>
          </p:spPr>
        </p:cxnSp>
        <p:cxnSp>
          <p:nvCxnSpPr>
            <p:cNvPr id="172" name="Straight Connector 171"/>
            <p:cNvCxnSpPr/>
            <p:nvPr/>
          </p:nvCxnSpPr>
          <p:spPr>
            <a:xfrm>
              <a:off x="4579628" y="2115275"/>
              <a:ext cx="33" cy="268599"/>
            </a:xfrm>
            <a:prstGeom prst="line">
              <a:avLst/>
            </a:prstGeom>
            <a:noFill/>
            <a:ln w="6350" cap="flat" cmpd="sng" algn="ctr">
              <a:solidFill>
                <a:srgbClr val="5B9BD5"/>
              </a:solidFill>
              <a:prstDash val="solid"/>
              <a:miter lim="800000"/>
            </a:ln>
            <a:effectLst/>
          </p:spPr>
        </p:cxnSp>
        <p:cxnSp>
          <p:nvCxnSpPr>
            <p:cNvPr id="173" name="Straight Connector 172"/>
            <p:cNvCxnSpPr/>
            <p:nvPr/>
          </p:nvCxnSpPr>
          <p:spPr>
            <a:xfrm flipV="1">
              <a:off x="4348724" y="2109454"/>
              <a:ext cx="230903" cy="129817"/>
            </a:xfrm>
            <a:prstGeom prst="line">
              <a:avLst/>
            </a:prstGeom>
            <a:noFill/>
            <a:ln w="6350" cap="flat" cmpd="sng" algn="ctr">
              <a:solidFill>
                <a:srgbClr val="5B9BD5"/>
              </a:solidFill>
              <a:prstDash val="solid"/>
              <a:miter lim="800000"/>
            </a:ln>
            <a:effectLst/>
          </p:spPr>
        </p:cxnSp>
        <p:cxnSp>
          <p:nvCxnSpPr>
            <p:cNvPr id="174" name="Straight Connector 173"/>
            <p:cNvCxnSpPr/>
            <p:nvPr/>
          </p:nvCxnSpPr>
          <p:spPr>
            <a:xfrm flipV="1">
              <a:off x="4579627" y="1967996"/>
              <a:ext cx="230937" cy="147278"/>
            </a:xfrm>
            <a:prstGeom prst="line">
              <a:avLst/>
            </a:prstGeom>
            <a:noFill/>
            <a:ln w="6350" cap="flat" cmpd="sng" algn="ctr">
              <a:solidFill>
                <a:srgbClr val="5B9BD5"/>
              </a:solidFill>
              <a:prstDash val="solid"/>
              <a:miter lim="800000"/>
            </a:ln>
            <a:effectLst/>
          </p:spPr>
        </p:cxnSp>
        <p:cxnSp>
          <p:nvCxnSpPr>
            <p:cNvPr id="175" name="Straight Connector 174"/>
            <p:cNvCxnSpPr/>
            <p:nvPr/>
          </p:nvCxnSpPr>
          <p:spPr>
            <a:xfrm>
              <a:off x="4352430" y="1998437"/>
              <a:ext cx="33" cy="268599"/>
            </a:xfrm>
            <a:prstGeom prst="line">
              <a:avLst/>
            </a:prstGeom>
            <a:noFill/>
            <a:ln w="6350" cap="flat" cmpd="sng" algn="ctr">
              <a:solidFill>
                <a:srgbClr val="5B9BD5"/>
              </a:solidFill>
              <a:prstDash val="solid"/>
              <a:miter lim="800000"/>
            </a:ln>
            <a:effectLst/>
          </p:spPr>
        </p:cxnSp>
        <p:sp>
          <p:nvSpPr>
            <p:cNvPr id="176" name="Hexagon 175"/>
            <p:cNvSpPr/>
            <p:nvPr/>
          </p:nvSpPr>
          <p:spPr>
            <a:xfrm>
              <a:off x="4674010" y="1854372"/>
              <a:ext cx="274914" cy="247991"/>
            </a:xfrm>
            <a:prstGeom prst="hexagon">
              <a:avLst/>
            </a:prstGeom>
            <a:solidFill>
              <a:srgbClr val="5B9BD5"/>
            </a:solidFill>
            <a:ln w="12700" cap="flat" cmpd="sng" algn="ctr">
              <a:noFill/>
              <a:prstDash val="solid"/>
              <a:miter lim="800000"/>
            </a:ln>
            <a:effectLst/>
          </p:spPr>
          <p:txBody>
            <a:bodyPr rtlCol="0" anchor="ctr"/>
            <a:lstStyle/>
            <a:p>
              <a:pPr algn="ctr" defTabSz="914309">
                <a:defRPr/>
              </a:pPr>
              <a:endParaRPr lang="en-US" kern="0">
                <a:solidFill>
                  <a:srgbClr val="FFFFFF"/>
                </a:solidFill>
                <a:latin typeface="Calibri" panose="020F0502020204030204"/>
              </a:endParaRPr>
            </a:p>
          </p:txBody>
        </p:sp>
        <p:sp>
          <p:nvSpPr>
            <p:cNvPr id="177" name="Hexagon 176"/>
            <p:cNvSpPr/>
            <p:nvPr/>
          </p:nvSpPr>
          <p:spPr>
            <a:xfrm>
              <a:off x="4904947" y="1985460"/>
              <a:ext cx="274914" cy="247991"/>
            </a:xfrm>
            <a:prstGeom prst="hexagon">
              <a:avLst/>
            </a:prstGeom>
            <a:solidFill>
              <a:srgbClr val="5B9BD5"/>
            </a:solidFill>
            <a:ln w="12700" cap="flat" cmpd="sng" algn="ctr">
              <a:noFill/>
              <a:prstDash val="solid"/>
              <a:miter lim="800000"/>
            </a:ln>
            <a:effectLst/>
          </p:spPr>
          <p:txBody>
            <a:bodyPr rtlCol="0" anchor="ctr"/>
            <a:lstStyle/>
            <a:p>
              <a:pPr algn="ctr" defTabSz="914309">
                <a:defRPr/>
              </a:pPr>
              <a:endParaRPr lang="en-US" kern="0">
                <a:solidFill>
                  <a:srgbClr val="FFFFFF"/>
                </a:solidFill>
                <a:latin typeface="Calibri" panose="020F0502020204030204"/>
              </a:endParaRPr>
            </a:p>
          </p:txBody>
        </p:sp>
        <p:sp>
          <p:nvSpPr>
            <p:cNvPr id="178" name="Hexagon 177"/>
            <p:cNvSpPr/>
            <p:nvPr/>
          </p:nvSpPr>
          <p:spPr>
            <a:xfrm>
              <a:off x="4674010" y="2121097"/>
              <a:ext cx="274914" cy="247991"/>
            </a:xfrm>
            <a:prstGeom prst="hexagon">
              <a:avLst/>
            </a:prstGeom>
            <a:solidFill>
              <a:srgbClr val="5B9BD5"/>
            </a:solidFill>
            <a:ln w="12700" cap="flat" cmpd="sng" algn="ctr">
              <a:noFill/>
              <a:prstDash val="solid"/>
              <a:miter lim="800000"/>
            </a:ln>
            <a:effectLst/>
          </p:spPr>
          <p:txBody>
            <a:bodyPr rtlCol="0" anchor="ctr"/>
            <a:lstStyle/>
            <a:p>
              <a:pPr algn="ctr" defTabSz="914309">
                <a:defRPr/>
              </a:pPr>
              <a:endParaRPr lang="en-US" kern="0">
                <a:solidFill>
                  <a:srgbClr val="FFFFFF"/>
                </a:solidFill>
                <a:latin typeface="Calibri" panose="020F0502020204030204"/>
              </a:endParaRPr>
            </a:p>
          </p:txBody>
        </p:sp>
        <p:sp>
          <p:nvSpPr>
            <p:cNvPr id="179" name="Hexagon 178"/>
            <p:cNvSpPr/>
            <p:nvPr/>
          </p:nvSpPr>
          <p:spPr>
            <a:xfrm>
              <a:off x="4904947" y="2256734"/>
              <a:ext cx="274914" cy="247991"/>
            </a:xfrm>
            <a:prstGeom prst="hexagon">
              <a:avLst/>
            </a:prstGeom>
            <a:solidFill>
              <a:srgbClr val="5B9BD5"/>
            </a:solidFill>
            <a:ln w="12700" cap="flat" cmpd="sng" algn="ctr">
              <a:noFill/>
              <a:prstDash val="solid"/>
              <a:miter lim="800000"/>
            </a:ln>
            <a:effectLst/>
          </p:spPr>
          <p:txBody>
            <a:bodyPr rtlCol="0" anchor="ctr"/>
            <a:lstStyle/>
            <a:p>
              <a:pPr algn="ctr" defTabSz="914309">
                <a:defRPr/>
              </a:pPr>
              <a:endParaRPr lang="en-US" kern="0">
                <a:solidFill>
                  <a:srgbClr val="FFFFFF"/>
                </a:solidFill>
                <a:latin typeface="Calibri" panose="020F0502020204030204"/>
              </a:endParaRPr>
            </a:p>
          </p:txBody>
        </p:sp>
        <p:cxnSp>
          <p:nvCxnSpPr>
            <p:cNvPr id="180" name="Straight Connector 179"/>
            <p:cNvCxnSpPr/>
            <p:nvPr/>
          </p:nvCxnSpPr>
          <p:spPr>
            <a:xfrm>
              <a:off x="4811467" y="2245092"/>
              <a:ext cx="230937" cy="135637"/>
            </a:xfrm>
            <a:prstGeom prst="line">
              <a:avLst/>
            </a:prstGeom>
            <a:noFill/>
            <a:ln w="6350" cap="flat" cmpd="sng" algn="ctr">
              <a:solidFill>
                <a:srgbClr val="5B9BD5"/>
              </a:solidFill>
              <a:prstDash val="solid"/>
              <a:miter lim="800000"/>
            </a:ln>
            <a:effectLst/>
          </p:spPr>
        </p:cxnSp>
        <p:cxnSp>
          <p:nvCxnSpPr>
            <p:cNvPr id="181" name="Straight Connector 180"/>
            <p:cNvCxnSpPr/>
            <p:nvPr/>
          </p:nvCxnSpPr>
          <p:spPr>
            <a:xfrm>
              <a:off x="4811467" y="1973817"/>
              <a:ext cx="230937" cy="135637"/>
            </a:xfrm>
            <a:prstGeom prst="line">
              <a:avLst/>
            </a:prstGeom>
            <a:noFill/>
            <a:ln w="6350" cap="flat" cmpd="sng" algn="ctr">
              <a:solidFill>
                <a:srgbClr val="5B9BD5"/>
              </a:solidFill>
              <a:prstDash val="solid"/>
              <a:miter lim="800000"/>
            </a:ln>
            <a:effectLst/>
          </p:spPr>
        </p:cxnSp>
        <p:cxnSp>
          <p:nvCxnSpPr>
            <p:cNvPr id="182" name="Straight Connector 181"/>
            <p:cNvCxnSpPr/>
            <p:nvPr/>
          </p:nvCxnSpPr>
          <p:spPr>
            <a:xfrm>
              <a:off x="5038647" y="2103634"/>
              <a:ext cx="230937" cy="135637"/>
            </a:xfrm>
            <a:prstGeom prst="line">
              <a:avLst/>
            </a:prstGeom>
            <a:noFill/>
            <a:ln w="6350" cap="flat" cmpd="sng" algn="ctr">
              <a:solidFill>
                <a:srgbClr val="5B9BD5"/>
              </a:solidFill>
              <a:prstDash val="solid"/>
              <a:miter lim="800000"/>
            </a:ln>
            <a:effectLst/>
          </p:spPr>
        </p:cxnSp>
        <p:cxnSp>
          <p:nvCxnSpPr>
            <p:cNvPr id="183" name="Straight Connector 182"/>
            <p:cNvCxnSpPr/>
            <p:nvPr/>
          </p:nvCxnSpPr>
          <p:spPr>
            <a:xfrm flipH="1">
              <a:off x="5038647" y="2245092"/>
              <a:ext cx="230937" cy="135637"/>
            </a:xfrm>
            <a:prstGeom prst="line">
              <a:avLst/>
            </a:prstGeom>
            <a:noFill/>
            <a:ln w="6350" cap="flat" cmpd="sng" algn="ctr">
              <a:solidFill>
                <a:srgbClr val="5B9BD5"/>
              </a:solidFill>
              <a:prstDash val="solid"/>
              <a:miter lim="800000"/>
            </a:ln>
            <a:effectLst/>
          </p:spPr>
        </p:cxnSp>
        <p:cxnSp>
          <p:nvCxnSpPr>
            <p:cNvPr id="184" name="Straight Connector 183"/>
            <p:cNvCxnSpPr/>
            <p:nvPr/>
          </p:nvCxnSpPr>
          <p:spPr>
            <a:xfrm>
              <a:off x="5038648" y="2115275"/>
              <a:ext cx="33" cy="268599"/>
            </a:xfrm>
            <a:prstGeom prst="line">
              <a:avLst/>
            </a:prstGeom>
            <a:noFill/>
            <a:ln w="6350" cap="flat" cmpd="sng" algn="ctr">
              <a:solidFill>
                <a:srgbClr val="5B9BD5"/>
              </a:solidFill>
              <a:prstDash val="solid"/>
              <a:miter lim="800000"/>
            </a:ln>
            <a:effectLst/>
          </p:spPr>
        </p:cxnSp>
        <p:cxnSp>
          <p:nvCxnSpPr>
            <p:cNvPr id="185" name="Straight Connector 184"/>
            <p:cNvCxnSpPr/>
            <p:nvPr/>
          </p:nvCxnSpPr>
          <p:spPr>
            <a:xfrm flipV="1">
              <a:off x="4807744" y="2109454"/>
              <a:ext cx="230903" cy="129817"/>
            </a:xfrm>
            <a:prstGeom prst="line">
              <a:avLst/>
            </a:prstGeom>
            <a:noFill/>
            <a:ln w="6350" cap="flat" cmpd="sng" algn="ctr">
              <a:solidFill>
                <a:srgbClr val="5B9BD5"/>
              </a:solidFill>
              <a:prstDash val="solid"/>
              <a:miter lim="800000"/>
            </a:ln>
            <a:effectLst/>
          </p:spPr>
        </p:cxnSp>
        <p:cxnSp>
          <p:nvCxnSpPr>
            <p:cNvPr id="186" name="Straight Connector 185"/>
            <p:cNvCxnSpPr/>
            <p:nvPr/>
          </p:nvCxnSpPr>
          <p:spPr>
            <a:xfrm flipV="1">
              <a:off x="5038647" y="1967996"/>
              <a:ext cx="230937" cy="147278"/>
            </a:xfrm>
            <a:prstGeom prst="line">
              <a:avLst/>
            </a:prstGeom>
            <a:noFill/>
            <a:ln w="6350" cap="flat" cmpd="sng" algn="ctr">
              <a:solidFill>
                <a:srgbClr val="5B9BD5"/>
              </a:solidFill>
              <a:prstDash val="solid"/>
              <a:miter lim="800000"/>
            </a:ln>
            <a:effectLst/>
          </p:spPr>
        </p:cxnSp>
        <p:cxnSp>
          <p:nvCxnSpPr>
            <p:cNvPr id="187" name="Straight Connector 186"/>
            <p:cNvCxnSpPr/>
            <p:nvPr/>
          </p:nvCxnSpPr>
          <p:spPr>
            <a:xfrm>
              <a:off x="4811450" y="1998437"/>
              <a:ext cx="33" cy="268599"/>
            </a:xfrm>
            <a:prstGeom prst="line">
              <a:avLst/>
            </a:prstGeom>
            <a:noFill/>
            <a:ln w="6350" cap="flat" cmpd="sng" algn="ctr">
              <a:solidFill>
                <a:srgbClr val="5B9BD5"/>
              </a:solidFill>
              <a:prstDash val="solid"/>
              <a:miter lim="800000"/>
            </a:ln>
            <a:effectLst/>
          </p:spPr>
        </p:cxnSp>
        <p:sp>
          <p:nvSpPr>
            <p:cNvPr id="188" name="Hexagon 187"/>
            <p:cNvSpPr/>
            <p:nvPr/>
          </p:nvSpPr>
          <p:spPr>
            <a:xfrm>
              <a:off x="5135516" y="1854372"/>
              <a:ext cx="274914" cy="247991"/>
            </a:xfrm>
            <a:prstGeom prst="hexagon">
              <a:avLst/>
            </a:prstGeom>
            <a:solidFill>
              <a:srgbClr val="5B9BD5"/>
            </a:solidFill>
            <a:ln w="12700" cap="flat" cmpd="sng" algn="ctr">
              <a:noFill/>
              <a:prstDash val="solid"/>
              <a:miter lim="800000"/>
            </a:ln>
            <a:effectLst/>
          </p:spPr>
          <p:txBody>
            <a:bodyPr rtlCol="0" anchor="ctr"/>
            <a:lstStyle/>
            <a:p>
              <a:pPr algn="ctr" defTabSz="914309">
                <a:defRPr/>
              </a:pPr>
              <a:endParaRPr lang="en-US" kern="0">
                <a:solidFill>
                  <a:srgbClr val="FFFFFF"/>
                </a:solidFill>
                <a:latin typeface="Calibri" panose="020F0502020204030204"/>
              </a:endParaRPr>
            </a:p>
          </p:txBody>
        </p:sp>
        <p:sp>
          <p:nvSpPr>
            <p:cNvPr id="189" name="Hexagon 188"/>
            <p:cNvSpPr/>
            <p:nvPr/>
          </p:nvSpPr>
          <p:spPr>
            <a:xfrm>
              <a:off x="5366453" y="1985460"/>
              <a:ext cx="274914" cy="247991"/>
            </a:xfrm>
            <a:prstGeom prst="hexagon">
              <a:avLst/>
            </a:prstGeom>
            <a:solidFill>
              <a:srgbClr val="5B9BD5"/>
            </a:solidFill>
            <a:ln w="12700" cap="flat" cmpd="sng" algn="ctr">
              <a:noFill/>
              <a:prstDash val="solid"/>
              <a:miter lim="800000"/>
            </a:ln>
            <a:effectLst/>
          </p:spPr>
          <p:txBody>
            <a:bodyPr rtlCol="0" anchor="ctr"/>
            <a:lstStyle/>
            <a:p>
              <a:pPr algn="ctr" defTabSz="914309">
                <a:defRPr/>
              </a:pPr>
              <a:endParaRPr lang="en-US" kern="0">
                <a:solidFill>
                  <a:srgbClr val="FFFFFF"/>
                </a:solidFill>
                <a:latin typeface="Calibri" panose="020F0502020204030204"/>
              </a:endParaRPr>
            </a:p>
          </p:txBody>
        </p:sp>
        <p:sp>
          <p:nvSpPr>
            <p:cNvPr id="190" name="Hexagon 189"/>
            <p:cNvSpPr/>
            <p:nvPr/>
          </p:nvSpPr>
          <p:spPr>
            <a:xfrm>
              <a:off x="5135516" y="2121097"/>
              <a:ext cx="274914" cy="247991"/>
            </a:xfrm>
            <a:prstGeom prst="hexagon">
              <a:avLst/>
            </a:prstGeom>
            <a:solidFill>
              <a:srgbClr val="5B9BD5"/>
            </a:solidFill>
            <a:ln w="12700" cap="flat" cmpd="sng" algn="ctr">
              <a:noFill/>
              <a:prstDash val="solid"/>
              <a:miter lim="800000"/>
            </a:ln>
            <a:effectLst/>
          </p:spPr>
          <p:txBody>
            <a:bodyPr rtlCol="0" anchor="ctr"/>
            <a:lstStyle/>
            <a:p>
              <a:pPr algn="ctr" defTabSz="914309">
                <a:defRPr/>
              </a:pPr>
              <a:endParaRPr lang="en-US" kern="0">
                <a:solidFill>
                  <a:srgbClr val="FFFFFF"/>
                </a:solidFill>
                <a:latin typeface="Calibri" panose="020F0502020204030204"/>
              </a:endParaRPr>
            </a:p>
          </p:txBody>
        </p:sp>
        <p:sp>
          <p:nvSpPr>
            <p:cNvPr id="191" name="Hexagon 190"/>
            <p:cNvSpPr/>
            <p:nvPr/>
          </p:nvSpPr>
          <p:spPr>
            <a:xfrm>
              <a:off x="5366453" y="2252185"/>
              <a:ext cx="274914" cy="247991"/>
            </a:xfrm>
            <a:prstGeom prst="hexagon">
              <a:avLst/>
            </a:prstGeom>
            <a:solidFill>
              <a:srgbClr val="5B9BD5"/>
            </a:solidFill>
            <a:ln w="12700" cap="flat" cmpd="sng" algn="ctr">
              <a:noFill/>
              <a:prstDash val="solid"/>
              <a:miter lim="800000"/>
            </a:ln>
            <a:effectLst/>
          </p:spPr>
          <p:txBody>
            <a:bodyPr rtlCol="0" anchor="ctr"/>
            <a:lstStyle/>
            <a:p>
              <a:pPr algn="ctr" defTabSz="914309">
                <a:defRPr/>
              </a:pPr>
              <a:endParaRPr lang="en-US" kern="0">
                <a:solidFill>
                  <a:srgbClr val="FFFFFF"/>
                </a:solidFill>
                <a:latin typeface="Calibri" panose="020F0502020204030204"/>
              </a:endParaRPr>
            </a:p>
          </p:txBody>
        </p:sp>
        <p:cxnSp>
          <p:nvCxnSpPr>
            <p:cNvPr id="192" name="Straight Connector 191"/>
            <p:cNvCxnSpPr/>
            <p:nvPr/>
          </p:nvCxnSpPr>
          <p:spPr>
            <a:xfrm>
              <a:off x="5272973" y="2245092"/>
              <a:ext cx="230937" cy="135637"/>
            </a:xfrm>
            <a:prstGeom prst="line">
              <a:avLst/>
            </a:prstGeom>
            <a:noFill/>
            <a:ln w="6350" cap="flat" cmpd="sng" algn="ctr">
              <a:solidFill>
                <a:srgbClr val="5B9BD5"/>
              </a:solidFill>
              <a:prstDash val="solid"/>
              <a:miter lim="800000"/>
            </a:ln>
            <a:effectLst/>
          </p:spPr>
        </p:cxnSp>
        <p:cxnSp>
          <p:nvCxnSpPr>
            <p:cNvPr id="193" name="Straight Connector 192"/>
            <p:cNvCxnSpPr/>
            <p:nvPr/>
          </p:nvCxnSpPr>
          <p:spPr>
            <a:xfrm>
              <a:off x="5272973" y="1973817"/>
              <a:ext cx="230937" cy="135637"/>
            </a:xfrm>
            <a:prstGeom prst="line">
              <a:avLst/>
            </a:prstGeom>
            <a:noFill/>
            <a:ln w="6350" cap="flat" cmpd="sng" algn="ctr">
              <a:solidFill>
                <a:srgbClr val="5B9BD5"/>
              </a:solidFill>
              <a:prstDash val="solid"/>
              <a:miter lim="800000"/>
            </a:ln>
            <a:effectLst/>
          </p:spPr>
        </p:cxnSp>
        <p:cxnSp>
          <p:nvCxnSpPr>
            <p:cNvPr id="194" name="Straight Connector 193"/>
            <p:cNvCxnSpPr/>
            <p:nvPr/>
          </p:nvCxnSpPr>
          <p:spPr>
            <a:xfrm>
              <a:off x="5495997" y="2103634"/>
              <a:ext cx="230937" cy="135637"/>
            </a:xfrm>
            <a:prstGeom prst="line">
              <a:avLst/>
            </a:prstGeom>
            <a:noFill/>
            <a:ln w="6350" cap="flat" cmpd="sng" algn="ctr">
              <a:solidFill>
                <a:srgbClr val="5B9BD5"/>
              </a:solidFill>
              <a:prstDash val="solid"/>
              <a:miter lim="800000"/>
            </a:ln>
            <a:effectLst/>
          </p:spPr>
        </p:cxnSp>
        <p:cxnSp>
          <p:nvCxnSpPr>
            <p:cNvPr id="195" name="Straight Connector 194"/>
            <p:cNvCxnSpPr/>
            <p:nvPr/>
          </p:nvCxnSpPr>
          <p:spPr>
            <a:xfrm flipH="1">
              <a:off x="5495997" y="2245092"/>
              <a:ext cx="230937" cy="135637"/>
            </a:xfrm>
            <a:prstGeom prst="line">
              <a:avLst/>
            </a:prstGeom>
            <a:noFill/>
            <a:ln w="6350" cap="flat" cmpd="sng" algn="ctr">
              <a:solidFill>
                <a:srgbClr val="5B9BD5"/>
              </a:solidFill>
              <a:prstDash val="solid"/>
              <a:miter lim="800000"/>
            </a:ln>
            <a:effectLst/>
          </p:spPr>
        </p:cxnSp>
        <p:cxnSp>
          <p:nvCxnSpPr>
            <p:cNvPr id="196" name="Straight Connector 195"/>
            <p:cNvCxnSpPr/>
            <p:nvPr/>
          </p:nvCxnSpPr>
          <p:spPr>
            <a:xfrm>
              <a:off x="5500154" y="2115275"/>
              <a:ext cx="33" cy="268599"/>
            </a:xfrm>
            <a:prstGeom prst="line">
              <a:avLst/>
            </a:prstGeom>
            <a:noFill/>
            <a:ln w="6350" cap="flat" cmpd="sng" algn="ctr">
              <a:solidFill>
                <a:srgbClr val="5B9BD5"/>
              </a:solidFill>
              <a:prstDash val="solid"/>
              <a:miter lim="800000"/>
            </a:ln>
            <a:effectLst/>
          </p:spPr>
        </p:cxnSp>
        <p:cxnSp>
          <p:nvCxnSpPr>
            <p:cNvPr id="197" name="Straight Connector 196"/>
            <p:cNvCxnSpPr/>
            <p:nvPr/>
          </p:nvCxnSpPr>
          <p:spPr>
            <a:xfrm flipV="1">
              <a:off x="5269250" y="2109454"/>
              <a:ext cx="230903" cy="129817"/>
            </a:xfrm>
            <a:prstGeom prst="line">
              <a:avLst/>
            </a:prstGeom>
            <a:noFill/>
            <a:ln w="6350" cap="flat" cmpd="sng" algn="ctr">
              <a:solidFill>
                <a:srgbClr val="5B9BD5"/>
              </a:solidFill>
              <a:prstDash val="solid"/>
              <a:miter lim="800000"/>
            </a:ln>
            <a:effectLst/>
          </p:spPr>
        </p:cxnSp>
        <p:cxnSp>
          <p:nvCxnSpPr>
            <p:cNvPr id="198" name="Straight Connector 197"/>
            <p:cNvCxnSpPr/>
            <p:nvPr/>
          </p:nvCxnSpPr>
          <p:spPr>
            <a:xfrm flipV="1">
              <a:off x="5495997" y="1967996"/>
              <a:ext cx="230937" cy="147278"/>
            </a:xfrm>
            <a:prstGeom prst="line">
              <a:avLst/>
            </a:prstGeom>
            <a:noFill/>
            <a:ln w="6350" cap="flat" cmpd="sng" algn="ctr">
              <a:solidFill>
                <a:srgbClr val="5B9BD5"/>
              </a:solidFill>
              <a:prstDash val="solid"/>
              <a:miter lim="800000"/>
            </a:ln>
            <a:effectLst/>
          </p:spPr>
        </p:cxnSp>
        <p:cxnSp>
          <p:nvCxnSpPr>
            <p:cNvPr id="199" name="Straight Connector 198"/>
            <p:cNvCxnSpPr/>
            <p:nvPr/>
          </p:nvCxnSpPr>
          <p:spPr>
            <a:xfrm>
              <a:off x="5272956" y="1998437"/>
              <a:ext cx="33" cy="268599"/>
            </a:xfrm>
            <a:prstGeom prst="line">
              <a:avLst/>
            </a:prstGeom>
            <a:noFill/>
            <a:ln w="6350" cap="flat" cmpd="sng" algn="ctr">
              <a:solidFill>
                <a:srgbClr val="5B9BD5"/>
              </a:solidFill>
              <a:prstDash val="solid"/>
              <a:miter lim="800000"/>
            </a:ln>
            <a:effectLst/>
          </p:spPr>
        </p:cxnSp>
        <p:sp>
          <p:nvSpPr>
            <p:cNvPr id="200" name="Hexagon 199"/>
            <p:cNvSpPr/>
            <p:nvPr/>
          </p:nvSpPr>
          <p:spPr>
            <a:xfrm>
              <a:off x="5595020" y="1849823"/>
              <a:ext cx="274914" cy="247991"/>
            </a:xfrm>
            <a:prstGeom prst="hexagon">
              <a:avLst/>
            </a:prstGeom>
            <a:solidFill>
              <a:srgbClr val="5B9BD5"/>
            </a:solidFill>
            <a:ln w="12700" cap="flat" cmpd="sng" algn="ctr">
              <a:noFill/>
              <a:prstDash val="solid"/>
              <a:miter lim="800000"/>
            </a:ln>
            <a:effectLst/>
          </p:spPr>
          <p:txBody>
            <a:bodyPr rtlCol="0" anchor="ctr"/>
            <a:lstStyle/>
            <a:p>
              <a:pPr algn="ctr" defTabSz="914309">
                <a:defRPr/>
              </a:pPr>
              <a:endParaRPr lang="en-US" kern="0">
                <a:solidFill>
                  <a:srgbClr val="FFFFFF"/>
                </a:solidFill>
                <a:latin typeface="Calibri" panose="020F0502020204030204"/>
              </a:endParaRPr>
            </a:p>
          </p:txBody>
        </p:sp>
        <p:sp>
          <p:nvSpPr>
            <p:cNvPr id="201" name="Hexagon 200"/>
            <p:cNvSpPr/>
            <p:nvPr/>
          </p:nvSpPr>
          <p:spPr>
            <a:xfrm>
              <a:off x="5825957" y="1985460"/>
              <a:ext cx="274914" cy="247991"/>
            </a:xfrm>
            <a:prstGeom prst="hexagon">
              <a:avLst/>
            </a:prstGeom>
            <a:solidFill>
              <a:srgbClr val="5B9BD5"/>
            </a:solidFill>
            <a:ln w="12700" cap="flat" cmpd="sng" algn="ctr">
              <a:noFill/>
              <a:prstDash val="solid"/>
              <a:miter lim="800000"/>
            </a:ln>
            <a:effectLst/>
          </p:spPr>
          <p:txBody>
            <a:bodyPr rtlCol="0" anchor="ctr"/>
            <a:lstStyle/>
            <a:p>
              <a:pPr algn="ctr" defTabSz="914309">
                <a:defRPr/>
              </a:pPr>
              <a:endParaRPr lang="en-US" kern="0">
                <a:solidFill>
                  <a:srgbClr val="FFFFFF"/>
                </a:solidFill>
                <a:latin typeface="Calibri" panose="020F0502020204030204"/>
              </a:endParaRPr>
            </a:p>
          </p:txBody>
        </p:sp>
        <p:sp>
          <p:nvSpPr>
            <p:cNvPr id="202" name="Hexagon 201"/>
            <p:cNvSpPr/>
            <p:nvPr/>
          </p:nvSpPr>
          <p:spPr>
            <a:xfrm>
              <a:off x="5595020" y="2121097"/>
              <a:ext cx="274914" cy="247991"/>
            </a:xfrm>
            <a:prstGeom prst="hexagon">
              <a:avLst/>
            </a:prstGeom>
            <a:solidFill>
              <a:srgbClr val="5B9BD5"/>
            </a:solidFill>
            <a:ln w="12700" cap="flat" cmpd="sng" algn="ctr">
              <a:noFill/>
              <a:prstDash val="solid"/>
              <a:miter lim="800000"/>
            </a:ln>
            <a:effectLst/>
          </p:spPr>
          <p:txBody>
            <a:bodyPr rtlCol="0" anchor="ctr"/>
            <a:lstStyle/>
            <a:p>
              <a:pPr algn="ctr" defTabSz="914309">
                <a:defRPr/>
              </a:pPr>
              <a:endParaRPr lang="en-US" kern="0">
                <a:solidFill>
                  <a:srgbClr val="FFFFFF"/>
                </a:solidFill>
                <a:latin typeface="Calibri" panose="020F0502020204030204"/>
              </a:endParaRPr>
            </a:p>
          </p:txBody>
        </p:sp>
        <p:sp>
          <p:nvSpPr>
            <p:cNvPr id="203" name="Hexagon 202"/>
            <p:cNvSpPr/>
            <p:nvPr/>
          </p:nvSpPr>
          <p:spPr>
            <a:xfrm>
              <a:off x="5825957" y="2252185"/>
              <a:ext cx="274914" cy="247991"/>
            </a:xfrm>
            <a:prstGeom prst="hexagon">
              <a:avLst/>
            </a:prstGeom>
            <a:solidFill>
              <a:srgbClr val="5B9BD5"/>
            </a:solidFill>
            <a:ln w="12700" cap="flat" cmpd="sng" algn="ctr">
              <a:noFill/>
              <a:prstDash val="solid"/>
              <a:miter lim="800000"/>
            </a:ln>
            <a:effectLst/>
          </p:spPr>
          <p:txBody>
            <a:bodyPr rtlCol="0" anchor="ctr"/>
            <a:lstStyle/>
            <a:p>
              <a:pPr algn="ctr" defTabSz="914309">
                <a:defRPr/>
              </a:pPr>
              <a:endParaRPr lang="en-US" kern="0">
                <a:solidFill>
                  <a:srgbClr val="FFFFFF"/>
                </a:solidFill>
                <a:latin typeface="Calibri" panose="020F0502020204030204"/>
              </a:endParaRPr>
            </a:p>
          </p:txBody>
        </p:sp>
        <p:cxnSp>
          <p:nvCxnSpPr>
            <p:cNvPr id="204" name="Straight Connector 203"/>
            <p:cNvCxnSpPr/>
            <p:nvPr/>
          </p:nvCxnSpPr>
          <p:spPr>
            <a:xfrm>
              <a:off x="5732477" y="2245092"/>
              <a:ext cx="230937" cy="135637"/>
            </a:xfrm>
            <a:prstGeom prst="line">
              <a:avLst/>
            </a:prstGeom>
            <a:noFill/>
            <a:ln w="6350" cap="flat" cmpd="sng" algn="ctr">
              <a:solidFill>
                <a:srgbClr val="5B9BD5"/>
              </a:solidFill>
              <a:prstDash val="solid"/>
              <a:miter lim="800000"/>
            </a:ln>
            <a:effectLst/>
          </p:spPr>
        </p:cxnSp>
        <p:cxnSp>
          <p:nvCxnSpPr>
            <p:cNvPr id="205" name="Straight Connector 204"/>
            <p:cNvCxnSpPr/>
            <p:nvPr/>
          </p:nvCxnSpPr>
          <p:spPr>
            <a:xfrm>
              <a:off x="5732477" y="1973817"/>
              <a:ext cx="230937" cy="135637"/>
            </a:xfrm>
            <a:prstGeom prst="line">
              <a:avLst/>
            </a:prstGeom>
            <a:noFill/>
            <a:ln w="6350" cap="flat" cmpd="sng" algn="ctr">
              <a:solidFill>
                <a:srgbClr val="5B9BD5"/>
              </a:solidFill>
              <a:prstDash val="solid"/>
              <a:miter lim="800000"/>
            </a:ln>
            <a:effectLst/>
          </p:spPr>
        </p:cxnSp>
        <p:cxnSp>
          <p:nvCxnSpPr>
            <p:cNvPr id="206" name="Straight Connector 205"/>
            <p:cNvCxnSpPr/>
            <p:nvPr/>
          </p:nvCxnSpPr>
          <p:spPr>
            <a:xfrm>
              <a:off x="5959657" y="2103634"/>
              <a:ext cx="230937" cy="135637"/>
            </a:xfrm>
            <a:prstGeom prst="line">
              <a:avLst/>
            </a:prstGeom>
            <a:noFill/>
            <a:ln w="6350" cap="flat" cmpd="sng" algn="ctr">
              <a:solidFill>
                <a:srgbClr val="5B9BD5"/>
              </a:solidFill>
              <a:prstDash val="solid"/>
              <a:miter lim="800000"/>
            </a:ln>
            <a:effectLst/>
          </p:spPr>
        </p:cxnSp>
        <p:cxnSp>
          <p:nvCxnSpPr>
            <p:cNvPr id="207" name="Straight Connector 206"/>
            <p:cNvCxnSpPr/>
            <p:nvPr/>
          </p:nvCxnSpPr>
          <p:spPr>
            <a:xfrm flipH="1">
              <a:off x="5959657" y="2245092"/>
              <a:ext cx="230937" cy="135637"/>
            </a:xfrm>
            <a:prstGeom prst="line">
              <a:avLst/>
            </a:prstGeom>
            <a:noFill/>
            <a:ln w="6350" cap="flat" cmpd="sng" algn="ctr">
              <a:solidFill>
                <a:srgbClr val="5B9BD5"/>
              </a:solidFill>
              <a:prstDash val="solid"/>
              <a:miter lim="800000"/>
            </a:ln>
            <a:effectLst/>
          </p:spPr>
        </p:cxnSp>
        <p:cxnSp>
          <p:nvCxnSpPr>
            <p:cNvPr id="208" name="Straight Connector 207"/>
            <p:cNvCxnSpPr/>
            <p:nvPr/>
          </p:nvCxnSpPr>
          <p:spPr>
            <a:xfrm>
              <a:off x="5959658" y="2115275"/>
              <a:ext cx="33" cy="268599"/>
            </a:xfrm>
            <a:prstGeom prst="line">
              <a:avLst/>
            </a:prstGeom>
            <a:noFill/>
            <a:ln w="6350" cap="flat" cmpd="sng" algn="ctr">
              <a:solidFill>
                <a:srgbClr val="5B9BD5"/>
              </a:solidFill>
              <a:prstDash val="solid"/>
              <a:miter lim="800000"/>
            </a:ln>
            <a:effectLst/>
          </p:spPr>
        </p:cxnSp>
        <p:cxnSp>
          <p:nvCxnSpPr>
            <p:cNvPr id="209" name="Straight Connector 208"/>
            <p:cNvCxnSpPr/>
            <p:nvPr/>
          </p:nvCxnSpPr>
          <p:spPr>
            <a:xfrm flipV="1">
              <a:off x="5728754" y="2109454"/>
              <a:ext cx="230903" cy="129817"/>
            </a:xfrm>
            <a:prstGeom prst="line">
              <a:avLst/>
            </a:prstGeom>
            <a:noFill/>
            <a:ln w="6350" cap="flat" cmpd="sng" algn="ctr">
              <a:solidFill>
                <a:srgbClr val="5B9BD5"/>
              </a:solidFill>
              <a:prstDash val="solid"/>
              <a:miter lim="800000"/>
            </a:ln>
            <a:effectLst/>
          </p:spPr>
        </p:cxnSp>
        <p:cxnSp>
          <p:nvCxnSpPr>
            <p:cNvPr id="210" name="Straight Connector 209"/>
            <p:cNvCxnSpPr/>
            <p:nvPr/>
          </p:nvCxnSpPr>
          <p:spPr>
            <a:xfrm flipV="1">
              <a:off x="5959657" y="1967996"/>
              <a:ext cx="230937" cy="147278"/>
            </a:xfrm>
            <a:prstGeom prst="line">
              <a:avLst/>
            </a:prstGeom>
            <a:noFill/>
            <a:ln w="6350" cap="flat" cmpd="sng" algn="ctr">
              <a:solidFill>
                <a:srgbClr val="5B9BD5"/>
              </a:solidFill>
              <a:prstDash val="solid"/>
              <a:miter lim="800000"/>
            </a:ln>
            <a:effectLst/>
          </p:spPr>
        </p:cxnSp>
        <p:cxnSp>
          <p:nvCxnSpPr>
            <p:cNvPr id="211" name="Straight Connector 210"/>
            <p:cNvCxnSpPr/>
            <p:nvPr/>
          </p:nvCxnSpPr>
          <p:spPr>
            <a:xfrm>
              <a:off x="5732460" y="1998437"/>
              <a:ext cx="33" cy="268599"/>
            </a:xfrm>
            <a:prstGeom prst="line">
              <a:avLst/>
            </a:prstGeom>
            <a:noFill/>
            <a:ln w="6350" cap="flat" cmpd="sng" algn="ctr">
              <a:solidFill>
                <a:srgbClr val="5B9BD5"/>
              </a:solidFill>
              <a:prstDash val="solid"/>
              <a:miter lim="800000"/>
            </a:ln>
            <a:effectLst/>
          </p:spPr>
        </p:cxnSp>
        <p:sp>
          <p:nvSpPr>
            <p:cNvPr id="212" name="Hexagon 211"/>
            <p:cNvSpPr/>
            <p:nvPr/>
          </p:nvSpPr>
          <p:spPr>
            <a:xfrm>
              <a:off x="6054040" y="1854372"/>
              <a:ext cx="274914" cy="247991"/>
            </a:xfrm>
            <a:prstGeom prst="hexagon">
              <a:avLst/>
            </a:prstGeom>
            <a:solidFill>
              <a:srgbClr val="5B9BD5"/>
            </a:solidFill>
            <a:ln w="12700" cap="flat" cmpd="sng" algn="ctr">
              <a:noFill/>
              <a:prstDash val="solid"/>
              <a:miter lim="800000"/>
            </a:ln>
            <a:effectLst/>
          </p:spPr>
          <p:txBody>
            <a:bodyPr rtlCol="0" anchor="ctr"/>
            <a:lstStyle/>
            <a:p>
              <a:pPr algn="ctr" defTabSz="914309">
                <a:defRPr/>
              </a:pPr>
              <a:endParaRPr lang="en-US" kern="0">
                <a:solidFill>
                  <a:srgbClr val="FFFFFF"/>
                </a:solidFill>
                <a:latin typeface="Calibri" panose="020F0502020204030204"/>
              </a:endParaRPr>
            </a:p>
          </p:txBody>
        </p:sp>
        <p:sp>
          <p:nvSpPr>
            <p:cNvPr id="213" name="Hexagon 212"/>
            <p:cNvSpPr/>
            <p:nvPr/>
          </p:nvSpPr>
          <p:spPr>
            <a:xfrm>
              <a:off x="6284977" y="1985460"/>
              <a:ext cx="274914" cy="247991"/>
            </a:xfrm>
            <a:prstGeom prst="hexagon">
              <a:avLst/>
            </a:prstGeom>
            <a:solidFill>
              <a:srgbClr val="5B9BD5"/>
            </a:solidFill>
            <a:ln w="12700" cap="flat" cmpd="sng" algn="ctr">
              <a:noFill/>
              <a:prstDash val="solid"/>
              <a:miter lim="800000"/>
            </a:ln>
            <a:effectLst/>
          </p:spPr>
          <p:txBody>
            <a:bodyPr rtlCol="0" anchor="ctr"/>
            <a:lstStyle/>
            <a:p>
              <a:pPr algn="ctr" defTabSz="914309">
                <a:defRPr/>
              </a:pPr>
              <a:endParaRPr lang="en-US" kern="0">
                <a:solidFill>
                  <a:srgbClr val="FFFFFF"/>
                </a:solidFill>
                <a:latin typeface="Calibri" panose="020F0502020204030204"/>
              </a:endParaRPr>
            </a:p>
          </p:txBody>
        </p:sp>
        <p:sp>
          <p:nvSpPr>
            <p:cNvPr id="214" name="Hexagon 213"/>
            <p:cNvSpPr/>
            <p:nvPr/>
          </p:nvSpPr>
          <p:spPr>
            <a:xfrm>
              <a:off x="6054040" y="2121097"/>
              <a:ext cx="274914" cy="247991"/>
            </a:xfrm>
            <a:prstGeom prst="hexagon">
              <a:avLst/>
            </a:prstGeom>
            <a:solidFill>
              <a:srgbClr val="5B9BD5"/>
            </a:solidFill>
            <a:ln w="12700" cap="flat" cmpd="sng" algn="ctr">
              <a:noFill/>
              <a:prstDash val="solid"/>
              <a:miter lim="800000"/>
            </a:ln>
            <a:effectLst/>
          </p:spPr>
          <p:txBody>
            <a:bodyPr rtlCol="0" anchor="ctr"/>
            <a:lstStyle/>
            <a:p>
              <a:pPr algn="ctr" defTabSz="914309">
                <a:defRPr/>
              </a:pPr>
              <a:endParaRPr lang="en-US" kern="0">
                <a:solidFill>
                  <a:srgbClr val="FFFFFF"/>
                </a:solidFill>
                <a:latin typeface="Calibri" panose="020F0502020204030204"/>
              </a:endParaRPr>
            </a:p>
          </p:txBody>
        </p:sp>
        <p:sp>
          <p:nvSpPr>
            <p:cNvPr id="215" name="Hexagon 214"/>
            <p:cNvSpPr/>
            <p:nvPr/>
          </p:nvSpPr>
          <p:spPr>
            <a:xfrm>
              <a:off x="6284977" y="2252185"/>
              <a:ext cx="274914" cy="247991"/>
            </a:xfrm>
            <a:prstGeom prst="hexagon">
              <a:avLst/>
            </a:prstGeom>
            <a:solidFill>
              <a:srgbClr val="5B9BD5"/>
            </a:solidFill>
            <a:ln w="12700" cap="flat" cmpd="sng" algn="ctr">
              <a:noFill/>
              <a:prstDash val="solid"/>
              <a:miter lim="800000"/>
            </a:ln>
            <a:effectLst/>
          </p:spPr>
          <p:txBody>
            <a:bodyPr rtlCol="0" anchor="ctr"/>
            <a:lstStyle/>
            <a:p>
              <a:pPr algn="ctr" defTabSz="914309">
                <a:defRPr/>
              </a:pPr>
              <a:endParaRPr lang="en-US" kern="0">
                <a:solidFill>
                  <a:srgbClr val="FFFFFF"/>
                </a:solidFill>
                <a:latin typeface="Calibri" panose="020F0502020204030204"/>
              </a:endParaRPr>
            </a:p>
          </p:txBody>
        </p:sp>
        <p:cxnSp>
          <p:nvCxnSpPr>
            <p:cNvPr id="216" name="Straight Connector 215"/>
            <p:cNvCxnSpPr/>
            <p:nvPr/>
          </p:nvCxnSpPr>
          <p:spPr>
            <a:xfrm>
              <a:off x="6191497" y="2245092"/>
              <a:ext cx="230937" cy="135637"/>
            </a:xfrm>
            <a:prstGeom prst="line">
              <a:avLst/>
            </a:prstGeom>
            <a:noFill/>
            <a:ln w="6350" cap="flat" cmpd="sng" algn="ctr">
              <a:solidFill>
                <a:srgbClr val="5B9BD5"/>
              </a:solidFill>
              <a:prstDash val="solid"/>
              <a:miter lim="800000"/>
            </a:ln>
            <a:effectLst/>
          </p:spPr>
        </p:cxnSp>
        <p:cxnSp>
          <p:nvCxnSpPr>
            <p:cNvPr id="217" name="Straight Connector 216"/>
            <p:cNvCxnSpPr/>
            <p:nvPr/>
          </p:nvCxnSpPr>
          <p:spPr>
            <a:xfrm>
              <a:off x="6191497" y="1978366"/>
              <a:ext cx="230937" cy="135637"/>
            </a:xfrm>
            <a:prstGeom prst="line">
              <a:avLst/>
            </a:prstGeom>
            <a:noFill/>
            <a:ln w="6350" cap="flat" cmpd="sng" algn="ctr">
              <a:solidFill>
                <a:srgbClr val="5B9BD5"/>
              </a:solidFill>
              <a:prstDash val="solid"/>
              <a:miter lim="800000"/>
            </a:ln>
            <a:effectLst/>
          </p:spPr>
        </p:cxnSp>
        <p:cxnSp>
          <p:nvCxnSpPr>
            <p:cNvPr id="218" name="Straight Connector 217"/>
            <p:cNvCxnSpPr/>
            <p:nvPr/>
          </p:nvCxnSpPr>
          <p:spPr>
            <a:xfrm>
              <a:off x="6418677" y="2103634"/>
              <a:ext cx="230937" cy="135637"/>
            </a:xfrm>
            <a:prstGeom prst="line">
              <a:avLst/>
            </a:prstGeom>
            <a:noFill/>
            <a:ln w="6350" cap="flat" cmpd="sng" algn="ctr">
              <a:solidFill>
                <a:srgbClr val="5B9BD5"/>
              </a:solidFill>
              <a:prstDash val="solid"/>
              <a:miter lim="800000"/>
            </a:ln>
            <a:effectLst/>
          </p:spPr>
        </p:cxnSp>
        <p:cxnSp>
          <p:nvCxnSpPr>
            <p:cNvPr id="219" name="Straight Connector 218"/>
            <p:cNvCxnSpPr/>
            <p:nvPr/>
          </p:nvCxnSpPr>
          <p:spPr>
            <a:xfrm flipH="1">
              <a:off x="6418677" y="2245092"/>
              <a:ext cx="230937" cy="135637"/>
            </a:xfrm>
            <a:prstGeom prst="line">
              <a:avLst/>
            </a:prstGeom>
            <a:noFill/>
            <a:ln w="6350" cap="flat" cmpd="sng" algn="ctr">
              <a:solidFill>
                <a:srgbClr val="5B9BD5"/>
              </a:solidFill>
              <a:prstDash val="solid"/>
              <a:miter lim="800000"/>
            </a:ln>
            <a:effectLst/>
          </p:spPr>
        </p:cxnSp>
        <p:cxnSp>
          <p:nvCxnSpPr>
            <p:cNvPr id="220" name="Straight Connector 219"/>
            <p:cNvCxnSpPr/>
            <p:nvPr/>
          </p:nvCxnSpPr>
          <p:spPr>
            <a:xfrm>
              <a:off x="6418678" y="2115275"/>
              <a:ext cx="33" cy="268599"/>
            </a:xfrm>
            <a:prstGeom prst="line">
              <a:avLst/>
            </a:prstGeom>
            <a:noFill/>
            <a:ln w="6350" cap="flat" cmpd="sng" algn="ctr">
              <a:solidFill>
                <a:srgbClr val="5B9BD5"/>
              </a:solidFill>
              <a:prstDash val="solid"/>
              <a:miter lim="800000"/>
            </a:ln>
            <a:effectLst/>
          </p:spPr>
        </p:cxnSp>
        <p:cxnSp>
          <p:nvCxnSpPr>
            <p:cNvPr id="221" name="Straight Connector 220"/>
            <p:cNvCxnSpPr/>
            <p:nvPr/>
          </p:nvCxnSpPr>
          <p:spPr>
            <a:xfrm flipV="1">
              <a:off x="6187774" y="2109454"/>
              <a:ext cx="230903" cy="129817"/>
            </a:xfrm>
            <a:prstGeom prst="line">
              <a:avLst/>
            </a:prstGeom>
            <a:noFill/>
            <a:ln w="6350" cap="flat" cmpd="sng" algn="ctr">
              <a:solidFill>
                <a:srgbClr val="5B9BD5"/>
              </a:solidFill>
              <a:prstDash val="solid"/>
              <a:miter lim="800000"/>
            </a:ln>
            <a:effectLst/>
          </p:spPr>
        </p:cxnSp>
        <p:cxnSp>
          <p:nvCxnSpPr>
            <p:cNvPr id="222" name="Straight Connector 221"/>
            <p:cNvCxnSpPr/>
            <p:nvPr/>
          </p:nvCxnSpPr>
          <p:spPr>
            <a:xfrm flipV="1">
              <a:off x="6418677" y="1967996"/>
              <a:ext cx="230937" cy="147278"/>
            </a:xfrm>
            <a:prstGeom prst="line">
              <a:avLst/>
            </a:prstGeom>
            <a:noFill/>
            <a:ln w="6350" cap="flat" cmpd="sng" algn="ctr">
              <a:solidFill>
                <a:srgbClr val="5B9BD5"/>
              </a:solidFill>
              <a:prstDash val="solid"/>
              <a:miter lim="800000"/>
            </a:ln>
            <a:effectLst/>
          </p:spPr>
        </p:cxnSp>
        <p:cxnSp>
          <p:nvCxnSpPr>
            <p:cNvPr id="223" name="Straight Connector 222"/>
            <p:cNvCxnSpPr/>
            <p:nvPr/>
          </p:nvCxnSpPr>
          <p:spPr>
            <a:xfrm>
              <a:off x="6191480" y="1998437"/>
              <a:ext cx="33" cy="268599"/>
            </a:xfrm>
            <a:prstGeom prst="line">
              <a:avLst/>
            </a:prstGeom>
            <a:noFill/>
            <a:ln w="6350" cap="flat" cmpd="sng" algn="ctr">
              <a:solidFill>
                <a:srgbClr val="5B9BD5"/>
              </a:solidFill>
              <a:prstDash val="solid"/>
              <a:miter lim="800000"/>
            </a:ln>
            <a:effectLst/>
          </p:spPr>
        </p:cxnSp>
        <p:sp>
          <p:nvSpPr>
            <p:cNvPr id="224" name="Hexagon 223"/>
            <p:cNvSpPr/>
            <p:nvPr/>
          </p:nvSpPr>
          <p:spPr>
            <a:xfrm>
              <a:off x="6517216" y="1854372"/>
              <a:ext cx="274914" cy="247991"/>
            </a:xfrm>
            <a:prstGeom prst="hexagon">
              <a:avLst/>
            </a:prstGeom>
            <a:solidFill>
              <a:srgbClr val="5B9BD5"/>
            </a:solidFill>
            <a:ln w="12700" cap="flat" cmpd="sng" algn="ctr">
              <a:noFill/>
              <a:prstDash val="solid"/>
              <a:miter lim="800000"/>
            </a:ln>
            <a:effectLst/>
          </p:spPr>
          <p:txBody>
            <a:bodyPr rtlCol="0" anchor="ctr"/>
            <a:lstStyle/>
            <a:p>
              <a:pPr algn="ctr" defTabSz="914309">
                <a:defRPr/>
              </a:pPr>
              <a:endParaRPr lang="en-US" kern="0">
                <a:solidFill>
                  <a:srgbClr val="FFFFFF"/>
                </a:solidFill>
                <a:latin typeface="Calibri" panose="020F0502020204030204"/>
              </a:endParaRPr>
            </a:p>
          </p:txBody>
        </p:sp>
        <p:sp>
          <p:nvSpPr>
            <p:cNvPr id="225" name="Hexagon 224"/>
            <p:cNvSpPr/>
            <p:nvPr/>
          </p:nvSpPr>
          <p:spPr>
            <a:xfrm>
              <a:off x="6748153" y="1985460"/>
              <a:ext cx="274914" cy="247991"/>
            </a:xfrm>
            <a:prstGeom prst="hexagon">
              <a:avLst/>
            </a:prstGeom>
            <a:solidFill>
              <a:srgbClr val="5B9BD5"/>
            </a:solidFill>
            <a:ln w="12700" cap="flat" cmpd="sng" algn="ctr">
              <a:noFill/>
              <a:prstDash val="solid"/>
              <a:miter lim="800000"/>
            </a:ln>
            <a:effectLst/>
          </p:spPr>
          <p:txBody>
            <a:bodyPr rtlCol="0" anchor="ctr"/>
            <a:lstStyle/>
            <a:p>
              <a:pPr algn="ctr" defTabSz="914309">
                <a:defRPr/>
              </a:pPr>
              <a:endParaRPr lang="en-US" kern="0">
                <a:solidFill>
                  <a:srgbClr val="FFFFFF"/>
                </a:solidFill>
                <a:latin typeface="Calibri" panose="020F0502020204030204"/>
              </a:endParaRPr>
            </a:p>
          </p:txBody>
        </p:sp>
        <p:sp>
          <p:nvSpPr>
            <p:cNvPr id="226" name="Hexagon 225"/>
            <p:cNvSpPr/>
            <p:nvPr/>
          </p:nvSpPr>
          <p:spPr>
            <a:xfrm>
              <a:off x="6517216" y="2121097"/>
              <a:ext cx="274914" cy="247991"/>
            </a:xfrm>
            <a:prstGeom prst="hexagon">
              <a:avLst/>
            </a:prstGeom>
            <a:solidFill>
              <a:srgbClr val="5B9BD5"/>
            </a:solidFill>
            <a:ln w="12700" cap="flat" cmpd="sng" algn="ctr">
              <a:noFill/>
              <a:prstDash val="solid"/>
              <a:miter lim="800000"/>
            </a:ln>
            <a:effectLst/>
          </p:spPr>
          <p:txBody>
            <a:bodyPr rtlCol="0" anchor="ctr"/>
            <a:lstStyle/>
            <a:p>
              <a:pPr algn="ctr" defTabSz="914309">
                <a:defRPr/>
              </a:pPr>
              <a:endParaRPr lang="en-US" kern="0">
                <a:solidFill>
                  <a:srgbClr val="FFFFFF"/>
                </a:solidFill>
                <a:latin typeface="Calibri" panose="020F0502020204030204"/>
              </a:endParaRPr>
            </a:p>
          </p:txBody>
        </p:sp>
        <p:sp>
          <p:nvSpPr>
            <p:cNvPr id="227" name="Hexagon 226"/>
            <p:cNvSpPr/>
            <p:nvPr/>
          </p:nvSpPr>
          <p:spPr>
            <a:xfrm>
              <a:off x="6748153" y="2252185"/>
              <a:ext cx="274914" cy="247991"/>
            </a:xfrm>
            <a:prstGeom prst="hexagon">
              <a:avLst/>
            </a:prstGeom>
            <a:solidFill>
              <a:srgbClr val="5B9BD5"/>
            </a:solidFill>
            <a:ln w="12700" cap="flat" cmpd="sng" algn="ctr">
              <a:noFill/>
              <a:prstDash val="solid"/>
              <a:miter lim="800000"/>
            </a:ln>
            <a:effectLst/>
          </p:spPr>
          <p:txBody>
            <a:bodyPr rtlCol="0" anchor="ctr"/>
            <a:lstStyle/>
            <a:p>
              <a:pPr algn="ctr" defTabSz="914309">
                <a:defRPr/>
              </a:pPr>
              <a:endParaRPr lang="en-US" kern="0">
                <a:solidFill>
                  <a:srgbClr val="FFFFFF"/>
                </a:solidFill>
                <a:latin typeface="Calibri" panose="020F0502020204030204"/>
              </a:endParaRPr>
            </a:p>
          </p:txBody>
        </p:sp>
        <p:cxnSp>
          <p:nvCxnSpPr>
            <p:cNvPr id="228" name="Straight Connector 227"/>
            <p:cNvCxnSpPr/>
            <p:nvPr/>
          </p:nvCxnSpPr>
          <p:spPr>
            <a:xfrm>
              <a:off x="6654673" y="2245092"/>
              <a:ext cx="230937" cy="135637"/>
            </a:xfrm>
            <a:prstGeom prst="line">
              <a:avLst/>
            </a:prstGeom>
            <a:noFill/>
            <a:ln w="6350" cap="flat" cmpd="sng" algn="ctr">
              <a:solidFill>
                <a:srgbClr val="5B9BD5"/>
              </a:solidFill>
              <a:prstDash val="solid"/>
              <a:miter lim="800000"/>
            </a:ln>
            <a:effectLst/>
          </p:spPr>
        </p:cxnSp>
        <p:cxnSp>
          <p:nvCxnSpPr>
            <p:cNvPr id="229" name="Straight Connector 228"/>
            <p:cNvCxnSpPr/>
            <p:nvPr/>
          </p:nvCxnSpPr>
          <p:spPr>
            <a:xfrm>
              <a:off x="6654673" y="1973817"/>
              <a:ext cx="230937" cy="135637"/>
            </a:xfrm>
            <a:prstGeom prst="line">
              <a:avLst/>
            </a:prstGeom>
            <a:noFill/>
            <a:ln w="6350" cap="flat" cmpd="sng" algn="ctr">
              <a:solidFill>
                <a:srgbClr val="5B9BD5"/>
              </a:solidFill>
              <a:prstDash val="solid"/>
              <a:miter lim="800000"/>
            </a:ln>
            <a:effectLst/>
          </p:spPr>
        </p:cxnSp>
        <p:cxnSp>
          <p:nvCxnSpPr>
            <p:cNvPr id="230" name="Straight Connector 229"/>
            <p:cNvCxnSpPr/>
            <p:nvPr/>
          </p:nvCxnSpPr>
          <p:spPr>
            <a:xfrm>
              <a:off x="6881853" y="2103634"/>
              <a:ext cx="230937" cy="135637"/>
            </a:xfrm>
            <a:prstGeom prst="line">
              <a:avLst/>
            </a:prstGeom>
            <a:noFill/>
            <a:ln w="6350" cap="flat" cmpd="sng" algn="ctr">
              <a:solidFill>
                <a:srgbClr val="5B9BD5"/>
              </a:solidFill>
              <a:prstDash val="solid"/>
              <a:miter lim="800000"/>
            </a:ln>
            <a:effectLst/>
          </p:spPr>
        </p:cxnSp>
        <p:cxnSp>
          <p:nvCxnSpPr>
            <p:cNvPr id="231" name="Straight Connector 230"/>
            <p:cNvCxnSpPr/>
            <p:nvPr/>
          </p:nvCxnSpPr>
          <p:spPr>
            <a:xfrm flipH="1">
              <a:off x="6881853" y="2245092"/>
              <a:ext cx="230937" cy="135637"/>
            </a:xfrm>
            <a:prstGeom prst="line">
              <a:avLst/>
            </a:prstGeom>
            <a:noFill/>
            <a:ln w="6350" cap="flat" cmpd="sng" algn="ctr">
              <a:solidFill>
                <a:srgbClr val="5B9BD5"/>
              </a:solidFill>
              <a:prstDash val="solid"/>
              <a:miter lim="800000"/>
            </a:ln>
            <a:effectLst/>
          </p:spPr>
        </p:cxnSp>
        <p:cxnSp>
          <p:nvCxnSpPr>
            <p:cNvPr id="232" name="Straight Connector 231"/>
            <p:cNvCxnSpPr/>
            <p:nvPr/>
          </p:nvCxnSpPr>
          <p:spPr>
            <a:xfrm>
              <a:off x="6881854" y="2115275"/>
              <a:ext cx="33" cy="268599"/>
            </a:xfrm>
            <a:prstGeom prst="line">
              <a:avLst/>
            </a:prstGeom>
            <a:noFill/>
            <a:ln w="6350" cap="flat" cmpd="sng" algn="ctr">
              <a:solidFill>
                <a:srgbClr val="5B9BD5"/>
              </a:solidFill>
              <a:prstDash val="solid"/>
              <a:miter lim="800000"/>
            </a:ln>
            <a:effectLst/>
          </p:spPr>
        </p:cxnSp>
        <p:cxnSp>
          <p:nvCxnSpPr>
            <p:cNvPr id="233" name="Straight Connector 232"/>
            <p:cNvCxnSpPr/>
            <p:nvPr/>
          </p:nvCxnSpPr>
          <p:spPr>
            <a:xfrm flipV="1">
              <a:off x="6650950" y="2109454"/>
              <a:ext cx="230903" cy="129817"/>
            </a:xfrm>
            <a:prstGeom prst="line">
              <a:avLst/>
            </a:prstGeom>
            <a:noFill/>
            <a:ln w="6350" cap="flat" cmpd="sng" algn="ctr">
              <a:solidFill>
                <a:srgbClr val="5B9BD5"/>
              </a:solidFill>
              <a:prstDash val="solid"/>
              <a:miter lim="800000"/>
            </a:ln>
            <a:effectLst/>
          </p:spPr>
        </p:cxnSp>
        <p:cxnSp>
          <p:nvCxnSpPr>
            <p:cNvPr id="234" name="Straight Connector 233"/>
            <p:cNvCxnSpPr/>
            <p:nvPr/>
          </p:nvCxnSpPr>
          <p:spPr>
            <a:xfrm flipV="1">
              <a:off x="6881853" y="1967996"/>
              <a:ext cx="230937" cy="147278"/>
            </a:xfrm>
            <a:prstGeom prst="line">
              <a:avLst/>
            </a:prstGeom>
            <a:noFill/>
            <a:ln w="6350" cap="flat" cmpd="sng" algn="ctr">
              <a:solidFill>
                <a:srgbClr val="5B9BD5"/>
              </a:solidFill>
              <a:prstDash val="solid"/>
              <a:miter lim="800000"/>
            </a:ln>
            <a:effectLst/>
          </p:spPr>
        </p:cxnSp>
        <p:cxnSp>
          <p:nvCxnSpPr>
            <p:cNvPr id="235" name="Straight Connector 234"/>
            <p:cNvCxnSpPr/>
            <p:nvPr/>
          </p:nvCxnSpPr>
          <p:spPr>
            <a:xfrm>
              <a:off x="6662968" y="1998437"/>
              <a:ext cx="33" cy="268599"/>
            </a:xfrm>
            <a:prstGeom prst="line">
              <a:avLst/>
            </a:prstGeom>
            <a:noFill/>
            <a:ln w="6350" cap="flat" cmpd="sng" algn="ctr">
              <a:solidFill>
                <a:srgbClr val="5B9BD5"/>
              </a:solidFill>
              <a:prstDash val="solid"/>
              <a:miter lim="800000"/>
            </a:ln>
            <a:effectLst/>
          </p:spPr>
        </p:cxnSp>
        <p:sp>
          <p:nvSpPr>
            <p:cNvPr id="236" name="Hexagon 235"/>
            <p:cNvSpPr/>
            <p:nvPr/>
          </p:nvSpPr>
          <p:spPr>
            <a:xfrm>
              <a:off x="6978722" y="1854372"/>
              <a:ext cx="274914" cy="247991"/>
            </a:xfrm>
            <a:prstGeom prst="hexagon">
              <a:avLst/>
            </a:prstGeom>
            <a:solidFill>
              <a:srgbClr val="5B9BD5"/>
            </a:solidFill>
            <a:ln w="12700" cap="flat" cmpd="sng" algn="ctr">
              <a:noFill/>
              <a:prstDash val="solid"/>
              <a:miter lim="800000"/>
            </a:ln>
            <a:effectLst/>
          </p:spPr>
          <p:txBody>
            <a:bodyPr rtlCol="0" anchor="ctr"/>
            <a:lstStyle/>
            <a:p>
              <a:pPr algn="ctr" defTabSz="914309">
                <a:defRPr/>
              </a:pPr>
              <a:endParaRPr lang="en-US" kern="0">
                <a:solidFill>
                  <a:srgbClr val="FFFFFF"/>
                </a:solidFill>
                <a:latin typeface="Calibri" panose="020F0502020204030204"/>
              </a:endParaRPr>
            </a:p>
          </p:txBody>
        </p:sp>
        <p:sp>
          <p:nvSpPr>
            <p:cNvPr id="237" name="Hexagon 236"/>
            <p:cNvSpPr/>
            <p:nvPr/>
          </p:nvSpPr>
          <p:spPr>
            <a:xfrm>
              <a:off x="7209659" y="1985460"/>
              <a:ext cx="274914" cy="247991"/>
            </a:xfrm>
            <a:prstGeom prst="hexagon">
              <a:avLst/>
            </a:prstGeom>
            <a:solidFill>
              <a:srgbClr val="5B9BD5"/>
            </a:solidFill>
            <a:ln w="12700" cap="flat" cmpd="sng" algn="ctr">
              <a:noFill/>
              <a:prstDash val="solid"/>
              <a:miter lim="800000"/>
            </a:ln>
            <a:effectLst/>
          </p:spPr>
          <p:txBody>
            <a:bodyPr rtlCol="0" anchor="ctr"/>
            <a:lstStyle/>
            <a:p>
              <a:pPr algn="ctr" defTabSz="914309">
                <a:defRPr/>
              </a:pPr>
              <a:endParaRPr lang="en-US" kern="0">
                <a:solidFill>
                  <a:srgbClr val="FFFFFF"/>
                </a:solidFill>
                <a:latin typeface="Calibri" panose="020F0502020204030204"/>
              </a:endParaRPr>
            </a:p>
          </p:txBody>
        </p:sp>
        <p:sp>
          <p:nvSpPr>
            <p:cNvPr id="238" name="Hexagon 237"/>
            <p:cNvSpPr/>
            <p:nvPr/>
          </p:nvSpPr>
          <p:spPr>
            <a:xfrm>
              <a:off x="6978722" y="2121097"/>
              <a:ext cx="274914" cy="247991"/>
            </a:xfrm>
            <a:prstGeom prst="hexagon">
              <a:avLst/>
            </a:prstGeom>
            <a:solidFill>
              <a:srgbClr val="5B9BD5"/>
            </a:solidFill>
            <a:ln w="12700" cap="flat" cmpd="sng" algn="ctr">
              <a:noFill/>
              <a:prstDash val="solid"/>
              <a:miter lim="800000"/>
            </a:ln>
            <a:effectLst/>
          </p:spPr>
          <p:txBody>
            <a:bodyPr rtlCol="0" anchor="ctr"/>
            <a:lstStyle/>
            <a:p>
              <a:pPr algn="ctr" defTabSz="914309">
                <a:defRPr/>
              </a:pPr>
              <a:endParaRPr lang="en-US" kern="0">
                <a:solidFill>
                  <a:srgbClr val="FFFFFF"/>
                </a:solidFill>
                <a:latin typeface="Calibri" panose="020F0502020204030204"/>
              </a:endParaRPr>
            </a:p>
          </p:txBody>
        </p:sp>
        <p:sp>
          <p:nvSpPr>
            <p:cNvPr id="239" name="Hexagon 238"/>
            <p:cNvSpPr/>
            <p:nvPr/>
          </p:nvSpPr>
          <p:spPr>
            <a:xfrm>
              <a:off x="7209659" y="2252185"/>
              <a:ext cx="274914" cy="247991"/>
            </a:xfrm>
            <a:prstGeom prst="hexagon">
              <a:avLst/>
            </a:prstGeom>
            <a:solidFill>
              <a:srgbClr val="5B9BD5"/>
            </a:solidFill>
            <a:ln w="12700" cap="flat" cmpd="sng" algn="ctr">
              <a:noFill/>
              <a:prstDash val="solid"/>
              <a:miter lim="800000"/>
            </a:ln>
            <a:effectLst/>
          </p:spPr>
          <p:txBody>
            <a:bodyPr rtlCol="0" anchor="ctr"/>
            <a:lstStyle/>
            <a:p>
              <a:pPr algn="ctr" defTabSz="914309">
                <a:defRPr/>
              </a:pPr>
              <a:endParaRPr lang="en-US" kern="0">
                <a:solidFill>
                  <a:srgbClr val="FFFFFF"/>
                </a:solidFill>
                <a:latin typeface="Calibri" panose="020F0502020204030204"/>
              </a:endParaRPr>
            </a:p>
          </p:txBody>
        </p:sp>
        <p:cxnSp>
          <p:nvCxnSpPr>
            <p:cNvPr id="240" name="Straight Connector 239"/>
            <p:cNvCxnSpPr/>
            <p:nvPr/>
          </p:nvCxnSpPr>
          <p:spPr>
            <a:xfrm>
              <a:off x="7116179" y="2245092"/>
              <a:ext cx="230937" cy="135637"/>
            </a:xfrm>
            <a:prstGeom prst="line">
              <a:avLst/>
            </a:prstGeom>
            <a:noFill/>
            <a:ln w="6350" cap="flat" cmpd="sng" algn="ctr">
              <a:solidFill>
                <a:srgbClr val="5B9BD5"/>
              </a:solidFill>
              <a:prstDash val="solid"/>
              <a:miter lim="800000"/>
            </a:ln>
            <a:effectLst/>
          </p:spPr>
        </p:cxnSp>
        <p:cxnSp>
          <p:nvCxnSpPr>
            <p:cNvPr id="241" name="Straight Connector 240"/>
            <p:cNvCxnSpPr/>
            <p:nvPr/>
          </p:nvCxnSpPr>
          <p:spPr>
            <a:xfrm>
              <a:off x="7116179" y="1973817"/>
              <a:ext cx="230937" cy="135637"/>
            </a:xfrm>
            <a:prstGeom prst="line">
              <a:avLst/>
            </a:prstGeom>
            <a:noFill/>
            <a:ln w="6350" cap="flat" cmpd="sng" algn="ctr">
              <a:solidFill>
                <a:srgbClr val="5B9BD5"/>
              </a:solidFill>
              <a:prstDash val="solid"/>
              <a:miter lim="800000"/>
            </a:ln>
            <a:effectLst/>
          </p:spPr>
        </p:cxnSp>
        <p:cxnSp>
          <p:nvCxnSpPr>
            <p:cNvPr id="242" name="Straight Connector 241"/>
            <p:cNvCxnSpPr/>
            <p:nvPr/>
          </p:nvCxnSpPr>
          <p:spPr>
            <a:xfrm>
              <a:off x="7347031" y="2103634"/>
              <a:ext cx="230937" cy="135637"/>
            </a:xfrm>
            <a:prstGeom prst="line">
              <a:avLst/>
            </a:prstGeom>
            <a:noFill/>
            <a:ln w="6350" cap="flat" cmpd="sng" algn="ctr">
              <a:solidFill>
                <a:srgbClr val="5B9BD5"/>
              </a:solidFill>
              <a:prstDash val="solid"/>
              <a:miter lim="800000"/>
            </a:ln>
            <a:effectLst/>
          </p:spPr>
        </p:cxnSp>
        <p:cxnSp>
          <p:nvCxnSpPr>
            <p:cNvPr id="243" name="Straight Connector 242"/>
            <p:cNvCxnSpPr/>
            <p:nvPr/>
          </p:nvCxnSpPr>
          <p:spPr>
            <a:xfrm flipH="1">
              <a:off x="7347031" y="2245092"/>
              <a:ext cx="230937" cy="135637"/>
            </a:xfrm>
            <a:prstGeom prst="line">
              <a:avLst/>
            </a:prstGeom>
            <a:noFill/>
            <a:ln w="6350" cap="flat" cmpd="sng" algn="ctr">
              <a:solidFill>
                <a:srgbClr val="5B9BD5"/>
              </a:solidFill>
              <a:prstDash val="solid"/>
              <a:miter lim="800000"/>
            </a:ln>
            <a:effectLst/>
          </p:spPr>
        </p:cxnSp>
        <p:cxnSp>
          <p:nvCxnSpPr>
            <p:cNvPr id="244" name="Straight Connector 243"/>
            <p:cNvCxnSpPr/>
            <p:nvPr/>
          </p:nvCxnSpPr>
          <p:spPr>
            <a:xfrm>
              <a:off x="7343360" y="2115275"/>
              <a:ext cx="33" cy="268599"/>
            </a:xfrm>
            <a:prstGeom prst="line">
              <a:avLst/>
            </a:prstGeom>
            <a:noFill/>
            <a:ln w="6350" cap="flat" cmpd="sng" algn="ctr">
              <a:solidFill>
                <a:srgbClr val="5B9BD5"/>
              </a:solidFill>
              <a:prstDash val="solid"/>
              <a:miter lim="800000"/>
            </a:ln>
            <a:effectLst/>
          </p:spPr>
        </p:cxnSp>
        <p:cxnSp>
          <p:nvCxnSpPr>
            <p:cNvPr id="245" name="Straight Connector 244"/>
            <p:cNvCxnSpPr/>
            <p:nvPr/>
          </p:nvCxnSpPr>
          <p:spPr>
            <a:xfrm flipV="1">
              <a:off x="7112456" y="2109454"/>
              <a:ext cx="230903" cy="129817"/>
            </a:xfrm>
            <a:prstGeom prst="line">
              <a:avLst/>
            </a:prstGeom>
            <a:noFill/>
            <a:ln w="6350" cap="flat" cmpd="sng" algn="ctr">
              <a:solidFill>
                <a:srgbClr val="5B9BD5"/>
              </a:solidFill>
              <a:prstDash val="solid"/>
              <a:miter lim="800000"/>
            </a:ln>
            <a:effectLst/>
          </p:spPr>
        </p:cxnSp>
        <p:cxnSp>
          <p:nvCxnSpPr>
            <p:cNvPr id="246" name="Straight Connector 245"/>
            <p:cNvCxnSpPr/>
            <p:nvPr/>
          </p:nvCxnSpPr>
          <p:spPr>
            <a:xfrm flipV="1">
              <a:off x="7347031" y="1967996"/>
              <a:ext cx="230937" cy="147278"/>
            </a:xfrm>
            <a:prstGeom prst="line">
              <a:avLst/>
            </a:prstGeom>
            <a:noFill/>
            <a:ln w="6350" cap="flat" cmpd="sng" algn="ctr">
              <a:solidFill>
                <a:srgbClr val="5B9BD5"/>
              </a:solidFill>
              <a:prstDash val="solid"/>
              <a:miter lim="800000"/>
            </a:ln>
            <a:effectLst/>
          </p:spPr>
        </p:cxnSp>
        <p:cxnSp>
          <p:nvCxnSpPr>
            <p:cNvPr id="247" name="Straight Connector 246"/>
            <p:cNvCxnSpPr/>
            <p:nvPr/>
          </p:nvCxnSpPr>
          <p:spPr>
            <a:xfrm>
              <a:off x="7116162" y="1998437"/>
              <a:ext cx="33" cy="268599"/>
            </a:xfrm>
            <a:prstGeom prst="line">
              <a:avLst/>
            </a:prstGeom>
            <a:noFill/>
            <a:ln w="6350" cap="flat" cmpd="sng" algn="ctr">
              <a:solidFill>
                <a:srgbClr val="5B9BD5"/>
              </a:solidFill>
              <a:prstDash val="solid"/>
              <a:miter lim="800000"/>
            </a:ln>
            <a:effectLst/>
          </p:spPr>
        </p:cxnSp>
        <p:sp>
          <p:nvSpPr>
            <p:cNvPr id="248" name="Hexagon 247"/>
            <p:cNvSpPr/>
            <p:nvPr/>
          </p:nvSpPr>
          <p:spPr>
            <a:xfrm>
              <a:off x="7441414" y="1854372"/>
              <a:ext cx="274914" cy="247991"/>
            </a:xfrm>
            <a:prstGeom prst="hexagon">
              <a:avLst/>
            </a:prstGeom>
            <a:solidFill>
              <a:srgbClr val="5B9BD5"/>
            </a:solidFill>
            <a:ln w="12700" cap="flat" cmpd="sng" algn="ctr">
              <a:noFill/>
              <a:prstDash val="solid"/>
              <a:miter lim="800000"/>
            </a:ln>
            <a:effectLst/>
          </p:spPr>
          <p:txBody>
            <a:bodyPr rtlCol="0" anchor="ctr"/>
            <a:lstStyle/>
            <a:p>
              <a:pPr algn="ctr" defTabSz="914309">
                <a:defRPr/>
              </a:pPr>
              <a:endParaRPr lang="en-US" kern="0">
                <a:solidFill>
                  <a:srgbClr val="FFFFFF"/>
                </a:solidFill>
                <a:latin typeface="Calibri" panose="020F0502020204030204"/>
              </a:endParaRPr>
            </a:p>
          </p:txBody>
        </p:sp>
        <p:sp>
          <p:nvSpPr>
            <p:cNvPr id="249" name="Hexagon 248"/>
            <p:cNvSpPr/>
            <p:nvPr/>
          </p:nvSpPr>
          <p:spPr>
            <a:xfrm>
              <a:off x="7672351" y="1985460"/>
              <a:ext cx="274914" cy="247991"/>
            </a:xfrm>
            <a:prstGeom prst="hexagon">
              <a:avLst/>
            </a:prstGeom>
            <a:solidFill>
              <a:srgbClr val="5B9BD5"/>
            </a:solidFill>
            <a:ln w="12700" cap="flat" cmpd="sng" algn="ctr">
              <a:noFill/>
              <a:prstDash val="solid"/>
              <a:miter lim="800000"/>
            </a:ln>
            <a:effectLst/>
          </p:spPr>
          <p:txBody>
            <a:bodyPr rtlCol="0" anchor="ctr"/>
            <a:lstStyle/>
            <a:p>
              <a:pPr algn="ctr" defTabSz="914309">
                <a:defRPr/>
              </a:pPr>
              <a:endParaRPr lang="en-US" kern="0">
                <a:solidFill>
                  <a:srgbClr val="FFFFFF"/>
                </a:solidFill>
                <a:latin typeface="Calibri" panose="020F0502020204030204"/>
              </a:endParaRPr>
            </a:p>
          </p:txBody>
        </p:sp>
        <p:sp>
          <p:nvSpPr>
            <p:cNvPr id="250" name="Hexagon 249"/>
            <p:cNvSpPr/>
            <p:nvPr/>
          </p:nvSpPr>
          <p:spPr>
            <a:xfrm>
              <a:off x="7441414" y="2121097"/>
              <a:ext cx="274914" cy="247991"/>
            </a:xfrm>
            <a:prstGeom prst="hexagon">
              <a:avLst/>
            </a:prstGeom>
            <a:solidFill>
              <a:srgbClr val="5B9BD5"/>
            </a:solidFill>
            <a:ln w="12700" cap="flat" cmpd="sng" algn="ctr">
              <a:noFill/>
              <a:prstDash val="solid"/>
              <a:miter lim="800000"/>
            </a:ln>
            <a:effectLst/>
          </p:spPr>
          <p:txBody>
            <a:bodyPr rtlCol="0" anchor="ctr"/>
            <a:lstStyle/>
            <a:p>
              <a:pPr algn="ctr" defTabSz="914309">
                <a:defRPr/>
              </a:pPr>
              <a:endParaRPr lang="en-US" kern="0">
                <a:solidFill>
                  <a:srgbClr val="FFFFFF"/>
                </a:solidFill>
                <a:latin typeface="Calibri" panose="020F0502020204030204"/>
              </a:endParaRPr>
            </a:p>
          </p:txBody>
        </p:sp>
        <p:sp>
          <p:nvSpPr>
            <p:cNvPr id="251" name="Hexagon 250"/>
            <p:cNvSpPr/>
            <p:nvPr/>
          </p:nvSpPr>
          <p:spPr>
            <a:xfrm>
              <a:off x="7672351" y="2252185"/>
              <a:ext cx="274914" cy="247991"/>
            </a:xfrm>
            <a:prstGeom prst="hexagon">
              <a:avLst/>
            </a:prstGeom>
            <a:solidFill>
              <a:srgbClr val="5B9BD5"/>
            </a:solidFill>
            <a:ln w="12700" cap="flat" cmpd="sng" algn="ctr">
              <a:noFill/>
              <a:prstDash val="solid"/>
              <a:miter lim="800000"/>
            </a:ln>
            <a:effectLst/>
          </p:spPr>
          <p:txBody>
            <a:bodyPr rtlCol="0" anchor="ctr"/>
            <a:lstStyle/>
            <a:p>
              <a:pPr algn="ctr" defTabSz="914309">
                <a:defRPr/>
              </a:pPr>
              <a:endParaRPr lang="en-US" kern="0">
                <a:solidFill>
                  <a:srgbClr val="FFFFFF"/>
                </a:solidFill>
                <a:latin typeface="Calibri" panose="020F0502020204030204"/>
              </a:endParaRPr>
            </a:p>
          </p:txBody>
        </p:sp>
        <p:cxnSp>
          <p:nvCxnSpPr>
            <p:cNvPr id="252" name="Straight Connector 251"/>
            <p:cNvCxnSpPr/>
            <p:nvPr/>
          </p:nvCxnSpPr>
          <p:spPr>
            <a:xfrm>
              <a:off x="7578871" y="2245092"/>
              <a:ext cx="230937" cy="135637"/>
            </a:xfrm>
            <a:prstGeom prst="line">
              <a:avLst/>
            </a:prstGeom>
            <a:noFill/>
            <a:ln w="6350" cap="flat" cmpd="sng" algn="ctr">
              <a:solidFill>
                <a:srgbClr val="5B9BD5"/>
              </a:solidFill>
              <a:prstDash val="solid"/>
              <a:miter lim="800000"/>
            </a:ln>
            <a:effectLst/>
          </p:spPr>
        </p:cxnSp>
        <p:cxnSp>
          <p:nvCxnSpPr>
            <p:cNvPr id="253" name="Straight Connector 252"/>
            <p:cNvCxnSpPr/>
            <p:nvPr/>
          </p:nvCxnSpPr>
          <p:spPr>
            <a:xfrm>
              <a:off x="7578871" y="1973817"/>
              <a:ext cx="230937" cy="135637"/>
            </a:xfrm>
            <a:prstGeom prst="line">
              <a:avLst/>
            </a:prstGeom>
            <a:noFill/>
            <a:ln w="6350" cap="flat" cmpd="sng" algn="ctr">
              <a:solidFill>
                <a:srgbClr val="5B9BD5"/>
              </a:solidFill>
              <a:prstDash val="solid"/>
              <a:miter lim="800000"/>
            </a:ln>
            <a:effectLst/>
          </p:spPr>
        </p:cxnSp>
        <p:cxnSp>
          <p:nvCxnSpPr>
            <p:cNvPr id="254" name="Straight Connector 253"/>
            <p:cNvCxnSpPr/>
            <p:nvPr/>
          </p:nvCxnSpPr>
          <p:spPr>
            <a:xfrm>
              <a:off x="7802379" y="2103634"/>
              <a:ext cx="230937" cy="135637"/>
            </a:xfrm>
            <a:prstGeom prst="line">
              <a:avLst/>
            </a:prstGeom>
            <a:noFill/>
            <a:ln w="6350" cap="flat" cmpd="sng" algn="ctr">
              <a:solidFill>
                <a:srgbClr val="5B9BD5"/>
              </a:solidFill>
              <a:prstDash val="solid"/>
              <a:miter lim="800000"/>
            </a:ln>
            <a:effectLst/>
          </p:spPr>
        </p:cxnSp>
        <p:cxnSp>
          <p:nvCxnSpPr>
            <p:cNvPr id="255" name="Straight Connector 254"/>
            <p:cNvCxnSpPr/>
            <p:nvPr/>
          </p:nvCxnSpPr>
          <p:spPr>
            <a:xfrm flipH="1">
              <a:off x="7802379" y="2245092"/>
              <a:ext cx="230937" cy="135637"/>
            </a:xfrm>
            <a:prstGeom prst="line">
              <a:avLst/>
            </a:prstGeom>
            <a:noFill/>
            <a:ln w="6350" cap="flat" cmpd="sng" algn="ctr">
              <a:solidFill>
                <a:srgbClr val="5B9BD5"/>
              </a:solidFill>
              <a:prstDash val="solid"/>
              <a:miter lim="800000"/>
            </a:ln>
            <a:effectLst/>
          </p:spPr>
        </p:cxnSp>
        <p:cxnSp>
          <p:nvCxnSpPr>
            <p:cNvPr id="256" name="Straight Connector 255"/>
            <p:cNvCxnSpPr/>
            <p:nvPr/>
          </p:nvCxnSpPr>
          <p:spPr>
            <a:xfrm>
              <a:off x="7802380" y="2115275"/>
              <a:ext cx="33" cy="268599"/>
            </a:xfrm>
            <a:prstGeom prst="line">
              <a:avLst/>
            </a:prstGeom>
            <a:noFill/>
            <a:ln w="6350" cap="flat" cmpd="sng" algn="ctr">
              <a:solidFill>
                <a:srgbClr val="5B9BD5"/>
              </a:solidFill>
              <a:prstDash val="solid"/>
              <a:miter lim="800000"/>
            </a:ln>
            <a:effectLst/>
          </p:spPr>
        </p:cxnSp>
        <p:cxnSp>
          <p:nvCxnSpPr>
            <p:cNvPr id="257" name="Straight Connector 256"/>
            <p:cNvCxnSpPr/>
            <p:nvPr/>
          </p:nvCxnSpPr>
          <p:spPr>
            <a:xfrm flipV="1">
              <a:off x="7575148" y="2109454"/>
              <a:ext cx="230903" cy="129817"/>
            </a:xfrm>
            <a:prstGeom prst="line">
              <a:avLst/>
            </a:prstGeom>
            <a:noFill/>
            <a:ln w="6350" cap="flat" cmpd="sng" algn="ctr">
              <a:solidFill>
                <a:srgbClr val="5B9BD5"/>
              </a:solidFill>
              <a:prstDash val="solid"/>
              <a:miter lim="800000"/>
            </a:ln>
            <a:effectLst/>
          </p:spPr>
        </p:cxnSp>
        <p:cxnSp>
          <p:nvCxnSpPr>
            <p:cNvPr id="258" name="Straight Connector 257"/>
            <p:cNvCxnSpPr/>
            <p:nvPr/>
          </p:nvCxnSpPr>
          <p:spPr>
            <a:xfrm flipV="1">
              <a:off x="7802379" y="1967996"/>
              <a:ext cx="230937" cy="147278"/>
            </a:xfrm>
            <a:prstGeom prst="line">
              <a:avLst/>
            </a:prstGeom>
            <a:noFill/>
            <a:ln w="6350" cap="flat" cmpd="sng" algn="ctr">
              <a:solidFill>
                <a:srgbClr val="5B9BD5"/>
              </a:solidFill>
              <a:prstDash val="solid"/>
              <a:miter lim="800000"/>
            </a:ln>
            <a:effectLst/>
          </p:spPr>
        </p:cxnSp>
        <p:cxnSp>
          <p:nvCxnSpPr>
            <p:cNvPr id="259" name="Straight Connector 258"/>
            <p:cNvCxnSpPr/>
            <p:nvPr/>
          </p:nvCxnSpPr>
          <p:spPr>
            <a:xfrm>
              <a:off x="7578854" y="1998437"/>
              <a:ext cx="33" cy="268599"/>
            </a:xfrm>
            <a:prstGeom prst="line">
              <a:avLst/>
            </a:prstGeom>
            <a:noFill/>
            <a:ln w="6350" cap="flat" cmpd="sng" algn="ctr">
              <a:solidFill>
                <a:srgbClr val="5B9BD5"/>
              </a:solidFill>
              <a:prstDash val="solid"/>
              <a:miter lim="800000"/>
            </a:ln>
            <a:effectLst/>
          </p:spPr>
        </p:cxnSp>
        <p:sp>
          <p:nvSpPr>
            <p:cNvPr id="260" name="Hexagon 259"/>
            <p:cNvSpPr/>
            <p:nvPr/>
          </p:nvSpPr>
          <p:spPr>
            <a:xfrm>
              <a:off x="7902040" y="1857916"/>
              <a:ext cx="274914" cy="247991"/>
            </a:xfrm>
            <a:prstGeom prst="hexagon">
              <a:avLst/>
            </a:prstGeom>
            <a:solidFill>
              <a:srgbClr val="5B9BD5"/>
            </a:solidFill>
            <a:ln w="12700" cap="flat" cmpd="sng" algn="ctr">
              <a:noFill/>
              <a:prstDash val="solid"/>
              <a:miter lim="800000"/>
            </a:ln>
            <a:effectLst/>
          </p:spPr>
          <p:txBody>
            <a:bodyPr rtlCol="0" anchor="ctr"/>
            <a:lstStyle/>
            <a:p>
              <a:pPr algn="ctr" defTabSz="914309">
                <a:defRPr/>
              </a:pPr>
              <a:endParaRPr lang="en-US" kern="0">
                <a:solidFill>
                  <a:srgbClr val="FFFFFF"/>
                </a:solidFill>
                <a:latin typeface="Calibri" panose="020F0502020204030204"/>
              </a:endParaRPr>
            </a:p>
          </p:txBody>
        </p:sp>
        <p:sp>
          <p:nvSpPr>
            <p:cNvPr id="261" name="Hexagon 260"/>
            <p:cNvSpPr/>
            <p:nvPr/>
          </p:nvSpPr>
          <p:spPr>
            <a:xfrm>
              <a:off x="8132977" y="1989004"/>
              <a:ext cx="274914" cy="247991"/>
            </a:xfrm>
            <a:prstGeom prst="hexagon">
              <a:avLst/>
            </a:prstGeom>
            <a:solidFill>
              <a:srgbClr val="5B9BD5"/>
            </a:solidFill>
            <a:ln w="12700" cap="flat" cmpd="sng" algn="ctr">
              <a:noFill/>
              <a:prstDash val="solid"/>
              <a:miter lim="800000"/>
            </a:ln>
            <a:effectLst/>
          </p:spPr>
          <p:txBody>
            <a:bodyPr rtlCol="0" anchor="ctr"/>
            <a:lstStyle/>
            <a:p>
              <a:pPr algn="ctr" defTabSz="914309">
                <a:defRPr/>
              </a:pPr>
              <a:endParaRPr lang="en-US" kern="0">
                <a:solidFill>
                  <a:srgbClr val="FFFFFF"/>
                </a:solidFill>
                <a:latin typeface="Calibri" panose="020F0502020204030204"/>
              </a:endParaRPr>
            </a:p>
          </p:txBody>
        </p:sp>
        <p:sp>
          <p:nvSpPr>
            <p:cNvPr id="262" name="Hexagon 261"/>
            <p:cNvSpPr/>
            <p:nvPr/>
          </p:nvSpPr>
          <p:spPr>
            <a:xfrm>
              <a:off x="7902040" y="2124641"/>
              <a:ext cx="274914" cy="247991"/>
            </a:xfrm>
            <a:prstGeom prst="hexagon">
              <a:avLst/>
            </a:prstGeom>
            <a:solidFill>
              <a:srgbClr val="5B9BD5"/>
            </a:solidFill>
            <a:ln w="12700" cap="flat" cmpd="sng" algn="ctr">
              <a:noFill/>
              <a:prstDash val="solid"/>
              <a:miter lim="800000"/>
            </a:ln>
            <a:effectLst/>
          </p:spPr>
          <p:txBody>
            <a:bodyPr rtlCol="0" anchor="ctr"/>
            <a:lstStyle/>
            <a:p>
              <a:pPr algn="ctr" defTabSz="914309">
                <a:defRPr/>
              </a:pPr>
              <a:endParaRPr lang="en-US" kern="0">
                <a:solidFill>
                  <a:srgbClr val="FFFFFF"/>
                </a:solidFill>
                <a:latin typeface="Calibri" panose="020F0502020204030204"/>
              </a:endParaRPr>
            </a:p>
          </p:txBody>
        </p:sp>
        <p:sp>
          <p:nvSpPr>
            <p:cNvPr id="263" name="Hexagon 262"/>
            <p:cNvSpPr/>
            <p:nvPr/>
          </p:nvSpPr>
          <p:spPr>
            <a:xfrm>
              <a:off x="8132977" y="2255729"/>
              <a:ext cx="274914" cy="247991"/>
            </a:xfrm>
            <a:prstGeom prst="hexagon">
              <a:avLst/>
            </a:prstGeom>
            <a:solidFill>
              <a:srgbClr val="5B9BD5"/>
            </a:solidFill>
            <a:ln w="12700" cap="flat" cmpd="sng" algn="ctr">
              <a:noFill/>
              <a:prstDash val="solid"/>
              <a:miter lim="800000"/>
            </a:ln>
            <a:effectLst/>
          </p:spPr>
          <p:txBody>
            <a:bodyPr rtlCol="0" anchor="ctr"/>
            <a:lstStyle/>
            <a:p>
              <a:pPr algn="ctr" defTabSz="914309">
                <a:defRPr/>
              </a:pPr>
              <a:endParaRPr lang="en-US" kern="0">
                <a:solidFill>
                  <a:srgbClr val="FFFFFF"/>
                </a:solidFill>
                <a:latin typeface="Calibri" panose="020F0502020204030204"/>
              </a:endParaRPr>
            </a:p>
          </p:txBody>
        </p:sp>
        <p:cxnSp>
          <p:nvCxnSpPr>
            <p:cNvPr id="264" name="Straight Connector 263"/>
            <p:cNvCxnSpPr/>
            <p:nvPr/>
          </p:nvCxnSpPr>
          <p:spPr>
            <a:xfrm>
              <a:off x="8039497" y="2248636"/>
              <a:ext cx="230937" cy="135637"/>
            </a:xfrm>
            <a:prstGeom prst="line">
              <a:avLst/>
            </a:prstGeom>
            <a:noFill/>
            <a:ln w="6350" cap="flat" cmpd="sng" algn="ctr">
              <a:solidFill>
                <a:srgbClr val="5B9BD5"/>
              </a:solidFill>
              <a:prstDash val="solid"/>
              <a:miter lim="800000"/>
            </a:ln>
            <a:effectLst/>
          </p:spPr>
        </p:cxnSp>
        <p:cxnSp>
          <p:nvCxnSpPr>
            <p:cNvPr id="265" name="Straight Connector 264"/>
            <p:cNvCxnSpPr/>
            <p:nvPr/>
          </p:nvCxnSpPr>
          <p:spPr>
            <a:xfrm>
              <a:off x="8039497" y="1977361"/>
              <a:ext cx="230937" cy="135637"/>
            </a:xfrm>
            <a:prstGeom prst="line">
              <a:avLst/>
            </a:prstGeom>
            <a:noFill/>
            <a:ln w="6350" cap="flat" cmpd="sng" algn="ctr">
              <a:solidFill>
                <a:srgbClr val="5B9BD5"/>
              </a:solidFill>
              <a:prstDash val="solid"/>
              <a:miter lim="800000"/>
            </a:ln>
            <a:effectLst/>
          </p:spPr>
        </p:cxnSp>
        <p:cxnSp>
          <p:nvCxnSpPr>
            <p:cNvPr id="266" name="Straight Connector 265"/>
            <p:cNvCxnSpPr/>
            <p:nvPr/>
          </p:nvCxnSpPr>
          <p:spPr>
            <a:xfrm>
              <a:off x="8266677" y="2107178"/>
              <a:ext cx="230937" cy="135637"/>
            </a:xfrm>
            <a:prstGeom prst="line">
              <a:avLst/>
            </a:prstGeom>
            <a:noFill/>
            <a:ln w="6350" cap="flat" cmpd="sng" algn="ctr">
              <a:solidFill>
                <a:srgbClr val="5B9BD5"/>
              </a:solidFill>
              <a:prstDash val="solid"/>
              <a:miter lim="800000"/>
            </a:ln>
            <a:effectLst/>
          </p:spPr>
        </p:cxnSp>
        <p:cxnSp>
          <p:nvCxnSpPr>
            <p:cNvPr id="267" name="Straight Connector 266"/>
            <p:cNvCxnSpPr/>
            <p:nvPr/>
          </p:nvCxnSpPr>
          <p:spPr>
            <a:xfrm flipH="1">
              <a:off x="8266677" y="2248636"/>
              <a:ext cx="230937" cy="135637"/>
            </a:xfrm>
            <a:prstGeom prst="line">
              <a:avLst/>
            </a:prstGeom>
            <a:noFill/>
            <a:ln w="6350" cap="flat" cmpd="sng" algn="ctr">
              <a:solidFill>
                <a:srgbClr val="5B9BD5"/>
              </a:solidFill>
              <a:prstDash val="solid"/>
              <a:miter lim="800000"/>
            </a:ln>
            <a:effectLst/>
          </p:spPr>
        </p:cxnSp>
        <p:cxnSp>
          <p:nvCxnSpPr>
            <p:cNvPr id="268" name="Straight Connector 267"/>
            <p:cNvCxnSpPr/>
            <p:nvPr/>
          </p:nvCxnSpPr>
          <p:spPr>
            <a:xfrm>
              <a:off x="8266678" y="2118819"/>
              <a:ext cx="33" cy="268599"/>
            </a:xfrm>
            <a:prstGeom prst="line">
              <a:avLst/>
            </a:prstGeom>
            <a:noFill/>
            <a:ln w="6350" cap="flat" cmpd="sng" algn="ctr">
              <a:solidFill>
                <a:srgbClr val="5B9BD5"/>
              </a:solidFill>
              <a:prstDash val="solid"/>
              <a:miter lim="800000"/>
            </a:ln>
            <a:effectLst/>
          </p:spPr>
        </p:cxnSp>
        <p:cxnSp>
          <p:nvCxnSpPr>
            <p:cNvPr id="269" name="Straight Connector 268"/>
            <p:cNvCxnSpPr/>
            <p:nvPr/>
          </p:nvCxnSpPr>
          <p:spPr>
            <a:xfrm flipV="1">
              <a:off x="8035774" y="2112998"/>
              <a:ext cx="230903" cy="129817"/>
            </a:xfrm>
            <a:prstGeom prst="line">
              <a:avLst/>
            </a:prstGeom>
            <a:noFill/>
            <a:ln w="6350" cap="flat" cmpd="sng" algn="ctr">
              <a:solidFill>
                <a:srgbClr val="5B9BD5"/>
              </a:solidFill>
              <a:prstDash val="solid"/>
              <a:miter lim="800000"/>
            </a:ln>
            <a:effectLst/>
          </p:spPr>
        </p:cxnSp>
        <p:cxnSp>
          <p:nvCxnSpPr>
            <p:cNvPr id="270" name="Straight Connector 269"/>
            <p:cNvCxnSpPr/>
            <p:nvPr/>
          </p:nvCxnSpPr>
          <p:spPr>
            <a:xfrm flipV="1">
              <a:off x="8266677" y="1971540"/>
              <a:ext cx="230937" cy="147278"/>
            </a:xfrm>
            <a:prstGeom prst="line">
              <a:avLst/>
            </a:prstGeom>
            <a:noFill/>
            <a:ln w="6350" cap="flat" cmpd="sng" algn="ctr">
              <a:solidFill>
                <a:srgbClr val="5B9BD5"/>
              </a:solidFill>
              <a:prstDash val="solid"/>
              <a:miter lim="800000"/>
            </a:ln>
            <a:effectLst/>
          </p:spPr>
        </p:cxnSp>
        <p:cxnSp>
          <p:nvCxnSpPr>
            <p:cNvPr id="271" name="Straight Connector 270"/>
            <p:cNvCxnSpPr/>
            <p:nvPr/>
          </p:nvCxnSpPr>
          <p:spPr>
            <a:xfrm>
              <a:off x="8039480" y="2006530"/>
              <a:ext cx="33" cy="268599"/>
            </a:xfrm>
            <a:prstGeom prst="line">
              <a:avLst/>
            </a:prstGeom>
            <a:noFill/>
            <a:ln w="6350" cap="flat" cmpd="sng" algn="ctr">
              <a:solidFill>
                <a:srgbClr val="5B9BD5"/>
              </a:solidFill>
              <a:prstDash val="solid"/>
              <a:miter lim="800000"/>
            </a:ln>
            <a:effectLst/>
          </p:spPr>
        </p:cxnSp>
        <p:sp>
          <p:nvSpPr>
            <p:cNvPr id="272" name="Hexagon 271"/>
            <p:cNvSpPr/>
            <p:nvPr/>
          </p:nvSpPr>
          <p:spPr>
            <a:xfrm>
              <a:off x="8361060" y="1857916"/>
              <a:ext cx="274914" cy="247991"/>
            </a:xfrm>
            <a:prstGeom prst="hexagon">
              <a:avLst/>
            </a:prstGeom>
            <a:solidFill>
              <a:srgbClr val="5B9BD5"/>
            </a:solidFill>
            <a:ln w="12700" cap="flat" cmpd="sng" algn="ctr">
              <a:noFill/>
              <a:prstDash val="solid"/>
              <a:miter lim="800000"/>
            </a:ln>
            <a:effectLst/>
          </p:spPr>
          <p:txBody>
            <a:bodyPr rtlCol="0" anchor="ctr"/>
            <a:lstStyle/>
            <a:p>
              <a:pPr algn="ctr" defTabSz="914309">
                <a:defRPr/>
              </a:pPr>
              <a:endParaRPr lang="en-US" kern="0">
                <a:solidFill>
                  <a:srgbClr val="FFFFFF"/>
                </a:solidFill>
                <a:latin typeface="Calibri" panose="020F0502020204030204"/>
              </a:endParaRPr>
            </a:p>
          </p:txBody>
        </p:sp>
        <p:sp>
          <p:nvSpPr>
            <p:cNvPr id="273" name="Hexagon 272"/>
            <p:cNvSpPr/>
            <p:nvPr/>
          </p:nvSpPr>
          <p:spPr>
            <a:xfrm>
              <a:off x="8588325" y="1989004"/>
              <a:ext cx="274914" cy="247991"/>
            </a:xfrm>
            <a:prstGeom prst="hexagon">
              <a:avLst/>
            </a:prstGeom>
            <a:solidFill>
              <a:srgbClr val="5B9BD5"/>
            </a:solidFill>
            <a:ln w="12700" cap="flat" cmpd="sng" algn="ctr">
              <a:noFill/>
              <a:prstDash val="solid"/>
              <a:miter lim="800000"/>
            </a:ln>
            <a:effectLst/>
          </p:spPr>
          <p:txBody>
            <a:bodyPr rtlCol="0" anchor="ctr"/>
            <a:lstStyle/>
            <a:p>
              <a:pPr algn="ctr" defTabSz="914309">
                <a:defRPr/>
              </a:pPr>
              <a:endParaRPr lang="en-US" kern="0">
                <a:solidFill>
                  <a:srgbClr val="FFFFFF"/>
                </a:solidFill>
                <a:latin typeface="Calibri" panose="020F0502020204030204"/>
              </a:endParaRPr>
            </a:p>
          </p:txBody>
        </p:sp>
        <p:sp>
          <p:nvSpPr>
            <p:cNvPr id="274" name="Hexagon 273"/>
            <p:cNvSpPr/>
            <p:nvPr/>
          </p:nvSpPr>
          <p:spPr>
            <a:xfrm>
              <a:off x="8361060" y="2124641"/>
              <a:ext cx="274914" cy="247991"/>
            </a:xfrm>
            <a:prstGeom prst="hexagon">
              <a:avLst/>
            </a:prstGeom>
            <a:solidFill>
              <a:srgbClr val="5B9BD5"/>
            </a:solidFill>
            <a:ln w="12700" cap="flat" cmpd="sng" algn="ctr">
              <a:noFill/>
              <a:prstDash val="solid"/>
              <a:miter lim="800000"/>
            </a:ln>
            <a:effectLst/>
          </p:spPr>
          <p:txBody>
            <a:bodyPr rtlCol="0" anchor="ctr"/>
            <a:lstStyle/>
            <a:p>
              <a:pPr algn="ctr" defTabSz="914309">
                <a:defRPr/>
              </a:pPr>
              <a:endParaRPr lang="en-US" kern="0">
                <a:solidFill>
                  <a:srgbClr val="FFFFFF"/>
                </a:solidFill>
                <a:latin typeface="Calibri" panose="020F0502020204030204"/>
              </a:endParaRPr>
            </a:p>
          </p:txBody>
        </p:sp>
        <p:sp>
          <p:nvSpPr>
            <p:cNvPr id="275" name="Hexagon 274"/>
            <p:cNvSpPr/>
            <p:nvPr/>
          </p:nvSpPr>
          <p:spPr>
            <a:xfrm>
              <a:off x="8588325" y="2255729"/>
              <a:ext cx="274914" cy="247991"/>
            </a:xfrm>
            <a:prstGeom prst="hexagon">
              <a:avLst/>
            </a:prstGeom>
            <a:solidFill>
              <a:srgbClr val="5B9BD5"/>
            </a:solidFill>
            <a:ln w="12700" cap="flat" cmpd="sng" algn="ctr">
              <a:noFill/>
              <a:prstDash val="solid"/>
              <a:miter lim="800000"/>
            </a:ln>
            <a:effectLst/>
          </p:spPr>
          <p:txBody>
            <a:bodyPr rtlCol="0" anchor="ctr"/>
            <a:lstStyle/>
            <a:p>
              <a:pPr algn="ctr" defTabSz="914309">
                <a:defRPr/>
              </a:pPr>
              <a:endParaRPr lang="en-US" kern="0">
                <a:solidFill>
                  <a:srgbClr val="FFFFFF"/>
                </a:solidFill>
                <a:latin typeface="Calibri" panose="020F0502020204030204"/>
              </a:endParaRPr>
            </a:p>
          </p:txBody>
        </p:sp>
        <p:cxnSp>
          <p:nvCxnSpPr>
            <p:cNvPr id="276" name="Straight Connector 275"/>
            <p:cNvCxnSpPr/>
            <p:nvPr/>
          </p:nvCxnSpPr>
          <p:spPr>
            <a:xfrm>
              <a:off x="8498517" y="2248636"/>
              <a:ext cx="230937" cy="135637"/>
            </a:xfrm>
            <a:prstGeom prst="line">
              <a:avLst/>
            </a:prstGeom>
            <a:noFill/>
            <a:ln w="6350" cap="flat" cmpd="sng" algn="ctr">
              <a:solidFill>
                <a:srgbClr val="5B9BD5"/>
              </a:solidFill>
              <a:prstDash val="solid"/>
              <a:miter lim="800000"/>
            </a:ln>
            <a:effectLst/>
          </p:spPr>
        </p:cxnSp>
        <p:cxnSp>
          <p:nvCxnSpPr>
            <p:cNvPr id="277" name="Straight Connector 276"/>
            <p:cNvCxnSpPr/>
            <p:nvPr/>
          </p:nvCxnSpPr>
          <p:spPr>
            <a:xfrm>
              <a:off x="8498517" y="1977361"/>
              <a:ext cx="230937" cy="135637"/>
            </a:xfrm>
            <a:prstGeom prst="line">
              <a:avLst/>
            </a:prstGeom>
            <a:noFill/>
            <a:ln w="6350" cap="flat" cmpd="sng" algn="ctr">
              <a:solidFill>
                <a:srgbClr val="5B9BD5"/>
              </a:solidFill>
              <a:prstDash val="solid"/>
              <a:miter lim="800000"/>
            </a:ln>
            <a:effectLst/>
          </p:spPr>
        </p:cxnSp>
        <p:cxnSp>
          <p:nvCxnSpPr>
            <p:cNvPr id="278" name="Straight Connector 277"/>
            <p:cNvCxnSpPr/>
            <p:nvPr/>
          </p:nvCxnSpPr>
          <p:spPr>
            <a:xfrm>
              <a:off x="8722025" y="2107178"/>
              <a:ext cx="230937" cy="135637"/>
            </a:xfrm>
            <a:prstGeom prst="line">
              <a:avLst/>
            </a:prstGeom>
            <a:noFill/>
            <a:ln w="6350" cap="flat" cmpd="sng" algn="ctr">
              <a:solidFill>
                <a:srgbClr val="5B9BD5"/>
              </a:solidFill>
              <a:prstDash val="solid"/>
              <a:miter lim="800000"/>
            </a:ln>
            <a:effectLst/>
          </p:spPr>
        </p:cxnSp>
        <p:cxnSp>
          <p:nvCxnSpPr>
            <p:cNvPr id="279" name="Straight Connector 278"/>
            <p:cNvCxnSpPr/>
            <p:nvPr/>
          </p:nvCxnSpPr>
          <p:spPr>
            <a:xfrm flipH="1">
              <a:off x="8722025" y="2248636"/>
              <a:ext cx="230937" cy="135637"/>
            </a:xfrm>
            <a:prstGeom prst="line">
              <a:avLst/>
            </a:prstGeom>
            <a:noFill/>
            <a:ln w="6350" cap="flat" cmpd="sng" algn="ctr">
              <a:solidFill>
                <a:srgbClr val="5B9BD5"/>
              </a:solidFill>
              <a:prstDash val="solid"/>
              <a:miter lim="800000"/>
            </a:ln>
            <a:effectLst/>
          </p:spPr>
        </p:cxnSp>
        <p:cxnSp>
          <p:nvCxnSpPr>
            <p:cNvPr id="280" name="Straight Connector 279"/>
            <p:cNvCxnSpPr/>
            <p:nvPr/>
          </p:nvCxnSpPr>
          <p:spPr>
            <a:xfrm>
              <a:off x="8722026" y="2118819"/>
              <a:ext cx="33" cy="268599"/>
            </a:xfrm>
            <a:prstGeom prst="line">
              <a:avLst/>
            </a:prstGeom>
            <a:noFill/>
            <a:ln w="6350" cap="flat" cmpd="sng" algn="ctr">
              <a:solidFill>
                <a:srgbClr val="5B9BD5"/>
              </a:solidFill>
              <a:prstDash val="solid"/>
              <a:miter lim="800000"/>
            </a:ln>
            <a:effectLst/>
          </p:spPr>
        </p:cxnSp>
        <p:cxnSp>
          <p:nvCxnSpPr>
            <p:cNvPr id="281" name="Straight Connector 280"/>
            <p:cNvCxnSpPr/>
            <p:nvPr/>
          </p:nvCxnSpPr>
          <p:spPr>
            <a:xfrm flipV="1">
              <a:off x="8494794" y="2112998"/>
              <a:ext cx="230903" cy="129817"/>
            </a:xfrm>
            <a:prstGeom prst="line">
              <a:avLst/>
            </a:prstGeom>
            <a:noFill/>
            <a:ln w="6350" cap="flat" cmpd="sng" algn="ctr">
              <a:solidFill>
                <a:srgbClr val="5B9BD5"/>
              </a:solidFill>
              <a:prstDash val="solid"/>
              <a:miter lim="800000"/>
            </a:ln>
            <a:effectLst/>
          </p:spPr>
        </p:cxnSp>
        <p:cxnSp>
          <p:nvCxnSpPr>
            <p:cNvPr id="282" name="Straight Connector 281"/>
            <p:cNvCxnSpPr/>
            <p:nvPr/>
          </p:nvCxnSpPr>
          <p:spPr>
            <a:xfrm flipV="1">
              <a:off x="8722025" y="1971540"/>
              <a:ext cx="230937" cy="147278"/>
            </a:xfrm>
            <a:prstGeom prst="line">
              <a:avLst/>
            </a:prstGeom>
            <a:noFill/>
            <a:ln w="6350" cap="flat" cmpd="sng" algn="ctr">
              <a:solidFill>
                <a:srgbClr val="5B9BD5"/>
              </a:solidFill>
              <a:prstDash val="solid"/>
              <a:miter lim="800000"/>
            </a:ln>
            <a:effectLst/>
          </p:spPr>
        </p:cxnSp>
        <p:cxnSp>
          <p:nvCxnSpPr>
            <p:cNvPr id="283" name="Straight Connector 282"/>
            <p:cNvCxnSpPr/>
            <p:nvPr/>
          </p:nvCxnSpPr>
          <p:spPr>
            <a:xfrm>
              <a:off x="8498500" y="2001981"/>
              <a:ext cx="33" cy="268599"/>
            </a:xfrm>
            <a:prstGeom prst="line">
              <a:avLst/>
            </a:prstGeom>
            <a:noFill/>
            <a:ln w="6350" cap="flat" cmpd="sng" algn="ctr">
              <a:solidFill>
                <a:srgbClr val="5B9BD5"/>
              </a:solidFill>
              <a:prstDash val="solid"/>
              <a:miter lim="800000"/>
            </a:ln>
            <a:effectLst/>
          </p:spPr>
        </p:cxnSp>
        <p:sp>
          <p:nvSpPr>
            <p:cNvPr id="284" name="Hexagon 283"/>
            <p:cNvSpPr/>
            <p:nvPr/>
          </p:nvSpPr>
          <p:spPr>
            <a:xfrm>
              <a:off x="8818894" y="1857916"/>
              <a:ext cx="274914" cy="247991"/>
            </a:xfrm>
            <a:prstGeom prst="hexagon">
              <a:avLst/>
            </a:prstGeom>
            <a:solidFill>
              <a:srgbClr val="5B9BD5"/>
            </a:solidFill>
            <a:ln w="12700" cap="flat" cmpd="sng" algn="ctr">
              <a:noFill/>
              <a:prstDash val="solid"/>
              <a:miter lim="800000"/>
            </a:ln>
            <a:effectLst/>
          </p:spPr>
          <p:txBody>
            <a:bodyPr rtlCol="0" anchor="ctr"/>
            <a:lstStyle/>
            <a:p>
              <a:pPr algn="ctr" defTabSz="914309">
                <a:defRPr/>
              </a:pPr>
              <a:endParaRPr lang="en-US" kern="0">
                <a:solidFill>
                  <a:srgbClr val="FFFFFF"/>
                </a:solidFill>
                <a:latin typeface="Calibri" panose="020F0502020204030204"/>
              </a:endParaRPr>
            </a:p>
          </p:txBody>
        </p:sp>
        <p:sp>
          <p:nvSpPr>
            <p:cNvPr id="285" name="Hexagon 284"/>
            <p:cNvSpPr/>
            <p:nvPr/>
          </p:nvSpPr>
          <p:spPr>
            <a:xfrm>
              <a:off x="9046159" y="1989004"/>
              <a:ext cx="274914" cy="247991"/>
            </a:xfrm>
            <a:prstGeom prst="hexagon">
              <a:avLst/>
            </a:prstGeom>
            <a:solidFill>
              <a:srgbClr val="5B9BD5"/>
            </a:solidFill>
            <a:ln w="12700" cap="flat" cmpd="sng" algn="ctr">
              <a:noFill/>
              <a:prstDash val="solid"/>
              <a:miter lim="800000"/>
            </a:ln>
            <a:effectLst/>
          </p:spPr>
          <p:txBody>
            <a:bodyPr rtlCol="0" anchor="ctr"/>
            <a:lstStyle/>
            <a:p>
              <a:pPr algn="ctr" defTabSz="914309">
                <a:defRPr/>
              </a:pPr>
              <a:endParaRPr lang="en-US" kern="0">
                <a:solidFill>
                  <a:srgbClr val="FFFFFF"/>
                </a:solidFill>
                <a:latin typeface="Calibri" panose="020F0502020204030204"/>
              </a:endParaRPr>
            </a:p>
          </p:txBody>
        </p:sp>
        <p:sp>
          <p:nvSpPr>
            <p:cNvPr id="286" name="Hexagon 285"/>
            <p:cNvSpPr/>
            <p:nvPr/>
          </p:nvSpPr>
          <p:spPr>
            <a:xfrm>
              <a:off x="8818894" y="2124641"/>
              <a:ext cx="274914" cy="247991"/>
            </a:xfrm>
            <a:prstGeom prst="hexagon">
              <a:avLst/>
            </a:prstGeom>
            <a:solidFill>
              <a:srgbClr val="5B9BD5"/>
            </a:solidFill>
            <a:ln w="12700" cap="flat" cmpd="sng" algn="ctr">
              <a:noFill/>
              <a:prstDash val="solid"/>
              <a:miter lim="800000"/>
            </a:ln>
            <a:effectLst/>
          </p:spPr>
          <p:txBody>
            <a:bodyPr rtlCol="0" anchor="ctr"/>
            <a:lstStyle/>
            <a:p>
              <a:pPr algn="ctr" defTabSz="914309">
                <a:defRPr/>
              </a:pPr>
              <a:endParaRPr lang="en-US" kern="0">
                <a:solidFill>
                  <a:srgbClr val="FFFFFF"/>
                </a:solidFill>
                <a:latin typeface="Calibri" panose="020F0502020204030204"/>
              </a:endParaRPr>
            </a:p>
          </p:txBody>
        </p:sp>
        <p:sp>
          <p:nvSpPr>
            <p:cNvPr id="287" name="Hexagon 286"/>
            <p:cNvSpPr/>
            <p:nvPr/>
          </p:nvSpPr>
          <p:spPr>
            <a:xfrm>
              <a:off x="9046159" y="2255729"/>
              <a:ext cx="274914" cy="247991"/>
            </a:xfrm>
            <a:prstGeom prst="hexagon">
              <a:avLst/>
            </a:prstGeom>
            <a:solidFill>
              <a:srgbClr val="5B9BD5"/>
            </a:solidFill>
            <a:ln w="12700" cap="flat" cmpd="sng" algn="ctr">
              <a:noFill/>
              <a:prstDash val="solid"/>
              <a:miter lim="800000"/>
            </a:ln>
            <a:effectLst/>
          </p:spPr>
          <p:txBody>
            <a:bodyPr rtlCol="0" anchor="ctr"/>
            <a:lstStyle/>
            <a:p>
              <a:pPr algn="ctr" defTabSz="914309">
                <a:defRPr/>
              </a:pPr>
              <a:endParaRPr lang="en-US" kern="0">
                <a:solidFill>
                  <a:srgbClr val="FFFFFF"/>
                </a:solidFill>
                <a:latin typeface="Calibri" panose="020F0502020204030204"/>
              </a:endParaRPr>
            </a:p>
          </p:txBody>
        </p:sp>
        <p:cxnSp>
          <p:nvCxnSpPr>
            <p:cNvPr id="288" name="Straight Connector 287"/>
            <p:cNvCxnSpPr/>
            <p:nvPr/>
          </p:nvCxnSpPr>
          <p:spPr>
            <a:xfrm>
              <a:off x="8956351" y="2248636"/>
              <a:ext cx="230937" cy="135637"/>
            </a:xfrm>
            <a:prstGeom prst="line">
              <a:avLst/>
            </a:prstGeom>
            <a:noFill/>
            <a:ln w="6350" cap="flat" cmpd="sng" algn="ctr">
              <a:solidFill>
                <a:srgbClr val="5B9BD5"/>
              </a:solidFill>
              <a:prstDash val="solid"/>
              <a:miter lim="800000"/>
            </a:ln>
            <a:effectLst/>
          </p:spPr>
        </p:cxnSp>
        <p:cxnSp>
          <p:nvCxnSpPr>
            <p:cNvPr id="289" name="Straight Connector 288"/>
            <p:cNvCxnSpPr/>
            <p:nvPr/>
          </p:nvCxnSpPr>
          <p:spPr>
            <a:xfrm>
              <a:off x="8956351" y="1977361"/>
              <a:ext cx="230937" cy="135637"/>
            </a:xfrm>
            <a:prstGeom prst="line">
              <a:avLst/>
            </a:prstGeom>
            <a:noFill/>
            <a:ln w="6350" cap="flat" cmpd="sng" algn="ctr">
              <a:solidFill>
                <a:srgbClr val="5B9BD5"/>
              </a:solidFill>
              <a:prstDash val="solid"/>
              <a:miter lim="800000"/>
            </a:ln>
            <a:effectLst/>
          </p:spPr>
        </p:cxnSp>
        <p:cxnSp>
          <p:nvCxnSpPr>
            <p:cNvPr id="290" name="Straight Connector 289"/>
            <p:cNvCxnSpPr/>
            <p:nvPr/>
          </p:nvCxnSpPr>
          <p:spPr>
            <a:xfrm>
              <a:off x="9167391" y="2107178"/>
              <a:ext cx="230937" cy="135637"/>
            </a:xfrm>
            <a:prstGeom prst="line">
              <a:avLst/>
            </a:prstGeom>
            <a:noFill/>
            <a:ln w="6350" cap="flat" cmpd="sng" algn="ctr">
              <a:solidFill>
                <a:srgbClr val="5B9BD5"/>
              </a:solidFill>
              <a:prstDash val="solid"/>
              <a:miter lim="800000"/>
            </a:ln>
            <a:effectLst/>
          </p:spPr>
        </p:cxnSp>
        <p:cxnSp>
          <p:nvCxnSpPr>
            <p:cNvPr id="291" name="Straight Connector 290"/>
            <p:cNvCxnSpPr/>
            <p:nvPr/>
          </p:nvCxnSpPr>
          <p:spPr>
            <a:xfrm flipH="1">
              <a:off x="9167391" y="2248636"/>
              <a:ext cx="230937" cy="135637"/>
            </a:xfrm>
            <a:prstGeom prst="line">
              <a:avLst/>
            </a:prstGeom>
            <a:noFill/>
            <a:ln w="6350" cap="flat" cmpd="sng" algn="ctr">
              <a:solidFill>
                <a:srgbClr val="5B9BD5"/>
              </a:solidFill>
              <a:prstDash val="solid"/>
              <a:miter lim="800000"/>
            </a:ln>
            <a:effectLst/>
          </p:spPr>
        </p:cxnSp>
        <p:cxnSp>
          <p:nvCxnSpPr>
            <p:cNvPr id="292" name="Straight Connector 291"/>
            <p:cNvCxnSpPr/>
            <p:nvPr/>
          </p:nvCxnSpPr>
          <p:spPr>
            <a:xfrm>
              <a:off x="9179860" y="2118819"/>
              <a:ext cx="33" cy="268599"/>
            </a:xfrm>
            <a:prstGeom prst="line">
              <a:avLst/>
            </a:prstGeom>
            <a:noFill/>
            <a:ln w="6350" cap="flat" cmpd="sng" algn="ctr">
              <a:solidFill>
                <a:srgbClr val="5B9BD5"/>
              </a:solidFill>
              <a:prstDash val="solid"/>
              <a:miter lim="800000"/>
            </a:ln>
            <a:effectLst/>
          </p:spPr>
        </p:cxnSp>
        <p:cxnSp>
          <p:nvCxnSpPr>
            <p:cNvPr id="293" name="Straight Connector 292"/>
            <p:cNvCxnSpPr/>
            <p:nvPr/>
          </p:nvCxnSpPr>
          <p:spPr>
            <a:xfrm flipV="1">
              <a:off x="8952628" y="2112998"/>
              <a:ext cx="230903" cy="129817"/>
            </a:xfrm>
            <a:prstGeom prst="line">
              <a:avLst/>
            </a:prstGeom>
            <a:noFill/>
            <a:ln w="6350" cap="flat" cmpd="sng" algn="ctr">
              <a:solidFill>
                <a:srgbClr val="5B9BD5"/>
              </a:solidFill>
              <a:prstDash val="solid"/>
              <a:miter lim="800000"/>
            </a:ln>
            <a:effectLst/>
          </p:spPr>
        </p:cxnSp>
        <p:cxnSp>
          <p:nvCxnSpPr>
            <p:cNvPr id="294" name="Straight Connector 293"/>
            <p:cNvCxnSpPr/>
            <p:nvPr/>
          </p:nvCxnSpPr>
          <p:spPr>
            <a:xfrm flipV="1">
              <a:off x="9167391" y="1971540"/>
              <a:ext cx="230937" cy="147278"/>
            </a:xfrm>
            <a:prstGeom prst="line">
              <a:avLst/>
            </a:prstGeom>
            <a:noFill/>
            <a:ln w="6350" cap="flat" cmpd="sng" algn="ctr">
              <a:solidFill>
                <a:srgbClr val="5B9BD5"/>
              </a:solidFill>
              <a:prstDash val="solid"/>
              <a:miter lim="800000"/>
            </a:ln>
            <a:effectLst/>
          </p:spPr>
        </p:cxnSp>
        <p:cxnSp>
          <p:nvCxnSpPr>
            <p:cNvPr id="295" name="Straight Connector 294"/>
            <p:cNvCxnSpPr/>
            <p:nvPr/>
          </p:nvCxnSpPr>
          <p:spPr>
            <a:xfrm>
              <a:off x="8956334" y="2001981"/>
              <a:ext cx="33" cy="268599"/>
            </a:xfrm>
            <a:prstGeom prst="line">
              <a:avLst/>
            </a:prstGeom>
            <a:noFill/>
            <a:ln w="6350" cap="flat" cmpd="sng" algn="ctr">
              <a:solidFill>
                <a:srgbClr val="5B9BD5"/>
              </a:solidFill>
              <a:prstDash val="solid"/>
              <a:miter lim="800000"/>
            </a:ln>
            <a:effectLst/>
          </p:spPr>
        </p:cxnSp>
        <p:sp>
          <p:nvSpPr>
            <p:cNvPr id="296" name="Hexagon 295"/>
            <p:cNvSpPr/>
            <p:nvPr/>
          </p:nvSpPr>
          <p:spPr>
            <a:xfrm>
              <a:off x="9271538" y="1857916"/>
              <a:ext cx="274914" cy="247991"/>
            </a:xfrm>
            <a:prstGeom prst="hexagon">
              <a:avLst/>
            </a:prstGeom>
            <a:solidFill>
              <a:srgbClr val="5B9BD5"/>
            </a:solidFill>
            <a:ln w="12700" cap="flat" cmpd="sng" algn="ctr">
              <a:noFill/>
              <a:prstDash val="solid"/>
              <a:miter lim="800000"/>
            </a:ln>
            <a:effectLst/>
          </p:spPr>
          <p:txBody>
            <a:bodyPr rtlCol="0" anchor="ctr"/>
            <a:lstStyle/>
            <a:p>
              <a:pPr algn="ctr" defTabSz="914309">
                <a:defRPr/>
              </a:pPr>
              <a:endParaRPr lang="en-US" kern="0">
                <a:solidFill>
                  <a:srgbClr val="FFFFFF"/>
                </a:solidFill>
                <a:latin typeface="Calibri" panose="020F0502020204030204"/>
              </a:endParaRPr>
            </a:p>
          </p:txBody>
        </p:sp>
        <p:sp>
          <p:nvSpPr>
            <p:cNvPr id="297" name="Hexagon 296"/>
            <p:cNvSpPr/>
            <p:nvPr/>
          </p:nvSpPr>
          <p:spPr>
            <a:xfrm>
              <a:off x="9502475" y="1989004"/>
              <a:ext cx="274914" cy="247991"/>
            </a:xfrm>
            <a:prstGeom prst="hexagon">
              <a:avLst/>
            </a:prstGeom>
            <a:solidFill>
              <a:srgbClr val="5B9BD5"/>
            </a:solidFill>
            <a:ln w="12700" cap="flat" cmpd="sng" algn="ctr">
              <a:noFill/>
              <a:prstDash val="solid"/>
              <a:miter lim="800000"/>
            </a:ln>
            <a:effectLst/>
          </p:spPr>
          <p:txBody>
            <a:bodyPr rtlCol="0" anchor="ctr"/>
            <a:lstStyle/>
            <a:p>
              <a:pPr algn="ctr" defTabSz="914309">
                <a:defRPr/>
              </a:pPr>
              <a:endParaRPr lang="en-US" kern="0">
                <a:solidFill>
                  <a:srgbClr val="FFFFFF"/>
                </a:solidFill>
                <a:latin typeface="Calibri" panose="020F0502020204030204"/>
              </a:endParaRPr>
            </a:p>
          </p:txBody>
        </p:sp>
        <p:sp>
          <p:nvSpPr>
            <p:cNvPr id="298" name="Hexagon 297"/>
            <p:cNvSpPr/>
            <p:nvPr/>
          </p:nvSpPr>
          <p:spPr>
            <a:xfrm>
              <a:off x="9271538" y="2124641"/>
              <a:ext cx="274914" cy="247991"/>
            </a:xfrm>
            <a:prstGeom prst="hexagon">
              <a:avLst/>
            </a:prstGeom>
            <a:solidFill>
              <a:srgbClr val="5B9BD5"/>
            </a:solidFill>
            <a:ln w="12700" cap="flat" cmpd="sng" algn="ctr">
              <a:noFill/>
              <a:prstDash val="solid"/>
              <a:miter lim="800000"/>
            </a:ln>
            <a:effectLst/>
          </p:spPr>
          <p:txBody>
            <a:bodyPr rtlCol="0" anchor="ctr"/>
            <a:lstStyle/>
            <a:p>
              <a:pPr algn="ctr" defTabSz="914309">
                <a:defRPr/>
              </a:pPr>
              <a:endParaRPr lang="en-US" kern="0">
                <a:solidFill>
                  <a:srgbClr val="FFFFFF"/>
                </a:solidFill>
                <a:latin typeface="Calibri" panose="020F0502020204030204"/>
              </a:endParaRPr>
            </a:p>
          </p:txBody>
        </p:sp>
        <p:sp>
          <p:nvSpPr>
            <p:cNvPr id="299" name="Hexagon 298"/>
            <p:cNvSpPr/>
            <p:nvPr/>
          </p:nvSpPr>
          <p:spPr>
            <a:xfrm>
              <a:off x="9502475" y="2255729"/>
              <a:ext cx="274914" cy="247991"/>
            </a:xfrm>
            <a:prstGeom prst="hexagon">
              <a:avLst/>
            </a:prstGeom>
            <a:solidFill>
              <a:srgbClr val="5B9BD5"/>
            </a:solidFill>
            <a:ln w="12700" cap="flat" cmpd="sng" algn="ctr">
              <a:noFill/>
              <a:prstDash val="solid"/>
              <a:miter lim="800000"/>
            </a:ln>
            <a:effectLst/>
          </p:spPr>
          <p:txBody>
            <a:bodyPr rtlCol="0" anchor="ctr"/>
            <a:lstStyle/>
            <a:p>
              <a:pPr algn="ctr" defTabSz="914309">
                <a:defRPr/>
              </a:pPr>
              <a:endParaRPr lang="en-US" kern="0">
                <a:solidFill>
                  <a:srgbClr val="FFFFFF"/>
                </a:solidFill>
                <a:latin typeface="Calibri" panose="020F0502020204030204"/>
              </a:endParaRPr>
            </a:p>
          </p:txBody>
        </p:sp>
        <p:cxnSp>
          <p:nvCxnSpPr>
            <p:cNvPr id="300" name="Straight Connector 299"/>
            <p:cNvCxnSpPr/>
            <p:nvPr/>
          </p:nvCxnSpPr>
          <p:spPr>
            <a:xfrm>
              <a:off x="9408995" y="2248636"/>
              <a:ext cx="230937" cy="135637"/>
            </a:xfrm>
            <a:prstGeom prst="line">
              <a:avLst/>
            </a:prstGeom>
            <a:noFill/>
            <a:ln w="6350" cap="flat" cmpd="sng" algn="ctr">
              <a:solidFill>
                <a:srgbClr val="5B9BD5"/>
              </a:solidFill>
              <a:prstDash val="solid"/>
              <a:miter lim="800000"/>
            </a:ln>
            <a:effectLst/>
          </p:spPr>
        </p:cxnSp>
        <p:cxnSp>
          <p:nvCxnSpPr>
            <p:cNvPr id="301" name="Straight Connector 300"/>
            <p:cNvCxnSpPr/>
            <p:nvPr/>
          </p:nvCxnSpPr>
          <p:spPr>
            <a:xfrm>
              <a:off x="9408995" y="1977361"/>
              <a:ext cx="230937" cy="135637"/>
            </a:xfrm>
            <a:prstGeom prst="line">
              <a:avLst/>
            </a:prstGeom>
            <a:noFill/>
            <a:ln w="6350" cap="flat" cmpd="sng" algn="ctr">
              <a:solidFill>
                <a:srgbClr val="5B9BD5"/>
              </a:solidFill>
              <a:prstDash val="solid"/>
              <a:miter lim="800000"/>
            </a:ln>
            <a:effectLst/>
          </p:spPr>
        </p:cxnSp>
        <p:cxnSp>
          <p:nvCxnSpPr>
            <p:cNvPr id="302" name="Straight Connector 301"/>
            <p:cNvCxnSpPr/>
            <p:nvPr/>
          </p:nvCxnSpPr>
          <p:spPr>
            <a:xfrm>
              <a:off x="9636175" y="2107178"/>
              <a:ext cx="230937" cy="135637"/>
            </a:xfrm>
            <a:prstGeom prst="line">
              <a:avLst/>
            </a:prstGeom>
            <a:noFill/>
            <a:ln w="6350" cap="flat" cmpd="sng" algn="ctr">
              <a:solidFill>
                <a:srgbClr val="5B9BD5"/>
              </a:solidFill>
              <a:prstDash val="solid"/>
              <a:miter lim="800000"/>
            </a:ln>
            <a:effectLst/>
          </p:spPr>
        </p:cxnSp>
        <p:cxnSp>
          <p:nvCxnSpPr>
            <p:cNvPr id="303" name="Straight Connector 302"/>
            <p:cNvCxnSpPr/>
            <p:nvPr/>
          </p:nvCxnSpPr>
          <p:spPr>
            <a:xfrm flipH="1">
              <a:off x="9636175" y="2248636"/>
              <a:ext cx="230937" cy="135637"/>
            </a:xfrm>
            <a:prstGeom prst="line">
              <a:avLst/>
            </a:prstGeom>
            <a:noFill/>
            <a:ln w="6350" cap="flat" cmpd="sng" algn="ctr">
              <a:solidFill>
                <a:srgbClr val="5B9BD5"/>
              </a:solidFill>
              <a:prstDash val="solid"/>
              <a:miter lim="800000"/>
            </a:ln>
            <a:effectLst/>
          </p:spPr>
        </p:cxnSp>
        <p:cxnSp>
          <p:nvCxnSpPr>
            <p:cNvPr id="304" name="Straight Connector 303"/>
            <p:cNvCxnSpPr/>
            <p:nvPr/>
          </p:nvCxnSpPr>
          <p:spPr>
            <a:xfrm>
              <a:off x="9636176" y="2118819"/>
              <a:ext cx="33" cy="268599"/>
            </a:xfrm>
            <a:prstGeom prst="line">
              <a:avLst/>
            </a:prstGeom>
            <a:noFill/>
            <a:ln w="6350" cap="flat" cmpd="sng" algn="ctr">
              <a:solidFill>
                <a:srgbClr val="5B9BD5"/>
              </a:solidFill>
              <a:prstDash val="solid"/>
              <a:miter lim="800000"/>
            </a:ln>
            <a:effectLst/>
          </p:spPr>
        </p:cxnSp>
        <p:cxnSp>
          <p:nvCxnSpPr>
            <p:cNvPr id="305" name="Straight Connector 304"/>
            <p:cNvCxnSpPr/>
            <p:nvPr/>
          </p:nvCxnSpPr>
          <p:spPr>
            <a:xfrm flipV="1">
              <a:off x="9405272" y="2112998"/>
              <a:ext cx="230903" cy="129817"/>
            </a:xfrm>
            <a:prstGeom prst="line">
              <a:avLst/>
            </a:prstGeom>
            <a:noFill/>
            <a:ln w="6350" cap="flat" cmpd="sng" algn="ctr">
              <a:solidFill>
                <a:srgbClr val="5B9BD5"/>
              </a:solidFill>
              <a:prstDash val="solid"/>
              <a:miter lim="800000"/>
            </a:ln>
            <a:effectLst/>
          </p:spPr>
        </p:cxnSp>
        <p:cxnSp>
          <p:nvCxnSpPr>
            <p:cNvPr id="306" name="Straight Connector 305"/>
            <p:cNvCxnSpPr/>
            <p:nvPr/>
          </p:nvCxnSpPr>
          <p:spPr>
            <a:xfrm flipV="1">
              <a:off x="9636175" y="1971540"/>
              <a:ext cx="230937" cy="147278"/>
            </a:xfrm>
            <a:prstGeom prst="line">
              <a:avLst/>
            </a:prstGeom>
            <a:noFill/>
            <a:ln w="6350" cap="flat" cmpd="sng" algn="ctr">
              <a:solidFill>
                <a:srgbClr val="5B9BD5"/>
              </a:solidFill>
              <a:prstDash val="solid"/>
              <a:miter lim="800000"/>
            </a:ln>
            <a:effectLst/>
          </p:spPr>
        </p:cxnSp>
        <p:cxnSp>
          <p:nvCxnSpPr>
            <p:cNvPr id="307" name="Straight Connector 306"/>
            <p:cNvCxnSpPr/>
            <p:nvPr/>
          </p:nvCxnSpPr>
          <p:spPr>
            <a:xfrm>
              <a:off x="9408978" y="2001981"/>
              <a:ext cx="33" cy="268599"/>
            </a:xfrm>
            <a:prstGeom prst="line">
              <a:avLst/>
            </a:prstGeom>
            <a:noFill/>
            <a:ln w="6350" cap="flat" cmpd="sng" algn="ctr">
              <a:solidFill>
                <a:srgbClr val="5B9BD5"/>
              </a:solidFill>
              <a:prstDash val="solid"/>
              <a:miter lim="800000"/>
            </a:ln>
            <a:effectLst/>
          </p:spPr>
        </p:cxnSp>
        <p:sp>
          <p:nvSpPr>
            <p:cNvPr id="308" name="Hexagon 307"/>
            <p:cNvSpPr/>
            <p:nvPr/>
          </p:nvSpPr>
          <p:spPr>
            <a:xfrm>
              <a:off x="9730558" y="1857916"/>
              <a:ext cx="274914" cy="247991"/>
            </a:xfrm>
            <a:prstGeom prst="hexagon">
              <a:avLst/>
            </a:prstGeom>
            <a:solidFill>
              <a:srgbClr val="5B9BD5"/>
            </a:solidFill>
            <a:ln w="12700" cap="flat" cmpd="sng" algn="ctr">
              <a:noFill/>
              <a:prstDash val="solid"/>
              <a:miter lim="800000"/>
            </a:ln>
            <a:effectLst/>
          </p:spPr>
          <p:txBody>
            <a:bodyPr rtlCol="0" anchor="ctr"/>
            <a:lstStyle/>
            <a:p>
              <a:pPr algn="ctr" defTabSz="914309">
                <a:defRPr/>
              </a:pPr>
              <a:endParaRPr lang="en-US" kern="0">
                <a:solidFill>
                  <a:srgbClr val="FFFFFF"/>
                </a:solidFill>
                <a:latin typeface="Calibri" panose="020F0502020204030204"/>
              </a:endParaRPr>
            </a:p>
          </p:txBody>
        </p:sp>
        <p:sp>
          <p:nvSpPr>
            <p:cNvPr id="309" name="Hexagon 308"/>
            <p:cNvSpPr/>
            <p:nvPr/>
          </p:nvSpPr>
          <p:spPr>
            <a:xfrm>
              <a:off x="9961495" y="1989004"/>
              <a:ext cx="274914" cy="247991"/>
            </a:xfrm>
            <a:prstGeom prst="hexagon">
              <a:avLst/>
            </a:prstGeom>
            <a:solidFill>
              <a:srgbClr val="5B9BD5"/>
            </a:solidFill>
            <a:ln w="12700" cap="flat" cmpd="sng" algn="ctr">
              <a:noFill/>
              <a:prstDash val="solid"/>
              <a:miter lim="800000"/>
            </a:ln>
            <a:effectLst/>
          </p:spPr>
          <p:txBody>
            <a:bodyPr rtlCol="0" anchor="ctr"/>
            <a:lstStyle/>
            <a:p>
              <a:pPr algn="ctr" defTabSz="914309">
                <a:defRPr/>
              </a:pPr>
              <a:endParaRPr lang="en-US" kern="0">
                <a:solidFill>
                  <a:srgbClr val="FFFFFF"/>
                </a:solidFill>
                <a:latin typeface="Calibri" panose="020F0502020204030204"/>
              </a:endParaRPr>
            </a:p>
          </p:txBody>
        </p:sp>
        <p:sp>
          <p:nvSpPr>
            <p:cNvPr id="310" name="Hexagon 309"/>
            <p:cNvSpPr/>
            <p:nvPr/>
          </p:nvSpPr>
          <p:spPr>
            <a:xfrm>
              <a:off x="9730558" y="2124641"/>
              <a:ext cx="274914" cy="247991"/>
            </a:xfrm>
            <a:prstGeom prst="hexagon">
              <a:avLst/>
            </a:prstGeom>
            <a:solidFill>
              <a:srgbClr val="5B9BD5"/>
            </a:solidFill>
            <a:ln w="12700" cap="flat" cmpd="sng" algn="ctr">
              <a:noFill/>
              <a:prstDash val="solid"/>
              <a:miter lim="800000"/>
            </a:ln>
            <a:effectLst/>
          </p:spPr>
          <p:txBody>
            <a:bodyPr rtlCol="0" anchor="ctr"/>
            <a:lstStyle/>
            <a:p>
              <a:pPr algn="ctr" defTabSz="914309">
                <a:defRPr/>
              </a:pPr>
              <a:endParaRPr lang="en-US" kern="0">
                <a:solidFill>
                  <a:srgbClr val="FFFFFF"/>
                </a:solidFill>
                <a:latin typeface="Calibri" panose="020F0502020204030204"/>
              </a:endParaRPr>
            </a:p>
          </p:txBody>
        </p:sp>
        <p:sp>
          <p:nvSpPr>
            <p:cNvPr id="311" name="Hexagon 310"/>
            <p:cNvSpPr/>
            <p:nvPr/>
          </p:nvSpPr>
          <p:spPr>
            <a:xfrm>
              <a:off x="9961495" y="2255729"/>
              <a:ext cx="274914" cy="247991"/>
            </a:xfrm>
            <a:prstGeom prst="hexagon">
              <a:avLst/>
            </a:prstGeom>
            <a:solidFill>
              <a:srgbClr val="5B9BD5"/>
            </a:solidFill>
            <a:ln w="12700" cap="flat" cmpd="sng" algn="ctr">
              <a:noFill/>
              <a:prstDash val="solid"/>
              <a:miter lim="800000"/>
            </a:ln>
            <a:effectLst/>
          </p:spPr>
          <p:txBody>
            <a:bodyPr rtlCol="0" anchor="ctr"/>
            <a:lstStyle/>
            <a:p>
              <a:pPr algn="ctr" defTabSz="914309">
                <a:defRPr/>
              </a:pPr>
              <a:endParaRPr lang="en-US" kern="0">
                <a:solidFill>
                  <a:srgbClr val="FFFFFF"/>
                </a:solidFill>
                <a:latin typeface="Calibri" panose="020F0502020204030204"/>
              </a:endParaRPr>
            </a:p>
          </p:txBody>
        </p:sp>
        <p:cxnSp>
          <p:nvCxnSpPr>
            <p:cNvPr id="312" name="Straight Connector 311"/>
            <p:cNvCxnSpPr/>
            <p:nvPr/>
          </p:nvCxnSpPr>
          <p:spPr>
            <a:xfrm>
              <a:off x="9868015" y="2248636"/>
              <a:ext cx="230937" cy="135637"/>
            </a:xfrm>
            <a:prstGeom prst="line">
              <a:avLst/>
            </a:prstGeom>
            <a:noFill/>
            <a:ln w="6350" cap="flat" cmpd="sng" algn="ctr">
              <a:solidFill>
                <a:srgbClr val="5B9BD5"/>
              </a:solidFill>
              <a:prstDash val="solid"/>
              <a:miter lim="800000"/>
            </a:ln>
            <a:effectLst/>
          </p:spPr>
        </p:cxnSp>
        <p:cxnSp>
          <p:nvCxnSpPr>
            <p:cNvPr id="313" name="Straight Connector 312"/>
            <p:cNvCxnSpPr/>
            <p:nvPr/>
          </p:nvCxnSpPr>
          <p:spPr>
            <a:xfrm>
              <a:off x="9868015" y="1977361"/>
              <a:ext cx="230937" cy="135637"/>
            </a:xfrm>
            <a:prstGeom prst="line">
              <a:avLst/>
            </a:prstGeom>
            <a:noFill/>
            <a:ln w="6350" cap="flat" cmpd="sng" algn="ctr">
              <a:solidFill>
                <a:srgbClr val="5B9BD5"/>
              </a:solidFill>
              <a:prstDash val="solid"/>
              <a:miter lim="800000"/>
            </a:ln>
            <a:effectLst/>
          </p:spPr>
        </p:cxnSp>
        <p:cxnSp>
          <p:nvCxnSpPr>
            <p:cNvPr id="314" name="Straight Connector 313"/>
            <p:cNvCxnSpPr/>
            <p:nvPr/>
          </p:nvCxnSpPr>
          <p:spPr>
            <a:xfrm>
              <a:off x="10095195" y="2107178"/>
              <a:ext cx="230937" cy="135637"/>
            </a:xfrm>
            <a:prstGeom prst="line">
              <a:avLst/>
            </a:prstGeom>
            <a:noFill/>
            <a:ln w="6350" cap="flat" cmpd="sng" algn="ctr">
              <a:solidFill>
                <a:srgbClr val="5B9BD5"/>
              </a:solidFill>
              <a:prstDash val="solid"/>
              <a:miter lim="800000"/>
            </a:ln>
            <a:effectLst/>
          </p:spPr>
        </p:cxnSp>
        <p:cxnSp>
          <p:nvCxnSpPr>
            <p:cNvPr id="315" name="Straight Connector 314"/>
            <p:cNvCxnSpPr/>
            <p:nvPr/>
          </p:nvCxnSpPr>
          <p:spPr>
            <a:xfrm flipH="1">
              <a:off x="10095195" y="2248636"/>
              <a:ext cx="230937" cy="135637"/>
            </a:xfrm>
            <a:prstGeom prst="line">
              <a:avLst/>
            </a:prstGeom>
            <a:noFill/>
            <a:ln w="6350" cap="flat" cmpd="sng" algn="ctr">
              <a:solidFill>
                <a:srgbClr val="5B9BD5"/>
              </a:solidFill>
              <a:prstDash val="solid"/>
              <a:miter lim="800000"/>
            </a:ln>
            <a:effectLst/>
          </p:spPr>
        </p:cxnSp>
        <p:cxnSp>
          <p:nvCxnSpPr>
            <p:cNvPr id="316" name="Straight Connector 315"/>
            <p:cNvCxnSpPr/>
            <p:nvPr/>
          </p:nvCxnSpPr>
          <p:spPr>
            <a:xfrm>
              <a:off x="10095196" y="2118819"/>
              <a:ext cx="33" cy="268599"/>
            </a:xfrm>
            <a:prstGeom prst="line">
              <a:avLst/>
            </a:prstGeom>
            <a:noFill/>
            <a:ln w="6350" cap="flat" cmpd="sng" algn="ctr">
              <a:solidFill>
                <a:srgbClr val="5B9BD5"/>
              </a:solidFill>
              <a:prstDash val="solid"/>
              <a:miter lim="800000"/>
            </a:ln>
            <a:effectLst/>
          </p:spPr>
        </p:cxnSp>
        <p:cxnSp>
          <p:nvCxnSpPr>
            <p:cNvPr id="317" name="Straight Connector 316"/>
            <p:cNvCxnSpPr/>
            <p:nvPr/>
          </p:nvCxnSpPr>
          <p:spPr>
            <a:xfrm flipV="1">
              <a:off x="9864292" y="2112998"/>
              <a:ext cx="230903" cy="129817"/>
            </a:xfrm>
            <a:prstGeom prst="line">
              <a:avLst/>
            </a:prstGeom>
            <a:noFill/>
            <a:ln w="6350" cap="flat" cmpd="sng" algn="ctr">
              <a:solidFill>
                <a:srgbClr val="5B9BD5"/>
              </a:solidFill>
              <a:prstDash val="solid"/>
              <a:miter lim="800000"/>
            </a:ln>
            <a:effectLst/>
          </p:spPr>
        </p:cxnSp>
        <p:cxnSp>
          <p:nvCxnSpPr>
            <p:cNvPr id="318" name="Straight Connector 317"/>
            <p:cNvCxnSpPr/>
            <p:nvPr/>
          </p:nvCxnSpPr>
          <p:spPr>
            <a:xfrm flipV="1">
              <a:off x="10095195" y="1971540"/>
              <a:ext cx="230937" cy="147278"/>
            </a:xfrm>
            <a:prstGeom prst="line">
              <a:avLst/>
            </a:prstGeom>
            <a:noFill/>
            <a:ln w="6350" cap="flat" cmpd="sng" algn="ctr">
              <a:solidFill>
                <a:srgbClr val="5B9BD5"/>
              </a:solidFill>
              <a:prstDash val="solid"/>
              <a:miter lim="800000"/>
            </a:ln>
            <a:effectLst/>
          </p:spPr>
        </p:cxnSp>
        <p:cxnSp>
          <p:nvCxnSpPr>
            <p:cNvPr id="319" name="Straight Connector 318"/>
            <p:cNvCxnSpPr/>
            <p:nvPr/>
          </p:nvCxnSpPr>
          <p:spPr>
            <a:xfrm>
              <a:off x="9867998" y="2006530"/>
              <a:ext cx="33" cy="268599"/>
            </a:xfrm>
            <a:prstGeom prst="line">
              <a:avLst/>
            </a:prstGeom>
            <a:noFill/>
            <a:ln w="6350" cap="flat" cmpd="sng" algn="ctr">
              <a:solidFill>
                <a:srgbClr val="5B9BD5"/>
              </a:solidFill>
              <a:prstDash val="solid"/>
              <a:miter lim="800000"/>
            </a:ln>
            <a:effectLst/>
          </p:spPr>
        </p:cxnSp>
        <p:sp>
          <p:nvSpPr>
            <p:cNvPr id="320" name="Hexagon 319"/>
            <p:cNvSpPr/>
            <p:nvPr/>
          </p:nvSpPr>
          <p:spPr>
            <a:xfrm>
              <a:off x="10193734" y="1857916"/>
              <a:ext cx="274914" cy="247991"/>
            </a:xfrm>
            <a:prstGeom prst="hexagon">
              <a:avLst/>
            </a:prstGeom>
            <a:solidFill>
              <a:srgbClr val="5B9BD5"/>
            </a:solidFill>
            <a:ln w="12700" cap="flat" cmpd="sng" algn="ctr">
              <a:noFill/>
              <a:prstDash val="solid"/>
              <a:miter lim="800000"/>
            </a:ln>
            <a:effectLst/>
          </p:spPr>
          <p:txBody>
            <a:bodyPr rtlCol="0" anchor="ctr"/>
            <a:lstStyle/>
            <a:p>
              <a:pPr algn="ctr" defTabSz="914309">
                <a:defRPr/>
              </a:pPr>
              <a:endParaRPr lang="en-US" kern="0">
                <a:solidFill>
                  <a:srgbClr val="FFFFFF"/>
                </a:solidFill>
                <a:latin typeface="Calibri" panose="020F0502020204030204"/>
              </a:endParaRPr>
            </a:p>
          </p:txBody>
        </p:sp>
        <p:sp>
          <p:nvSpPr>
            <p:cNvPr id="321" name="Hexagon 320"/>
            <p:cNvSpPr/>
            <p:nvPr/>
          </p:nvSpPr>
          <p:spPr>
            <a:xfrm>
              <a:off x="10424671" y="1989004"/>
              <a:ext cx="274914" cy="247991"/>
            </a:xfrm>
            <a:prstGeom prst="hexagon">
              <a:avLst/>
            </a:prstGeom>
            <a:solidFill>
              <a:srgbClr val="5B9BD5"/>
            </a:solidFill>
            <a:ln w="12700" cap="flat" cmpd="sng" algn="ctr">
              <a:noFill/>
              <a:prstDash val="solid"/>
              <a:miter lim="800000"/>
            </a:ln>
            <a:effectLst/>
          </p:spPr>
          <p:txBody>
            <a:bodyPr rtlCol="0" anchor="ctr"/>
            <a:lstStyle/>
            <a:p>
              <a:pPr algn="ctr" defTabSz="914309">
                <a:defRPr/>
              </a:pPr>
              <a:endParaRPr lang="en-US" kern="0">
                <a:solidFill>
                  <a:srgbClr val="FFFFFF"/>
                </a:solidFill>
                <a:latin typeface="Calibri" panose="020F0502020204030204"/>
              </a:endParaRPr>
            </a:p>
          </p:txBody>
        </p:sp>
        <p:sp>
          <p:nvSpPr>
            <p:cNvPr id="322" name="Hexagon 321"/>
            <p:cNvSpPr/>
            <p:nvPr/>
          </p:nvSpPr>
          <p:spPr>
            <a:xfrm>
              <a:off x="10193734" y="2124641"/>
              <a:ext cx="274914" cy="247991"/>
            </a:xfrm>
            <a:prstGeom prst="hexagon">
              <a:avLst/>
            </a:prstGeom>
            <a:solidFill>
              <a:srgbClr val="5B9BD5"/>
            </a:solidFill>
            <a:ln w="12700" cap="flat" cmpd="sng" algn="ctr">
              <a:noFill/>
              <a:prstDash val="solid"/>
              <a:miter lim="800000"/>
            </a:ln>
            <a:effectLst/>
          </p:spPr>
          <p:txBody>
            <a:bodyPr rtlCol="0" anchor="ctr"/>
            <a:lstStyle/>
            <a:p>
              <a:pPr algn="ctr" defTabSz="914309">
                <a:defRPr/>
              </a:pPr>
              <a:endParaRPr lang="en-US" kern="0">
                <a:solidFill>
                  <a:srgbClr val="FFFFFF"/>
                </a:solidFill>
                <a:latin typeface="Calibri" panose="020F0502020204030204"/>
              </a:endParaRPr>
            </a:p>
          </p:txBody>
        </p:sp>
        <p:sp>
          <p:nvSpPr>
            <p:cNvPr id="323" name="Hexagon 322"/>
            <p:cNvSpPr/>
            <p:nvPr/>
          </p:nvSpPr>
          <p:spPr>
            <a:xfrm>
              <a:off x="10424671" y="2255729"/>
              <a:ext cx="274914" cy="247991"/>
            </a:xfrm>
            <a:prstGeom prst="hexagon">
              <a:avLst/>
            </a:prstGeom>
            <a:solidFill>
              <a:srgbClr val="5B9BD5"/>
            </a:solidFill>
            <a:ln w="12700" cap="flat" cmpd="sng" algn="ctr">
              <a:noFill/>
              <a:prstDash val="solid"/>
              <a:miter lim="800000"/>
            </a:ln>
            <a:effectLst/>
          </p:spPr>
          <p:txBody>
            <a:bodyPr rtlCol="0" anchor="ctr"/>
            <a:lstStyle/>
            <a:p>
              <a:pPr algn="ctr" defTabSz="914309">
                <a:defRPr/>
              </a:pPr>
              <a:endParaRPr lang="en-US" kern="0">
                <a:solidFill>
                  <a:srgbClr val="FFFFFF"/>
                </a:solidFill>
                <a:latin typeface="Calibri" panose="020F0502020204030204"/>
              </a:endParaRPr>
            </a:p>
          </p:txBody>
        </p:sp>
        <p:cxnSp>
          <p:nvCxnSpPr>
            <p:cNvPr id="324" name="Straight Connector 323"/>
            <p:cNvCxnSpPr/>
            <p:nvPr/>
          </p:nvCxnSpPr>
          <p:spPr>
            <a:xfrm>
              <a:off x="10331191" y="2248636"/>
              <a:ext cx="230937" cy="135637"/>
            </a:xfrm>
            <a:prstGeom prst="line">
              <a:avLst/>
            </a:prstGeom>
            <a:noFill/>
            <a:ln w="6350" cap="flat" cmpd="sng" algn="ctr">
              <a:solidFill>
                <a:srgbClr val="5B9BD5"/>
              </a:solidFill>
              <a:prstDash val="solid"/>
              <a:miter lim="800000"/>
            </a:ln>
            <a:effectLst/>
          </p:spPr>
        </p:cxnSp>
        <p:cxnSp>
          <p:nvCxnSpPr>
            <p:cNvPr id="325" name="Straight Connector 324"/>
            <p:cNvCxnSpPr/>
            <p:nvPr/>
          </p:nvCxnSpPr>
          <p:spPr>
            <a:xfrm>
              <a:off x="10331191" y="1977361"/>
              <a:ext cx="230937" cy="135637"/>
            </a:xfrm>
            <a:prstGeom prst="line">
              <a:avLst/>
            </a:prstGeom>
            <a:noFill/>
            <a:ln w="6350" cap="flat" cmpd="sng" algn="ctr">
              <a:solidFill>
                <a:srgbClr val="5B9BD5"/>
              </a:solidFill>
              <a:prstDash val="solid"/>
              <a:miter lim="800000"/>
            </a:ln>
            <a:effectLst/>
          </p:spPr>
        </p:cxnSp>
        <p:cxnSp>
          <p:nvCxnSpPr>
            <p:cNvPr id="326" name="Straight Connector 325"/>
            <p:cNvCxnSpPr/>
            <p:nvPr/>
          </p:nvCxnSpPr>
          <p:spPr>
            <a:xfrm>
              <a:off x="10558371" y="2107178"/>
              <a:ext cx="230937" cy="135637"/>
            </a:xfrm>
            <a:prstGeom prst="line">
              <a:avLst/>
            </a:prstGeom>
            <a:noFill/>
            <a:ln w="6350" cap="flat" cmpd="sng" algn="ctr">
              <a:solidFill>
                <a:srgbClr val="5B9BD5"/>
              </a:solidFill>
              <a:prstDash val="solid"/>
              <a:miter lim="800000"/>
            </a:ln>
            <a:effectLst/>
          </p:spPr>
        </p:cxnSp>
        <p:cxnSp>
          <p:nvCxnSpPr>
            <p:cNvPr id="327" name="Straight Connector 326"/>
            <p:cNvCxnSpPr/>
            <p:nvPr/>
          </p:nvCxnSpPr>
          <p:spPr>
            <a:xfrm flipH="1">
              <a:off x="10558371" y="2248636"/>
              <a:ext cx="230937" cy="135637"/>
            </a:xfrm>
            <a:prstGeom prst="line">
              <a:avLst/>
            </a:prstGeom>
            <a:noFill/>
            <a:ln w="6350" cap="flat" cmpd="sng" algn="ctr">
              <a:solidFill>
                <a:srgbClr val="5B9BD5"/>
              </a:solidFill>
              <a:prstDash val="solid"/>
              <a:miter lim="800000"/>
            </a:ln>
            <a:effectLst/>
          </p:spPr>
        </p:cxnSp>
        <p:cxnSp>
          <p:nvCxnSpPr>
            <p:cNvPr id="328" name="Straight Connector 327"/>
            <p:cNvCxnSpPr/>
            <p:nvPr/>
          </p:nvCxnSpPr>
          <p:spPr>
            <a:xfrm>
              <a:off x="10558372" y="2118819"/>
              <a:ext cx="33" cy="268599"/>
            </a:xfrm>
            <a:prstGeom prst="line">
              <a:avLst/>
            </a:prstGeom>
            <a:noFill/>
            <a:ln w="6350" cap="flat" cmpd="sng" algn="ctr">
              <a:solidFill>
                <a:srgbClr val="5B9BD5"/>
              </a:solidFill>
              <a:prstDash val="solid"/>
              <a:miter lim="800000"/>
            </a:ln>
            <a:effectLst/>
          </p:spPr>
        </p:cxnSp>
        <p:cxnSp>
          <p:nvCxnSpPr>
            <p:cNvPr id="329" name="Straight Connector 328"/>
            <p:cNvCxnSpPr/>
            <p:nvPr/>
          </p:nvCxnSpPr>
          <p:spPr>
            <a:xfrm flipV="1">
              <a:off x="10327468" y="2112998"/>
              <a:ext cx="230903" cy="129817"/>
            </a:xfrm>
            <a:prstGeom prst="line">
              <a:avLst/>
            </a:prstGeom>
            <a:noFill/>
            <a:ln w="6350" cap="flat" cmpd="sng" algn="ctr">
              <a:solidFill>
                <a:srgbClr val="5B9BD5"/>
              </a:solidFill>
              <a:prstDash val="solid"/>
              <a:miter lim="800000"/>
            </a:ln>
            <a:effectLst/>
          </p:spPr>
        </p:cxnSp>
        <p:cxnSp>
          <p:nvCxnSpPr>
            <p:cNvPr id="330" name="Straight Connector 329"/>
            <p:cNvCxnSpPr/>
            <p:nvPr/>
          </p:nvCxnSpPr>
          <p:spPr>
            <a:xfrm flipV="1">
              <a:off x="10558371" y="1971540"/>
              <a:ext cx="230937" cy="147278"/>
            </a:xfrm>
            <a:prstGeom prst="line">
              <a:avLst/>
            </a:prstGeom>
            <a:noFill/>
            <a:ln w="6350" cap="flat" cmpd="sng" algn="ctr">
              <a:solidFill>
                <a:srgbClr val="5B9BD5"/>
              </a:solidFill>
              <a:prstDash val="solid"/>
              <a:miter lim="800000"/>
            </a:ln>
            <a:effectLst/>
          </p:spPr>
        </p:cxnSp>
        <p:cxnSp>
          <p:nvCxnSpPr>
            <p:cNvPr id="331" name="Straight Connector 330"/>
            <p:cNvCxnSpPr/>
            <p:nvPr/>
          </p:nvCxnSpPr>
          <p:spPr>
            <a:xfrm>
              <a:off x="10331174" y="2006530"/>
              <a:ext cx="33" cy="268599"/>
            </a:xfrm>
            <a:prstGeom prst="line">
              <a:avLst/>
            </a:prstGeom>
            <a:noFill/>
            <a:ln w="6350" cap="flat" cmpd="sng" algn="ctr">
              <a:solidFill>
                <a:srgbClr val="5B9BD5"/>
              </a:solidFill>
              <a:prstDash val="solid"/>
              <a:miter lim="800000"/>
            </a:ln>
            <a:effectLst/>
          </p:spPr>
        </p:cxnSp>
        <p:sp>
          <p:nvSpPr>
            <p:cNvPr id="332" name="Hexagon 331"/>
            <p:cNvSpPr/>
            <p:nvPr/>
          </p:nvSpPr>
          <p:spPr>
            <a:xfrm>
              <a:off x="10655240" y="1857916"/>
              <a:ext cx="274914" cy="247991"/>
            </a:xfrm>
            <a:prstGeom prst="hexagon">
              <a:avLst/>
            </a:prstGeom>
            <a:solidFill>
              <a:srgbClr val="5B9BD5"/>
            </a:solidFill>
            <a:ln w="12700" cap="flat" cmpd="sng" algn="ctr">
              <a:noFill/>
              <a:prstDash val="solid"/>
              <a:miter lim="800000"/>
            </a:ln>
            <a:effectLst/>
          </p:spPr>
          <p:txBody>
            <a:bodyPr rtlCol="0" anchor="ctr"/>
            <a:lstStyle/>
            <a:p>
              <a:pPr algn="ctr" defTabSz="914309">
                <a:defRPr/>
              </a:pPr>
              <a:endParaRPr lang="en-US" kern="0">
                <a:solidFill>
                  <a:srgbClr val="FFFFFF"/>
                </a:solidFill>
                <a:latin typeface="Calibri" panose="020F0502020204030204"/>
              </a:endParaRPr>
            </a:p>
          </p:txBody>
        </p:sp>
        <p:sp>
          <p:nvSpPr>
            <p:cNvPr id="333" name="Hexagon 332"/>
            <p:cNvSpPr/>
            <p:nvPr/>
          </p:nvSpPr>
          <p:spPr>
            <a:xfrm>
              <a:off x="10886177" y="1989004"/>
              <a:ext cx="274914" cy="247991"/>
            </a:xfrm>
            <a:prstGeom prst="hexagon">
              <a:avLst/>
            </a:prstGeom>
            <a:solidFill>
              <a:srgbClr val="5B9BD5"/>
            </a:solidFill>
            <a:ln w="12700" cap="flat" cmpd="sng" algn="ctr">
              <a:noFill/>
              <a:prstDash val="solid"/>
              <a:miter lim="800000"/>
            </a:ln>
            <a:effectLst/>
          </p:spPr>
          <p:txBody>
            <a:bodyPr rtlCol="0" anchor="ctr"/>
            <a:lstStyle/>
            <a:p>
              <a:pPr algn="ctr" defTabSz="914309">
                <a:defRPr/>
              </a:pPr>
              <a:endParaRPr lang="en-US" kern="0">
                <a:solidFill>
                  <a:srgbClr val="FFFFFF"/>
                </a:solidFill>
                <a:latin typeface="Calibri" panose="020F0502020204030204"/>
              </a:endParaRPr>
            </a:p>
          </p:txBody>
        </p:sp>
        <p:sp>
          <p:nvSpPr>
            <p:cNvPr id="334" name="Hexagon 333"/>
            <p:cNvSpPr/>
            <p:nvPr/>
          </p:nvSpPr>
          <p:spPr>
            <a:xfrm>
              <a:off x="10655240" y="2124641"/>
              <a:ext cx="274914" cy="247991"/>
            </a:xfrm>
            <a:prstGeom prst="hexagon">
              <a:avLst/>
            </a:prstGeom>
            <a:solidFill>
              <a:srgbClr val="5B9BD5"/>
            </a:solidFill>
            <a:ln w="12700" cap="flat" cmpd="sng" algn="ctr">
              <a:noFill/>
              <a:prstDash val="solid"/>
              <a:miter lim="800000"/>
            </a:ln>
            <a:effectLst/>
          </p:spPr>
          <p:txBody>
            <a:bodyPr rtlCol="0" anchor="ctr"/>
            <a:lstStyle/>
            <a:p>
              <a:pPr algn="ctr" defTabSz="914309">
                <a:defRPr/>
              </a:pPr>
              <a:endParaRPr lang="en-US" kern="0">
                <a:solidFill>
                  <a:srgbClr val="FFFFFF"/>
                </a:solidFill>
                <a:latin typeface="Calibri" panose="020F0502020204030204"/>
              </a:endParaRPr>
            </a:p>
          </p:txBody>
        </p:sp>
        <p:sp>
          <p:nvSpPr>
            <p:cNvPr id="335" name="Hexagon 334"/>
            <p:cNvSpPr/>
            <p:nvPr/>
          </p:nvSpPr>
          <p:spPr>
            <a:xfrm>
              <a:off x="10886177" y="2255729"/>
              <a:ext cx="274914" cy="247991"/>
            </a:xfrm>
            <a:prstGeom prst="hexagon">
              <a:avLst/>
            </a:prstGeom>
            <a:solidFill>
              <a:srgbClr val="5B9BD5"/>
            </a:solidFill>
            <a:ln w="12700" cap="flat" cmpd="sng" algn="ctr">
              <a:noFill/>
              <a:prstDash val="solid"/>
              <a:miter lim="800000"/>
            </a:ln>
            <a:effectLst/>
          </p:spPr>
          <p:txBody>
            <a:bodyPr rtlCol="0" anchor="ctr"/>
            <a:lstStyle/>
            <a:p>
              <a:pPr algn="ctr" defTabSz="914309">
                <a:defRPr/>
              </a:pPr>
              <a:endParaRPr lang="en-US" kern="0">
                <a:solidFill>
                  <a:srgbClr val="FFFFFF"/>
                </a:solidFill>
                <a:latin typeface="Calibri" panose="020F0502020204030204"/>
              </a:endParaRPr>
            </a:p>
          </p:txBody>
        </p:sp>
        <p:cxnSp>
          <p:nvCxnSpPr>
            <p:cNvPr id="336" name="Straight Connector 335"/>
            <p:cNvCxnSpPr/>
            <p:nvPr/>
          </p:nvCxnSpPr>
          <p:spPr>
            <a:xfrm>
              <a:off x="10792697" y="2248636"/>
              <a:ext cx="230937" cy="135637"/>
            </a:xfrm>
            <a:prstGeom prst="line">
              <a:avLst/>
            </a:prstGeom>
            <a:noFill/>
            <a:ln w="6350" cap="flat" cmpd="sng" algn="ctr">
              <a:solidFill>
                <a:srgbClr val="5B9BD5"/>
              </a:solidFill>
              <a:prstDash val="solid"/>
              <a:miter lim="800000"/>
            </a:ln>
            <a:effectLst/>
          </p:spPr>
        </p:cxnSp>
        <p:cxnSp>
          <p:nvCxnSpPr>
            <p:cNvPr id="337" name="Straight Connector 336"/>
            <p:cNvCxnSpPr/>
            <p:nvPr/>
          </p:nvCxnSpPr>
          <p:spPr>
            <a:xfrm>
              <a:off x="10792697" y="1977361"/>
              <a:ext cx="230937" cy="135637"/>
            </a:xfrm>
            <a:prstGeom prst="line">
              <a:avLst/>
            </a:prstGeom>
            <a:noFill/>
            <a:ln w="6350" cap="flat" cmpd="sng" algn="ctr">
              <a:solidFill>
                <a:srgbClr val="5B9BD5"/>
              </a:solidFill>
              <a:prstDash val="solid"/>
              <a:miter lim="800000"/>
            </a:ln>
            <a:effectLst/>
          </p:spPr>
        </p:cxnSp>
        <p:cxnSp>
          <p:nvCxnSpPr>
            <p:cNvPr id="338" name="Straight Connector 337"/>
            <p:cNvCxnSpPr/>
            <p:nvPr/>
          </p:nvCxnSpPr>
          <p:spPr>
            <a:xfrm>
              <a:off x="11019877" y="2107178"/>
              <a:ext cx="230937" cy="135637"/>
            </a:xfrm>
            <a:prstGeom prst="line">
              <a:avLst/>
            </a:prstGeom>
            <a:noFill/>
            <a:ln w="6350" cap="flat" cmpd="sng" algn="ctr">
              <a:solidFill>
                <a:srgbClr val="5B9BD5"/>
              </a:solidFill>
              <a:prstDash val="solid"/>
              <a:miter lim="800000"/>
            </a:ln>
            <a:effectLst/>
          </p:spPr>
        </p:cxnSp>
        <p:cxnSp>
          <p:nvCxnSpPr>
            <p:cNvPr id="339" name="Straight Connector 338"/>
            <p:cNvCxnSpPr/>
            <p:nvPr/>
          </p:nvCxnSpPr>
          <p:spPr>
            <a:xfrm flipH="1">
              <a:off x="11019877" y="2248636"/>
              <a:ext cx="230937" cy="135637"/>
            </a:xfrm>
            <a:prstGeom prst="line">
              <a:avLst/>
            </a:prstGeom>
            <a:noFill/>
            <a:ln w="6350" cap="flat" cmpd="sng" algn="ctr">
              <a:solidFill>
                <a:srgbClr val="5B9BD5"/>
              </a:solidFill>
              <a:prstDash val="solid"/>
              <a:miter lim="800000"/>
            </a:ln>
            <a:effectLst/>
          </p:spPr>
        </p:cxnSp>
        <p:cxnSp>
          <p:nvCxnSpPr>
            <p:cNvPr id="340" name="Straight Connector 339"/>
            <p:cNvCxnSpPr/>
            <p:nvPr/>
          </p:nvCxnSpPr>
          <p:spPr>
            <a:xfrm>
              <a:off x="11019878" y="2118819"/>
              <a:ext cx="33" cy="268599"/>
            </a:xfrm>
            <a:prstGeom prst="line">
              <a:avLst/>
            </a:prstGeom>
            <a:noFill/>
            <a:ln w="6350" cap="flat" cmpd="sng" algn="ctr">
              <a:solidFill>
                <a:srgbClr val="5B9BD5"/>
              </a:solidFill>
              <a:prstDash val="solid"/>
              <a:miter lim="800000"/>
            </a:ln>
            <a:effectLst/>
          </p:spPr>
        </p:cxnSp>
        <p:cxnSp>
          <p:nvCxnSpPr>
            <p:cNvPr id="341" name="Straight Connector 340"/>
            <p:cNvCxnSpPr/>
            <p:nvPr/>
          </p:nvCxnSpPr>
          <p:spPr>
            <a:xfrm flipV="1">
              <a:off x="10788974" y="2112998"/>
              <a:ext cx="230903" cy="129817"/>
            </a:xfrm>
            <a:prstGeom prst="line">
              <a:avLst/>
            </a:prstGeom>
            <a:noFill/>
            <a:ln w="6350" cap="flat" cmpd="sng" algn="ctr">
              <a:solidFill>
                <a:srgbClr val="5B9BD5"/>
              </a:solidFill>
              <a:prstDash val="solid"/>
              <a:miter lim="800000"/>
            </a:ln>
            <a:effectLst/>
          </p:spPr>
        </p:cxnSp>
        <p:cxnSp>
          <p:nvCxnSpPr>
            <p:cNvPr id="342" name="Straight Connector 341"/>
            <p:cNvCxnSpPr/>
            <p:nvPr/>
          </p:nvCxnSpPr>
          <p:spPr>
            <a:xfrm flipV="1">
              <a:off x="11019877" y="1971540"/>
              <a:ext cx="230937" cy="147278"/>
            </a:xfrm>
            <a:prstGeom prst="line">
              <a:avLst/>
            </a:prstGeom>
            <a:noFill/>
            <a:ln w="6350" cap="flat" cmpd="sng" algn="ctr">
              <a:solidFill>
                <a:srgbClr val="5B9BD5"/>
              </a:solidFill>
              <a:prstDash val="solid"/>
              <a:miter lim="800000"/>
            </a:ln>
            <a:effectLst/>
          </p:spPr>
        </p:cxnSp>
        <p:cxnSp>
          <p:nvCxnSpPr>
            <p:cNvPr id="343" name="Straight Connector 342"/>
            <p:cNvCxnSpPr/>
            <p:nvPr/>
          </p:nvCxnSpPr>
          <p:spPr>
            <a:xfrm>
              <a:off x="10792680" y="2001981"/>
              <a:ext cx="33" cy="268599"/>
            </a:xfrm>
            <a:prstGeom prst="line">
              <a:avLst/>
            </a:prstGeom>
            <a:noFill/>
            <a:ln w="6350" cap="flat" cmpd="sng" algn="ctr">
              <a:solidFill>
                <a:srgbClr val="5B9BD5"/>
              </a:solidFill>
              <a:prstDash val="solid"/>
              <a:miter lim="800000"/>
            </a:ln>
            <a:effectLst/>
          </p:spPr>
        </p:cxnSp>
        <p:sp>
          <p:nvSpPr>
            <p:cNvPr id="344" name="Hexagon 343"/>
            <p:cNvSpPr/>
            <p:nvPr/>
          </p:nvSpPr>
          <p:spPr>
            <a:xfrm>
              <a:off x="11114260" y="1857916"/>
              <a:ext cx="274914" cy="247991"/>
            </a:xfrm>
            <a:prstGeom prst="hexagon">
              <a:avLst/>
            </a:prstGeom>
            <a:solidFill>
              <a:srgbClr val="5B9BD5"/>
            </a:solidFill>
            <a:ln w="12700" cap="flat" cmpd="sng" algn="ctr">
              <a:noFill/>
              <a:prstDash val="solid"/>
              <a:miter lim="800000"/>
            </a:ln>
            <a:effectLst/>
          </p:spPr>
          <p:txBody>
            <a:bodyPr rtlCol="0" anchor="ctr"/>
            <a:lstStyle/>
            <a:p>
              <a:pPr algn="ctr" defTabSz="914309">
                <a:defRPr/>
              </a:pPr>
              <a:endParaRPr lang="en-US" kern="0">
                <a:solidFill>
                  <a:srgbClr val="FFFFFF"/>
                </a:solidFill>
                <a:latin typeface="Calibri" panose="020F0502020204030204"/>
              </a:endParaRPr>
            </a:p>
          </p:txBody>
        </p:sp>
        <p:sp>
          <p:nvSpPr>
            <p:cNvPr id="345" name="Hexagon 344"/>
            <p:cNvSpPr/>
            <p:nvPr/>
          </p:nvSpPr>
          <p:spPr>
            <a:xfrm>
              <a:off x="11345197" y="1989004"/>
              <a:ext cx="274914" cy="247991"/>
            </a:xfrm>
            <a:prstGeom prst="hexagon">
              <a:avLst/>
            </a:prstGeom>
            <a:solidFill>
              <a:srgbClr val="5B9BD5"/>
            </a:solidFill>
            <a:ln w="12700" cap="flat" cmpd="sng" algn="ctr">
              <a:noFill/>
              <a:prstDash val="solid"/>
              <a:miter lim="800000"/>
            </a:ln>
            <a:effectLst/>
          </p:spPr>
          <p:txBody>
            <a:bodyPr rtlCol="0" anchor="ctr"/>
            <a:lstStyle/>
            <a:p>
              <a:pPr algn="ctr" defTabSz="914309">
                <a:defRPr/>
              </a:pPr>
              <a:endParaRPr lang="en-US" kern="0">
                <a:solidFill>
                  <a:srgbClr val="FFFFFF"/>
                </a:solidFill>
                <a:latin typeface="Calibri" panose="020F0502020204030204"/>
              </a:endParaRPr>
            </a:p>
          </p:txBody>
        </p:sp>
        <p:sp>
          <p:nvSpPr>
            <p:cNvPr id="346" name="Hexagon 345"/>
            <p:cNvSpPr/>
            <p:nvPr/>
          </p:nvSpPr>
          <p:spPr>
            <a:xfrm>
              <a:off x="11114260" y="2124641"/>
              <a:ext cx="274914" cy="247991"/>
            </a:xfrm>
            <a:prstGeom prst="hexagon">
              <a:avLst/>
            </a:prstGeom>
            <a:solidFill>
              <a:srgbClr val="5B9BD5"/>
            </a:solidFill>
            <a:ln w="12700" cap="flat" cmpd="sng" algn="ctr">
              <a:noFill/>
              <a:prstDash val="solid"/>
              <a:miter lim="800000"/>
            </a:ln>
            <a:effectLst/>
          </p:spPr>
          <p:txBody>
            <a:bodyPr rtlCol="0" anchor="ctr"/>
            <a:lstStyle/>
            <a:p>
              <a:pPr algn="ctr" defTabSz="914309">
                <a:defRPr/>
              </a:pPr>
              <a:endParaRPr lang="en-US" kern="0">
                <a:solidFill>
                  <a:srgbClr val="FFFFFF"/>
                </a:solidFill>
                <a:latin typeface="Calibri" panose="020F0502020204030204"/>
              </a:endParaRPr>
            </a:p>
          </p:txBody>
        </p:sp>
        <p:sp>
          <p:nvSpPr>
            <p:cNvPr id="347" name="Hexagon 346"/>
            <p:cNvSpPr/>
            <p:nvPr/>
          </p:nvSpPr>
          <p:spPr>
            <a:xfrm>
              <a:off x="11345197" y="2255729"/>
              <a:ext cx="274914" cy="247991"/>
            </a:xfrm>
            <a:prstGeom prst="hexagon">
              <a:avLst/>
            </a:prstGeom>
            <a:solidFill>
              <a:srgbClr val="5B9BD5"/>
            </a:solidFill>
            <a:ln w="12700" cap="flat" cmpd="sng" algn="ctr">
              <a:noFill/>
              <a:prstDash val="solid"/>
              <a:miter lim="800000"/>
            </a:ln>
            <a:effectLst/>
          </p:spPr>
          <p:txBody>
            <a:bodyPr rtlCol="0" anchor="ctr"/>
            <a:lstStyle/>
            <a:p>
              <a:pPr algn="ctr" defTabSz="914309">
                <a:defRPr/>
              </a:pPr>
              <a:endParaRPr lang="en-US" kern="0">
                <a:solidFill>
                  <a:srgbClr val="FFFFFF"/>
                </a:solidFill>
                <a:latin typeface="Calibri" panose="020F0502020204030204"/>
              </a:endParaRPr>
            </a:p>
          </p:txBody>
        </p:sp>
        <p:cxnSp>
          <p:nvCxnSpPr>
            <p:cNvPr id="348" name="Straight Connector 347"/>
            <p:cNvCxnSpPr/>
            <p:nvPr/>
          </p:nvCxnSpPr>
          <p:spPr>
            <a:xfrm>
              <a:off x="11251717" y="2248636"/>
              <a:ext cx="230937" cy="135637"/>
            </a:xfrm>
            <a:prstGeom prst="line">
              <a:avLst/>
            </a:prstGeom>
            <a:noFill/>
            <a:ln w="6350" cap="flat" cmpd="sng" algn="ctr">
              <a:solidFill>
                <a:srgbClr val="5B9BD5"/>
              </a:solidFill>
              <a:prstDash val="solid"/>
              <a:miter lim="800000"/>
            </a:ln>
            <a:effectLst/>
          </p:spPr>
        </p:cxnSp>
        <p:cxnSp>
          <p:nvCxnSpPr>
            <p:cNvPr id="349" name="Straight Connector 348"/>
            <p:cNvCxnSpPr/>
            <p:nvPr/>
          </p:nvCxnSpPr>
          <p:spPr>
            <a:xfrm>
              <a:off x="11251717" y="1977361"/>
              <a:ext cx="230937" cy="135637"/>
            </a:xfrm>
            <a:prstGeom prst="line">
              <a:avLst/>
            </a:prstGeom>
            <a:noFill/>
            <a:ln w="6350" cap="flat" cmpd="sng" algn="ctr">
              <a:solidFill>
                <a:srgbClr val="5B9BD5"/>
              </a:solidFill>
              <a:prstDash val="solid"/>
              <a:miter lim="800000"/>
            </a:ln>
            <a:effectLst/>
          </p:spPr>
        </p:cxnSp>
        <p:cxnSp>
          <p:nvCxnSpPr>
            <p:cNvPr id="350" name="Straight Connector 349"/>
            <p:cNvCxnSpPr/>
            <p:nvPr/>
          </p:nvCxnSpPr>
          <p:spPr>
            <a:xfrm>
              <a:off x="11478898" y="2118819"/>
              <a:ext cx="33" cy="268599"/>
            </a:xfrm>
            <a:prstGeom prst="line">
              <a:avLst/>
            </a:prstGeom>
            <a:noFill/>
            <a:ln w="6350" cap="flat" cmpd="sng" algn="ctr">
              <a:solidFill>
                <a:srgbClr val="5B9BD5"/>
              </a:solidFill>
              <a:prstDash val="solid"/>
              <a:miter lim="800000"/>
            </a:ln>
            <a:effectLst/>
          </p:spPr>
        </p:cxnSp>
        <p:cxnSp>
          <p:nvCxnSpPr>
            <p:cNvPr id="351" name="Straight Connector 350"/>
            <p:cNvCxnSpPr/>
            <p:nvPr/>
          </p:nvCxnSpPr>
          <p:spPr>
            <a:xfrm flipV="1">
              <a:off x="11247994" y="2112998"/>
              <a:ext cx="230903" cy="129817"/>
            </a:xfrm>
            <a:prstGeom prst="line">
              <a:avLst/>
            </a:prstGeom>
            <a:noFill/>
            <a:ln w="6350" cap="flat" cmpd="sng" algn="ctr">
              <a:solidFill>
                <a:srgbClr val="5B9BD5"/>
              </a:solidFill>
              <a:prstDash val="solid"/>
              <a:miter lim="800000"/>
            </a:ln>
            <a:effectLst/>
          </p:spPr>
        </p:cxnSp>
        <p:cxnSp>
          <p:nvCxnSpPr>
            <p:cNvPr id="352" name="Straight Connector 351"/>
            <p:cNvCxnSpPr/>
            <p:nvPr/>
          </p:nvCxnSpPr>
          <p:spPr>
            <a:xfrm>
              <a:off x="11251700" y="2001981"/>
              <a:ext cx="33" cy="268599"/>
            </a:xfrm>
            <a:prstGeom prst="line">
              <a:avLst/>
            </a:prstGeom>
            <a:noFill/>
            <a:ln w="6350" cap="flat" cmpd="sng" algn="ctr">
              <a:solidFill>
                <a:srgbClr val="5B9BD5"/>
              </a:solidFill>
              <a:prstDash val="solid"/>
              <a:miter lim="800000"/>
            </a:ln>
            <a:effectLst/>
          </p:spPr>
        </p:cxnSp>
        <p:sp>
          <p:nvSpPr>
            <p:cNvPr id="353" name="TextBox 352"/>
            <p:cNvSpPr txBox="1"/>
            <p:nvPr/>
          </p:nvSpPr>
          <p:spPr>
            <a:xfrm>
              <a:off x="5018187" y="1896191"/>
              <a:ext cx="2784226" cy="523220"/>
            </a:xfrm>
            <a:prstGeom prst="rect">
              <a:avLst/>
            </a:prstGeom>
            <a:noFill/>
          </p:spPr>
          <p:txBody>
            <a:bodyPr wrap="square" rtlCol="0">
              <a:spAutoFit/>
            </a:bodyPr>
            <a:lstStyle/>
            <a:p>
              <a:pPr defTabSz="914309"/>
              <a:r>
                <a:rPr lang="en-US" sz="2800" dirty="0">
                  <a:solidFill>
                    <a:schemeClr val="bg1"/>
                  </a:solidFill>
                  <a:latin typeface="Segoe UI Semibold" panose="020B0702040204020203" pitchFamily="34" charset="0"/>
                  <a:ea typeface="Segoe UI Black" panose="020B0A02040204020203" pitchFamily="34" charset="0"/>
                  <a:cs typeface="Segoe UI Semibold" panose="020B0702040204020203" pitchFamily="34" charset="0"/>
                </a:rPr>
                <a:t>Microservices</a:t>
              </a:r>
            </a:p>
          </p:txBody>
        </p:sp>
      </p:grpSp>
      <p:sp>
        <p:nvSpPr>
          <p:cNvPr id="354" name="TextBox 353"/>
          <p:cNvSpPr txBox="1"/>
          <p:nvPr/>
        </p:nvSpPr>
        <p:spPr>
          <a:xfrm>
            <a:off x="3956330" y="3222414"/>
            <a:ext cx="1339062" cy="261610"/>
          </a:xfrm>
          <a:prstGeom prst="rect">
            <a:avLst/>
          </a:prstGeom>
          <a:noFill/>
        </p:spPr>
        <p:txBody>
          <a:bodyPr wrap="square" rtlCol="0">
            <a:spAutoFit/>
          </a:bodyPr>
          <a:lstStyle/>
          <a:p>
            <a:pPr defTabSz="914309"/>
            <a:r>
              <a:rPr lang="en-US" sz="1100" dirty="0">
                <a:solidFill>
                  <a:schemeClr val="bg1"/>
                </a:solidFill>
                <a:latin typeface="Segoe UI Semibold" panose="020B0702040204020203" pitchFamily="34" charset="0"/>
                <a:cs typeface="Segoe UI Semibold" panose="020B0702040204020203" pitchFamily="34" charset="0"/>
              </a:rPr>
              <a:t>Rolling Upgrades</a:t>
            </a:r>
          </a:p>
        </p:txBody>
      </p:sp>
      <p:sp>
        <p:nvSpPr>
          <p:cNvPr id="355" name="TextBox 354"/>
          <p:cNvSpPr txBox="1"/>
          <p:nvPr/>
        </p:nvSpPr>
        <p:spPr>
          <a:xfrm>
            <a:off x="5318811" y="3487554"/>
            <a:ext cx="1339062" cy="261610"/>
          </a:xfrm>
          <a:prstGeom prst="rect">
            <a:avLst/>
          </a:prstGeom>
          <a:noFill/>
        </p:spPr>
        <p:txBody>
          <a:bodyPr wrap="square" rtlCol="0">
            <a:spAutoFit/>
          </a:bodyPr>
          <a:lstStyle/>
          <a:p>
            <a:pPr defTabSz="914309"/>
            <a:r>
              <a:rPr lang="en-US" sz="1100" dirty="0">
                <a:solidFill>
                  <a:schemeClr val="bg1"/>
                </a:solidFill>
                <a:latin typeface="Segoe UI Semibold" panose="020B0702040204020203" pitchFamily="34" charset="0"/>
                <a:cs typeface="Segoe UI Semibold" panose="020B0702040204020203" pitchFamily="34" charset="0"/>
              </a:rPr>
              <a:t>Stateful services</a:t>
            </a:r>
          </a:p>
        </p:txBody>
      </p:sp>
      <p:sp>
        <p:nvSpPr>
          <p:cNvPr id="356" name="TextBox 355"/>
          <p:cNvSpPr txBox="1"/>
          <p:nvPr/>
        </p:nvSpPr>
        <p:spPr>
          <a:xfrm>
            <a:off x="5821411" y="3253457"/>
            <a:ext cx="1339062" cy="261610"/>
          </a:xfrm>
          <a:prstGeom prst="rect">
            <a:avLst/>
          </a:prstGeom>
          <a:noFill/>
        </p:spPr>
        <p:txBody>
          <a:bodyPr wrap="square" rtlCol="0">
            <a:spAutoFit/>
          </a:bodyPr>
          <a:lstStyle/>
          <a:p>
            <a:pPr defTabSz="914309"/>
            <a:r>
              <a:rPr lang="en-US" sz="1100" dirty="0">
                <a:solidFill>
                  <a:schemeClr val="bg1"/>
                </a:solidFill>
                <a:latin typeface="Segoe UI Semibold" panose="020B0702040204020203" pitchFamily="34" charset="0"/>
                <a:cs typeface="Segoe UI Semibold" panose="020B0702040204020203" pitchFamily="34" charset="0"/>
              </a:rPr>
              <a:t>Low Latency</a:t>
            </a:r>
          </a:p>
        </p:txBody>
      </p:sp>
      <p:sp>
        <p:nvSpPr>
          <p:cNvPr id="357" name="TextBox 356"/>
          <p:cNvSpPr txBox="1"/>
          <p:nvPr/>
        </p:nvSpPr>
        <p:spPr>
          <a:xfrm>
            <a:off x="7612424" y="3349144"/>
            <a:ext cx="1339062" cy="430887"/>
          </a:xfrm>
          <a:prstGeom prst="rect">
            <a:avLst/>
          </a:prstGeom>
          <a:noFill/>
        </p:spPr>
        <p:txBody>
          <a:bodyPr wrap="square" rtlCol="0">
            <a:spAutoFit/>
          </a:bodyPr>
          <a:lstStyle/>
          <a:p>
            <a:pPr algn="ctr" defTabSz="914309"/>
            <a:r>
              <a:rPr lang="en-US" sz="1100" dirty="0">
                <a:solidFill>
                  <a:schemeClr val="bg1"/>
                </a:solidFill>
                <a:latin typeface="Segoe UI Semibold" panose="020B0702040204020203" pitchFamily="34" charset="0"/>
                <a:cs typeface="Segoe UI Semibold" panose="020B0702040204020203" pitchFamily="34" charset="0"/>
              </a:rPr>
              <a:t>Fast startup &amp; shutdown</a:t>
            </a:r>
          </a:p>
        </p:txBody>
      </p:sp>
      <p:sp>
        <p:nvSpPr>
          <p:cNvPr id="358" name="TextBox 357"/>
          <p:cNvSpPr txBox="1"/>
          <p:nvPr/>
        </p:nvSpPr>
        <p:spPr>
          <a:xfrm>
            <a:off x="8566266" y="2833278"/>
            <a:ext cx="1741708" cy="430887"/>
          </a:xfrm>
          <a:prstGeom prst="rect">
            <a:avLst/>
          </a:prstGeom>
          <a:noFill/>
        </p:spPr>
        <p:txBody>
          <a:bodyPr wrap="square" rtlCol="0">
            <a:spAutoFit/>
          </a:bodyPr>
          <a:lstStyle/>
          <a:p>
            <a:pPr defTabSz="914309"/>
            <a:r>
              <a:rPr lang="en-US" sz="1100" dirty="0">
                <a:solidFill>
                  <a:schemeClr val="bg1"/>
                </a:solidFill>
                <a:latin typeface="Segoe UI Semibold" panose="020B0702040204020203" pitchFamily="34" charset="0"/>
                <a:cs typeface="Segoe UI Semibold" panose="020B0702040204020203" pitchFamily="34" charset="0"/>
              </a:rPr>
              <a:t>Container Orchestration &amp; lifecycle management</a:t>
            </a:r>
          </a:p>
        </p:txBody>
      </p:sp>
      <p:sp>
        <p:nvSpPr>
          <p:cNvPr id="359" name="TextBox 358"/>
          <p:cNvSpPr txBox="1"/>
          <p:nvPr/>
        </p:nvSpPr>
        <p:spPr>
          <a:xfrm>
            <a:off x="10046046" y="3304989"/>
            <a:ext cx="1557037" cy="430887"/>
          </a:xfrm>
          <a:prstGeom prst="rect">
            <a:avLst/>
          </a:prstGeom>
          <a:noFill/>
        </p:spPr>
        <p:txBody>
          <a:bodyPr wrap="square" rtlCol="0">
            <a:spAutoFit/>
          </a:bodyPr>
          <a:lstStyle/>
          <a:p>
            <a:pPr algn="ctr" defTabSz="914309"/>
            <a:r>
              <a:rPr lang="en-US" sz="1100" dirty="0">
                <a:solidFill>
                  <a:schemeClr val="bg1"/>
                </a:solidFill>
                <a:latin typeface="Segoe UI Semibold" panose="020B0702040204020203" pitchFamily="34" charset="0"/>
                <a:cs typeface="Segoe UI Semibold" panose="020B0702040204020203" pitchFamily="34" charset="0"/>
              </a:rPr>
              <a:t>Replication &amp; Failover</a:t>
            </a:r>
          </a:p>
        </p:txBody>
      </p:sp>
      <p:sp>
        <p:nvSpPr>
          <p:cNvPr id="360" name="TextBox 359"/>
          <p:cNvSpPr txBox="1"/>
          <p:nvPr/>
        </p:nvSpPr>
        <p:spPr>
          <a:xfrm>
            <a:off x="677033" y="3184908"/>
            <a:ext cx="1183209" cy="600164"/>
          </a:xfrm>
          <a:prstGeom prst="rect">
            <a:avLst/>
          </a:prstGeom>
          <a:noFill/>
        </p:spPr>
        <p:txBody>
          <a:bodyPr wrap="square" rtlCol="0">
            <a:spAutoFit/>
          </a:bodyPr>
          <a:lstStyle/>
          <a:p>
            <a:pPr algn="ctr" defTabSz="914309"/>
            <a:r>
              <a:rPr lang="en-US" sz="1100" dirty="0">
                <a:solidFill>
                  <a:schemeClr val="bg1"/>
                </a:solidFill>
                <a:latin typeface="Segoe UI Semibold" panose="020B0702040204020203" pitchFamily="34" charset="0"/>
                <a:cs typeface="Segoe UI Semibold" panose="020B0702040204020203" pitchFamily="34" charset="0"/>
              </a:rPr>
              <a:t>Simple programming models</a:t>
            </a:r>
          </a:p>
        </p:txBody>
      </p:sp>
      <p:sp>
        <p:nvSpPr>
          <p:cNvPr id="361" name="TextBox 360"/>
          <p:cNvSpPr txBox="1"/>
          <p:nvPr/>
        </p:nvSpPr>
        <p:spPr>
          <a:xfrm>
            <a:off x="8924944" y="3463900"/>
            <a:ext cx="1702395" cy="261610"/>
          </a:xfrm>
          <a:prstGeom prst="rect">
            <a:avLst/>
          </a:prstGeom>
          <a:noFill/>
        </p:spPr>
        <p:txBody>
          <a:bodyPr wrap="square" rtlCol="0">
            <a:spAutoFit/>
          </a:bodyPr>
          <a:lstStyle/>
          <a:p>
            <a:pPr defTabSz="914309"/>
            <a:r>
              <a:rPr lang="en-US" sz="1100" dirty="0">
                <a:solidFill>
                  <a:schemeClr val="bg1"/>
                </a:solidFill>
                <a:latin typeface="Segoe UI Semibold" panose="020B0702040204020203" pitchFamily="34" charset="0"/>
                <a:cs typeface="Segoe UI Semibold" panose="020B0702040204020203" pitchFamily="34" charset="0"/>
              </a:rPr>
              <a:t>Resource balancing</a:t>
            </a:r>
          </a:p>
        </p:txBody>
      </p:sp>
      <p:sp>
        <p:nvSpPr>
          <p:cNvPr id="362" name="TextBox 361"/>
          <p:cNvSpPr txBox="1"/>
          <p:nvPr/>
        </p:nvSpPr>
        <p:spPr>
          <a:xfrm>
            <a:off x="10418050" y="2951893"/>
            <a:ext cx="1403713" cy="261610"/>
          </a:xfrm>
          <a:prstGeom prst="rect">
            <a:avLst/>
          </a:prstGeom>
          <a:noFill/>
        </p:spPr>
        <p:txBody>
          <a:bodyPr wrap="square" rtlCol="0">
            <a:spAutoFit/>
          </a:bodyPr>
          <a:lstStyle/>
          <a:p>
            <a:pPr defTabSz="914309"/>
            <a:r>
              <a:rPr lang="en-US" sz="1100" dirty="0">
                <a:solidFill>
                  <a:schemeClr val="bg1"/>
                </a:solidFill>
                <a:latin typeface="Segoe UI Semibold" panose="020B0702040204020203" pitchFamily="34" charset="0"/>
                <a:cs typeface="Segoe UI Semibold" panose="020B0702040204020203" pitchFamily="34" charset="0"/>
              </a:rPr>
              <a:t>Self-healing</a:t>
            </a:r>
          </a:p>
        </p:txBody>
      </p:sp>
      <p:sp>
        <p:nvSpPr>
          <p:cNvPr id="363" name="TextBox 362"/>
          <p:cNvSpPr txBox="1"/>
          <p:nvPr/>
        </p:nvSpPr>
        <p:spPr>
          <a:xfrm>
            <a:off x="3538690" y="2913992"/>
            <a:ext cx="1359504" cy="261610"/>
          </a:xfrm>
          <a:prstGeom prst="rect">
            <a:avLst/>
          </a:prstGeom>
          <a:noFill/>
        </p:spPr>
        <p:txBody>
          <a:bodyPr wrap="square" rtlCol="0">
            <a:spAutoFit/>
          </a:bodyPr>
          <a:lstStyle/>
          <a:p>
            <a:pPr defTabSz="914309"/>
            <a:r>
              <a:rPr lang="en-US" sz="1100" dirty="0">
                <a:solidFill>
                  <a:schemeClr val="bg1"/>
                </a:solidFill>
                <a:latin typeface="Segoe UI Semibold" panose="020B0702040204020203" pitchFamily="34" charset="0"/>
                <a:cs typeface="Segoe UI Semibold" panose="020B0702040204020203" pitchFamily="34" charset="0"/>
              </a:rPr>
              <a:t>Data Partitioning</a:t>
            </a:r>
          </a:p>
        </p:txBody>
      </p:sp>
      <p:sp>
        <p:nvSpPr>
          <p:cNvPr id="364" name="TextBox 363"/>
          <p:cNvSpPr txBox="1"/>
          <p:nvPr/>
        </p:nvSpPr>
        <p:spPr>
          <a:xfrm>
            <a:off x="3594045" y="3534312"/>
            <a:ext cx="1538268" cy="261610"/>
          </a:xfrm>
          <a:prstGeom prst="rect">
            <a:avLst/>
          </a:prstGeom>
          <a:noFill/>
        </p:spPr>
        <p:txBody>
          <a:bodyPr wrap="square" rtlCol="0">
            <a:spAutoFit/>
          </a:bodyPr>
          <a:lstStyle/>
          <a:p>
            <a:pPr defTabSz="914309"/>
            <a:r>
              <a:rPr lang="en-US" sz="1100" dirty="0">
                <a:solidFill>
                  <a:schemeClr val="bg1"/>
                </a:solidFill>
                <a:latin typeface="Segoe UI Semibold" panose="020B0702040204020203" pitchFamily="34" charset="0"/>
                <a:cs typeface="Segoe UI Semibold" panose="020B0702040204020203" pitchFamily="34" charset="0"/>
              </a:rPr>
              <a:t>Automated Rollback</a:t>
            </a:r>
          </a:p>
        </p:txBody>
      </p:sp>
      <p:sp>
        <p:nvSpPr>
          <p:cNvPr id="365" name="TextBox 364"/>
          <p:cNvSpPr txBox="1"/>
          <p:nvPr/>
        </p:nvSpPr>
        <p:spPr>
          <a:xfrm>
            <a:off x="7342682" y="2853152"/>
            <a:ext cx="1339062" cy="430887"/>
          </a:xfrm>
          <a:prstGeom prst="rect">
            <a:avLst/>
          </a:prstGeom>
          <a:noFill/>
        </p:spPr>
        <p:txBody>
          <a:bodyPr wrap="square" rtlCol="0">
            <a:spAutoFit/>
          </a:bodyPr>
          <a:lstStyle/>
          <a:p>
            <a:pPr algn="ctr" defTabSz="914309"/>
            <a:r>
              <a:rPr lang="en-US" sz="1100" dirty="0">
                <a:solidFill>
                  <a:schemeClr val="bg1"/>
                </a:solidFill>
                <a:latin typeface="Segoe UI Semibold" panose="020B0702040204020203" pitchFamily="34" charset="0"/>
                <a:cs typeface="Segoe UI Semibold" panose="020B0702040204020203" pitchFamily="34" charset="0"/>
              </a:rPr>
              <a:t>Health Monitoring</a:t>
            </a:r>
          </a:p>
        </p:txBody>
      </p:sp>
      <p:sp>
        <p:nvSpPr>
          <p:cNvPr id="366" name="TextBox 365"/>
          <p:cNvSpPr txBox="1"/>
          <p:nvPr/>
        </p:nvSpPr>
        <p:spPr>
          <a:xfrm>
            <a:off x="6852484" y="3265518"/>
            <a:ext cx="1359504" cy="430887"/>
          </a:xfrm>
          <a:prstGeom prst="rect">
            <a:avLst/>
          </a:prstGeom>
          <a:noFill/>
        </p:spPr>
        <p:txBody>
          <a:bodyPr wrap="square" rtlCol="0">
            <a:spAutoFit/>
          </a:bodyPr>
          <a:lstStyle/>
          <a:p>
            <a:pPr defTabSz="914309"/>
            <a:r>
              <a:rPr lang="en-US" sz="1100" dirty="0">
                <a:solidFill>
                  <a:schemeClr val="bg1"/>
                </a:solidFill>
                <a:latin typeface="Segoe UI Semibold" panose="020B0702040204020203" pitchFamily="34" charset="0"/>
                <a:cs typeface="Segoe UI Semibold" panose="020B0702040204020203" pitchFamily="34" charset="0"/>
              </a:rPr>
              <a:t>Placement Constraints</a:t>
            </a:r>
          </a:p>
        </p:txBody>
      </p:sp>
      <p:grpSp>
        <p:nvGrpSpPr>
          <p:cNvPr id="367" name="Group 366"/>
          <p:cNvGrpSpPr/>
          <p:nvPr/>
        </p:nvGrpSpPr>
        <p:grpSpPr>
          <a:xfrm>
            <a:off x="3832316" y="3928697"/>
            <a:ext cx="4856278" cy="2820468"/>
            <a:chOff x="3570769" y="4054765"/>
            <a:chExt cx="4856898" cy="2820828"/>
          </a:xfrm>
        </p:grpSpPr>
        <p:pic>
          <p:nvPicPr>
            <p:cNvPr id="368" name="Picture 367"/>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3570769" y="4054765"/>
              <a:ext cx="4856898" cy="2820828"/>
            </a:xfrm>
            <a:prstGeom prst="rect">
              <a:avLst/>
            </a:prstGeom>
          </p:spPr>
        </p:pic>
        <p:grpSp>
          <p:nvGrpSpPr>
            <p:cNvPr id="369" name="Group 368"/>
            <p:cNvGrpSpPr/>
            <p:nvPr/>
          </p:nvGrpSpPr>
          <p:grpSpPr>
            <a:xfrm>
              <a:off x="4864258" y="5403511"/>
              <a:ext cx="2479440" cy="1186831"/>
              <a:chOff x="4962229" y="5403511"/>
              <a:chExt cx="2479440" cy="1186831"/>
            </a:xfrm>
          </p:grpSpPr>
          <p:sp>
            <p:nvSpPr>
              <p:cNvPr id="370" name="Rectangle 369"/>
              <p:cNvSpPr/>
              <p:nvPr/>
            </p:nvSpPr>
            <p:spPr>
              <a:xfrm>
                <a:off x="4962229" y="5898967"/>
                <a:ext cx="2479439" cy="691375"/>
              </a:xfrm>
              <a:prstGeom prst="rect">
                <a:avLst/>
              </a:prstGeom>
              <a:solidFill>
                <a:srgbClr val="00B050"/>
              </a:solidFill>
              <a:ln w="12700" cap="flat" cmpd="sng" algn="ctr">
                <a:noFill/>
                <a:prstDash val="solid"/>
                <a:miter lim="800000"/>
              </a:ln>
              <a:effectLst/>
            </p:spPr>
            <p:txBody>
              <a:bodyPr rtlCol="0" anchor="ct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14309">
                  <a:defRPr/>
                </a:pPr>
                <a:r>
                  <a:rPr lang="en-US" sz="2400" b="1" kern="0" dirty="0">
                    <a:solidFill>
                      <a:srgbClr val="FFFFFF"/>
                    </a:solidFill>
                    <a:latin typeface="Segoe UI Light"/>
                  </a:rPr>
                  <a:t>Private Clouds</a:t>
                </a:r>
                <a:endParaRPr lang="en-US" sz="1400" kern="0" dirty="0">
                  <a:solidFill>
                    <a:srgbClr val="FFFFFF"/>
                  </a:solidFill>
                  <a:latin typeface="Segoe UI Light"/>
                </a:endParaRPr>
              </a:p>
            </p:txBody>
          </p:sp>
          <p:sp>
            <p:nvSpPr>
              <p:cNvPr id="371" name="Rectangle 370"/>
              <p:cNvSpPr/>
              <p:nvPr/>
            </p:nvSpPr>
            <p:spPr>
              <a:xfrm>
                <a:off x="4962230" y="5403511"/>
                <a:ext cx="1222090" cy="457200"/>
              </a:xfrm>
              <a:prstGeom prst="rect">
                <a:avLst/>
              </a:prstGeom>
              <a:solidFill>
                <a:srgbClr val="00B050"/>
              </a:solidFill>
              <a:ln w="12700" cap="flat" cmpd="sng" algn="ctr">
                <a:noFill/>
                <a:prstDash val="solid"/>
                <a:miter lim="800000"/>
              </a:ln>
              <a:effectLst/>
            </p:spPr>
            <p:txBody>
              <a:bodyPr lIns="0" tIns="0" rIns="0" bIns="0" rtlCol="0" anchor="ct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14309">
                  <a:defRPr/>
                </a:pPr>
                <a:r>
                  <a:rPr lang="en-US" sz="1000" b="1" kern="0" dirty="0">
                    <a:solidFill>
                      <a:srgbClr val="FFFFFF"/>
                    </a:solidFill>
                    <a:latin typeface="Calibri" panose="020F0502020204030204"/>
                  </a:rPr>
                  <a:t>Windows</a:t>
                </a:r>
              </a:p>
              <a:p>
                <a:pPr algn="ctr" defTabSz="914309">
                  <a:defRPr/>
                </a:pPr>
                <a:r>
                  <a:rPr lang="en-US" sz="1000" b="1" kern="0" dirty="0">
                    <a:solidFill>
                      <a:srgbClr val="FFFFFF"/>
                    </a:solidFill>
                    <a:latin typeface="Calibri" panose="020F0502020204030204"/>
                  </a:rPr>
                  <a:t>Server</a:t>
                </a:r>
              </a:p>
            </p:txBody>
          </p:sp>
          <p:sp>
            <p:nvSpPr>
              <p:cNvPr id="372" name="Rectangle 371"/>
              <p:cNvSpPr/>
              <p:nvPr/>
            </p:nvSpPr>
            <p:spPr>
              <a:xfrm>
                <a:off x="6228297" y="5403511"/>
                <a:ext cx="1213372" cy="457200"/>
              </a:xfrm>
              <a:prstGeom prst="rect">
                <a:avLst/>
              </a:prstGeom>
              <a:solidFill>
                <a:srgbClr val="00B050"/>
              </a:solidFill>
              <a:ln w="12700" cap="flat" cmpd="sng" algn="ctr">
                <a:noFill/>
                <a:prstDash val="solid"/>
                <a:miter lim="800000"/>
              </a:ln>
              <a:effectLst/>
            </p:spPr>
            <p:txBody>
              <a:bodyPr lIns="0" tIns="0" rIns="0" bIns="0" rtlCol="0" anchor="ct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14309">
                  <a:defRPr/>
                </a:pPr>
                <a:r>
                  <a:rPr lang="en-US" sz="1000" b="1" kern="0" dirty="0">
                    <a:solidFill>
                      <a:srgbClr val="FFFFFF"/>
                    </a:solidFill>
                    <a:latin typeface="Calibri" panose="020F0502020204030204"/>
                  </a:rPr>
                  <a:t>Linux</a:t>
                </a:r>
              </a:p>
            </p:txBody>
          </p:sp>
        </p:grpSp>
      </p:grpSp>
      <p:grpSp>
        <p:nvGrpSpPr>
          <p:cNvPr id="373" name="Group 372"/>
          <p:cNvGrpSpPr/>
          <p:nvPr/>
        </p:nvGrpSpPr>
        <p:grpSpPr>
          <a:xfrm>
            <a:off x="517245" y="4496087"/>
            <a:ext cx="2551660" cy="2056894"/>
            <a:chOff x="967123" y="3315404"/>
            <a:chExt cx="2551986" cy="2057157"/>
          </a:xfrm>
        </p:grpSpPr>
        <p:sp>
          <p:nvSpPr>
            <p:cNvPr id="374" name="Rectangle 373"/>
            <p:cNvSpPr/>
            <p:nvPr/>
          </p:nvSpPr>
          <p:spPr>
            <a:xfrm>
              <a:off x="984812" y="3813776"/>
              <a:ext cx="2479439" cy="691375"/>
            </a:xfrm>
            <a:prstGeom prst="rect">
              <a:avLst/>
            </a:prstGeom>
            <a:solidFill>
              <a:srgbClr val="00B0F0"/>
            </a:solidFill>
            <a:ln w="12700" cap="flat" cmpd="sng" algn="ctr">
              <a:noFill/>
              <a:prstDash val="solid"/>
              <a:miter lim="800000"/>
            </a:ln>
            <a:effectLst/>
          </p:spPr>
          <p:txBody>
            <a:bodyPr rtlCol="0" anchor="ct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14309">
                <a:defRPr/>
              </a:pPr>
              <a:r>
                <a:rPr lang="en-US" sz="2400" b="1" kern="0" dirty="0">
                  <a:solidFill>
                    <a:srgbClr val="FFFFFF"/>
                  </a:solidFill>
                  <a:latin typeface="Segoe UI Light"/>
                </a:rPr>
                <a:t>Azure</a:t>
              </a:r>
              <a:r>
                <a:rPr lang="en-US" sz="2400" kern="0" dirty="0">
                  <a:solidFill>
                    <a:srgbClr val="FFFFFF"/>
                  </a:solidFill>
                  <a:latin typeface="Segoe UI Light"/>
                </a:rPr>
                <a:t> </a:t>
              </a:r>
            </a:p>
          </p:txBody>
        </p:sp>
        <p:sp>
          <p:nvSpPr>
            <p:cNvPr id="375" name="Rectangle 374"/>
            <p:cNvSpPr/>
            <p:nvPr/>
          </p:nvSpPr>
          <p:spPr>
            <a:xfrm>
              <a:off x="984813" y="3315404"/>
              <a:ext cx="1232246" cy="457200"/>
            </a:xfrm>
            <a:prstGeom prst="rect">
              <a:avLst/>
            </a:prstGeom>
            <a:solidFill>
              <a:srgbClr val="00B0F0"/>
            </a:solidFill>
            <a:ln w="12700" cap="flat" cmpd="sng" algn="ctr">
              <a:noFill/>
              <a:prstDash val="solid"/>
              <a:miter lim="800000"/>
            </a:ln>
            <a:effectLst/>
          </p:spPr>
          <p:txBody>
            <a:bodyPr lIns="0" tIns="0" rIns="0" bIns="0" rtlCol="0" anchor="ct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14309">
                <a:defRPr/>
              </a:pPr>
              <a:r>
                <a:rPr lang="en-US" sz="1000" b="1" kern="0" dirty="0">
                  <a:solidFill>
                    <a:srgbClr val="FFFFFF"/>
                  </a:solidFill>
                  <a:latin typeface="Calibri" panose="020F0502020204030204"/>
                </a:rPr>
                <a:t>Windows</a:t>
              </a:r>
            </a:p>
            <a:p>
              <a:pPr algn="ctr" defTabSz="914309">
                <a:defRPr/>
              </a:pPr>
              <a:r>
                <a:rPr lang="en-US" sz="1000" b="1" kern="0" dirty="0">
                  <a:solidFill>
                    <a:srgbClr val="FFFFFF"/>
                  </a:solidFill>
                  <a:latin typeface="Calibri" panose="020F0502020204030204"/>
                </a:rPr>
                <a:t>Server</a:t>
              </a:r>
            </a:p>
          </p:txBody>
        </p:sp>
        <p:sp>
          <p:nvSpPr>
            <p:cNvPr id="376" name="Rectangle 375"/>
            <p:cNvSpPr/>
            <p:nvPr/>
          </p:nvSpPr>
          <p:spPr>
            <a:xfrm>
              <a:off x="2265833" y="3315404"/>
              <a:ext cx="1198419" cy="457200"/>
            </a:xfrm>
            <a:prstGeom prst="rect">
              <a:avLst/>
            </a:prstGeom>
            <a:solidFill>
              <a:srgbClr val="00B0F0"/>
            </a:solidFill>
            <a:ln w="12700" cap="flat" cmpd="sng" algn="ctr">
              <a:noFill/>
              <a:prstDash val="solid"/>
              <a:miter lim="800000"/>
            </a:ln>
            <a:effectLst/>
          </p:spPr>
          <p:txBody>
            <a:bodyPr lIns="0" tIns="0" rIns="0" bIns="0" rtlCol="0" anchor="ct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14309">
                <a:defRPr/>
              </a:pPr>
              <a:r>
                <a:rPr lang="en-US" sz="1000" b="1" kern="0" dirty="0">
                  <a:solidFill>
                    <a:srgbClr val="FFFFFF"/>
                  </a:solidFill>
                  <a:latin typeface="Calibri" panose="020F0502020204030204"/>
                </a:rPr>
                <a:t>Linux</a:t>
              </a:r>
            </a:p>
          </p:txBody>
        </p:sp>
        <p:pic>
          <p:nvPicPr>
            <p:cNvPr id="377" name="Picture 376"/>
            <p:cNvPicPr>
              <a:picLocks noChangeAspect="1"/>
            </p:cNvPicPr>
            <p:nvPr/>
          </p:nvPicPr>
          <p:blipFill>
            <a:blip r:embed="rId4" cstate="screen">
              <a:duotone>
                <a:prstClr val="black"/>
                <a:schemeClr val="accent2">
                  <a:tint val="45000"/>
                  <a:satMod val="400000"/>
                </a:schemeClr>
              </a:duotone>
              <a:extLst>
                <a:ext uri="{28A0092B-C50C-407E-A947-70E740481C1C}">
                  <a14:useLocalDpi xmlns:a14="http://schemas.microsoft.com/office/drawing/2010/main"/>
                </a:ext>
              </a:extLst>
            </a:blip>
            <a:stretch>
              <a:fillRect/>
            </a:stretch>
          </p:blipFill>
          <p:spPr>
            <a:xfrm>
              <a:off x="967123" y="4562023"/>
              <a:ext cx="2551986" cy="810538"/>
            </a:xfrm>
            <a:prstGeom prst="rect">
              <a:avLst/>
            </a:prstGeom>
          </p:spPr>
        </p:pic>
      </p:grpSp>
      <p:grpSp>
        <p:nvGrpSpPr>
          <p:cNvPr id="378" name="Group 377"/>
          <p:cNvGrpSpPr/>
          <p:nvPr/>
        </p:nvGrpSpPr>
        <p:grpSpPr>
          <a:xfrm>
            <a:off x="9067674" y="4564388"/>
            <a:ext cx="2551660" cy="2092017"/>
            <a:chOff x="8577887" y="3302049"/>
            <a:chExt cx="2551986" cy="2092284"/>
          </a:xfrm>
        </p:grpSpPr>
        <p:sp>
          <p:nvSpPr>
            <p:cNvPr id="379" name="Rectangle 378"/>
            <p:cNvSpPr/>
            <p:nvPr/>
          </p:nvSpPr>
          <p:spPr>
            <a:xfrm>
              <a:off x="8596359" y="3812695"/>
              <a:ext cx="2479439" cy="691375"/>
            </a:xfrm>
            <a:prstGeom prst="rect">
              <a:avLst/>
            </a:prstGeom>
            <a:solidFill>
              <a:srgbClr val="ED7D31"/>
            </a:solidFill>
            <a:ln w="12700" cap="flat" cmpd="sng" algn="ctr">
              <a:noFill/>
              <a:prstDash val="solid"/>
              <a:miter lim="800000"/>
            </a:ln>
            <a:effectLst/>
          </p:spPr>
          <p:txBody>
            <a:bodyPr rtlCol="0" anchor="ct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14309">
                <a:defRPr/>
              </a:pPr>
              <a:r>
                <a:rPr lang="en-US" sz="2400" b="1" kern="0" dirty="0">
                  <a:solidFill>
                    <a:srgbClr val="FFFFFF"/>
                  </a:solidFill>
                  <a:latin typeface="Segoe UI Light"/>
                </a:rPr>
                <a:t>Hosted Clouds</a:t>
              </a:r>
            </a:p>
          </p:txBody>
        </p:sp>
        <p:sp>
          <p:nvSpPr>
            <p:cNvPr id="380" name="Rectangle 379"/>
            <p:cNvSpPr/>
            <p:nvPr/>
          </p:nvSpPr>
          <p:spPr>
            <a:xfrm>
              <a:off x="8596360" y="3302049"/>
              <a:ext cx="1227098" cy="457200"/>
            </a:xfrm>
            <a:prstGeom prst="rect">
              <a:avLst/>
            </a:prstGeom>
            <a:solidFill>
              <a:srgbClr val="ED7D31"/>
            </a:solidFill>
            <a:ln w="12700" cap="flat" cmpd="sng" algn="ctr">
              <a:noFill/>
              <a:prstDash val="solid"/>
              <a:miter lim="800000"/>
            </a:ln>
            <a:effectLst/>
          </p:spPr>
          <p:txBody>
            <a:bodyPr lIns="0" tIns="0" rIns="0" bIns="0" rtlCol="0" anchor="ct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14309">
                <a:defRPr/>
              </a:pPr>
              <a:r>
                <a:rPr lang="en-US" sz="1000" b="1" kern="0" dirty="0">
                  <a:solidFill>
                    <a:srgbClr val="FFFFFF"/>
                  </a:solidFill>
                  <a:latin typeface="Calibri" panose="020F0502020204030204"/>
                </a:rPr>
                <a:t>Windows</a:t>
              </a:r>
            </a:p>
            <a:p>
              <a:pPr algn="ctr" defTabSz="914309">
                <a:defRPr/>
              </a:pPr>
              <a:r>
                <a:rPr lang="en-US" sz="1000" b="1" kern="0" dirty="0">
                  <a:solidFill>
                    <a:srgbClr val="FFFFFF"/>
                  </a:solidFill>
                  <a:latin typeface="Calibri" panose="020F0502020204030204"/>
                </a:rPr>
                <a:t>Server</a:t>
              </a:r>
            </a:p>
          </p:txBody>
        </p:sp>
        <p:sp>
          <p:nvSpPr>
            <p:cNvPr id="381" name="Rectangle 380"/>
            <p:cNvSpPr/>
            <p:nvPr/>
          </p:nvSpPr>
          <p:spPr>
            <a:xfrm>
              <a:off x="9857729" y="3302049"/>
              <a:ext cx="1218070" cy="457200"/>
            </a:xfrm>
            <a:prstGeom prst="rect">
              <a:avLst/>
            </a:prstGeom>
            <a:solidFill>
              <a:srgbClr val="ED7D31"/>
            </a:solidFill>
            <a:ln w="12700" cap="flat" cmpd="sng" algn="ctr">
              <a:noFill/>
              <a:prstDash val="solid"/>
              <a:miter lim="800000"/>
            </a:ln>
            <a:effectLst/>
          </p:spPr>
          <p:txBody>
            <a:bodyPr lIns="0" tIns="0" rIns="0" bIns="0" rtlCol="0" anchor="ct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14309">
                <a:defRPr/>
              </a:pPr>
              <a:r>
                <a:rPr lang="en-US" sz="1000" b="1" kern="0" dirty="0">
                  <a:solidFill>
                    <a:srgbClr val="FFFFFF"/>
                  </a:solidFill>
                  <a:latin typeface="Calibri" panose="020F0502020204030204"/>
                </a:rPr>
                <a:t>Linux</a:t>
              </a:r>
            </a:p>
          </p:txBody>
        </p:sp>
        <p:pic>
          <p:nvPicPr>
            <p:cNvPr id="382" name="Picture 381"/>
            <p:cNvPicPr>
              <a:picLocks noChangeAspect="1"/>
            </p:cNvPicPr>
            <p:nvPr/>
          </p:nvPicPr>
          <p:blipFill>
            <a:blip r:embed="rId4" cstate="screen">
              <a:duotone>
                <a:prstClr val="black"/>
                <a:schemeClr val="accent2">
                  <a:tint val="45000"/>
                  <a:satMod val="400000"/>
                </a:schemeClr>
              </a:duotone>
              <a:extLst>
                <a:ext uri="{28A0092B-C50C-407E-A947-70E740481C1C}">
                  <a14:useLocalDpi xmlns:a14="http://schemas.microsoft.com/office/drawing/2010/main"/>
                </a:ext>
              </a:extLst>
            </a:blip>
            <a:stretch>
              <a:fillRect/>
            </a:stretch>
          </p:blipFill>
          <p:spPr>
            <a:xfrm>
              <a:off x="8577887" y="4583795"/>
              <a:ext cx="2551986" cy="810538"/>
            </a:xfrm>
            <a:prstGeom prst="rect">
              <a:avLst/>
            </a:prstGeom>
          </p:spPr>
        </p:pic>
      </p:grpSp>
      <p:sp>
        <p:nvSpPr>
          <p:cNvPr id="383" name="Right Arrow 355"/>
          <p:cNvSpPr/>
          <p:nvPr/>
        </p:nvSpPr>
        <p:spPr>
          <a:xfrm rot="5400000">
            <a:off x="1535455" y="3797753"/>
            <a:ext cx="518093" cy="590570"/>
          </a:xfrm>
          <a:prstGeom prst="rightArrow">
            <a:avLst/>
          </a:prstGeom>
          <a:solidFill>
            <a:schemeClr val="tx2"/>
          </a:solidFill>
          <a:ln w="12700" cap="flat" cmpd="sng" algn="ctr">
            <a:noFill/>
            <a:prstDash val="solid"/>
            <a:miter lim="800000"/>
          </a:ln>
          <a:effectLst/>
        </p:spPr>
        <p:txBody>
          <a:bodyPr rtlCol="0" anchor="ctr"/>
          <a:lstStyle/>
          <a:p>
            <a:pPr algn="ctr" defTabSz="914309">
              <a:defRPr/>
            </a:pPr>
            <a:endParaRPr lang="en-US" kern="0">
              <a:solidFill>
                <a:srgbClr val="FFFFFF"/>
              </a:solidFill>
              <a:latin typeface="Calibri" panose="020F0502020204030204"/>
            </a:endParaRPr>
          </a:p>
        </p:txBody>
      </p:sp>
      <p:sp>
        <p:nvSpPr>
          <p:cNvPr id="384" name="Right Arrow 356"/>
          <p:cNvSpPr/>
          <p:nvPr/>
        </p:nvSpPr>
        <p:spPr>
          <a:xfrm rot="5400000" flipV="1">
            <a:off x="5833713" y="3788266"/>
            <a:ext cx="520977" cy="594689"/>
          </a:xfrm>
          <a:prstGeom prst="rightArrow">
            <a:avLst/>
          </a:prstGeom>
          <a:solidFill>
            <a:schemeClr val="tx2"/>
          </a:solidFill>
          <a:ln w="12700" cap="flat" cmpd="sng" algn="ctr">
            <a:noFill/>
            <a:prstDash val="solid"/>
            <a:miter lim="800000"/>
          </a:ln>
          <a:effectLst/>
        </p:spPr>
        <p:txBody>
          <a:bodyPr rtlCol="0" anchor="ctr"/>
          <a:lstStyle/>
          <a:p>
            <a:pPr algn="ctr" defTabSz="914309">
              <a:defRPr/>
            </a:pPr>
            <a:endParaRPr lang="en-US" kern="0">
              <a:solidFill>
                <a:srgbClr val="FFFFFF"/>
              </a:solidFill>
              <a:latin typeface="Calibri" panose="020F0502020204030204"/>
            </a:endParaRPr>
          </a:p>
        </p:txBody>
      </p:sp>
      <p:sp>
        <p:nvSpPr>
          <p:cNvPr id="385" name="Right Arrow 357"/>
          <p:cNvSpPr/>
          <p:nvPr/>
        </p:nvSpPr>
        <p:spPr>
          <a:xfrm rot="5400000">
            <a:off x="10075414" y="3804623"/>
            <a:ext cx="522557" cy="581293"/>
          </a:xfrm>
          <a:prstGeom prst="rightArrow">
            <a:avLst/>
          </a:prstGeom>
          <a:solidFill>
            <a:schemeClr val="tx2"/>
          </a:solidFill>
          <a:ln w="12700" cap="flat" cmpd="sng" algn="ctr">
            <a:noFill/>
            <a:prstDash val="solid"/>
            <a:miter lim="800000"/>
          </a:ln>
          <a:effectLst/>
        </p:spPr>
        <p:txBody>
          <a:bodyPr rtlCol="0" anchor="ctr"/>
          <a:lstStyle/>
          <a:p>
            <a:pPr algn="ctr" defTabSz="914309">
              <a:defRPr/>
            </a:pPr>
            <a:endParaRPr lang="en-US" kern="0">
              <a:solidFill>
                <a:srgbClr val="FFFFFF"/>
              </a:solidFill>
              <a:latin typeface="Calibri" panose="020F0502020204030204"/>
            </a:endParaRPr>
          </a:p>
        </p:txBody>
      </p:sp>
    </p:spTree>
    <p:extLst>
      <p:ext uri="{BB962C8B-B14F-4D97-AF65-F5344CB8AC3E}">
        <p14:creationId xmlns:p14="http://schemas.microsoft.com/office/powerpoint/2010/main" val="76049700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2" presetClass="entr" presetSubtype="1" fill="hold" grpId="0" nodeType="withEffect">
                                  <p:stCondLst>
                                    <p:cond delay="800"/>
                                  </p:stCondLst>
                                  <p:childTnLst>
                                    <p:set>
                                      <p:cBhvr>
                                        <p:cTn id="6" dur="1" fill="hold">
                                          <p:stCondLst>
                                            <p:cond delay="0"/>
                                          </p:stCondLst>
                                        </p:cTn>
                                        <p:tgtEl>
                                          <p:spTgt spid="383"/>
                                        </p:tgtEl>
                                        <p:attrNameLst>
                                          <p:attrName>style.visibility</p:attrName>
                                        </p:attrNameLst>
                                      </p:cBhvr>
                                      <p:to>
                                        <p:strVal val="visible"/>
                                      </p:to>
                                    </p:set>
                                    <p:anim calcmode="lin" valueType="num">
                                      <p:cBhvr additive="base">
                                        <p:cTn id="7" dur="500"/>
                                        <p:tgtEl>
                                          <p:spTgt spid="383"/>
                                        </p:tgtEl>
                                        <p:attrNameLst>
                                          <p:attrName>ppt_y</p:attrName>
                                        </p:attrNameLst>
                                      </p:cBhvr>
                                      <p:tavLst>
                                        <p:tav tm="0">
                                          <p:val>
                                            <p:strVal val="#ppt_y-#ppt_h*1.125000"/>
                                          </p:val>
                                        </p:tav>
                                        <p:tav tm="100000">
                                          <p:val>
                                            <p:strVal val="#ppt_y"/>
                                          </p:val>
                                        </p:tav>
                                      </p:tavLst>
                                    </p:anim>
                                    <p:animEffect transition="in" filter="wipe(down)">
                                      <p:cBhvr>
                                        <p:cTn id="8" dur="500"/>
                                        <p:tgtEl>
                                          <p:spTgt spid="383"/>
                                        </p:tgtEl>
                                      </p:cBhvr>
                                    </p:animEffect>
                                  </p:childTnLst>
                                </p:cTn>
                              </p:par>
                              <p:par>
                                <p:cTn id="9" presetID="12" presetClass="entr" presetSubtype="1" fill="hold" grpId="0" nodeType="withEffect">
                                  <p:stCondLst>
                                    <p:cond delay="800"/>
                                  </p:stCondLst>
                                  <p:childTnLst>
                                    <p:set>
                                      <p:cBhvr>
                                        <p:cTn id="10" dur="1" fill="hold">
                                          <p:stCondLst>
                                            <p:cond delay="0"/>
                                          </p:stCondLst>
                                        </p:cTn>
                                        <p:tgtEl>
                                          <p:spTgt spid="384"/>
                                        </p:tgtEl>
                                        <p:attrNameLst>
                                          <p:attrName>style.visibility</p:attrName>
                                        </p:attrNameLst>
                                      </p:cBhvr>
                                      <p:to>
                                        <p:strVal val="visible"/>
                                      </p:to>
                                    </p:set>
                                    <p:anim calcmode="lin" valueType="num">
                                      <p:cBhvr additive="base">
                                        <p:cTn id="11" dur="500"/>
                                        <p:tgtEl>
                                          <p:spTgt spid="384"/>
                                        </p:tgtEl>
                                        <p:attrNameLst>
                                          <p:attrName>ppt_y</p:attrName>
                                        </p:attrNameLst>
                                      </p:cBhvr>
                                      <p:tavLst>
                                        <p:tav tm="0">
                                          <p:val>
                                            <p:strVal val="#ppt_y-#ppt_h*1.125000"/>
                                          </p:val>
                                        </p:tav>
                                        <p:tav tm="100000">
                                          <p:val>
                                            <p:strVal val="#ppt_y"/>
                                          </p:val>
                                        </p:tav>
                                      </p:tavLst>
                                    </p:anim>
                                    <p:animEffect transition="in" filter="wipe(down)">
                                      <p:cBhvr>
                                        <p:cTn id="12" dur="500"/>
                                        <p:tgtEl>
                                          <p:spTgt spid="384"/>
                                        </p:tgtEl>
                                      </p:cBhvr>
                                    </p:animEffect>
                                  </p:childTnLst>
                                </p:cTn>
                              </p:par>
                              <p:par>
                                <p:cTn id="13" presetID="12" presetClass="entr" presetSubtype="1" fill="hold" grpId="0" nodeType="withEffect">
                                  <p:stCondLst>
                                    <p:cond delay="800"/>
                                  </p:stCondLst>
                                  <p:childTnLst>
                                    <p:set>
                                      <p:cBhvr>
                                        <p:cTn id="14" dur="1" fill="hold">
                                          <p:stCondLst>
                                            <p:cond delay="0"/>
                                          </p:stCondLst>
                                        </p:cTn>
                                        <p:tgtEl>
                                          <p:spTgt spid="385"/>
                                        </p:tgtEl>
                                        <p:attrNameLst>
                                          <p:attrName>style.visibility</p:attrName>
                                        </p:attrNameLst>
                                      </p:cBhvr>
                                      <p:to>
                                        <p:strVal val="visible"/>
                                      </p:to>
                                    </p:set>
                                    <p:anim calcmode="lin" valueType="num">
                                      <p:cBhvr additive="base">
                                        <p:cTn id="15" dur="500"/>
                                        <p:tgtEl>
                                          <p:spTgt spid="385"/>
                                        </p:tgtEl>
                                        <p:attrNameLst>
                                          <p:attrName>ppt_y</p:attrName>
                                        </p:attrNameLst>
                                      </p:cBhvr>
                                      <p:tavLst>
                                        <p:tav tm="0">
                                          <p:val>
                                            <p:strVal val="#ppt_y-#ppt_h*1.125000"/>
                                          </p:val>
                                        </p:tav>
                                        <p:tav tm="100000">
                                          <p:val>
                                            <p:strVal val="#ppt_y"/>
                                          </p:val>
                                        </p:tav>
                                      </p:tavLst>
                                    </p:anim>
                                    <p:animEffect transition="in" filter="wipe(down)">
                                      <p:cBhvr>
                                        <p:cTn id="16" dur="500"/>
                                        <p:tgtEl>
                                          <p:spTgt spid="38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83" grpId="0" animBg="1"/>
      <p:bldP spid="384" grpId="0" animBg="1"/>
      <p:bldP spid="385" grpId="0" animBg="1"/>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366169" y="295278"/>
            <a:ext cx="11702551" cy="917575"/>
          </a:xfrm>
        </p:spPr>
        <p:txBody>
          <a:bodyPr/>
          <a:lstStyle/>
          <a:p>
            <a:r>
              <a:rPr lang="en-US" dirty="0"/>
              <a:t>Services built with Service Fabric</a:t>
            </a:r>
          </a:p>
        </p:txBody>
      </p:sp>
      <p:sp>
        <p:nvSpPr>
          <p:cNvPr id="10" name="Hexagon 9"/>
          <p:cNvSpPr/>
          <p:nvPr/>
        </p:nvSpPr>
        <p:spPr bwMode="auto">
          <a:xfrm>
            <a:off x="191168" y="1440125"/>
            <a:ext cx="3379526" cy="2817453"/>
          </a:xfrm>
          <a:prstGeom prst="hexagon">
            <a:avLst/>
          </a:prstGeom>
          <a:solidFill>
            <a:srgbClr val="B4009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82857" tIns="146285" rIns="182857" bIns="146285"/>
          <a:lstStyle/>
          <a:p>
            <a:pPr algn="ctr" defTabSz="932379">
              <a:lnSpc>
                <a:spcPct val="90000"/>
              </a:lnSpc>
              <a:defRPr/>
            </a:pPr>
            <a:r>
              <a:rPr lang="en-US" sz="2400" b="1" dirty="0">
                <a:gradFill>
                  <a:gsLst>
                    <a:gs pos="0">
                      <a:srgbClr val="FFFFFF"/>
                    </a:gs>
                    <a:gs pos="100000">
                      <a:srgbClr val="FFFFFF"/>
                    </a:gs>
                  </a:gsLst>
                  <a:lin ang="5400000" scaled="0"/>
                </a:gradFill>
                <a:ea typeface="Segoe UI" pitchFamily="34" charset="0"/>
                <a:cs typeface="Segoe UI" pitchFamily="34" charset="0"/>
              </a:rPr>
              <a:t>Azure Core Infrastructure</a:t>
            </a:r>
          </a:p>
          <a:p>
            <a:pPr algn="ctr" defTabSz="932379">
              <a:lnSpc>
                <a:spcPct val="90000"/>
              </a:lnSpc>
              <a:defRPr/>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379">
              <a:lnSpc>
                <a:spcPct val="90000"/>
              </a:lnSpc>
              <a:defRPr/>
            </a:pPr>
            <a:r>
              <a:rPr lang="en-US" sz="2400" dirty="0">
                <a:gradFill>
                  <a:gsLst>
                    <a:gs pos="0">
                      <a:srgbClr val="FFFFFF"/>
                    </a:gs>
                    <a:gs pos="100000">
                      <a:srgbClr val="FFFFFF"/>
                    </a:gs>
                  </a:gsLst>
                  <a:lin ang="5400000" scaled="0"/>
                </a:gradFill>
                <a:ea typeface="Segoe UI" pitchFamily="34" charset="0"/>
                <a:cs typeface="Segoe UI" pitchFamily="34" charset="0"/>
              </a:rPr>
              <a:t>Thousands of machines</a:t>
            </a:r>
          </a:p>
        </p:txBody>
      </p:sp>
      <p:sp>
        <p:nvSpPr>
          <p:cNvPr id="12" name="Hexagon 11"/>
          <p:cNvSpPr/>
          <p:nvPr/>
        </p:nvSpPr>
        <p:spPr bwMode="auto">
          <a:xfrm>
            <a:off x="394009" y="4716306"/>
            <a:ext cx="1941992" cy="1726552"/>
          </a:xfrm>
          <a:prstGeom prst="hexagon">
            <a:avLst/>
          </a:prstGeom>
          <a:solidFill>
            <a:srgbClr val="6A146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82857" tIns="146285" rIns="182857" bIns="146285" anchor="ctr"/>
          <a:lstStyle/>
          <a:p>
            <a:pPr algn="ctr" defTabSz="932379">
              <a:lnSpc>
                <a:spcPct val="90000"/>
              </a:lnSpc>
              <a:defRPr/>
            </a:pPr>
            <a:r>
              <a:rPr lang="en-US" sz="2400" b="1" dirty="0">
                <a:gradFill>
                  <a:gsLst>
                    <a:gs pos="0">
                      <a:srgbClr val="FFFFFF"/>
                    </a:gs>
                    <a:gs pos="100000">
                      <a:srgbClr val="FFFFFF"/>
                    </a:gs>
                  </a:gsLst>
                  <a:lin ang="5400000" scaled="0"/>
                </a:gradFill>
                <a:ea typeface="Segoe UI" pitchFamily="34" charset="0"/>
                <a:cs typeface="Segoe UI" pitchFamily="34" charset="0"/>
              </a:rPr>
              <a:t>Power BI</a:t>
            </a:r>
          </a:p>
        </p:txBody>
      </p:sp>
      <p:sp>
        <p:nvSpPr>
          <p:cNvPr id="15" name="Hexagon 14"/>
          <p:cNvSpPr/>
          <p:nvPr/>
        </p:nvSpPr>
        <p:spPr bwMode="auto">
          <a:xfrm>
            <a:off x="6522205" y="1163592"/>
            <a:ext cx="2361898" cy="2008726"/>
          </a:xfrm>
          <a:prstGeom prst="hexagon">
            <a:avLst/>
          </a:prstGeom>
          <a:solidFill>
            <a:srgbClr val="FF8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82857" tIns="146285" rIns="182857" bIns="146285"/>
          <a:lstStyle/>
          <a:p>
            <a:pPr algn="ctr" defTabSz="932379">
              <a:lnSpc>
                <a:spcPct val="90000"/>
              </a:lnSpc>
              <a:defRPr/>
            </a:pPr>
            <a:r>
              <a:rPr lang="en-US" sz="2400" b="1" dirty="0">
                <a:gradFill>
                  <a:gsLst>
                    <a:gs pos="0">
                      <a:srgbClr val="FFFFFF"/>
                    </a:gs>
                    <a:gs pos="100000">
                      <a:srgbClr val="FFFFFF"/>
                    </a:gs>
                  </a:gsLst>
                  <a:lin ang="5400000" scaled="0"/>
                </a:gradFill>
                <a:ea typeface="Segoe UI" pitchFamily="34" charset="0"/>
                <a:cs typeface="Segoe UI" pitchFamily="34" charset="0"/>
              </a:rPr>
              <a:t>Intune</a:t>
            </a:r>
          </a:p>
          <a:p>
            <a:pPr algn="ctr" defTabSz="932379">
              <a:lnSpc>
                <a:spcPct val="90000"/>
              </a:lnSpc>
              <a:defRPr/>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379">
              <a:lnSpc>
                <a:spcPct val="90000"/>
              </a:lnSpc>
              <a:defRPr/>
            </a:pPr>
            <a:r>
              <a:rPr lang="en-US" sz="2400" dirty="0">
                <a:gradFill>
                  <a:gsLst>
                    <a:gs pos="0">
                      <a:srgbClr val="FFFFFF"/>
                    </a:gs>
                    <a:gs pos="100000">
                      <a:srgbClr val="FFFFFF"/>
                    </a:gs>
                  </a:gsLst>
                  <a:lin ang="5400000" scaled="0"/>
                </a:gradFill>
                <a:ea typeface="Segoe UI" pitchFamily="34" charset="0"/>
                <a:cs typeface="Segoe UI" pitchFamily="34" charset="0"/>
              </a:rPr>
              <a:t>800k devices</a:t>
            </a:r>
          </a:p>
        </p:txBody>
      </p:sp>
      <p:sp>
        <p:nvSpPr>
          <p:cNvPr id="16" name="Hexagon 15"/>
          <p:cNvSpPr/>
          <p:nvPr/>
        </p:nvSpPr>
        <p:spPr bwMode="auto">
          <a:xfrm>
            <a:off x="2538391" y="3954404"/>
            <a:ext cx="3001706" cy="2589676"/>
          </a:xfrm>
          <a:prstGeom prst="hexagon">
            <a:avLst/>
          </a:prstGeom>
          <a:solidFill>
            <a:srgbClr val="E8112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82857" tIns="146285" rIns="182857" bIns="146285"/>
          <a:lstStyle/>
          <a:p>
            <a:pPr algn="ctr" defTabSz="932379">
              <a:lnSpc>
                <a:spcPct val="90000"/>
              </a:lnSpc>
              <a:defRPr/>
            </a:pPr>
            <a:r>
              <a:rPr lang="en-US" sz="2400" b="1" dirty="0">
                <a:gradFill>
                  <a:gsLst>
                    <a:gs pos="0">
                      <a:srgbClr val="FFFFFF"/>
                    </a:gs>
                    <a:gs pos="100000">
                      <a:srgbClr val="FFFFFF"/>
                    </a:gs>
                  </a:gsLst>
                  <a:lin ang="5400000" scaled="0"/>
                </a:gradFill>
                <a:ea typeface="Segoe UI" pitchFamily="34" charset="0"/>
                <a:cs typeface="Segoe UI" pitchFamily="34" charset="0"/>
              </a:rPr>
              <a:t>Azure SQL Database</a:t>
            </a:r>
          </a:p>
          <a:p>
            <a:pPr algn="ctr" defTabSz="932379">
              <a:lnSpc>
                <a:spcPct val="90000"/>
              </a:lnSpc>
              <a:defRPr/>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379">
              <a:lnSpc>
                <a:spcPct val="90000"/>
              </a:lnSpc>
              <a:defRPr/>
            </a:pPr>
            <a:r>
              <a:rPr lang="en-US" sz="2400" dirty="0">
                <a:gradFill>
                  <a:gsLst>
                    <a:gs pos="0">
                      <a:srgbClr val="FFFFFF"/>
                    </a:gs>
                    <a:gs pos="100000">
                      <a:srgbClr val="FFFFFF"/>
                    </a:gs>
                  </a:gsLst>
                  <a:lin ang="5400000" scaled="0"/>
                </a:gradFill>
                <a:ea typeface="Segoe UI" pitchFamily="34" charset="0"/>
                <a:cs typeface="Segoe UI" pitchFamily="34" charset="0"/>
              </a:rPr>
              <a:t>1.4 million databases</a:t>
            </a:r>
          </a:p>
        </p:txBody>
      </p:sp>
      <p:sp>
        <p:nvSpPr>
          <p:cNvPr id="17" name="Hexagon 16"/>
          <p:cNvSpPr/>
          <p:nvPr/>
        </p:nvSpPr>
        <p:spPr bwMode="auto">
          <a:xfrm>
            <a:off x="5714521" y="3521261"/>
            <a:ext cx="3014081" cy="2545292"/>
          </a:xfrm>
          <a:prstGeom prst="hexagon">
            <a:avLst/>
          </a:prstGeom>
          <a:solidFill>
            <a:schemeClr val="accent6">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82857" tIns="146285" rIns="182857" bIns="146285"/>
          <a:lstStyle/>
          <a:p>
            <a:pPr algn="ctr" defTabSz="932379">
              <a:lnSpc>
                <a:spcPct val="90000"/>
              </a:lnSpc>
              <a:defRPr/>
            </a:pPr>
            <a:r>
              <a:rPr lang="en-US" sz="2400" b="1" dirty="0">
                <a:gradFill>
                  <a:gsLst>
                    <a:gs pos="0">
                      <a:srgbClr val="FFFFFF"/>
                    </a:gs>
                    <a:gs pos="100000">
                      <a:srgbClr val="FFFFFF"/>
                    </a:gs>
                  </a:gsLst>
                  <a:lin ang="5400000" scaled="0"/>
                </a:gradFill>
                <a:ea typeface="Segoe UI" pitchFamily="34" charset="0"/>
                <a:cs typeface="Segoe UI" pitchFamily="34" charset="0"/>
              </a:rPr>
              <a:t>Bing Cortana</a:t>
            </a:r>
          </a:p>
          <a:p>
            <a:pPr algn="ctr" defTabSz="932379">
              <a:lnSpc>
                <a:spcPct val="90000"/>
              </a:lnSpc>
              <a:defRPr/>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379">
              <a:lnSpc>
                <a:spcPct val="90000"/>
              </a:lnSpc>
              <a:defRPr/>
            </a:pPr>
            <a:r>
              <a:rPr lang="en-US" sz="2400" dirty="0">
                <a:gradFill>
                  <a:gsLst>
                    <a:gs pos="0">
                      <a:srgbClr val="FFFFFF"/>
                    </a:gs>
                    <a:gs pos="100000">
                      <a:srgbClr val="FFFFFF"/>
                    </a:gs>
                  </a:gsLst>
                  <a:lin ang="5400000" scaled="0"/>
                </a:gradFill>
                <a:ea typeface="Segoe UI" pitchFamily="34" charset="0"/>
                <a:cs typeface="Segoe UI" pitchFamily="34" charset="0"/>
              </a:rPr>
              <a:t>500m </a:t>
            </a:r>
            <a:r>
              <a:rPr lang="en-US" sz="2400" dirty="0" err="1">
                <a:gradFill>
                  <a:gsLst>
                    <a:gs pos="0">
                      <a:srgbClr val="FFFFFF"/>
                    </a:gs>
                    <a:gs pos="100000">
                      <a:srgbClr val="FFFFFF"/>
                    </a:gs>
                  </a:gsLst>
                  <a:lin ang="5400000" scaled="0"/>
                </a:gradFill>
                <a:ea typeface="Segoe UI" pitchFamily="34" charset="0"/>
                <a:cs typeface="Segoe UI" pitchFamily="34" charset="0"/>
              </a:rPr>
              <a:t>evals</a:t>
            </a:r>
            <a:r>
              <a:rPr lang="en-US" sz="2400" dirty="0">
                <a:gradFill>
                  <a:gsLst>
                    <a:gs pos="0">
                      <a:srgbClr val="FFFFFF"/>
                    </a:gs>
                    <a:gs pos="100000">
                      <a:srgbClr val="FFFFFF"/>
                    </a:gs>
                  </a:gsLst>
                  <a:lin ang="5400000" scaled="0"/>
                </a:gradFill>
                <a:ea typeface="Segoe UI" pitchFamily="34" charset="0"/>
                <a:cs typeface="Segoe UI" pitchFamily="34" charset="0"/>
              </a:rPr>
              <a:t>/sec</a:t>
            </a:r>
          </a:p>
        </p:txBody>
      </p:sp>
      <p:sp>
        <p:nvSpPr>
          <p:cNvPr id="18" name="Hexagon 17"/>
          <p:cNvSpPr/>
          <p:nvPr/>
        </p:nvSpPr>
        <p:spPr bwMode="auto">
          <a:xfrm>
            <a:off x="3554100" y="1213141"/>
            <a:ext cx="2856000" cy="2436502"/>
          </a:xfrm>
          <a:prstGeom prst="hexagon">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82857" tIns="146285" rIns="182857" bIns="146285" anchor="ctr"/>
          <a:lstStyle/>
          <a:p>
            <a:pPr algn="ctr" defTabSz="932379">
              <a:lnSpc>
                <a:spcPct val="90000"/>
              </a:lnSpc>
              <a:defRPr/>
            </a:pPr>
            <a:r>
              <a:rPr lang="en-US" sz="2400" b="1" dirty="0">
                <a:gradFill>
                  <a:gsLst>
                    <a:gs pos="0">
                      <a:srgbClr val="FFFFFF"/>
                    </a:gs>
                    <a:gs pos="100000">
                      <a:srgbClr val="FFFFFF"/>
                    </a:gs>
                  </a:gsLst>
                  <a:lin ang="5400000" scaled="0"/>
                </a:gradFill>
                <a:ea typeface="Segoe UI" pitchFamily="34" charset="0"/>
                <a:cs typeface="Segoe UI" pitchFamily="34" charset="0"/>
              </a:rPr>
              <a:t>Azure Document DB</a:t>
            </a:r>
          </a:p>
          <a:p>
            <a:pPr algn="ctr" defTabSz="932379">
              <a:lnSpc>
                <a:spcPct val="90000"/>
              </a:lnSpc>
              <a:defRPr/>
            </a:pPr>
            <a:endParaRPr lang="en-US" sz="2400" b="1" dirty="0">
              <a:gradFill>
                <a:gsLst>
                  <a:gs pos="0">
                    <a:srgbClr val="FFFFFF"/>
                  </a:gs>
                  <a:gs pos="100000">
                    <a:srgbClr val="FFFFFF"/>
                  </a:gs>
                </a:gsLst>
                <a:lin ang="5400000" scaled="0"/>
              </a:gradFill>
              <a:ea typeface="Segoe UI" pitchFamily="34" charset="0"/>
              <a:cs typeface="Segoe UI" pitchFamily="34" charset="0"/>
            </a:endParaRPr>
          </a:p>
          <a:p>
            <a:pPr algn="ctr" defTabSz="932379">
              <a:lnSpc>
                <a:spcPct val="90000"/>
              </a:lnSpc>
              <a:defRPr/>
            </a:pPr>
            <a:r>
              <a:rPr lang="en-US" sz="2400" b="1" dirty="0">
                <a:gradFill>
                  <a:gsLst>
                    <a:gs pos="0">
                      <a:srgbClr val="FFFFFF"/>
                    </a:gs>
                    <a:gs pos="100000">
                      <a:srgbClr val="FFFFFF"/>
                    </a:gs>
                  </a:gsLst>
                  <a:lin ang="5400000" scaled="0"/>
                </a:gradFill>
                <a:latin typeface="Segoe UI Light"/>
                <a:ea typeface="Segoe UI" pitchFamily="34" charset="0"/>
                <a:cs typeface="Segoe UI" pitchFamily="34" charset="0"/>
              </a:rPr>
              <a:t>Billions transactions/week</a:t>
            </a:r>
          </a:p>
        </p:txBody>
      </p:sp>
      <p:sp>
        <p:nvSpPr>
          <p:cNvPr id="19" name="Hexagon 18"/>
          <p:cNvSpPr/>
          <p:nvPr/>
        </p:nvSpPr>
        <p:spPr bwMode="auto">
          <a:xfrm>
            <a:off x="8980778" y="403070"/>
            <a:ext cx="2886416" cy="2445781"/>
          </a:xfrm>
          <a:prstGeom prst="hexagon">
            <a:avLst/>
          </a:prstGeom>
          <a:solidFill>
            <a:srgbClr val="5C2D9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82857" tIns="146285" rIns="182857" bIns="146285"/>
          <a:lstStyle/>
          <a:p>
            <a:pPr algn="ctr" defTabSz="932379">
              <a:lnSpc>
                <a:spcPct val="90000"/>
              </a:lnSpc>
              <a:defRPr/>
            </a:pPr>
            <a:r>
              <a:rPr lang="en-US" sz="2400" b="1" dirty="0">
                <a:gradFill>
                  <a:gsLst>
                    <a:gs pos="0">
                      <a:srgbClr val="FFFFFF"/>
                    </a:gs>
                    <a:gs pos="100000">
                      <a:srgbClr val="FFFFFF"/>
                    </a:gs>
                  </a:gsLst>
                  <a:lin ang="5400000" scaled="0"/>
                </a:gradFill>
                <a:ea typeface="Segoe UI" pitchFamily="34" charset="0"/>
                <a:cs typeface="Segoe UI" pitchFamily="34" charset="0"/>
              </a:rPr>
              <a:t>Skype for Business</a:t>
            </a:r>
          </a:p>
          <a:p>
            <a:pPr algn="ctr" defTabSz="932379">
              <a:lnSpc>
                <a:spcPct val="90000"/>
              </a:lnSpc>
              <a:defRPr/>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379">
              <a:lnSpc>
                <a:spcPct val="90000"/>
              </a:lnSpc>
              <a:defRPr/>
            </a:pPr>
            <a:r>
              <a:rPr lang="en-US" sz="2400" dirty="0">
                <a:gradFill>
                  <a:gsLst>
                    <a:gs pos="0">
                      <a:srgbClr val="FFFFFF"/>
                    </a:gs>
                    <a:gs pos="100000">
                      <a:srgbClr val="FFFFFF"/>
                    </a:gs>
                  </a:gsLst>
                  <a:lin ang="5400000" scaled="0"/>
                </a:gradFill>
                <a:ea typeface="Segoe UI" pitchFamily="34" charset="0"/>
                <a:cs typeface="Segoe UI" pitchFamily="34" charset="0"/>
              </a:rPr>
              <a:t>Hybrid Ops</a:t>
            </a:r>
          </a:p>
        </p:txBody>
      </p:sp>
      <p:sp>
        <p:nvSpPr>
          <p:cNvPr id="20" name="Hexagon 19"/>
          <p:cNvSpPr/>
          <p:nvPr/>
        </p:nvSpPr>
        <p:spPr bwMode="auto">
          <a:xfrm>
            <a:off x="9059857" y="3019540"/>
            <a:ext cx="2563971" cy="2229701"/>
          </a:xfrm>
          <a:prstGeom prst="hexagon">
            <a:avLst/>
          </a:prstGeom>
          <a:solidFill>
            <a:schemeClr val="accent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82857" tIns="146285" rIns="182857" bIns="146285" anchor="ctr"/>
          <a:lstStyle/>
          <a:p>
            <a:pPr algn="ctr" defTabSz="932379">
              <a:lnSpc>
                <a:spcPct val="90000"/>
              </a:lnSpc>
              <a:defRPr/>
            </a:pPr>
            <a:endParaRPr lang="en-US" sz="2400" b="1" dirty="0">
              <a:gradFill>
                <a:gsLst>
                  <a:gs pos="0">
                    <a:srgbClr val="FFFFFF"/>
                  </a:gs>
                  <a:gs pos="100000">
                    <a:srgbClr val="FFFFFF"/>
                  </a:gs>
                </a:gsLst>
                <a:lin ang="5400000" scaled="0"/>
              </a:gradFill>
              <a:ea typeface="Segoe UI" pitchFamily="34" charset="0"/>
              <a:cs typeface="Segoe UI" pitchFamily="34" charset="0"/>
            </a:endParaRPr>
          </a:p>
          <a:p>
            <a:pPr algn="ctr" defTabSz="932379">
              <a:lnSpc>
                <a:spcPct val="90000"/>
              </a:lnSpc>
              <a:defRPr/>
            </a:pPr>
            <a:r>
              <a:rPr lang="en-US" sz="2400" b="1" dirty="0">
                <a:gradFill>
                  <a:gsLst>
                    <a:gs pos="0">
                      <a:srgbClr val="FFFFFF"/>
                    </a:gs>
                    <a:gs pos="100000">
                      <a:srgbClr val="FFFFFF"/>
                    </a:gs>
                  </a:gsLst>
                  <a:lin ang="5400000" scaled="0"/>
                </a:gradFill>
                <a:ea typeface="Segoe UI" pitchFamily="34" charset="0"/>
                <a:cs typeface="Segoe UI" pitchFamily="34" charset="0"/>
              </a:rPr>
              <a:t>Event Hubs</a:t>
            </a:r>
          </a:p>
          <a:p>
            <a:pPr algn="ctr" defTabSz="932379">
              <a:lnSpc>
                <a:spcPct val="90000"/>
              </a:lnSpc>
              <a:defRPr/>
            </a:pPr>
            <a:endParaRPr lang="en-US" sz="2000" b="1" dirty="0">
              <a:gradFill>
                <a:gsLst>
                  <a:gs pos="0">
                    <a:srgbClr val="FFFFFF"/>
                  </a:gs>
                  <a:gs pos="100000">
                    <a:srgbClr val="FFFFFF"/>
                  </a:gs>
                </a:gsLst>
                <a:lin ang="5400000" scaled="0"/>
              </a:gradFill>
              <a:ea typeface="Segoe UI" pitchFamily="34" charset="0"/>
              <a:cs typeface="Segoe UI" pitchFamily="34" charset="0"/>
            </a:endParaRPr>
          </a:p>
          <a:p>
            <a:pPr algn="ctr" defTabSz="932379">
              <a:lnSpc>
                <a:spcPct val="90000"/>
              </a:lnSpc>
              <a:defRPr/>
            </a:pPr>
            <a:r>
              <a:rPr lang="en-US" sz="2000" dirty="0">
                <a:gradFill>
                  <a:gsLst>
                    <a:gs pos="0">
                      <a:srgbClr val="FFFFFF"/>
                    </a:gs>
                    <a:gs pos="100000">
                      <a:srgbClr val="FFFFFF"/>
                    </a:gs>
                  </a:gsLst>
                  <a:lin ang="5400000" scaled="0"/>
                </a:gradFill>
                <a:ea typeface="Segoe UI" pitchFamily="34" charset="0"/>
                <a:cs typeface="Segoe UI" pitchFamily="34" charset="0"/>
              </a:rPr>
              <a:t>20bn events/day</a:t>
            </a:r>
          </a:p>
          <a:p>
            <a:pPr algn="ctr" defTabSz="932379">
              <a:lnSpc>
                <a:spcPct val="90000"/>
              </a:lnSpc>
              <a:defRPr/>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1" name="Hexagon 20"/>
          <p:cNvSpPr/>
          <p:nvPr/>
        </p:nvSpPr>
        <p:spPr bwMode="auto">
          <a:xfrm>
            <a:off x="8594555" y="5419931"/>
            <a:ext cx="1566877" cy="1358632"/>
          </a:xfrm>
          <a:prstGeom prst="hexagon">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lIns="182857" tIns="146285" rIns="182857" bIns="146285"/>
          <a:lstStyle/>
          <a:p>
            <a:pPr algn="ctr" defTabSz="932379">
              <a:lnSpc>
                <a:spcPct val="90000"/>
              </a:lnSpc>
              <a:defRPr/>
            </a:pPr>
            <a:r>
              <a:rPr lang="en-US" sz="2400" dirty="0">
                <a:gradFill>
                  <a:gsLst>
                    <a:gs pos="0">
                      <a:srgbClr val="FFFFFF"/>
                    </a:gs>
                    <a:gs pos="100000">
                      <a:srgbClr val="FFFFFF"/>
                    </a:gs>
                  </a:gsLst>
                  <a:lin ang="5400000" scaled="0"/>
                </a:gradFill>
                <a:ea typeface="Segoe UI" pitchFamily="34" charset="0"/>
                <a:cs typeface="Segoe UI" pitchFamily="34" charset="0"/>
              </a:rPr>
              <a:t>IoT Suite</a:t>
            </a:r>
          </a:p>
        </p:txBody>
      </p:sp>
    </p:spTree>
    <p:extLst>
      <p:ext uri="{BB962C8B-B14F-4D97-AF65-F5344CB8AC3E}">
        <p14:creationId xmlns:p14="http://schemas.microsoft.com/office/powerpoint/2010/main" val="306579720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66170" y="295279"/>
            <a:ext cx="4875574" cy="831506"/>
          </a:xfrm>
        </p:spPr>
        <p:txBody>
          <a:bodyPr/>
          <a:lstStyle/>
          <a:p>
            <a:r>
              <a:rPr lang="en-US" sz="2800" b="1" dirty="0">
                <a:solidFill>
                  <a:srgbClr val="FF0000"/>
                </a:solidFill>
              </a:rPr>
              <a:t>Monolithic</a:t>
            </a:r>
            <a:r>
              <a:rPr lang="en-US" sz="2800" dirty="0"/>
              <a:t> application approach</a:t>
            </a:r>
          </a:p>
        </p:txBody>
      </p:sp>
      <p:sp>
        <p:nvSpPr>
          <p:cNvPr id="4" name="Text Placeholder 3"/>
          <p:cNvSpPr>
            <a:spLocks noGrp="1"/>
          </p:cNvSpPr>
          <p:nvPr>
            <p:ph type="body" sz="quarter" idx="10"/>
          </p:nvPr>
        </p:nvSpPr>
        <p:spPr>
          <a:xfrm>
            <a:off x="365598" y="1211287"/>
            <a:ext cx="3804560" cy="2985433"/>
          </a:xfrm>
        </p:spPr>
        <p:txBody>
          <a:bodyPr/>
          <a:lstStyle/>
          <a:p>
            <a:r>
              <a:rPr lang="en-US" sz="2000" dirty="0"/>
              <a:t>A monolith app contains domain specific functionality and is normally divided </a:t>
            </a:r>
            <a:br>
              <a:rPr lang="en-US" sz="2000" dirty="0"/>
            </a:br>
            <a:r>
              <a:rPr lang="en-US" sz="2000" dirty="0"/>
              <a:t>by functional layers such </a:t>
            </a:r>
            <a:br>
              <a:rPr lang="en-US" sz="2000" dirty="0"/>
            </a:br>
            <a:r>
              <a:rPr lang="en-US" sz="2000" dirty="0"/>
              <a:t>as web, business, and data</a:t>
            </a:r>
          </a:p>
          <a:p>
            <a:r>
              <a:rPr lang="en-US" sz="2000" dirty="0"/>
              <a:t>Scales by cloning </a:t>
            </a:r>
            <a:br>
              <a:rPr lang="en-US" sz="2000" dirty="0"/>
            </a:br>
            <a:r>
              <a:rPr lang="en-US" sz="2000" dirty="0"/>
              <a:t>the app on multiple servers/VMs/containers</a:t>
            </a:r>
          </a:p>
          <a:p>
            <a:endParaRPr lang="en-US" sz="2000" dirty="0"/>
          </a:p>
        </p:txBody>
      </p:sp>
      <p:sp>
        <p:nvSpPr>
          <p:cNvPr id="5" name="Text Placeholder 4"/>
          <p:cNvSpPr>
            <a:spLocks noGrp="1"/>
          </p:cNvSpPr>
          <p:nvPr>
            <p:ph type="body" sz="quarter" idx="11"/>
          </p:nvPr>
        </p:nvSpPr>
        <p:spPr>
          <a:xfrm>
            <a:off x="6461210" y="1211287"/>
            <a:ext cx="3302125" cy="1292662"/>
          </a:xfrm>
        </p:spPr>
        <p:txBody>
          <a:bodyPr/>
          <a:lstStyle/>
          <a:p>
            <a:r>
              <a:rPr lang="en-US" sz="2000" dirty="0"/>
              <a:t>A microservice application separates functionality into separate smaller services</a:t>
            </a:r>
          </a:p>
        </p:txBody>
      </p:sp>
      <p:pic>
        <p:nvPicPr>
          <p:cNvPr id="6" name="Picture 5"/>
          <p:cNvPicPr>
            <a:picLocks noChangeAspect="1"/>
          </p:cNvPicPr>
          <p:nvPr/>
        </p:nvPicPr>
        <p:blipFill rotWithShape="1">
          <a:blip r:embed="rId3" cstate="screen">
            <a:lum bright="70000" contrast="-70000"/>
            <a:extLst>
              <a:ext uri="{BEBA8EAE-BF5A-486C-A8C5-ECC9F3942E4B}">
                <a14:imgProps xmlns:a14="http://schemas.microsoft.com/office/drawing/2010/main">
                  <a14:imgLayer r:embed="rId4">
                    <a14:imgEffect>
                      <a14:colorTemperature colorTemp="5900"/>
                    </a14:imgEffect>
                    <a14:imgEffect>
                      <a14:saturation sat="66000"/>
                    </a14:imgEffect>
                  </a14:imgLayer>
                </a14:imgProps>
              </a:ext>
              <a:ext uri="{28A0092B-C50C-407E-A947-70E740481C1C}">
                <a14:useLocalDpi xmlns:a14="http://schemas.microsoft.com/office/drawing/2010/main"/>
              </a:ext>
            </a:extLst>
          </a:blip>
          <a:srcRect t="33955" b="34327"/>
          <a:stretch/>
        </p:blipFill>
        <p:spPr>
          <a:xfrm>
            <a:off x="634204" y="4097316"/>
            <a:ext cx="2278806" cy="761687"/>
          </a:xfrm>
          <a:prstGeom prst="rect">
            <a:avLst/>
          </a:prstGeom>
        </p:spPr>
      </p:pic>
      <p:pic>
        <p:nvPicPr>
          <p:cNvPr id="7" name="Picture 6"/>
          <p:cNvPicPr>
            <a:picLocks noChangeAspect="1"/>
          </p:cNvPicPr>
          <p:nvPr/>
        </p:nvPicPr>
        <p:blipFill rotWithShape="1">
          <a:blip r:embed="rId5" cstate="screen">
            <a:lum bright="70000" contrast="-70000"/>
            <a:extLst>
              <a:ext uri="{BEBA8EAE-BF5A-486C-A8C5-ECC9F3942E4B}">
                <a14:imgProps xmlns:a14="http://schemas.microsoft.com/office/drawing/2010/main">
                  <a14:imgLayer r:embed="rId4">
                    <a14:imgEffect>
                      <a14:colorTemperature colorTemp="5900"/>
                    </a14:imgEffect>
                  </a14:imgLayer>
                </a14:imgProps>
              </a:ext>
              <a:ext uri="{28A0092B-C50C-407E-A947-70E740481C1C}">
                <a14:useLocalDpi xmlns:a14="http://schemas.microsoft.com/office/drawing/2010/main"/>
              </a:ext>
            </a:extLst>
          </a:blip>
          <a:srcRect t="33955" b="34327"/>
          <a:stretch/>
        </p:blipFill>
        <p:spPr>
          <a:xfrm>
            <a:off x="634204" y="4939651"/>
            <a:ext cx="2278806" cy="761687"/>
          </a:xfrm>
          <a:prstGeom prst="rect">
            <a:avLst/>
          </a:prstGeom>
        </p:spPr>
      </p:pic>
      <p:pic>
        <p:nvPicPr>
          <p:cNvPr id="8" name="Picture 7"/>
          <p:cNvPicPr>
            <a:picLocks noChangeAspect="1"/>
          </p:cNvPicPr>
          <p:nvPr/>
        </p:nvPicPr>
        <p:blipFill rotWithShape="1">
          <a:blip r:embed="rId6" cstate="screen">
            <a:lum bright="70000" contrast="-70000"/>
            <a:extLst>
              <a:ext uri="{28A0092B-C50C-407E-A947-70E740481C1C}">
                <a14:useLocalDpi xmlns:a14="http://schemas.microsoft.com/office/drawing/2010/main"/>
              </a:ext>
            </a:extLst>
          </a:blip>
          <a:srcRect t="33955" b="34327"/>
          <a:stretch/>
        </p:blipFill>
        <p:spPr>
          <a:xfrm>
            <a:off x="634204" y="5781987"/>
            <a:ext cx="2287921" cy="761687"/>
          </a:xfrm>
          <a:prstGeom prst="rect">
            <a:avLst/>
          </a:prstGeom>
        </p:spPr>
      </p:pic>
      <p:pic>
        <p:nvPicPr>
          <p:cNvPr id="10" name="Picture 9"/>
          <p:cNvPicPr>
            <a:picLocks noChangeAspect="1"/>
          </p:cNvPicPr>
          <p:nvPr/>
        </p:nvPicPr>
        <p:blipFill>
          <a:blip r:embed="rId7" cstate="screen">
            <a:duotone>
              <a:schemeClr val="accent4">
                <a:shade val="45000"/>
                <a:satMod val="135000"/>
              </a:schemeClr>
              <a:prstClr val="white"/>
            </a:duotone>
            <a:extLst>
              <a:ext uri="{28A0092B-C50C-407E-A947-70E740481C1C}">
                <a14:useLocalDpi xmlns:a14="http://schemas.microsoft.com/office/drawing/2010/main"/>
              </a:ext>
            </a:extLst>
          </a:blip>
          <a:stretch>
            <a:fillRect/>
          </a:stretch>
        </p:blipFill>
        <p:spPr>
          <a:xfrm>
            <a:off x="6731234" y="4097317"/>
            <a:ext cx="3630910" cy="2446358"/>
          </a:xfrm>
          <a:prstGeom prst="rect">
            <a:avLst/>
          </a:prstGeom>
        </p:spPr>
      </p:pic>
      <p:sp>
        <p:nvSpPr>
          <p:cNvPr id="11" name="Rectangle 10"/>
          <p:cNvSpPr/>
          <p:nvPr/>
        </p:nvSpPr>
        <p:spPr>
          <a:xfrm>
            <a:off x="6476123" y="2801640"/>
            <a:ext cx="5599612" cy="923330"/>
          </a:xfrm>
          <a:prstGeom prst="rect">
            <a:avLst/>
          </a:prstGeom>
        </p:spPr>
        <p:txBody>
          <a:bodyPr wrap="square">
            <a:spAutoFit/>
          </a:bodyPr>
          <a:lstStyle/>
          <a:p>
            <a:pPr marL="287293" indent="-287293" defTabSz="932594">
              <a:lnSpc>
                <a:spcPct val="90000"/>
              </a:lnSpc>
              <a:spcBef>
                <a:spcPts val="1224"/>
              </a:spcBef>
              <a:buClr>
                <a:schemeClr val="tx2"/>
              </a:buClr>
              <a:buSzPct val="90000"/>
              <a:buFont typeface="Arial" pitchFamily="34" charset="0"/>
              <a:buChar char="•"/>
            </a:pPr>
            <a:r>
              <a:rPr lang="en-US" sz="2000" dirty="0">
                <a:gradFill>
                  <a:gsLst>
                    <a:gs pos="1250">
                      <a:schemeClr val="tx2"/>
                    </a:gs>
                    <a:gs pos="99000">
                      <a:schemeClr val="tx2"/>
                    </a:gs>
                  </a:gsLst>
                  <a:lin ang="5400000" scaled="0"/>
                </a:gradFill>
                <a:latin typeface="+mj-lt"/>
              </a:rPr>
              <a:t>Scales out by deploying each service independently creating instances of these services across servers/VMs/containers</a:t>
            </a:r>
          </a:p>
        </p:txBody>
      </p:sp>
      <p:sp>
        <p:nvSpPr>
          <p:cNvPr id="12" name="Hexagon 11"/>
          <p:cNvSpPr/>
          <p:nvPr/>
        </p:nvSpPr>
        <p:spPr bwMode="auto">
          <a:xfrm>
            <a:off x="10085347" y="1477415"/>
            <a:ext cx="272738" cy="244000"/>
          </a:xfrm>
          <a:prstGeom prst="hexagon">
            <a:avLst/>
          </a:prstGeom>
          <a:solidFill>
            <a:srgbClr val="FF0000"/>
          </a:solidFill>
          <a:ln w="9525" cap="flat" cmpd="sng" algn="ctr">
            <a:noFill/>
            <a:prstDash val="solid"/>
            <a:headEnd type="none" w="med" len="med"/>
            <a:tailEnd type="none" w="med" len="med"/>
          </a:ln>
          <a:effectLst/>
        </p:spPr>
        <p:txBody>
          <a:bodyPr lIns="91389" tIns="91389" rIns="34275" bIns="34275" rtlCol="0" anchor="b" anchorCtr="0"/>
          <a:lstStyle/>
          <a:p>
            <a:pPr algn="ctr" defTabSz="931776">
              <a:defRPr/>
            </a:pPr>
            <a:endParaRPr lang="en-US" sz="800" kern="0" dirty="0">
              <a:latin typeface="+mj-lt"/>
              <a:ea typeface="Segoe UI" pitchFamily="34" charset="0"/>
              <a:cs typeface="Segoe UI" pitchFamily="34" charset="0"/>
            </a:endParaRPr>
          </a:p>
        </p:txBody>
      </p:sp>
      <p:sp>
        <p:nvSpPr>
          <p:cNvPr id="13" name="Hexagon 12"/>
          <p:cNvSpPr/>
          <p:nvPr/>
        </p:nvSpPr>
        <p:spPr bwMode="auto">
          <a:xfrm>
            <a:off x="11264875" y="2005201"/>
            <a:ext cx="272738" cy="244000"/>
          </a:xfrm>
          <a:prstGeom prst="hexagon">
            <a:avLst/>
          </a:prstGeom>
          <a:solidFill>
            <a:srgbClr val="FF8C00">
              <a:lumMod val="75000"/>
            </a:srgbClr>
          </a:solidFill>
          <a:ln w="9525" cap="flat" cmpd="sng" algn="ctr">
            <a:noFill/>
            <a:prstDash val="solid"/>
            <a:headEnd type="none" w="med" len="med"/>
            <a:tailEnd type="none" w="med" len="med"/>
          </a:ln>
          <a:effectLst/>
        </p:spPr>
        <p:txBody>
          <a:bodyPr lIns="91389" tIns="91389" rIns="34275" bIns="34275" rtlCol="0" anchor="b" anchorCtr="0"/>
          <a:lstStyle/>
          <a:p>
            <a:pPr algn="ctr" defTabSz="931776"/>
            <a:endParaRPr lang="en-US" sz="800" kern="0" dirty="0">
              <a:latin typeface="+mj-lt"/>
              <a:ea typeface="Segoe UI" pitchFamily="34" charset="0"/>
              <a:cs typeface="Segoe UI" pitchFamily="34" charset="0"/>
            </a:endParaRPr>
          </a:p>
        </p:txBody>
      </p:sp>
      <p:sp>
        <p:nvSpPr>
          <p:cNvPr id="14" name="Hexagon 13"/>
          <p:cNvSpPr/>
          <p:nvPr/>
        </p:nvSpPr>
        <p:spPr bwMode="auto">
          <a:xfrm>
            <a:off x="11697638" y="1762938"/>
            <a:ext cx="272738" cy="244000"/>
          </a:xfrm>
          <a:prstGeom prst="hexagon">
            <a:avLst/>
          </a:prstGeom>
          <a:solidFill>
            <a:srgbClr val="7030A0"/>
          </a:solidFill>
          <a:ln w="9525" cap="flat" cmpd="sng" algn="ctr">
            <a:noFill/>
            <a:prstDash val="solid"/>
            <a:headEnd type="none" w="med" len="med"/>
            <a:tailEnd type="none" w="med" len="med"/>
          </a:ln>
          <a:effectLst/>
        </p:spPr>
        <p:txBody>
          <a:bodyPr lIns="91389" tIns="91389" rIns="34275" bIns="34275" rtlCol="0" anchor="b" anchorCtr="0"/>
          <a:lstStyle/>
          <a:p>
            <a:pPr algn="ctr" defTabSz="931776"/>
            <a:endParaRPr lang="en-US" sz="800" kern="0" dirty="0">
              <a:latin typeface="+mj-lt"/>
              <a:ea typeface="Segoe UI" pitchFamily="34" charset="0"/>
              <a:cs typeface="Segoe UI" pitchFamily="34" charset="0"/>
            </a:endParaRPr>
          </a:p>
        </p:txBody>
      </p:sp>
      <p:sp>
        <p:nvSpPr>
          <p:cNvPr id="15" name="Hexagon 14"/>
          <p:cNvSpPr/>
          <p:nvPr/>
        </p:nvSpPr>
        <p:spPr bwMode="auto">
          <a:xfrm>
            <a:off x="10064371" y="1499685"/>
            <a:ext cx="272738" cy="244000"/>
          </a:xfrm>
          <a:prstGeom prst="hexagon">
            <a:avLst/>
          </a:prstGeom>
          <a:solidFill>
            <a:srgbClr val="FF0000"/>
          </a:solidFill>
          <a:ln w="9525" cap="flat" cmpd="sng" algn="ctr">
            <a:noFill/>
            <a:prstDash val="solid"/>
            <a:headEnd type="none" w="med" len="med"/>
            <a:tailEnd type="none" w="med" len="med"/>
          </a:ln>
          <a:effectLst/>
        </p:spPr>
        <p:txBody>
          <a:bodyPr lIns="91389" tIns="91389" rIns="34275" bIns="34275" rtlCol="0" anchor="b" anchorCtr="0"/>
          <a:lstStyle/>
          <a:p>
            <a:pPr algn="ctr" defTabSz="931776">
              <a:defRPr/>
            </a:pPr>
            <a:endParaRPr lang="en-US" sz="800" kern="0" dirty="0">
              <a:latin typeface="+mj-lt"/>
              <a:ea typeface="Segoe UI" pitchFamily="34" charset="0"/>
              <a:cs typeface="Segoe UI" pitchFamily="34" charset="0"/>
            </a:endParaRPr>
          </a:p>
        </p:txBody>
      </p:sp>
      <p:sp>
        <p:nvSpPr>
          <p:cNvPr id="16" name="Hexagon 15"/>
          <p:cNvSpPr/>
          <p:nvPr/>
        </p:nvSpPr>
        <p:spPr bwMode="auto">
          <a:xfrm>
            <a:off x="10089406" y="1452776"/>
            <a:ext cx="272738" cy="244000"/>
          </a:xfrm>
          <a:prstGeom prst="hexagon">
            <a:avLst/>
          </a:prstGeom>
          <a:solidFill>
            <a:srgbClr val="FF0000"/>
          </a:solidFill>
          <a:ln w="9525" cap="flat" cmpd="sng" algn="ctr">
            <a:noFill/>
            <a:prstDash val="solid"/>
            <a:headEnd type="none" w="med" len="med"/>
            <a:tailEnd type="none" w="med" len="med"/>
          </a:ln>
          <a:effectLst/>
        </p:spPr>
        <p:txBody>
          <a:bodyPr lIns="91389" tIns="91389" rIns="34275" bIns="34275" rtlCol="0" anchor="b" anchorCtr="0"/>
          <a:lstStyle/>
          <a:p>
            <a:pPr algn="ctr" defTabSz="931776">
              <a:defRPr/>
            </a:pPr>
            <a:endParaRPr lang="en-US" sz="800" kern="0" dirty="0">
              <a:latin typeface="+mj-lt"/>
              <a:ea typeface="Segoe UI" pitchFamily="34" charset="0"/>
              <a:cs typeface="Segoe UI" pitchFamily="34" charset="0"/>
            </a:endParaRPr>
          </a:p>
        </p:txBody>
      </p:sp>
      <p:sp>
        <p:nvSpPr>
          <p:cNvPr id="17" name="Hexagon 16"/>
          <p:cNvSpPr/>
          <p:nvPr/>
        </p:nvSpPr>
        <p:spPr bwMode="auto">
          <a:xfrm>
            <a:off x="10084934" y="2033159"/>
            <a:ext cx="272738" cy="244000"/>
          </a:xfrm>
          <a:prstGeom prst="hexagon">
            <a:avLst>
              <a:gd name="adj" fmla="val 55889"/>
              <a:gd name="vf" fmla="val 115470"/>
            </a:avLst>
          </a:prstGeom>
          <a:solidFill>
            <a:srgbClr val="FFC000"/>
          </a:solidFill>
          <a:ln w="9525" cap="flat" cmpd="sng" algn="ctr">
            <a:noFill/>
            <a:prstDash val="solid"/>
            <a:headEnd type="none" w="med" len="med"/>
            <a:tailEnd type="none" w="med" len="med"/>
          </a:ln>
          <a:effectLst/>
        </p:spPr>
        <p:txBody>
          <a:bodyPr lIns="91389" tIns="91389" rIns="34275" bIns="34275" rtlCol="0" anchor="b" anchorCtr="0"/>
          <a:lstStyle/>
          <a:p>
            <a:pPr algn="ctr" defTabSz="931776">
              <a:defRPr/>
            </a:pPr>
            <a:endParaRPr lang="en-US" sz="800" kern="0" dirty="0">
              <a:latin typeface="+mj-lt"/>
              <a:ea typeface="Segoe UI" pitchFamily="34" charset="0"/>
              <a:cs typeface="Segoe UI" pitchFamily="34" charset="0"/>
            </a:endParaRPr>
          </a:p>
        </p:txBody>
      </p:sp>
      <p:sp>
        <p:nvSpPr>
          <p:cNvPr id="18" name="Hexagon 17"/>
          <p:cNvSpPr/>
          <p:nvPr/>
        </p:nvSpPr>
        <p:spPr bwMode="auto">
          <a:xfrm>
            <a:off x="10054355" y="2005201"/>
            <a:ext cx="272738" cy="244000"/>
          </a:xfrm>
          <a:prstGeom prst="hexagon">
            <a:avLst/>
          </a:prstGeom>
          <a:solidFill>
            <a:srgbClr val="FFC000"/>
          </a:solidFill>
          <a:ln w="9525" cap="flat" cmpd="sng" algn="ctr">
            <a:noFill/>
            <a:prstDash val="solid"/>
            <a:headEnd type="none" w="med" len="med"/>
            <a:tailEnd type="none" w="med" len="med"/>
          </a:ln>
          <a:effectLst/>
        </p:spPr>
        <p:txBody>
          <a:bodyPr lIns="91389" tIns="91389" rIns="34275" bIns="34275" rtlCol="0" anchor="b" anchorCtr="0"/>
          <a:lstStyle/>
          <a:p>
            <a:pPr algn="ctr" defTabSz="931776">
              <a:defRPr/>
            </a:pPr>
            <a:endParaRPr lang="en-US" sz="800" kern="0" dirty="0">
              <a:latin typeface="+mj-lt"/>
              <a:ea typeface="Segoe UI" pitchFamily="34" charset="0"/>
              <a:cs typeface="Segoe UI" pitchFamily="34" charset="0"/>
            </a:endParaRPr>
          </a:p>
        </p:txBody>
      </p:sp>
      <p:sp>
        <p:nvSpPr>
          <p:cNvPr id="19" name="Hexagon 18"/>
          <p:cNvSpPr/>
          <p:nvPr/>
        </p:nvSpPr>
        <p:spPr bwMode="auto">
          <a:xfrm>
            <a:off x="10071575" y="2051514"/>
            <a:ext cx="272738" cy="244000"/>
          </a:xfrm>
          <a:prstGeom prst="hexagon">
            <a:avLst/>
          </a:prstGeom>
          <a:solidFill>
            <a:srgbClr val="FFC000"/>
          </a:solidFill>
          <a:ln w="9525" cap="flat" cmpd="sng" algn="ctr">
            <a:noFill/>
            <a:prstDash val="solid"/>
            <a:headEnd type="none" w="med" len="med"/>
            <a:tailEnd type="none" w="med" len="med"/>
          </a:ln>
          <a:effectLst/>
        </p:spPr>
        <p:txBody>
          <a:bodyPr lIns="91389" tIns="91389" rIns="34275" bIns="34275" rtlCol="0" anchor="b" anchorCtr="0"/>
          <a:lstStyle/>
          <a:p>
            <a:pPr algn="ctr" defTabSz="931776">
              <a:defRPr/>
            </a:pPr>
            <a:endParaRPr lang="en-US" sz="800" kern="0" dirty="0">
              <a:latin typeface="+mj-lt"/>
              <a:ea typeface="Segoe UI" pitchFamily="34" charset="0"/>
              <a:cs typeface="Segoe UI" pitchFamily="34" charset="0"/>
            </a:endParaRPr>
          </a:p>
        </p:txBody>
      </p:sp>
      <p:sp>
        <p:nvSpPr>
          <p:cNvPr id="20" name="Hexagon 19"/>
          <p:cNvSpPr/>
          <p:nvPr/>
        </p:nvSpPr>
        <p:spPr bwMode="auto">
          <a:xfrm>
            <a:off x="10484383" y="1796000"/>
            <a:ext cx="272738" cy="244000"/>
          </a:xfrm>
          <a:prstGeom prst="hexagon">
            <a:avLst/>
          </a:prstGeom>
          <a:solidFill>
            <a:srgbClr val="92D050"/>
          </a:solidFill>
          <a:ln w="9525" cap="flat" cmpd="sng" algn="ctr">
            <a:noFill/>
            <a:prstDash val="solid"/>
            <a:headEnd type="none" w="med" len="med"/>
            <a:tailEnd type="none" w="med" len="med"/>
          </a:ln>
          <a:effectLst/>
        </p:spPr>
        <p:txBody>
          <a:bodyPr lIns="91389" tIns="91389" rIns="34275" bIns="34275" rtlCol="0" anchor="b" anchorCtr="0"/>
          <a:lstStyle/>
          <a:p>
            <a:pPr algn="ctr" defTabSz="931776">
              <a:defRPr/>
            </a:pPr>
            <a:endParaRPr lang="en-US" sz="800" kern="0" dirty="0">
              <a:latin typeface="+mj-lt"/>
              <a:ea typeface="Segoe UI" pitchFamily="34" charset="0"/>
              <a:cs typeface="Segoe UI" pitchFamily="34" charset="0"/>
            </a:endParaRPr>
          </a:p>
        </p:txBody>
      </p:sp>
      <p:sp>
        <p:nvSpPr>
          <p:cNvPr id="21" name="Hexagon 20"/>
          <p:cNvSpPr/>
          <p:nvPr/>
        </p:nvSpPr>
        <p:spPr bwMode="auto">
          <a:xfrm>
            <a:off x="10525688" y="1746964"/>
            <a:ext cx="272738" cy="244000"/>
          </a:xfrm>
          <a:prstGeom prst="hexagon">
            <a:avLst/>
          </a:prstGeom>
          <a:solidFill>
            <a:srgbClr val="92D050"/>
          </a:solidFill>
          <a:ln w="9525" cap="flat" cmpd="sng" algn="ctr">
            <a:noFill/>
            <a:prstDash val="solid"/>
            <a:headEnd type="none" w="med" len="med"/>
            <a:tailEnd type="none" w="med" len="med"/>
          </a:ln>
          <a:effectLst/>
        </p:spPr>
        <p:txBody>
          <a:bodyPr lIns="91389" tIns="91389" rIns="34275" bIns="34275" rtlCol="0" anchor="b" anchorCtr="0"/>
          <a:lstStyle/>
          <a:p>
            <a:pPr algn="ctr" defTabSz="931776">
              <a:defRPr/>
            </a:pPr>
            <a:endParaRPr lang="en-US" sz="800" kern="0" dirty="0">
              <a:latin typeface="+mj-lt"/>
              <a:ea typeface="Segoe UI" pitchFamily="34" charset="0"/>
              <a:cs typeface="Segoe UI" pitchFamily="34" charset="0"/>
            </a:endParaRPr>
          </a:p>
        </p:txBody>
      </p:sp>
      <p:sp>
        <p:nvSpPr>
          <p:cNvPr id="22" name="Hexagon 21"/>
          <p:cNvSpPr/>
          <p:nvPr/>
        </p:nvSpPr>
        <p:spPr bwMode="auto">
          <a:xfrm>
            <a:off x="10482511" y="1761555"/>
            <a:ext cx="272738" cy="244000"/>
          </a:xfrm>
          <a:prstGeom prst="hexagon">
            <a:avLst/>
          </a:prstGeom>
          <a:solidFill>
            <a:srgbClr val="92D050"/>
          </a:solidFill>
          <a:ln w="9525" cap="flat" cmpd="sng" algn="ctr">
            <a:noFill/>
            <a:prstDash val="solid"/>
            <a:headEnd type="none" w="med" len="med"/>
            <a:tailEnd type="none" w="med" len="med"/>
          </a:ln>
          <a:effectLst/>
        </p:spPr>
        <p:txBody>
          <a:bodyPr lIns="91389" tIns="91389" rIns="34275" bIns="34275" rtlCol="0" anchor="b" anchorCtr="0"/>
          <a:lstStyle/>
          <a:p>
            <a:pPr algn="ctr" defTabSz="931776">
              <a:defRPr/>
            </a:pPr>
            <a:endParaRPr lang="en-US" sz="800" kern="0" dirty="0">
              <a:latin typeface="+mj-lt"/>
              <a:ea typeface="Segoe UI" pitchFamily="34" charset="0"/>
              <a:cs typeface="Segoe UI" pitchFamily="34" charset="0"/>
            </a:endParaRPr>
          </a:p>
        </p:txBody>
      </p:sp>
      <p:sp>
        <p:nvSpPr>
          <p:cNvPr id="23" name="Hexagon 22"/>
          <p:cNvSpPr/>
          <p:nvPr/>
        </p:nvSpPr>
        <p:spPr bwMode="auto">
          <a:xfrm>
            <a:off x="11218010" y="1432203"/>
            <a:ext cx="366467" cy="309744"/>
          </a:xfrm>
          <a:prstGeom prst="hexagon">
            <a:avLst/>
          </a:prstGeom>
          <a:solidFill>
            <a:srgbClr val="002060"/>
          </a:solidFill>
          <a:ln w="9525" cap="flat" cmpd="sng" algn="ctr">
            <a:noFill/>
            <a:prstDash val="solid"/>
            <a:headEnd type="none" w="med" len="med"/>
            <a:tailEnd type="none" w="med" len="med"/>
          </a:ln>
          <a:effectLst/>
        </p:spPr>
        <p:txBody>
          <a:bodyPr lIns="91389" tIns="91389" rIns="34275" bIns="34275" rtlCol="0" anchor="b" anchorCtr="0"/>
          <a:lstStyle/>
          <a:p>
            <a:pPr algn="ctr" defTabSz="931776"/>
            <a:endParaRPr lang="en-US" sz="800" kern="0" dirty="0">
              <a:latin typeface="+mj-lt"/>
              <a:ea typeface="Segoe UI" pitchFamily="34" charset="0"/>
              <a:cs typeface="Segoe UI" pitchFamily="34" charset="0"/>
            </a:endParaRPr>
          </a:p>
        </p:txBody>
      </p:sp>
      <p:sp>
        <p:nvSpPr>
          <p:cNvPr id="24" name="Hexagon 23"/>
          <p:cNvSpPr/>
          <p:nvPr/>
        </p:nvSpPr>
        <p:spPr bwMode="auto">
          <a:xfrm>
            <a:off x="11218010" y="1996235"/>
            <a:ext cx="366467" cy="309744"/>
          </a:xfrm>
          <a:prstGeom prst="hexagon">
            <a:avLst/>
          </a:prstGeom>
          <a:solidFill>
            <a:srgbClr val="FF8C00">
              <a:lumMod val="75000"/>
            </a:srgbClr>
          </a:solidFill>
          <a:ln w="9525" cap="flat" cmpd="sng" algn="ctr">
            <a:noFill/>
            <a:prstDash val="solid"/>
            <a:headEnd type="none" w="med" len="med"/>
            <a:tailEnd type="none" w="med" len="med"/>
          </a:ln>
          <a:effectLst/>
        </p:spPr>
        <p:txBody>
          <a:bodyPr lIns="91389" tIns="91389" rIns="34275" bIns="34275" rtlCol="0" anchor="b" anchorCtr="0"/>
          <a:lstStyle/>
          <a:p>
            <a:pPr algn="ctr" defTabSz="931776"/>
            <a:endParaRPr lang="en-US" sz="800" kern="0" dirty="0">
              <a:latin typeface="+mj-lt"/>
              <a:ea typeface="Segoe UI" pitchFamily="34" charset="0"/>
              <a:cs typeface="Segoe UI" pitchFamily="34" charset="0"/>
            </a:endParaRPr>
          </a:p>
        </p:txBody>
      </p:sp>
      <p:sp>
        <p:nvSpPr>
          <p:cNvPr id="25" name="Hexagon 24"/>
          <p:cNvSpPr/>
          <p:nvPr/>
        </p:nvSpPr>
        <p:spPr bwMode="auto">
          <a:xfrm>
            <a:off x="11635257" y="1720988"/>
            <a:ext cx="366467" cy="309744"/>
          </a:xfrm>
          <a:prstGeom prst="hexagon">
            <a:avLst/>
          </a:prstGeom>
          <a:solidFill>
            <a:srgbClr val="7030A0"/>
          </a:solidFill>
          <a:ln w="9525" cap="flat" cmpd="sng" algn="ctr">
            <a:noFill/>
            <a:prstDash val="solid"/>
            <a:headEnd type="none" w="med" len="med"/>
            <a:tailEnd type="none" w="med" len="med"/>
          </a:ln>
          <a:effectLst/>
        </p:spPr>
        <p:txBody>
          <a:bodyPr lIns="91389" tIns="91389" rIns="34275" bIns="34275" rtlCol="0" anchor="b" anchorCtr="0"/>
          <a:lstStyle/>
          <a:p>
            <a:pPr algn="ctr" defTabSz="931776"/>
            <a:endParaRPr lang="en-US" sz="800" kern="0" dirty="0">
              <a:latin typeface="+mj-lt"/>
              <a:ea typeface="Segoe UI" pitchFamily="34" charset="0"/>
              <a:cs typeface="Segoe UI" pitchFamily="34" charset="0"/>
            </a:endParaRPr>
          </a:p>
        </p:txBody>
      </p:sp>
      <p:sp>
        <p:nvSpPr>
          <p:cNvPr id="26" name="Rounded Rectangle 90"/>
          <p:cNvSpPr/>
          <p:nvPr/>
        </p:nvSpPr>
        <p:spPr bwMode="auto">
          <a:xfrm>
            <a:off x="11052596" y="1362514"/>
            <a:ext cx="1023139" cy="1019020"/>
          </a:xfrm>
          <a:prstGeom prst="roundRect">
            <a:avLst/>
          </a:prstGeom>
          <a:noFill/>
          <a:ln w="10795" cap="flat" cmpd="sng" algn="ctr">
            <a:solidFill>
              <a:srgbClr val="404040"/>
            </a:solidFill>
            <a:prstDash val="lgDash"/>
            <a:headEnd type="none" w="med" len="med"/>
            <a:tailEnd type="none" w="med" len="med"/>
          </a:ln>
          <a:effectLst/>
        </p:spPr>
        <p:txBody>
          <a:bodyPr lIns="91389" tIns="91389" rIns="34275" bIns="34275" rtlCol="0" anchor="b" anchorCtr="0"/>
          <a:lstStyle/>
          <a:p>
            <a:pPr algn="ctr" defTabSz="931776">
              <a:defRPr/>
            </a:pPr>
            <a:endParaRPr lang="en-US" sz="800" kern="0" dirty="0">
              <a:latin typeface="+mj-lt"/>
              <a:ea typeface="Segoe UI" pitchFamily="34" charset="0"/>
              <a:cs typeface="Segoe UI" pitchFamily="34" charset="0"/>
            </a:endParaRPr>
          </a:p>
        </p:txBody>
      </p:sp>
      <p:pic>
        <p:nvPicPr>
          <p:cNvPr id="27" name="Picture 26"/>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4408594" y="1444942"/>
            <a:ext cx="605787" cy="602223"/>
          </a:xfrm>
          <a:prstGeom prst="rect">
            <a:avLst/>
          </a:prstGeom>
        </p:spPr>
      </p:pic>
      <p:pic>
        <p:nvPicPr>
          <p:cNvPr id="28" name="Picture 27"/>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4706491" y="1500739"/>
            <a:ext cx="605787" cy="602223"/>
          </a:xfrm>
          <a:prstGeom prst="rect">
            <a:avLst/>
          </a:prstGeom>
        </p:spPr>
      </p:pic>
      <p:pic>
        <p:nvPicPr>
          <p:cNvPr id="29" name="Picture 28"/>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4635956" y="1735450"/>
            <a:ext cx="605787" cy="602223"/>
          </a:xfrm>
          <a:prstGeom prst="rect">
            <a:avLst/>
          </a:prstGeom>
        </p:spPr>
      </p:pic>
      <p:grpSp>
        <p:nvGrpSpPr>
          <p:cNvPr id="30" name="Group 29"/>
          <p:cNvGrpSpPr/>
          <p:nvPr/>
        </p:nvGrpSpPr>
        <p:grpSpPr>
          <a:xfrm>
            <a:off x="9818026" y="1014305"/>
            <a:ext cx="1023139" cy="1367227"/>
            <a:chOff x="9684608" y="945346"/>
            <a:chExt cx="1023560" cy="1367790"/>
          </a:xfrm>
        </p:grpSpPr>
        <p:sp>
          <p:nvSpPr>
            <p:cNvPr id="31" name="Hexagon 30"/>
            <p:cNvSpPr/>
            <p:nvPr/>
          </p:nvSpPr>
          <p:spPr bwMode="auto">
            <a:xfrm>
              <a:off x="9886641" y="1371114"/>
              <a:ext cx="366618" cy="309872"/>
            </a:xfrm>
            <a:prstGeom prst="hexagon">
              <a:avLst/>
            </a:prstGeom>
            <a:solidFill>
              <a:srgbClr val="FF0000"/>
            </a:solidFill>
            <a:ln w="9525" cap="flat" cmpd="sng" algn="ctr">
              <a:noFill/>
              <a:prstDash val="solid"/>
              <a:headEnd type="none" w="med" len="med"/>
              <a:tailEnd type="none" w="med" len="med"/>
            </a:ln>
            <a:effectLst/>
          </p:spPr>
          <p:txBody>
            <a:bodyPr lIns="91389" tIns="91389" rIns="34275" bIns="34275" rtlCol="0" anchor="b" anchorCtr="0"/>
            <a:lstStyle/>
            <a:p>
              <a:pPr algn="ctr" defTabSz="931776">
                <a:defRPr/>
              </a:pPr>
              <a:endParaRPr lang="en-US" sz="800" kern="0" dirty="0">
                <a:latin typeface="+mj-lt"/>
                <a:ea typeface="Segoe UI" pitchFamily="34" charset="0"/>
                <a:cs typeface="Segoe UI" pitchFamily="34" charset="0"/>
              </a:endParaRPr>
            </a:p>
          </p:txBody>
        </p:sp>
        <p:sp>
          <p:nvSpPr>
            <p:cNvPr id="32" name="Hexagon 31"/>
            <p:cNvSpPr/>
            <p:nvPr/>
          </p:nvSpPr>
          <p:spPr bwMode="auto">
            <a:xfrm>
              <a:off x="9886641" y="1935376"/>
              <a:ext cx="366618" cy="309872"/>
            </a:xfrm>
            <a:prstGeom prst="hexagon">
              <a:avLst/>
            </a:prstGeom>
            <a:solidFill>
              <a:srgbClr val="FFC000"/>
            </a:solidFill>
            <a:ln w="9525" cap="flat" cmpd="sng" algn="ctr">
              <a:noFill/>
              <a:prstDash val="solid"/>
              <a:headEnd type="none" w="med" len="med"/>
              <a:tailEnd type="none" w="med" len="med"/>
            </a:ln>
            <a:effectLst/>
          </p:spPr>
          <p:txBody>
            <a:bodyPr lIns="91389" tIns="91389" rIns="34275" bIns="34275" rtlCol="0" anchor="b" anchorCtr="0"/>
            <a:lstStyle/>
            <a:p>
              <a:pPr algn="ctr" defTabSz="931776">
                <a:defRPr/>
              </a:pPr>
              <a:endParaRPr lang="en-US" sz="800" kern="0" dirty="0">
                <a:latin typeface="+mj-lt"/>
                <a:ea typeface="Segoe UI" pitchFamily="34" charset="0"/>
                <a:cs typeface="Segoe UI" pitchFamily="34" charset="0"/>
              </a:endParaRPr>
            </a:p>
          </p:txBody>
        </p:sp>
        <p:sp>
          <p:nvSpPr>
            <p:cNvPr id="33" name="Hexagon 32"/>
            <p:cNvSpPr/>
            <p:nvPr/>
          </p:nvSpPr>
          <p:spPr bwMode="auto">
            <a:xfrm>
              <a:off x="10304059" y="1660017"/>
              <a:ext cx="366618" cy="309872"/>
            </a:xfrm>
            <a:prstGeom prst="hexagon">
              <a:avLst/>
            </a:prstGeom>
            <a:solidFill>
              <a:srgbClr val="92D050"/>
            </a:solidFill>
            <a:ln w="9525" cap="flat" cmpd="sng" algn="ctr">
              <a:noFill/>
              <a:prstDash val="solid"/>
              <a:headEnd type="none" w="med" len="med"/>
              <a:tailEnd type="none" w="med" len="med"/>
            </a:ln>
            <a:effectLst/>
          </p:spPr>
          <p:txBody>
            <a:bodyPr lIns="91389" tIns="91389" rIns="34275" bIns="34275" rtlCol="0" anchor="b" anchorCtr="0"/>
            <a:lstStyle/>
            <a:p>
              <a:pPr algn="ctr" defTabSz="931776">
                <a:defRPr/>
              </a:pPr>
              <a:endParaRPr lang="en-US" sz="800" kern="0" dirty="0">
                <a:latin typeface="+mj-lt"/>
                <a:ea typeface="Segoe UI" pitchFamily="34" charset="0"/>
                <a:cs typeface="Segoe UI" pitchFamily="34" charset="0"/>
              </a:endParaRPr>
            </a:p>
          </p:txBody>
        </p:sp>
        <p:sp>
          <p:nvSpPr>
            <p:cNvPr id="34" name="Rounded Rectangle 89"/>
            <p:cNvSpPr/>
            <p:nvPr/>
          </p:nvSpPr>
          <p:spPr bwMode="auto">
            <a:xfrm>
              <a:off x="9684608" y="1293697"/>
              <a:ext cx="1023560" cy="1019439"/>
            </a:xfrm>
            <a:prstGeom prst="roundRect">
              <a:avLst/>
            </a:prstGeom>
            <a:noFill/>
            <a:ln w="10795" cap="flat" cmpd="sng" algn="ctr">
              <a:solidFill>
                <a:srgbClr val="404040"/>
              </a:solidFill>
              <a:prstDash val="lgDash"/>
              <a:headEnd type="none" w="med" len="med"/>
              <a:tailEnd type="none" w="med" len="med"/>
            </a:ln>
            <a:effectLst/>
          </p:spPr>
          <p:txBody>
            <a:bodyPr lIns="91389" tIns="91389" rIns="34275" bIns="34275" rtlCol="0" anchor="b" anchorCtr="0"/>
            <a:lstStyle/>
            <a:p>
              <a:pPr algn="ctr" defTabSz="931776">
                <a:defRPr/>
              </a:pPr>
              <a:endParaRPr lang="en-US" sz="800" kern="0" dirty="0">
                <a:latin typeface="+mj-lt"/>
                <a:ea typeface="Segoe UI" pitchFamily="34" charset="0"/>
                <a:cs typeface="Segoe UI" pitchFamily="34" charset="0"/>
              </a:endParaRPr>
            </a:p>
          </p:txBody>
        </p:sp>
        <p:sp>
          <p:nvSpPr>
            <p:cNvPr id="35" name="Rectangle 34"/>
            <p:cNvSpPr/>
            <p:nvPr/>
          </p:nvSpPr>
          <p:spPr>
            <a:xfrm>
              <a:off x="9845620" y="945346"/>
              <a:ext cx="749224" cy="376738"/>
            </a:xfrm>
            <a:prstGeom prst="rect">
              <a:avLst/>
            </a:prstGeom>
          </p:spPr>
          <p:txBody>
            <a:bodyPr wrap="none">
              <a:spAutoFit/>
            </a:bodyPr>
            <a:lstStyle/>
            <a:p>
              <a:pPr defTabSz="913958"/>
              <a:r>
                <a:rPr lang="en-US" dirty="0">
                  <a:latin typeface="+mj-lt"/>
                </a:rPr>
                <a:t>App 1</a:t>
              </a:r>
            </a:p>
          </p:txBody>
        </p:sp>
      </p:grpSp>
      <p:sp>
        <p:nvSpPr>
          <p:cNvPr id="36" name="Rectangle 35"/>
          <p:cNvSpPr/>
          <p:nvPr/>
        </p:nvSpPr>
        <p:spPr>
          <a:xfrm>
            <a:off x="11198671" y="1001114"/>
            <a:ext cx="786510" cy="376582"/>
          </a:xfrm>
          <a:prstGeom prst="rect">
            <a:avLst/>
          </a:prstGeom>
        </p:spPr>
        <p:txBody>
          <a:bodyPr wrap="square">
            <a:spAutoFit/>
          </a:bodyPr>
          <a:lstStyle/>
          <a:p>
            <a:pPr defTabSz="913958"/>
            <a:r>
              <a:rPr lang="en-US" dirty="0">
                <a:latin typeface="+mj-lt"/>
              </a:rPr>
              <a:t>App 2</a:t>
            </a:r>
          </a:p>
        </p:txBody>
      </p:sp>
      <p:sp>
        <p:nvSpPr>
          <p:cNvPr id="37" name="Hexagon 36"/>
          <p:cNvSpPr/>
          <p:nvPr/>
        </p:nvSpPr>
        <p:spPr bwMode="auto">
          <a:xfrm>
            <a:off x="11258352" y="1486604"/>
            <a:ext cx="272738" cy="244000"/>
          </a:xfrm>
          <a:prstGeom prst="hexagon">
            <a:avLst/>
          </a:prstGeom>
          <a:solidFill>
            <a:srgbClr val="002060"/>
          </a:solidFill>
          <a:ln w="9525" cap="flat" cmpd="sng" algn="ctr">
            <a:noFill/>
            <a:prstDash val="solid"/>
            <a:headEnd type="none" w="med" len="med"/>
            <a:tailEnd type="none" w="med" len="med"/>
          </a:ln>
          <a:effectLst/>
        </p:spPr>
        <p:txBody>
          <a:bodyPr lIns="91389" tIns="91389" rIns="34275" bIns="34275" rtlCol="0" anchor="b" anchorCtr="0"/>
          <a:lstStyle/>
          <a:p>
            <a:pPr algn="ctr" defTabSz="931776"/>
            <a:endParaRPr lang="en-US" sz="800" kern="0" dirty="0">
              <a:latin typeface="+mj-lt"/>
              <a:ea typeface="Segoe UI" pitchFamily="34" charset="0"/>
              <a:cs typeface="Segoe UI" pitchFamily="34" charset="0"/>
            </a:endParaRPr>
          </a:p>
        </p:txBody>
      </p:sp>
      <p:sp>
        <p:nvSpPr>
          <p:cNvPr id="38" name="Hexagon 37"/>
          <p:cNvSpPr/>
          <p:nvPr/>
        </p:nvSpPr>
        <p:spPr bwMode="auto">
          <a:xfrm>
            <a:off x="11258352" y="1477415"/>
            <a:ext cx="272738" cy="244000"/>
          </a:xfrm>
          <a:prstGeom prst="hexagon">
            <a:avLst/>
          </a:prstGeom>
          <a:solidFill>
            <a:srgbClr val="002060"/>
          </a:solidFill>
          <a:ln w="9525" cap="flat" cmpd="sng" algn="ctr">
            <a:noFill/>
            <a:prstDash val="solid"/>
            <a:headEnd type="none" w="med" len="med"/>
            <a:tailEnd type="none" w="med" len="med"/>
          </a:ln>
          <a:effectLst/>
        </p:spPr>
        <p:txBody>
          <a:bodyPr lIns="91389" tIns="91389" rIns="34275" bIns="34275" rtlCol="0" anchor="b" anchorCtr="0"/>
          <a:lstStyle/>
          <a:p>
            <a:pPr algn="ctr" defTabSz="931776"/>
            <a:endParaRPr lang="en-US" sz="800" kern="0" dirty="0">
              <a:latin typeface="+mj-lt"/>
              <a:ea typeface="Segoe UI" pitchFamily="34" charset="0"/>
              <a:cs typeface="Segoe UI" pitchFamily="34" charset="0"/>
            </a:endParaRPr>
          </a:p>
        </p:txBody>
      </p:sp>
      <p:sp>
        <p:nvSpPr>
          <p:cNvPr id="39" name="Hexagon 38"/>
          <p:cNvSpPr/>
          <p:nvPr/>
        </p:nvSpPr>
        <p:spPr bwMode="auto">
          <a:xfrm>
            <a:off x="11273336" y="1434268"/>
            <a:ext cx="272738" cy="244000"/>
          </a:xfrm>
          <a:prstGeom prst="hexagon">
            <a:avLst/>
          </a:prstGeom>
          <a:solidFill>
            <a:srgbClr val="002060"/>
          </a:solidFill>
          <a:ln w="9525" cap="flat" cmpd="sng" algn="ctr">
            <a:noFill/>
            <a:prstDash val="solid"/>
            <a:headEnd type="none" w="med" len="med"/>
            <a:tailEnd type="none" w="med" len="med"/>
          </a:ln>
          <a:effectLst/>
        </p:spPr>
        <p:txBody>
          <a:bodyPr lIns="91389" tIns="91389" rIns="34275" bIns="34275" rtlCol="0" anchor="b" anchorCtr="0"/>
          <a:lstStyle/>
          <a:p>
            <a:pPr algn="ctr" defTabSz="931776"/>
            <a:endParaRPr lang="en-US" sz="800" kern="0" dirty="0">
              <a:latin typeface="+mj-lt"/>
              <a:ea typeface="Segoe UI" pitchFamily="34" charset="0"/>
              <a:cs typeface="Segoe UI" pitchFamily="34" charset="0"/>
            </a:endParaRPr>
          </a:p>
        </p:txBody>
      </p:sp>
      <p:sp>
        <p:nvSpPr>
          <p:cNvPr id="40" name="Hexagon 39"/>
          <p:cNvSpPr/>
          <p:nvPr/>
        </p:nvSpPr>
        <p:spPr bwMode="auto">
          <a:xfrm>
            <a:off x="11219092" y="2018162"/>
            <a:ext cx="272738" cy="244000"/>
          </a:xfrm>
          <a:prstGeom prst="hexagon">
            <a:avLst/>
          </a:prstGeom>
          <a:solidFill>
            <a:srgbClr val="FF8C00">
              <a:lumMod val="75000"/>
            </a:srgbClr>
          </a:solidFill>
          <a:ln w="9525" cap="flat" cmpd="sng" algn="ctr">
            <a:noFill/>
            <a:prstDash val="solid"/>
            <a:headEnd type="none" w="med" len="med"/>
            <a:tailEnd type="none" w="med" len="med"/>
          </a:ln>
          <a:effectLst/>
        </p:spPr>
        <p:txBody>
          <a:bodyPr lIns="91389" tIns="91389" rIns="34275" bIns="34275" rtlCol="0" anchor="b" anchorCtr="0"/>
          <a:lstStyle/>
          <a:p>
            <a:pPr algn="ctr" defTabSz="931776"/>
            <a:endParaRPr lang="en-US" sz="800" kern="0" dirty="0">
              <a:latin typeface="+mj-lt"/>
              <a:ea typeface="Segoe UI" pitchFamily="34" charset="0"/>
              <a:cs typeface="Segoe UI" pitchFamily="34" charset="0"/>
            </a:endParaRPr>
          </a:p>
        </p:txBody>
      </p:sp>
      <p:sp>
        <p:nvSpPr>
          <p:cNvPr id="41" name="Hexagon 40"/>
          <p:cNvSpPr/>
          <p:nvPr/>
        </p:nvSpPr>
        <p:spPr bwMode="auto">
          <a:xfrm>
            <a:off x="11710875" y="1740278"/>
            <a:ext cx="272738" cy="244000"/>
          </a:xfrm>
          <a:prstGeom prst="hexagon">
            <a:avLst/>
          </a:prstGeom>
          <a:solidFill>
            <a:srgbClr val="7030A0"/>
          </a:solidFill>
          <a:ln w="9525" cap="flat" cmpd="sng" algn="ctr">
            <a:noFill/>
            <a:prstDash val="solid"/>
            <a:headEnd type="none" w="med" len="med"/>
            <a:tailEnd type="none" w="med" len="med"/>
          </a:ln>
          <a:effectLst/>
        </p:spPr>
        <p:txBody>
          <a:bodyPr lIns="91389" tIns="91389" rIns="34275" bIns="34275" rtlCol="0" anchor="b" anchorCtr="0"/>
          <a:lstStyle/>
          <a:p>
            <a:pPr algn="ctr" defTabSz="931776"/>
            <a:endParaRPr lang="en-US" sz="800" kern="0" dirty="0">
              <a:latin typeface="+mj-lt"/>
              <a:ea typeface="Segoe UI" pitchFamily="34" charset="0"/>
              <a:cs typeface="Segoe UI" pitchFamily="34" charset="0"/>
            </a:endParaRPr>
          </a:p>
        </p:txBody>
      </p:sp>
      <p:sp>
        <p:nvSpPr>
          <p:cNvPr id="42" name="Hexagon 41"/>
          <p:cNvSpPr/>
          <p:nvPr/>
        </p:nvSpPr>
        <p:spPr bwMode="auto">
          <a:xfrm>
            <a:off x="11673246" y="1737315"/>
            <a:ext cx="272738" cy="244000"/>
          </a:xfrm>
          <a:prstGeom prst="hexagon">
            <a:avLst/>
          </a:prstGeom>
          <a:solidFill>
            <a:srgbClr val="7030A0"/>
          </a:solidFill>
          <a:ln w="9525" cap="flat" cmpd="sng" algn="ctr">
            <a:noFill/>
            <a:prstDash val="solid"/>
            <a:headEnd type="none" w="med" len="med"/>
            <a:tailEnd type="none" w="med" len="med"/>
          </a:ln>
          <a:effectLst/>
        </p:spPr>
        <p:txBody>
          <a:bodyPr lIns="91389" tIns="91389" rIns="34275" bIns="34275" rtlCol="0" anchor="b" anchorCtr="0"/>
          <a:lstStyle/>
          <a:p>
            <a:pPr algn="ctr" defTabSz="931776"/>
            <a:endParaRPr lang="en-US" sz="800" kern="0" dirty="0">
              <a:latin typeface="+mj-lt"/>
              <a:ea typeface="Segoe UI" pitchFamily="34" charset="0"/>
              <a:cs typeface="Segoe UI" pitchFamily="34" charset="0"/>
            </a:endParaRPr>
          </a:p>
        </p:txBody>
      </p:sp>
      <p:sp>
        <p:nvSpPr>
          <p:cNvPr id="43" name="Hexagon 42"/>
          <p:cNvSpPr/>
          <p:nvPr/>
        </p:nvSpPr>
        <p:spPr bwMode="auto">
          <a:xfrm>
            <a:off x="11284176" y="2030863"/>
            <a:ext cx="272738" cy="244000"/>
          </a:xfrm>
          <a:prstGeom prst="hexagon">
            <a:avLst/>
          </a:prstGeom>
          <a:solidFill>
            <a:srgbClr val="FF8C00">
              <a:lumMod val="75000"/>
            </a:srgbClr>
          </a:solidFill>
          <a:ln w="9525" cap="flat" cmpd="sng" algn="ctr">
            <a:noFill/>
            <a:prstDash val="solid"/>
            <a:headEnd type="none" w="med" len="med"/>
            <a:tailEnd type="none" w="med" len="med"/>
          </a:ln>
          <a:effectLst/>
        </p:spPr>
        <p:txBody>
          <a:bodyPr lIns="91389" tIns="91389" rIns="34275" bIns="34275" rtlCol="0" anchor="b" anchorCtr="0"/>
          <a:lstStyle/>
          <a:p>
            <a:pPr algn="ctr" defTabSz="931776"/>
            <a:endParaRPr lang="en-US" sz="800" kern="0" dirty="0">
              <a:latin typeface="+mj-lt"/>
              <a:ea typeface="Segoe UI" pitchFamily="34" charset="0"/>
              <a:cs typeface="Segoe UI" pitchFamily="34" charset="0"/>
            </a:endParaRPr>
          </a:p>
        </p:txBody>
      </p:sp>
      <p:grpSp>
        <p:nvGrpSpPr>
          <p:cNvPr id="44" name="Group 43"/>
          <p:cNvGrpSpPr/>
          <p:nvPr/>
        </p:nvGrpSpPr>
        <p:grpSpPr>
          <a:xfrm>
            <a:off x="4329821" y="1043593"/>
            <a:ext cx="1023139" cy="1340758"/>
            <a:chOff x="4004846" y="965905"/>
            <a:chExt cx="1023560" cy="1341310"/>
          </a:xfrm>
        </p:grpSpPr>
        <p:sp>
          <p:nvSpPr>
            <p:cNvPr id="45" name="Rounded Rectangle 61"/>
            <p:cNvSpPr/>
            <p:nvPr/>
          </p:nvSpPr>
          <p:spPr bwMode="auto">
            <a:xfrm>
              <a:off x="4004846" y="1287776"/>
              <a:ext cx="1023560" cy="1019439"/>
            </a:xfrm>
            <a:prstGeom prst="roundRect">
              <a:avLst/>
            </a:prstGeom>
            <a:solidFill>
              <a:sysClr val="window" lastClr="FFFFFF">
                <a:lumMod val="75000"/>
              </a:sysClr>
            </a:solidFill>
            <a:ln w="10795" cap="flat" cmpd="sng" algn="ctr">
              <a:solidFill>
                <a:srgbClr val="404040"/>
              </a:solidFill>
              <a:prstDash val="solid"/>
              <a:headEnd type="none" w="med" len="med"/>
              <a:tailEnd type="none" w="med" len="med"/>
            </a:ln>
            <a:effectLst/>
          </p:spPr>
          <p:txBody>
            <a:bodyPr lIns="91389" tIns="91389" rIns="34275" bIns="34275" rtlCol="0" anchor="b" anchorCtr="0"/>
            <a:lstStyle/>
            <a:p>
              <a:pPr algn="ctr" defTabSz="931776">
                <a:defRPr/>
              </a:pPr>
              <a:endParaRPr lang="en-US" sz="800" kern="0" dirty="0">
                <a:latin typeface="+mj-lt"/>
                <a:ea typeface="Segoe UI" pitchFamily="34" charset="0"/>
                <a:cs typeface="Segoe UI" pitchFamily="34" charset="0"/>
              </a:endParaRPr>
            </a:p>
          </p:txBody>
        </p:sp>
        <p:sp>
          <p:nvSpPr>
            <p:cNvPr id="46" name="Rectangle 45"/>
            <p:cNvSpPr/>
            <p:nvPr/>
          </p:nvSpPr>
          <p:spPr>
            <a:xfrm>
              <a:off x="4096326" y="1489621"/>
              <a:ext cx="286870" cy="309872"/>
            </a:xfrm>
            <a:prstGeom prst="rect">
              <a:avLst/>
            </a:prstGeom>
            <a:solidFill>
              <a:srgbClr val="FF0000"/>
            </a:solidFill>
            <a:ln w="9525" cap="flat" cmpd="sng" algn="ctr">
              <a:noFill/>
              <a:prstDash val="solid"/>
              <a:headEnd type="none" w="med" len="med"/>
              <a:tailEnd type="none" w="med" len="med"/>
            </a:ln>
            <a:effectLst/>
          </p:spPr>
          <p:txBody>
            <a:bodyPr lIns="91389" tIns="91389" rIns="34275" bIns="34275" rtlCol="0" anchor="b" anchorCtr="0"/>
            <a:lstStyle/>
            <a:p>
              <a:pPr algn="ctr" defTabSz="931776"/>
              <a:endParaRPr lang="en-US" sz="800" kern="0">
                <a:latin typeface="+mj-lt"/>
                <a:ea typeface="Segoe UI" pitchFamily="34" charset="0"/>
                <a:cs typeface="Segoe UI" pitchFamily="34" charset="0"/>
              </a:endParaRPr>
            </a:p>
          </p:txBody>
        </p:sp>
        <p:sp>
          <p:nvSpPr>
            <p:cNvPr id="47" name="Rectangle 46"/>
            <p:cNvSpPr/>
            <p:nvPr/>
          </p:nvSpPr>
          <p:spPr>
            <a:xfrm>
              <a:off x="4383196" y="1884030"/>
              <a:ext cx="286870" cy="309872"/>
            </a:xfrm>
            <a:prstGeom prst="rect">
              <a:avLst/>
            </a:prstGeom>
            <a:solidFill>
              <a:srgbClr val="92D050"/>
            </a:solidFill>
            <a:ln w="9525" cap="flat" cmpd="sng" algn="ctr">
              <a:noFill/>
              <a:prstDash val="solid"/>
              <a:headEnd type="none" w="med" len="med"/>
              <a:tailEnd type="none" w="med" len="med"/>
            </a:ln>
            <a:effectLst/>
          </p:spPr>
          <p:txBody>
            <a:bodyPr lIns="91389" tIns="91389" rIns="34275" bIns="34275" rtlCol="0" anchor="b" anchorCtr="0"/>
            <a:lstStyle/>
            <a:p>
              <a:pPr algn="ctr" defTabSz="931776"/>
              <a:endParaRPr lang="en-US" sz="800" kern="0">
                <a:latin typeface="+mj-lt"/>
                <a:ea typeface="Segoe UI" pitchFamily="34" charset="0"/>
                <a:cs typeface="Segoe UI" pitchFamily="34" charset="0"/>
              </a:endParaRPr>
            </a:p>
          </p:txBody>
        </p:sp>
        <p:sp>
          <p:nvSpPr>
            <p:cNvPr id="48" name="Rectangle 47"/>
            <p:cNvSpPr/>
            <p:nvPr/>
          </p:nvSpPr>
          <p:spPr>
            <a:xfrm>
              <a:off x="4670066" y="1489621"/>
              <a:ext cx="286870" cy="309872"/>
            </a:xfrm>
            <a:prstGeom prst="rect">
              <a:avLst/>
            </a:prstGeom>
            <a:solidFill>
              <a:srgbClr val="FFC000"/>
            </a:solidFill>
            <a:ln w="9525" cap="flat" cmpd="sng" algn="ctr">
              <a:noFill/>
              <a:prstDash val="solid"/>
              <a:headEnd type="none" w="med" len="med"/>
              <a:tailEnd type="none" w="med" len="med"/>
            </a:ln>
            <a:effectLst/>
          </p:spPr>
          <p:txBody>
            <a:bodyPr lIns="91389" tIns="91389" rIns="34275" bIns="34275" rtlCol="0" anchor="b" anchorCtr="0"/>
            <a:lstStyle/>
            <a:p>
              <a:pPr algn="ctr" defTabSz="931776"/>
              <a:endParaRPr lang="en-US" sz="800" kern="0">
                <a:latin typeface="+mj-lt"/>
                <a:ea typeface="Segoe UI" pitchFamily="34" charset="0"/>
                <a:cs typeface="Segoe UI" pitchFamily="34" charset="0"/>
              </a:endParaRPr>
            </a:p>
          </p:txBody>
        </p:sp>
        <p:sp>
          <p:nvSpPr>
            <p:cNvPr id="49" name="Rectangle 48"/>
            <p:cNvSpPr/>
            <p:nvPr/>
          </p:nvSpPr>
          <p:spPr>
            <a:xfrm>
              <a:off x="4160987" y="965905"/>
              <a:ext cx="749224" cy="376738"/>
            </a:xfrm>
            <a:prstGeom prst="rect">
              <a:avLst/>
            </a:prstGeom>
          </p:spPr>
          <p:txBody>
            <a:bodyPr wrap="none">
              <a:spAutoFit/>
            </a:bodyPr>
            <a:lstStyle/>
            <a:p>
              <a:pPr defTabSz="913958"/>
              <a:r>
                <a:rPr lang="en-US" dirty="0">
                  <a:latin typeface="+mj-lt"/>
                </a:rPr>
                <a:t>App 1</a:t>
              </a:r>
            </a:p>
          </p:txBody>
        </p:sp>
      </p:grpSp>
      <p:sp>
        <p:nvSpPr>
          <p:cNvPr id="50" name="Hexagon 49"/>
          <p:cNvSpPr/>
          <p:nvPr/>
        </p:nvSpPr>
        <p:spPr bwMode="auto">
          <a:xfrm>
            <a:off x="10053773" y="2042546"/>
            <a:ext cx="272738" cy="244000"/>
          </a:xfrm>
          <a:prstGeom prst="hexagon">
            <a:avLst/>
          </a:prstGeom>
          <a:solidFill>
            <a:srgbClr val="FFC000"/>
          </a:solidFill>
          <a:ln w="9525" cap="flat" cmpd="sng" algn="ctr">
            <a:noFill/>
            <a:prstDash val="solid"/>
            <a:headEnd type="none" w="med" len="med"/>
            <a:tailEnd type="none" w="med" len="med"/>
          </a:ln>
          <a:effectLst/>
        </p:spPr>
        <p:txBody>
          <a:bodyPr lIns="91389" tIns="91389" rIns="34275" bIns="34275" rtlCol="0" anchor="b" anchorCtr="0"/>
          <a:lstStyle/>
          <a:p>
            <a:pPr algn="ctr" defTabSz="931776">
              <a:defRPr/>
            </a:pPr>
            <a:endParaRPr lang="en-US" sz="800" kern="0" dirty="0">
              <a:latin typeface="+mj-lt"/>
              <a:ea typeface="Segoe UI" pitchFamily="34" charset="0"/>
              <a:cs typeface="Segoe UI" pitchFamily="34" charset="0"/>
            </a:endParaRPr>
          </a:p>
        </p:txBody>
      </p:sp>
      <p:sp>
        <p:nvSpPr>
          <p:cNvPr id="51" name="Hexagon 50"/>
          <p:cNvSpPr/>
          <p:nvPr/>
        </p:nvSpPr>
        <p:spPr bwMode="auto">
          <a:xfrm>
            <a:off x="10037137" y="2030730"/>
            <a:ext cx="272738" cy="244000"/>
          </a:xfrm>
          <a:prstGeom prst="hexagon">
            <a:avLst/>
          </a:prstGeom>
          <a:solidFill>
            <a:srgbClr val="FFC000"/>
          </a:solidFill>
          <a:ln w="9525" cap="flat" cmpd="sng" algn="ctr">
            <a:noFill/>
            <a:prstDash val="solid"/>
            <a:headEnd type="none" w="med" len="med"/>
            <a:tailEnd type="none" w="med" len="med"/>
          </a:ln>
          <a:effectLst/>
        </p:spPr>
        <p:txBody>
          <a:bodyPr lIns="91389" tIns="91389" rIns="34275" bIns="34275" rtlCol="0" anchor="b" anchorCtr="0"/>
          <a:lstStyle/>
          <a:p>
            <a:pPr algn="ctr" defTabSz="931776">
              <a:defRPr/>
            </a:pPr>
            <a:endParaRPr lang="en-US" sz="800" kern="0" dirty="0">
              <a:latin typeface="+mj-lt"/>
              <a:ea typeface="Segoe UI" pitchFamily="34" charset="0"/>
              <a:cs typeface="Segoe UI" pitchFamily="34" charset="0"/>
            </a:endParaRPr>
          </a:p>
        </p:txBody>
      </p:sp>
      <p:sp>
        <p:nvSpPr>
          <p:cNvPr id="52" name="Hexagon 51"/>
          <p:cNvSpPr/>
          <p:nvPr/>
        </p:nvSpPr>
        <p:spPr bwMode="auto">
          <a:xfrm>
            <a:off x="11252647" y="1469914"/>
            <a:ext cx="272738" cy="244000"/>
          </a:xfrm>
          <a:prstGeom prst="hexagon">
            <a:avLst/>
          </a:prstGeom>
          <a:solidFill>
            <a:srgbClr val="002060"/>
          </a:solidFill>
          <a:ln w="9525" cap="flat" cmpd="sng" algn="ctr">
            <a:noFill/>
            <a:prstDash val="solid"/>
            <a:headEnd type="none" w="med" len="med"/>
            <a:tailEnd type="none" w="med" len="med"/>
          </a:ln>
          <a:effectLst/>
        </p:spPr>
        <p:txBody>
          <a:bodyPr lIns="91389" tIns="91389" rIns="34275" bIns="34275" rtlCol="0" anchor="b" anchorCtr="0"/>
          <a:lstStyle/>
          <a:p>
            <a:pPr algn="ctr" defTabSz="931776"/>
            <a:endParaRPr lang="en-US" sz="800" kern="0" dirty="0">
              <a:latin typeface="+mj-lt"/>
              <a:ea typeface="Segoe UI" pitchFamily="34" charset="0"/>
              <a:cs typeface="Segoe UI" pitchFamily="34" charset="0"/>
            </a:endParaRPr>
          </a:p>
        </p:txBody>
      </p:sp>
      <p:sp>
        <p:nvSpPr>
          <p:cNvPr id="53" name="Hexagon 52"/>
          <p:cNvSpPr/>
          <p:nvPr/>
        </p:nvSpPr>
        <p:spPr bwMode="auto">
          <a:xfrm>
            <a:off x="11258399" y="1482744"/>
            <a:ext cx="272738" cy="244000"/>
          </a:xfrm>
          <a:prstGeom prst="hexagon">
            <a:avLst/>
          </a:prstGeom>
          <a:solidFill>
            <a:srgbClr val="002060"/>
          </a:solidFill>
          <a:ln w="9525" cap="flat" cmpd="sng" algn="ctr">
            <a:noFill/>
            <a:prstDash val="solid"/>
            <a:headEnd type="none" w="med" len="med"/>
            <a:tailEnd type="none" w="med" len="med"/>
          </a:ln>
          <a:effectLst/>
        </p:spPr>
        <p:txBody>
          <a:bodyPr lIns="91389" tIns="91389" rIns="34275" bIns="34275" rtlCol="0" anchor="b" anchorCtr="0"/>
          <a:lstStyle/>
          <a:p>
            <a:pPr algn="ctr" defTabSz="931776"/>
            <a:endParaRPr lang="en-US" sz="800" kern="0" dirty="0">
              <a:latin typeface="+mj-lt"/>
              <a:ea typeface="Segoe UI" pitchFamily="34" charset="0"/>
              <a:cs typeface="Segoe UI" pitchFamily="34" charset="0"/>
            </a:endParaRPr>
          </a:p>
        </p:txBody>
      </p:sp>
      <p:sp>
        <p:nvSpPr>
          <p:cNvPr id="54" name="Hexagon 53"/>
          <p:cNvSpPr/>
          <p:nvPr/>
        </p:nvSpPr>
        <p:spPr bwMode="auto">
          <a:xfrm>
            <a:off x="11212259" y="1436356"/>
            <a:ext cx="272738" cy="244000"/>
          </a:xfrm>
          <a:prstGeom prst="hexagon">
            <a:avLst/>
          </a:prstGeom>
          <a:solidFill>
            <a:srgbClr val="002060"/>
          </a:solidFill>
          <a:ln w="9525" cap="flat" cmpd="sng" algn="ctr">
            <a:noFill/>
            <a:prstDash val="solid"/>
            <a:headEnd type="none" w="med" len="med"/>
            <a:tailEnd type="none" w="med" len="med"/>
          </a:ln>
          <a:effectLst/>
        </p:spPr>
        <p:txBody>
          <a:bodyPr lIns="91389" tIns="91389" rIns="34275" bIns="34275" rtlCol="0" anchor="b" anchorCtr="0"/>
          <a:lstStyle/>
          <a:p>
            <a:pPr algn="ctr" defTabSz="931776"/>
            <a:endParaRPr lang="en-US" sz="800" kern="0" dirty="0">
              <a:latin typeface="+mj-lt"/>
              <a:ea typeface="Segoe UI" pitchFamily="34" charset="0"/>
              <a:cs typeface="Segoe UI" pitchFamily="34" charset="0"/>
            </a:endParaRPr>
          </a:p>
        </p:txBody>
      </p:sp>
      <p:sp>
        <p:nvSpPr>
          <p:cNvPr id="55" name="Hexagon 54"/>
          <p:cNvSpPr/>
          <p:nvPr/>
        </p:nvSpPr>
        <p:spPr bwMode="auto">
          <a:xfrm>
            <a:off x="10479765" y="1781782"/>
            <a:ext cx="272738" cy="244000"/>
          </a:xfrm>
          <a:prstGeom prst="hexagon">
            <a:avLst/>
          </a:prstGeom>
          <a:solidFill>
            <a:srgbClr val="92D050"/>
          </a:solidFill>
          <a:ln w="9525" cap="flat" cmpd="sng" algn="ctr">
            <a:noFill/>
            <a:prstDash val="solid"/>
            <a:headEnd type="none" w="med" len="med"/>
            <a:tailEnd type="none" w="med" len="med"/>
          </a:ln>
          <a:effectLst/>
        </p:spPr>
        <p:txBody>
          <a:bodyPr lIns="91389" tIns="91389" rIns="34275" bIns="34275" rtlCol="0" anchor="b" anchorCtr="0"/>
          <a:lstStyle/>
          <a:p>
            <a:pPr algn="ctr" defTabSz="931776">
              <a:defRPr/>
            </a:pPr>
            <a:endParaRPr lang="en-US" sz="800" kern="0" dirty="0">
              <a:latin typeface="+mj-lt"/>
              <a:ea typeface="Segoe UI" pitchFamily="34" charset="0"/>
              <a:cs typeface="Segoe UI" pitchFamily="34" charset="0"/>
            </a:endParaRPr>
          </a:p>
        </p:txBody>
      </p:sp>
      <p:sp>
        <p:nvSpPr>
          <p:cNvPr id="56" name="Hexagon 55"/>
          <p:cNvSpPr/>
          <p:nvPr/>
        </p:nvSpPr>
        <p:spPr bwMode="auto">
          <a:xfrm>
            <a:off x="10501297" y="1777414"/>
            <a:ext cx="272738" cy="244000"/>
          </a:xfrm>
          <a:prstGeom prst="hexagon">
            <a:avLst/>
          </a:prstGeom>
          <a:solidFill>
            <a:srgbClr val="92D050"/>
          </a:solidFill>
          <a:ln w="9525" cap="flat" cmpd="sng" algn="ctr">
            <a:noFill/>
            <a:prstDash val="solid"/>
            <a:headEnd type="none" w="med" len="med"/>
            <a:tailEnd type="none" w="med" len="med"/>
          </a:ln>
          <a:effectLst/>
        </p:spPr>
        <p:txBody>
          <a:bodyPr lIns="91389" tIns="91389" rIns="34275" bIns="34275" rtlCol="0" anchor="b" anchorCtr="0"/>
          <a:lstStyle/>
          <a:p>
            <a:pPr algn="ctr" defTabSz="931776">
              <a:defRPr/>
            </a:pPr>
            <a:endParaRPr lang="en-US" sz="800" kern="0" dirty="0">
              <a:latin typeface="+mj-lt"/>
              <a:ea typeface="Segoe UI" pitchFamily="34" charset="0"/>
              <a:cs typeface="Segoe UI" pitchFamily="34" charset="0"/>
            </a:endParaRPr>
          </a:p>
        </p:txBody>
      </p:sp>
      <p:sp>
        <p:nvSpPr>
          <p:cNvPr id="57" name="Title 2"/>
          <p:cNvSpPr txBox="1">
            <a:spLocks/>
          </p:cNvSpPr>
          <p:nvPr/>
        </p:nvSpPr>
        <p:spPr>
          <a:xfrm>
            <a:off x="6406479" y="295279"/>
            <a:ext cx="5329728" cy="831506"/>
          </a:xfrm>
          <a:prstGeom prst="rect">
            <a:avLst/>
          </a:prstGeom>
        </p:spPr>
        <p:txBody>
          <a:bodyPr vert="horz" wrap="square" lIns="146304" tIns="91440" rIns="146304" bIns="91440" rtlCol="0" anchor="t">
            <a:noAutofit/>
          </a:bodyPr>
          <a:lstStyle>
            <a:lvl1pPr algn="l" defTabSz="932594" rtl="0" eaLnBrk="1" latinLnBrk="0" hangingPunct="1">
              <a:lnSpc>
                <a:spcPct val="90000"/>
              </a:lnSpc>
              <a:spcBef>
                <a:spcPct val="0"/>
              </a:spcBef>
              <a:buNone/>
              <a:defRPr lang="en-US" sz="4800" b="0" kern="1200" cap="none" spc="-101" baseline="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2800" b="1" dirty="0">
                <a:solidFill>
                  <a:srgbClr val="00B050"/>
                </a:solidFill>
              </a:rPr>
              <a:t>Microservices</a:t>
            </a:r>
            <a:r>
              <a:rPr lang="en-US" sz="2800" dirty="0"/>
              <a:t> application approach</a:t>
            </a:r>
          </a:p>
        </p:txBody>
      </p:sp>
      <p:cxnSp>
        <p:nvCxnSpPr>
          <p:cNvPr id="59" name="Straight Connector 58"/>
          <p:cNvCxnSpPr>
            <a:cxnSpLocks/>
          </p:cNvCxnSpPr>
          <p:nvPr/>
        </p:nvCxnSpPr>
        <p:spPr>
          <a:xfrm>
            <a:off x="6017741" y="363493"/>
            <a:ext cx="0" cy="6346226"/>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9359444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par>
                                <p:cTn id="8" presetID="10" presetClass="entr" presetSubtype="0" fill="hold"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fade">
                                      <p:cBhvr>
                                        <p:cTn id="10" dur="500"/>
                                        <p:tgtEl>
                                          <p:spTgt spid="7"/>
                                        </p:tgtEl>
                                      </p:cBhvr>
                                    </p:animEffect>
                                  </p:childTnLst>
                                </p:cTn>
                              </p:par>
                              <p:par>
                                <p:cTn id="11" presetID="10" presetClass="entr" presetSubtype="0" fill="hold" nodeType="withEffect">
                                  <p:stCondLst>
                                    <p:cond delay="0"/>
                                  </p:stCondLst>
                                  <p:childTnLst>
                                    <p:set>
                                      <p:cBhvr>
                                        <p:cTn id="12" dur="1" fill="hold">
                                          <p:stCondLst>
                                            <p:cond delay="0"/>
                                          </p:stCondLst>
                                        </p:cTn>
                                        <p:tgtEl>
                                          <p:spTgt spid="8"/>
                                        </p:tgtEl>
                                        <p:attrNameLst>
                                          <p:attrName>style.visibility</p:attrName>
                                        </p:attrNameLst>
                                      </p:cBhvr>
                                      <p:to>
                                        <p:strVal val="visible"/>
                                      </p:to>
                                    </p:set>
                                    <p:animEffect transition="in" filter="fade">
                                      <p:cBhvr>
                                        <p:cTn id="13" dur="500"/>
                                        <p:tgtEl>
                                          <p:spTgt spid="8"/>
                                        </p:tgtEl>
                                      </p:cBhvr>
                                    </p:animEffect>
                                  </p:childTnLst>
                                </p:cTn>
                              </p:par>
                              <p:par>
                                <p:cTn id="14" presetID="42" presetClass="path" presetSubtype="0" accel="50000" decel="50000" fill="hold" nodeType="withEffect">
                                  <p:stCondLst>
                                    <p:cond delay="0"/>
                                  </p:stCondLst>
                                  <p:childTnLst>
                                    <p:animMotion origin="layout" path="M -3.3878E-6 1.64321E-6 L -0.14488 0.29619 " pathEditMode="relative" rAng="0" ptsTypes="AA">
                                      <p:cBhvr>
                                        <p:cTn id="15" dur="2000" fill="hold"/>
                                        <p:tgtEl>
                                          <p:spTgt spid="27"/>
                                        </p:tgtEl>
                                        <p:attrNameLst>
                                          <p:attrName>ppt_x</p:attrName>
                                          <p:attrName>ppt_y</p:attrName>
                                        </p:attrNameLst>
                                      </p:cBhvr>
                                      <p:rCtr x="-7250" y="14798"/>
                                    </p:animMotion>
                                  </p:childTnLst>
                                </p:cTn>
                              </p:par>
                              <p:par>
                                <p:cTn id="16" presetID="42" presetClass="path" presetSubtype="0" accel="50000" decel="50000" fill="hold" nodeType="withEffect">
                                  <p:stCondLst>
                                    <p:cond delay="0"/>
                                  </p:stCondLst>
                                  <p:childTnLst>
                                    <p:animMotion origin="layout" path="M -1.34542E-6 -2.0699E-6 L -0.16888 0.41058 " pathEditMode="relative" rAng="0" ptsTypes="AA">
                                      <p:cBhvr>
                                        <p:cTn id="17" dur="2000" fill="hold"/>
                                        <p:tgtEl>
                                          <p:spTgt spid="28"/>
                                        </p:tgtEl>
                                        <p:attrNameLst>
                                          <p:attrName>ppt_x</p:attrName>
                                          <p:attrName>ppt_y</p:attrName>
                                        </p:attrNameLst>
                                      </p:cBhvr>
                                      <p:rCtr x="-8450" y="20517"/>
                                    </p:animMotion>
                                  </p:childTnLst>
                                </p:cTn>
                              </p:par>
                              <p:par>
                                <p:cTn id="18" presetID="42" presetClass="path" presetSubtype="0" accel="50000" decel="50000" fill="hold" nodeType="withEffect">
                                  <p:stCondLst>
                                    <p:cond delay="0"/>
                                  </p:stCondLst>
                                  <p:childTnLst>
                                    <p:animMotion origin="layout" path="M -4.80214E-6 -2.62823E-6 L -0.16517 0.49456 " pathEditMode="relative" rAng="0" ptsTypes="AA">
                                      <p:cBhvr>
                                        <p:cTn id="19" dur="2000" fill="hold"/>
                                        <p:tgtEl>
                                          <p:spTgt spid="29"/>
                                        </p:tgtEl>
                                        <p:attrNameLst>
                                          <p:attrName>ppt_x</p:attrName>
                                          <p:attrName>ppt_y</p:attrName>
                                        </p:attrNameLst>
                                      </p:cBhvr>
                                      <p:rCtr x="-8259" y="24716"/>
                                    </p:animMotion>
                                  </p:childTnLst>
                                </p:cTn>
                              </p:par>
                            </p:childTnLst>
                          </p:cTn>
                        </p:par>
                        <p:par>
                          <p:cTn id="20" fill="hold">
                            <p:stCondLst>
                              <p:cond delay="2000"/>
                            </p:stCondLst>
                            <p:childTnLst>
                              <p:par>
                                <p:cTn id="21" presetID="42" presetClass="path" presetSubtype="0" accel="50000" decel="50000" fill="hold" grpId="0" nodeType="afterEffect">
                                  <p:stCondLst>
                                    <p:cond delay="0"/>
                                  </p:stCondLst>
                                  <p:childTnLst>
                                    <p:animMotion origin="layout" path="M 2.4432E-6 -2.55561E-6 L -0.08936 0.28121 " pathEditMode="relative" rAng="0" ptsTypes="AA">
                                      <p:cBhvr>
                                        <p:cTn id="22" dur="2000" fill="hold"/>
                                        <p:tgtEl>
                                          <p:spTgt spid="12"/>
                                        </p:tgtEl>
                                        <p:attrNameLst>
                                          <p:attrName>ppt_x</p:attrName>
                                          <p:attrName>ppt_y</p:attrName>
                                        </p:attrNameLst>
                                      </p:cBhvr>
                                      <p:rCtr x="-4468" y="14049"/>
                                    </p:animMotion>
                                  </p:childTnLst>
                                </p:cTn>
                              </p:par>
                              <p:par>
                                <p:cTn id="23" presetID="42" presetClass="path" presetSubtype="0" accel="50000" decel="50000" fill="hold" grpId="0" nodeType="withEffect">
                                  <p:stCondLst>
                                    <p:cond delay="0"/>
                                  </p:stCondLst>
                                  <p:childTnLst>
                                    <p:animMotion origin="layout" path="M 1.87644E-6 -4.08534E-8 L -0.21764 0.39719 " pathEditMode="relative" rAng="0" ptsTypes="AA">
                                      <p:cBhvr>
                                        <p:cTn id="24" dur="2000" fill="hold"/>
                                        <p:tgtEl>
                                          <p:spTgt spid="15"/>
                                        </p:tgtEl>
                                        <p:attrNameLst>
                                          <p:attrName>ppt_x</p:attrName>
                                          <p:attrName>ppt_y</p:attrName>
                                        </p:attrNameLst>
                                      </p:cBhvr>
                                      <p:rCtr x="-10888" y="19859"/>
                                    </p:animMotion>
                                  </p:childTnLst>
                                </p:cTn>
                              </p:par>
                              <p:par>
                                <p:cTn id="25" presetID="42" presetClass="path" presetSubtype="0" accel="50000" decel="50000" fill="hold" grpId="0" nodeType="withEffect">
                                  <p:stCondLst>
                                    <p:cond delay="0"/>
                                  </p:stCondLst>
                                  <p:childTnLst>
                                    <p:animMotion origin="layout" path="M 4.59535E-8 -4.335E-6 L -0.1482 0.27985 " pathEditMode="relative" rAng="0" ptsTypes="AA">
                                      <p:cBhvr>
                                        <p:cTn id="26" dur="2000" fill="hold"/>
                                        <p:tgtEl>
                                          <p:spTgt spid="37"/>
                                        </p:tgtEl>
                                        <p:attrNameLst>
                                          <p:attrName>ppt_x</p:attrName>
                                          <p:attrName>ppt_y</p:attrName>
                                        </p:attrNameLst>
                                      </p:cBhvr>
                                      <p:rCtr x="-7416" y="13981"/>
                                    </p:animMotion>
                                  </p:childTnLst>
                                </p:cTn>
                              </p:par>
                              <p:par>
                                <p:cTn id="27" presetID="42" presetClass="path" presetSubtype="0" accel="50000" decel="50000" fill="hold" grpId="0" nodeType="withEffect">
                                  <p:stCondLst>
                                    <p:cond delay="0"/>
                                  </p:stCondLst>
                                  <p:childTnLst>
                                    <p:animMotion origin="layout" path="M 4.59535E-8 -2.55561E-6 L -0.04927 0.42284 " pathEditMode="relative" rAng="0" ptsTypes="AA">
                                      <p:cBhvr>
                                        <p:cTn id="28" dur="2000" fill="hold"/>
                                        <p:tgtEl>
                                          <p:spTgt spid="38"/>
                                        </p:tgtEl>
                                        <p:attrNameLst>
                                          <p:attrName>ppt_x</p:attrName>
                                          <p:attrName>ppt_y</p:attrName>
                                        </p:attrNameLst>
                                      </p:cBhvr>
                                      <p:rCtr x="-2464" y="21130"/>
                                    </p:animMotion>
                                  </p:childTnLst>
                                </p:cTn>
                              </p:par>
                              <p:par>
                                <p:cTn id="29" presetID="42" presetClass="path" presetSubtype="0" accel="50000" decel="50000" fill="hold" grpId="0" nodeType="withEffect">
                                  <p:stCondLst>
                                    <p:cond delay="0"/>
                                  </p:stCondLst>
                                  <p:childTnLst>
                                    <p:animMotion origin="layout" path="M 2.6168E-6 -2.16523E-6 L -0.00664 0.35475 " pathEditMode="relative" rAng="0" ptsTypes="AA">
                                      <p:cBhvr>
                                        <p:cTn id="30" dur="2000" fill="hold"/>
                                        <p:tgtEl>
                                          <p:spTgt spid="20"/>
                                        </p:tgtEl>
                                        <p:attrNameLst>
                                          <p:attrName>ppt_x</p:attrName>
                                          <p:attrName>ppt_y</p:attrName>
                                        </p:attrNameLst>
                                      </p:cBhvr>
                                      <p:rCtr x="-332" y="17726"/>
                                    </p:animMotion>
                                  </p:childTnLst>
                                </p:cTn>
                              </p:par>
                              <p:par>
                                <p:cTn id="31" presetID="42" presetClass="path" presetSubtype="0" accel="50000" decel="50000" fill="hold" grpId="0" nodeType="withEffect">
                                  <p:stCondLst>
                                    <p:cond delay="0"/>
                                  </p:stCondLst>
                                  <p:childTnLst>
                                    <p:animMotion origin="layout" path="M 1.26372E-6 2.9823E-6 L -0.02796 0.32297 " pathEditMode="relative" rAng="0" ptsTypes="AA">
                                      <p:cBhvr>
                                        <p:cTn id="32" dur="2000" fill="hold"/>
                                        <p:tgtEl>
                                          <p:spTgt spid="40"/>
                                        </p:tgtEl>
                                        <p:attrNameLst>
                                          <p:attrName>ppt_x</p:attrName>
                                          <p:attrName>ppt_y</p:attrName>
                                        </p:attrNameLst>
                                      </p:cBhvr>
                                      <p:rCtr x="-1404" y="16137"/>
                                    </p:animMotion>
                                  </p:childTnLst>
                                </p:cTn>
                              </p:par>
                              <p:par>
                                <p:cTn id="33" presetID="42" presetClass="path" presetSubtype="0" accel="50000" decel="50000" fill="hold" grpId="0" nodeType="withEffect">
                                  <p:stCondLst>
                                    <p:cond delay="0"/>
                                  </p:stCondLst>
                                  <p:childTnLst>
                                    <p:animMotion origin="layout" path="M -3.91626E-6 -4.52565E-6 L -0.05667 0.51635 " pathEditMode="relative" rAng="0" ptsTypes="AA">
                                      <p:cBhvr>
                                        <p:cTn id="34" dur="2000" fill="hold"/>
                                        <p:tgtEl>
                                          <p:spTgt spid="42"/>
                                        </p:tgtEl>
                                        <p:attrNameLst>
                                          <p:attrName>ppt_x</p:attrName>
                                          <p:attrName>ppt_y</p:attrName>
                                        </p:attrNameLst>
                                      </p:cBhvr>
                                      <p:rCtr x="-2834" y="25806"/>
                                    </p:animMotion>
                                  </p:childTnLst>
                                </p:cTn>
                              </p:par>
                              <p:par>
                                <p:cTn id="35" presetID="42" presetClass="path" presetSubtype="0" accel="50000" decel="50000" fill="hold" grpId="0" nodeType="withEffect">
                                  <p:stCondLst>
                                    <p:cond delay="0"/>
                                  </p:stCondLst>
                                  <p:childTnLst>
                                    <p:animMotion origin="layout" path="M 3.55885E-6 -4.54834E-6 L -0.34057 0.4065 " pathEditMode="relative" rAng="0" ptsTypes="AA">
                                      <p:cBhvr>
                                        <p:cTn id="36" dur="2000" fill="hold"/>
                                        <p:tgtEl>
                                          <p:spTgt spid="39"/>
                                        </p:tgtEl>
                                        <p:attrNameLst>
                                          <p:attrName>ppt_x</p:attrName>
                                          <p:attrName>ppt_y</p:attrName>
                                        </p:attrNameLst>
                                      </p:cBhvr>
                                      <p:rCtr x="-17028" y="20313"/>
                                    </p:animMotion>
                                  </p:childTnLst>
                                </p:cTn>
                              </p:par>
                              <p:par>
                                <p:cTn id="37" presetID="42" presetClass="path" presetSubtype="0" accel="50000" decel="50000" fill="hold" grpId="0" nodeType="withEffect">
                                  <p:stCondLst>
                                    <p:cond delay="0"/>
                                  </p:stCondLst>
                                  <p:childTnLst>
                                    <p:animMotion origin="layout" path="M -4.58259E-6 -1.31185E-6 L -0.06944 0.23831 " pathEditMode="relative" rAng="0" ptsTypes="AA">
                                      <p:cBhvr>
                                        <p:cTn id="38" dur="2000" fill="hold"/>
                                        <p:tgtEl>
                                          <p:spTgt spid="18"/>
                                        </p:tgtEl>
                                        <p:attrNameLst>
                                          <p:attrName>ppt_x</p:attrName>
                                          <p:attrName>ppt_y</p:attrName>
                                        </p:attrNameLst>
                                      </p:cBhvr>
                                      <p:rCtr x="-3472" y="11916"/>
                                    </p:animMotion>
                                  </p:childTnLst>
                                </p:cTn>
                              </p:par>
                              <p:par>
                                <p:cTn id="39" presetID="42" presetClass="path" presetSubtype="0" accel="50000" decel="50000" fill="hold" grpId="0" nodeType="withEffect">
                                  <p:stCondLst>
                                    <p:cond delay="0"/>
                                  </p:stCondLst>
                                  <p:childTnLst>
                                    <p:animMotion origin="layout" path="M -5.48889E-7 -1.31185E-6 L -0.15484 0.58602 " pathEditMode="relative" rAng="0" ptsTypes="AA">
                                      <p:cBhvr>
                                        <p:cTn id="40" dur="2000" fill="hold"/>
                                        <p:tgtEl>
                                          <p:spTgt spid="13"/>
                                        </p:tgtEl>
                                        <p:attrNameLst>
                                          <p:attrName>ppt_x</p:attrName>
                                          <p:attrName>ppt_y</p:attrName>
                                        </p:attrNameLst>
                                      </p:cBhvr>
                                      <p:rCtr x="-7748" y="29301"/>
                                    </p:animMotion>
                                  </p:childTnLst>
                                </p:cTn>
                              </p:par>
                              <p:par>
                                <p:cTn id="41" presetID="42" presetClass="path" presetSubtype="0" accel="50000" decel="50000" fill="hold" grpId="0" nodeType="withEffect">
                                  <p:stCondLst>
                                    <p:cond delay="0"/>
                                  </p:stCondLst>
                                  <p:childTnLst>
                                    <p:animMotion origin="layout" path="M 2.65509E-7 1.02587E-6 L -0.10391 0.65501 " pathEditMode="relative" rAng="0" ptsTypes="AA">
                                      <p:cBhvr>
                                        <p:cTn id="42" dur="2000" fill="hold"/>
                                        <p:tgtEl>
                                          <p:spTgt spid="22"/>
                                        </p:tgtEl>
                                        <p:attrNameLst>
                                          <p:attrName>ppt_x</p:attrName>
                                          <p:attrName>ppt_y</p:attrName>
                                        </p:attrNameLst>
                                      </p:cBhvr>
                                      <p:rCtr x="-5195" y="32751"/>
                                    </p:animMotion>
                                  </p:childTnLst>
                                </p:cTn>
                              </p:par>
                              <p:par>
                                <p:cTn id="43" presetID="42" presetClass="path" presetSubtype="0" accel="50000" decel="50000" fill="hold" grpId="0" nodeType="withEffect">
                                  <p:stCondLst>
                                    <p:cond delay="0"/>
                                  </p:stCondLst>
                                  <p:childTnLst>
                                    <p:animMotion origin="layout" path="M 1.28159E-6 -3.24557E-6 L -0.08948 0.57944 " pathEditMode="relative" rAng="0" ptsTypes="AA">
                                      <p:cBhvr>
                                        <p:cTn id="44" dur="2000" fill="hold"/>
                                        <p:tgtEl>
                                          <p:spTgt spid="19"/>
                                        </p:tgtEl>
                                        <p:attrNameLst>
                                          <p:attrName>ppt_x</p:attrName>
                                          <p:attrName>ppt_y</p:attrName>
                                        </p:attrNameLst>
                                      </p:cBhvr>
                                      <p:rCtr x="-4480" y="28961"/>
                                    </p:animMotion>
                                  </p:childTnLst>
                                </p:cTn>
                              </p:par>
                              <p:par>
                                <p:cTn id="45" presetID="42" presetClass="path" presetSubtype="0" accel="50000" decel="50000" fill="hold" grpId="0" nodeType="withEffect">
                                  <p:stCondLst>
                                    <p:cond delay="0"/>
                                  </p:stCondLst>
                                  <p:childTnLst>
                                    <p:animMotion origin="layout" path="M -2.33342E-6 -2.72356E-6 L -0.27891 0.46346 " pathEditMode="relative" rAng="0" ptsTypes="AA">
                                      <p:cBhvr>
                                        <p:cTn id="46" dur="2000" fill="hold"/>
                                        <p:tgtEl>
                                          <p:spTgt spid="43"/>
                                        </p:tgtEl>
                                        <p:attrNameLst>
                                          <p:attrName>ppt_x</p:attrName>
                                          <p:attrName>ppt_y</p:attrName>
                                        </p:attrNameLst>
                                      </p:cBhvr>
                                      <p:rCtr x="-13952" y="23173"/>
                                    </p:animMotion>
                                  </p:childTnLst>
                                </p:cTn>
                              </p:par>
                              <p:par>
                                <p:cTn id="47" presetID="42" presetClass="path" presetSubtype="0" accel="50000" decel="50000" fill="hold" grpId="0" nodeType="withEffect">
                                  <p:stCondLst>
                                    <p:cond delay="0"/>
                                  </p:stCondLst>
                                  <p:childTnLst>
                                    <p:animMotion origin="layout" path="M 1.35308E-6 4.06264E-6 L -0.32589 0.38198 " pathEditMode="relative" rAng="0" ptsTypes="AA">
                                      <p:cBhvr>
                                        <p:cTn id="48" dur="2000" fill="hold"/>
                                        <p:tgtEl>
                                          <p:spTgt spid="14"/>
                                        </p:tgtEl>
                                        <p:attrNameLst>
                                          <p:attrName>ppt_x</p:attrName>
                                          <p:attrName>ppt_y</p:attrName>
                                        </p:attrNameLst>
                                      </p:cBhvr>
                                      <p:rCtr x="-16301" y="19088"/>
                                    </p:animMotion>
                                  </p:childTnLst>
                                </p:cTn>
                              </p:par>
                              <p:par>
                                <p:cTn id="49" presetID="42" presetClass="path" presetSubtype="0" accel="50000" decel="50000" fill="hold" grpId="0" nodeType="withEffect">
                                  <p:stCondLst>
                                    <p:cond delay="0"/>
                                  </p:stCondLst>
                                  <p:childTnLst>
                                    <p:animMotion origin="layout" path="M 1.6339E-7 1.54789E-6 L -0.33138 0.52678 " pathEditMode="relative" rAng="0" ptsTypes="AA">
                                      <p:cBhvr>
                                        <p:cTn id="50" dur="2000" fill="hold"/>
                                        <p:tgtEl>
                                          <p:spTgt spid="41"/>
                                        </p:tgtEl>
                                        <p:attrNameLst>
                                          <p:attrName>ppt_x</p:attrName>
                                          <p:attrName>ppt_y</p:attrName>
                                        </p:attrNameLst>
                                      </p:cBhvr>
                                      <p:rCtr x="-16569" y="26328"/>
                                    </p:animMotion>
                                  </p:childTnLst>
                                </p:cTn>
                              </p:par>
                              <p:par>
                                <p:cTn id="51" presetID="42" presetClass="path" presetSubtype="0" accel="50000" decel="50000" fill="hold" grpId="0" nodeType="withEffect">
                                  <p:stCondLst>
                                    <p:cond delay="0"/>
                                  </p:stCondLst>
                                  <p:childTnLst>
                                    <p:animMotion origin="layout" path="M -2.85423E-6 1.89287E-6 L -0.21955 0.54607 " pathEditMode="relative" rAng="0" ptsTypes="AA">
                                      <p:cBhvr>
                                        <p:cTn id="52" dur="2000" fill="hold"/>
                                        <p:tgtEl>
                                          <p:spTgt spid="16"/>
                                        </p:tgtEl>
                                        <p:attrNameLst>
                                          <p:attrName>ppt_x</p:attrName>
                                          <p:attrName>ppt_y</p:attrName>
                                        </p:attrNameLst>
                                      </p:cBhvr>
                                      <p:rCtr x="-10978" y="27304"/>
                                    </p:animMotion>
                                  </p:childTnLst>
                                </p:cTn>
                              </p:par>
                              <p:par>
                                <p:cTn id="53" presetID="42" presetClass="path" presetSubtype="0" accel="50000" decel="50000" fill="hold" grpId="0" nodeType="withEffect">
                                  <p:stCondLst>
                                    <p:cond delay="0"/>
                                  </p:stCondLst>
                                  <p:childTnLst>
                                    <p:animMotion origin="layout" path="M 3.75032E-6 3.69496E-6 L -0.21177 0.36178 " pathEditMode="relative" rAng="0" ptsTypes="AA">
                                      <p:cBhvr>
                                        <p:cTn id="54" dur="2000" fill="hold"/>
                                        <p:tgtEl>
                                          <p:spTgt spid="21"/>
                                        </p:tgtEl>
                                        <p:attrNameLst>
                                          <p:attrName>ppt_x</p:attrName>
                                          <p:attrName>ppt_y</p:attrName>
                                        </p:attrNameLst>
                                      </p:cBhvr>
                                      <p:rCtr x="-10595" y="18089"/>
                                    </p:animMotion>
                                  </p:childTnLst>
                                </p:cTn>
                              </p:par>
                              <p:par>
                                <p:cTn id="55" presetID="42" presetClass="path" presetSubtype="0" accel="50000" decel="50000" fill="hold" grpId="0" nodeType="withEffect">
                                  <p:stCondLst>
                                    <p:cond delay="0"/>
                                  </p:stCondLst>
                                  <p:childTnLst>
                                    <p:animMotion origin="layout" path="M -4.4677E-7 -2.72356E-6 L -0.23768 0.46346 " pathEditMode="relative" rAng="0" ptsTypes="AA">
                                      <p:cBhvr>
                                        <p:cTn id="56" dur="2000" fill="hold"/>
                                        <p:tgtEl>
                                          <p:spTgt spid="51"/>
                                        </p:tgtEl>
                                        <p:attrNameLst>
                                          <p:attrName>ppt_x</p:attrName>
                                          <p:attrName>ppt_y</p:attrName>
                                        </p:attrNameLst>
                                      </p:cBhvr>
                                      <p:rCtr x="-11884" y="23173"/>
                                    </p:animMotion>
                                  </p:childTnLst>
                                </p:cTn>
                              </p:par>
                              <p:par>
                                <p:cTn id="57" presetID="42" presetClass="path" presetSubtype="0" accel="50000" decel="50000" fill="hold" grpId="0" nodeType="withEffect">
                                  <p:stCondLst>
                                    <p:cond delay="0"/>
                                  </p:stCondLst>
                                  <p:childTnLst>
                                    <p:animMotion origin="layout" path="M -0.00957 2.26055E-6 L -0.20896 0.66273 " pathEditMode="relative" rAng="0" ptsTypes="AA">
                                      <p:cBhvr>
                                        <p:cTn id="58" dur="2000" fill="hold"/>
                                        <p:tgtEl>
                                          <p:spTgt spid="52"/>
                                        </p:tgtEl>
                                        <p:attrNameLst>
                                          <p:attrName>ppt_x</p:attrName>
                                          <p:attrName>ppt_y</p:attrName>
                                        </p:attrNameLst>
                                      </p:cBhvr>
                                      <p:rCtr x="-9969" y="33137"/>
                                    </p:animMotion>
                                  </p:childTnLst>
                                </p:cTn>
                              </p:par>
                              <p:par>
                                <p:cTn id="59" presetID="42" presetClass="path" presetSubtype="0" accel="50000" decel="50000" fill="hold" grpId="0" nodeType="withEffect">
                                  <p:stCondLst>
                                    <p:cond delay="0"/>
                                  </p:stCondLst>
                                  <p:childTnLst>
                                    <p:animMotion origin="layout" path="M 1.85857E-6 -1.51158E-6 L -0.06115 0.55947 " pathEditMode="relative" rAng="0" ptsTypes="AA">
                                      <p:cBhvr>
                                        <p:cTn id="60" dur="2000" fill="hold"/>
                                        <p:tgtEl>
                                          <p:spTgt spid="54"/>
                                        </p:tgtEl>
                                        <p:attrNameLst>
                                          <p:attrName>ppt_x</p:attrName>
                                          <p:attrName>ppt_y</p:attrName>
                                        </p:attrNameLst>
                                      </p:cBhvr>
                                      <p:rCtr x="-3064" y="27962"/>
                                    </p:animMotion>
                                  </p:childTnLst>
                                </p:cTn>
                              </p:par>
                              <p:par>
                                <p:cTn id="61" presetID="42" presetClass="path" presetSubtype="0" accel="50000" decel="50000" fill="hold" grpId="0" nodeType="withEffect">
                                  <p:stCondLst>
                                    <p:cond delay="0"/>
                                  </p:stCondLst>
                                  <p:childTnLst>
                                    <p:animMotion origin="layout" path="M -4.43707E-6 5.03858E-7 L -0.14475 0.23763 " pathEditMode="relative" rAng="0" ptsTypes="AA">
                                      <p:cBhvr>
                                        <p:cTn id="62" dur="2000" fill="hold"/>
                                        <p:tgtEl>
                                          <p:spTgt spid="55"/>
                                        </p:tgtEl>
                                        <p:attrNameLst>
                                          <p:attrName>ppt_x</p:attrName>
                                          <p:attrName>ppt_y</p:attrName>
                                        </p:attrNameLst>
                                      </p:cBhvr>
                                      <p:rCtr x="-7238" y="11870"/>
                                    </p:animMotion>
                                  </p:childTnLst>
                                </p:cTn>
                              </p:par>
                              <p:par>
                                <p:cTn id="63" presetID="42" presetClass="path" presetSubtype="0" accel="50000" decel="50000" fill="hold" grpId="0" nodeType="withEffect">
                                  <p:stCondLst>
                                    <p:cond delay="0"/>
                                  </p:stCondLst>
                                  <p:childTnLst>
                                    <p:animMotion origin="layout" path="M -1.51902E-6 1.39355E-6 L 0.01711 0.53245 " pathEditMode="relative" rAng="0" ptsTypes="AA">
                                      <p:cBhvr>
                                        <p:cTn id="64" dur="2000" fill="hold"/>
                                        <p:tgtEl>
                                          <p:spTgt spid="56"/>
                                        </p:tgtEl>
                                        <p:attrNameLst>
                                          <p:attrName>ppt_x</p:attrName>
                                          <p:attrName>ppt_y</p:attrName>
                                        </p:attrNameLst>
                                      </p:cBhvr>
                                      <p:rCtr x="855" y="26623"/>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3" grpId="0" animBg="1"/>
      <p:bldP spid="14" grpId="0" animBg="1"/>
      <p:bldP spid="15" grpId="0" animBg="1"/>
      <p:bldP spid="16" grpId="0" animBg="1"/>
      <p:bldP spid="18" grpId="0" animBg="1"/>
      <p:bldP spid="19" grpId="0" animBg="1"/>
      <p:bldP spid="20" grpId="0" animBg="1"/>
      <p:bldP spid="21" grpId="0" animBg="1"/>
      <p:bldP spid="22" grpId="0" animBg="1"/>
      <p:bldP spid="37" grpId="0" animBg="1"/>
      <p:bldP spid="38" grpId="0" animBg="1"/>
      <p:bldP spid="39" grpId="0" animBg="1"/>
      <p:bldP spid="40" grpId="0" animBg="1"/>
      <p:bldP spid="41" grpId="0" animBg="1"/>
      <p:bldP spid="42" grpId="0" animBg="1"/>
      <p:bldP spid="43" grpId="0" animBg="1"/>
      <p:bldP spid="51" grpId="0" animBg="1"/>
      <p:bldP spid="52" grpId="0" animBg="1"/>
      <p:bldP spid="54" grpId="0" animBg="1"/>
      <p:bldP spid="55" grpId="0" animBg="1"/>
      <p:bldP spid="56" grpId="0" animBg="1"/>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zure SQL Database</a:t>
            </a:r>
          </a:p>
        </p:txBody>
      </p:sp>
    </p:spTree>
    <p:extLst>
      <p:ext uri="{BB962C8B-B14F-4D97-AF65-F5344CB8AC3E}">
        <p14:creationId xmlns:p14="http://schemas.microsoft.com/office/powerpoint/2010/main" val="285365690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366169" y="1212850"/>
            <a:ext cx="5049894" cy="5299912"/>
          </a:xfrm>
        </p:spPr>
        <p:txBody>
          <a:bodyPr/>
          <a:lstStyle/>
          <a:p>
            <a:pPr marL="0" indent="0">
              <a:buNone/>
            </a:pPr>
            <a:r>
              <a:rPr lang="en-US" sz="3200" dirty="0"/>
              <a:t>Fully managed SQL database service</a:t>
            </a:r>
          </a:p>
          <a:p>
            <a:endParaRPr lang="en-US" sz="800" dirty="0">
              <a:solidFill>
                <a:schemeClr val="tx1"/>
              </a:solidFill>
            </a:endParaRPr>
          </a:p>
          <a:p>
            <a:pPr marL="342900" lvl="1" indent="-342900"/>
            <a:r>
              <a:rPr lang="en-US" dirty="0"/>
              <a:t>Built for SaaS and Enterprise applications</a:t>
            </a:r>
          </a:p>
          <a:p>
            <a:pPr marL="342900" lvl="1" indent="-342900"/>
            <a:r>
              <a:rPr lang="en-US" dirty="0"/>
              <a:t>Predictable performance and pricing </a:t>
            </a:r>
          </a:p>
          <a:p>
            <a:pPr marL="342900" lvl="1" indent="-342900"/>
            <a:r>
              <a:rPr lang="en-US" dirty="0"/>
              <a:t>Elastic database pool for unpredictable SaaS workloads</a:t>
            </a:r>
          </a:p>
          <a:p>
            <a:pPr marL="342900" lvl="1" indent="-342900"/>
            <a:r>
              <a:rPr lang="en-US" dirty="0"/>
              <a:t>99.99% availability built-in</a:t>
            </a:r>
          </a:p>
          <a:p>
            <a:pPr marL="342900" lvl="1" indent="-342900"/>
            <a:r>
              <a:rPr lang="en-US" dirty="0"/>
              <a:t>Geo-replication and restore services for data protection</a:t>
            </a:r>
          </a:p>
          <a:p>
            <a:pPr marL="342900" lvl="1" indent="-342900"/>
            <a:r>
              <a:rPr lang="en-US" dirty="0"/>
              <a:t>Secure and compliant for your sensitive data</a:t>
            </a:r>
          </a:p>
          <a:p>
            <a:pPr marL="342900" lvl="1" indent="-342900"/>
            <a:r>
              <a:rPr lang="en-US" dirty="0"/>
              <a:t>Fully compatible with SQL Server 2014 databases</a:t>
            </a:r>
          </a:p>
          <a:p>
            <a:pPr marL="342900" lvl="1" indent="-342900"/>
            <a:r>
              <a:rPr lang="en-US" dirty="0"/>
              <a:t>Performance measured as DTU</a:t>
            </a:r>
          </a:p>
        </p:txBody>
      </p:sp>
      <p:sp>
        <p:nvSpPr>
          <p:cNvPr id="2" name="Title 1"/>
          <p:cNvSpPr>
            <a:spLocks noGrp="1"/>
          </p:cNvSpPr>
          <p:nvPr>
            <p:ph type="title"/>
          </p:nvPr>
        </p:nvSpPr>
        <p:spPr/>
        <p:txBody>
          <a:bodyPr/>
          <a:lstStyle/>
          <a:p>
            <a:r>
              <a:rPr lang="en-US" dirty="0">
                <a:solidFill>
                  <a:schemeClr val="tx1"/>
                </a:solidFill>
              </a:rPr>
              <a:t>Azure SQL Database</a:t>
            </a:r>
            <a:endParaRPr lang="en-US" dirty="0"/>
          </a:p>
        </p:txBody>
      </p:sp>
      <p:pic>
        <p:nvPicPr>
          <p:cNvPr id="4" name="Picture 3"/>
          <p:cNvPicPr>
            <a:picLocks noChangeAspect="1"/>
          </p:cNvPicPr>
          <p:nvPr/>
        </p:nvPicPr>
        <p:blipFill>
          <a:blip r:embed="rId3"/>
          <a:stretch>
            <a:fillRect/>
          </a:stretch>
        </p:blipFill>
        <p:spPr>
          <a:xfrm>
            <a:off x="6031373" y="1317588"/>
            <a:ext cx="6188149" cy="4114800"/>
          </a:xfrm>
          <a:prstGeom prst="rect">
            <a:avLst/>
          </a:prstGeom>
        </p:spPr>
      </p:pic>
    </p:spTree>
    <p:extLst>
      <p:ext uri="{BB962C8B-B14F-4D97-AF65-F5344CB8AC3E}">
        <p14:creationId xmlns:p14="http://schemas.microsoft.com/office/powerpoint/2010/main" val="407974504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QL Database vs. SQL Server on Azure VM</a:t>
            </a:r>
          </a:p>
        </p:txBody>
      </p:sp>
      <p:graphicFrame>
        <p:nvGraphicFramePr>
          <p:cNvPr id="7" name="Table 6"/>
          <p:cNvGraphicFramePr>
            <a:graphicFrameLocks noGrp="1"/>
          </p:cNvGraphicFramePr>
          <p:nvPr>
            <p:extLst>
              <p:ext uri="{D42A27DB-BD31-4B8C-83A1-F6EECF244321}">
                <p14:modId xmlns:p14="http://schemas.microsoft.com/office/powerpoint/2010/main" val="942902089"/>
              </p:ext>
            </p:extLst>
          </p:nvPr>
        </p:nvGraphicFramePr>
        <p:xfrm>
          <a:off x="548201" y="1278336"/>
          <a:ext cx="7227464" cy="5269841"/>
        </p:xfrm>
        <a:graphic>
          <a:graphicData uri="http://schemas.openxmlformats.org/drawingml/2006/table">
            <a:tbl>
              <a:tblPr firstRow="1" bandRow="1">
                <a:tableStyleId>{5C22544A-7EE6-4342-B048-85BDC9FD1C3A}</a:tableStyleId>
              </a:tblPr>
              <a:tblGrid>
                <a:gridCol w="3613732">
                  <a:extLst>
                    <a:ext uri="{9D8B030D-6E8A-4147-A177-3AD203B41FA5}">
                      <a16:colId xmlns:a16="http://schemas.microsoft.com/office/drawing/2014/main" val="3677437676"/>
                    </a:ext>
                  </a:extLst>
                </a:gridCol>
                <a:gridCol w="3613732">
                  <a:extLst>
                    <a:ext uri="{9D8B030D-6E8A-4147-A177-3AD203B41FA5}">
                      <a16:colId xmlns:a16="http://schemas.microsoft.com/office/drawing/2014/main" val="1654740960"/>
                    </a:ext>
                  </a:extLst>
                </a:gridCol>
              </a:tblGrid>
              <a:tr h="406874">
                <a:tc>
                  <a:txBody>
                    <a:bodyPr/>
                    <a:lstStyle/>
                    <a:p>
                      <a:pPr algn="ctr"/>
                      <a:r>
                        <a:rPr lang="en-US" sz="1600" b="0" i="0" dirty="0">
                          <a:latin typeface="Segoe UI Semibold" panose="020B0702040204020203" pitchFamily="34" charset="0"/>
                          <a:cs typeface="Segoe UI Semibold" panose="020B0702040204020203" pitchFamily="34" charset="0"/>
                        </a:rPr>
                        <a:t>SQL Database</a:t>
                      </a:r>
                    </a:p>
                  </a:txBody>
                  <a:tcPr marL="79721" marR="79721" marT="39860" marB="39860"/>
                </a:tc>
                <a:tc>
                  <a:txBody>
                    <a:bodyPr/>
                    <a:lstStyle/>
                    <a:p>
                      <a:pPr algn="ctr"/>
                      <a:r>
                        <a:rPr lang="en-US" sz="1600" b="0" i="0" dirty="0">
                          <a:latin typeface="Segoe UI Semibold" panose="020B0702040204020203" pitchFamily="34" charset="0"/>
                          <a:cs typeface="Segoe UI Semibold" panose="020B0702040204020203" pitchFamily="34" charset="0"/>
                        </a:rPr>
                        <a:t>SQL Server on Azure VM</a:t>
                      </a:r>
                    </a:p>
                  </a:txBody>
                  <a:tcPr marL="79721" marR="79721" marT="39860" marB="39860"/>
                </a:tc>
                <a:extLst>
                  <a:ext uri="{0D108BD9-81ED-4DB2-BD59-A6C34878D82A}">
                    <a16:rowId xmlns:a16="http://schemas.microsoft.com/office/drawing/2014/main" val="2303429372"/>
                  </a:ext>
                </a:extLst>
              </a:tr>
              <a:tr h="4862967">
                <a:tc>
                  <a:txBody>
                    <a:bodyPr/>
                    <a:lstStyle/>
                    <a:p>
                      <a:pPr marL="285750" indent="-285750">
                        <a:buFont typeface="Arial" panose="020B0604020202020204" pitchFamily="34" charset="0"/>
                        <a:buChar char="•"/>
                      </a:pPr>
                      <a:r>
                        <a:rPr lang="en-US" sz="1600" b="0" dirty="0">
                          <a:solidFill>
                            <a:schemeClr val="tx1"/>
                          </a:solidFill>
                        </a:rPr>
                        <a:t>New cloud-designed applications that have time constraints in development and marketing</a:t>
                      </a:r>
                    </a:p>
                    <a:p>
                      <a:pPr marL="285750" indent="-285750">
                        <a:buFont typeface="Arial" panose="020B0604020202020204" pitchFamily="34" charset="0"/>
                        <a:buChar char="•"/>
                      </a:pPr>
                      <a:r>
                        <a:rPr lang="en-US" sz="1600" b="0" dirty="0">
                          <a:solidFill>
                            <a:schemeClr val="tx1"/>
                          </a:solidFill>
                        </a:rPr>
                        <a:t>Applications that need built-in high availability, disaster recovery, and upgrade mechanisms</a:t>
                      </a:r>
                    </a:p>
                    <a:p>
                      <a:pPr marL="285750" indent="-285750">
                        <a:buFont typeface="Arial" panose="020B0604020202020204" pitchFamily="34" charset="0"/>
                        <a:buChar char="•"/>
                      </a:pPr>
                      <a:r>
                        <a:rPr lang="en-US" sz="1600" b="0" dirty="0">
                          <a:solidFill>
                            <a:schemeClr val="tx1"/>
                          </a:solidFill>
                        </a:rPr>
                        <a:t>Teams that do not want to manage the underlying operating system and configuration settings</a:t>
                      </a:r>
                    </a:p>
                    <a:p>
                      <a:pPr marL="285750" indent="-285750">
                        <a:buFont typeface="Arial" panose="020B0604020202020204" pitchFamily="34" charset="0"/>
                        <a:buChar char="•"/>
                      </a:pPr>
                      <a:r>
                        <a:rPr lang="en-US" sz="1600" b="0" dirty="0">
                          <a:solidFill>
                            <a:schemeClr val="tx1"/>
                          </a:solidFill>
                        </a:rPr>
                        <a:t>Applications using scale-out patterns</a:t>
                      </a:r>
                    </a:p>
                    <a:p>
                      <a:pPr marL="285750" indent="-285750">
                        <a:buFont typeface="Arial" panose="020B0604020202020204" pitchFamily="34" charset="0"/>
                        <a:buChar char="•"/>
                      </a:pPr>
                      <a:r>
                        <a:rPr lang="en-US" sz="1600" b="0" dirty="0">
                          <a:solidFill>
                            <a:schemeClr val="tx1"/>
                          </a:solidFill>
                        </a:rPr>
                        <a:t>Databases of up to 4 TB in size</a:t>
                      </a:r>
                    </a:p>
                    <a:p>
                      <a:pPr marL="285750" indent="-285750">
                        <a:buFont typeface="Arial" panose="020B0604020202020204" pitchFamily="34" charset="0"/>
                        <a:buChar char="•"/>
                      </a:pPr>
                      <a:r>
                        <a:rPr lang="en-US" sz="1600" b="0" dirty="0">
                          <a:solidFill>
                            <a:schemeClr val="tx1"/>
                          </a:solidFill>
                        </a:rPr>
                        <a:t>Building Software-as-a-Service (SaaS) applications</a:t>
                      </a:r>
                    </a:p>
                    <a:p>
                      <a:endParaRPr lang="en-US" sz="1600" dirty="0">
                        <a:solidFill>
                          <a:schemeClr val="tx1"/>
                        </a:solidFill>
                      </a:endParaRPr>
                    </a:p>
                  </a:txBody>
                  <a:tcPr marL="79721" marR="79721" marT="39860" marB="39860"/>
                </a:tc>
                <a:tc>
                  <a:txBody>
                    <a:bodyPr/>
                    <a:lstStyle/>
                    <a:p>
                      <a:pPr marL="285750" indent="-285750">
                        <a:buFont typeface="Arial" panose="020B0604020202020204" pitchFamily="34" charset="0"/>
                        <a:buChar char="•"/>
                      </a:pPr>
                      <a:r>
                        <a:rPr lang="en-US" sz="1600" b="0" dirty="0">
                          <a:solidFill>
                            <a:schemeClr val="tx1"/>
                          </a:solidFill>
                        </a:rPr>
                        <a:t>Existing applications that require fast migration to the cloud with minimal changes</a:t>
                      </a:r>
                    </a:p>
                    <a:p>
                      <a:pPr marL="285750" indent="-285750">
                        <a:buFont typeface="Arial" panose="020B0604020202020204" pitchFamily="34" charset="0"/>
                        <a:buChar char="•"/>
                      </a:pPr>
                      <a:r>
                        <a:rPr lang="en-US" sz="1600" b="0" dirty="0">
                          <a:solidFill>
                            <a:schemeClr val="tx1"/>
                          </a:solidFill>
                        </a:rPr>
                        <a:t>SQL Server applications that require access to on-premises resources (such as Active Directory) from Azure via a secure tunnel</a:t>
                      </a:r>
                    </a:p>
                    <a:p>
                      <a:pPr marL="285750" indent="-285750">
                        <a:buFont typeface="Arial" panose="020B0604020202020204" pitchFamily="34" charset="0"/>
                        <a:buChar char="•"/>
                      </a:pPr>
                      <a:r>
                        <a:rPr lang="en-US" sz="1600" b="0" dirty="0">
                          <a:solidFill>
                            <a:schemeClr val="tx1"/>
                          </a:solidFill>
                        </a:rPr>
                        <a:t>If you need a customized IT environment with full administrative rights</a:t>
                      </a:r>
                    </a:p>
                    <a:p>
                      <a:pPr marL="285750" indent="-285750">
                        <a:buFont typeface="Arial" panose="020B0604020202020204" pitchFamily="34" charset="0"/>
                        <a:buChar char="•"/>
                      </a:pPr>
                      <a:r>
                        <a:rPr lang="en-US" sz="1600" b="0" dirty="0">
                          <a:solidFill>
                            <a:schemeClr val="tx1"/>
                          </a:solidFill>
                        </a:rPr>
                        <a:t>Rapid development and test scenarios when you do not want to buy on-premises non-production SQL Server hardware</a:t>
                      </a:r>
                    </a:p>
                    <a:p>
                      <a:pPr marL="285750" indent="-285750">
                        <a:buFont typeface="Arial" panose="020B0604020202020204" pitchFamily="34" charset="0"/>
                        <a:buChar char="•"/>
                      </a:pPr>
                      <a:r>
                        <a:rPr lang="en-US" sz="1600" b="0" dirty="0">
                          <a:solidFill>
                            <a:schemeClr val="tx1"/>
                          </a:solidFill>
                        </a:rPr>
                        <a:t>Disaster recovery for on-premises SQL Server applications or </a:t>
                      </a:r>
                      <a:r>
                        <a:rPr lang="en-US" sz="1600" b="0" dirty="0" err="1">
                          <a:solidFill>
                            <a:schemeClr val="tx1"/>
                          </a:solidFill>
                        </a:rPr>
                        <a:t>AlwaysOn</a:t>
                      </a:r>
                      <a:r>
                        <a:rPr lang="en-US" sz="1600" b="0" dirty="0">
                          <a:solidFill>
                            <a:schemeClr val="tx1"/>
                          </a:solidFill>
                        </a:rPr>
                        <a:t> replicas with Azure VMs </a:t>
                      </a:r>
                    </a:p>
                  </a:txBody>
                  <a:tcPr marL="79721" marR="79721" marT="39860" marB="39860"/>
                </a:tc>
                <a:extLst>
                  <a:ext uri="{0D108BD9-81ED-4DB2-BD59-A6C34878D82A}">
                    <a16:rowId xmlns:a16="http://schemas.microsoft.com/office/drawing/2014/main" val="4233643986"/>
                  </a:ext>
                </a:extLst>
              </a:tr>
            </a:tbl>
          </a:graphicData>
        </a:graphic>
      </p:graphicFrame>
    </p:spTree>
    <p:extLst>
      <p:ext uri="{BB962C8B-B14F-4D97-AF65-F5344CB8AC3E}">
        <p14:creationId xmlns:p14="http://schemas.microsoft.com/office/powerpoint/2010/main" val="276000166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chemeClr val="tx1"/>
                </a:solidFill>
              </a:rPr>
              <a:t>Database service tiers</a:t>
            </a:r>
            <a:endParaRPr lang="en-US" dirty="0"/>
          </a:p>
        </p:txBody>
      </p:sp>
      <p:grpSp>
        <p:nvGrpSpPr>
          <p:cNvPr id="4" name="Group 3"/>
          <p:cNvGrpSpPr/>
          <p:nvPr/>
        </p:nvGrpSpPr>
        <p:grpSpPr>
          <a:xfrm>
            <a:off x="574675" y="1441369"/>
            <a:ext cx="7528700" cy="2971547"/>
            <a:chOff x="1189037" y="2201862"/>
            <a:chExt cx="10039121" cy="3581400"/>
          </a:xfrm>
        </p:grpSpPr>
        <p:grpSp>
          <p:nvGrpSpPr>
            <p:cNvPr id="5" name="Group 4"/>
            <p:cNvGrpSpPr/>
            <p:nvPr/>
          </p:nvGrpSpPr>
          <p:grpSpPr>
            <a:xfrm>
              <a:off x="3170237" y="2201862"/>
              <a:ext cx="8057921" cy="553836"/>
              <a:chOff x="3170237" y="2201862"/>
              <a:chExt cx="8057921" cy="553836"/>
            </a:xfrm>
          </p:grpSpPr>
          <p:sp>
            <p:nvSpPr>
              <p:cNvPr id="26" name="Rectangle 25"/>
              <p:cNvSpPr/>
              <p:nvPr/>
            </p:nvSpPr>
            <p:spPr bwMode="auto">
              <a:xfrm>
                <a:off x="3170237" y="2201862"/>
                <a:ext cx="2514600" cy="553836"/>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8" tIns="109719" rIns="137148" bIns="109719" numCol="1" spcCol="0" rtlCol="0" fromWordArt="0" anchor="t" anchorCtr="0" forceAA="0" compatLnSpc="1">
                <a:prstTxWarp prst="textNoShape">
                  <a:avLst/>
                </a:prstTxWarp>
                <a:noAutofit/>
              </a:bodyPr>
              <a:lstStyle/>
              <a:p>
                <a:pPr algn="ctr" defTabSz="699244" fontAlgn="base">
                  <a:lnSpc>
                    <a:spcPct val="90000"/>
                  </a:lnSpc>
                  <a:spcBef>
                    <a:spcPct val="0"/>
                  </a:spcBef>
                  <a:spcAft>
                    <a:spcPct val="0"/>
                  </a:spcAft>
                </a:pPr>
                <a:r>
                  <a:rPr lang="en-US" dirty="0">
                    <a:gradFill>
                      <a:gsLst>
                        <a:gs pos="0">
                          <a:srgbClr val="FFFFFF"/>
                        </a:gs>
                        <a:gs pos="100000">
                          <a:srgbClr val="FFFFFF"/>
                        </a:gs>
                      </a:gsLst>
                      <a:lin ang="5400000" scaled="0"/>
                    </a:gradFill>
                    <a:ea typeface="Segoe UI" pitchFamily="34" charset="0"/>
                    <a:cs typeface="Segoe UI" pitchFamily="34" charset="0"/>
                  </a:rPr>
                  <a:t>Basic</a:t>
                </a:r>
              </a:p>
            </p:txBody>
          </p:sp>
          <p:sp>
            <p:nvSpPr>
              <p:cNvPr id="27" name="Rectangle 26"/>
              <p:cNvSpPr/>
              <p:nvPr/>
            </p:nvSpPr>
            <p:spPr bwMode="auto">
              <a:xfrm>
                <a:off x="5722165" y="2201862"/>
                <a:ext cx="2514600" cy="55383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8" tIns="109719" rIns="137148" bIns="109719" numCol="1" spcCol="0" rtlCol="0" fromWordArt="0" anchor="t" anchorCtr="0" forceAA="0" compatLnSpc="1">
                <a:prstTxWarp prst="textNoShape">
                  <a:avLst/>
                </a:prstTxWarp>
                <a:noAutofit/>
              </a:bodyPr>
              <a:lstStyle/>
              <a:p>
                <a:pPr algn="ctr" defTabSz="699244" fontAlgn="base">
                  <a:lnSpc>
                    <a:spcPct val="90000"/>
                  </a:lnSpc>
                  <a:spcBef>
                    <a:spcPct val="0"/>
                  </a:spcBef>
                  <a:spcAft>
                    <a:spcPct val="0"/>
                  </a:spcAft>
                </a:pPr>
                <a:r>
                  <a:rPr lang="en-US" dirty="0">
                    <a:gradFill>
                      <a:gsLst>
                        <a:gs pos="0">
                          <a:srgbClr val="FFFFFF"/>
                        </a:gs>
                        <a:gs pos="100000">
                          <a:srgbClr val="FFFFFF"/>
                        </a:gs>
                      </a:gsLst>
                      <a:lin ang="5400000" scaled="0"/>
                    </a:gradFill>
                    <a:ea typeface="Segoe UI" pitchFamily="34" charset="0"/>
                    <a:cs typeface="Segoe UI" pitchFamily="34" charset="0"/>
                  </a:rPr>
                  <a:t>Standard</a:t>
                </a:r>
              </a:p>
            </p:txBody>
          </p:sp>
          <p:sp>
            <p:nvSpPr>
              <p:cNvPr id="28" name="Rectangle 27"/>
              <p:cNvSpPr/>
              <p:nvPr/>
            </p:nvSpPr>
            <p:spPr bwMode="auto">
              <a:xfrm>
                <a:off x="8277676" y="2201862"/>
                <a:ext cx="2950482" cy="55383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8" tIns="109719" rIns="137148" bIns="109719" numCol="1" spcCol="0" rtlCol="0" fromWordArt="0" anchor="t" anchorCtr="0" forceAA="0" compatLnSpc="1">
                <a:prstTxWarp prst="textNoShape">
                  <a:avLst/>
                </a:prstTxWarp>
                <a:noAutofit/>
              </a:bodyPr>
              <a:lstStyle/>
              <a:p>
                <a:pPr algn="ctr" defTabSz="699244" fontAlgn="base">
                  <a:lnSpc>
                    <a:spcPct val="90000"/>
                  </a:lnSpc>
                  <a:spcBef>
                    <a:spcPct val="0"/>
                  </a:spcBef>
                  <a:spcAft>
                    <a:spcPct val="0"/>
                  </a:spcAft>
                </a:pPr>
                <a:r>
                  <a:rPr lang="en-US" dirty="0">
                    <a:gradFill>
                      <a:gsLst>
                        <a:gs pos="0">
                          <a:srgbClr val="FFFFFF"/>
                        </a:gs>
                        <a:gs pos="100000">
                          <a:srgbClr val="FFFFFF"/>
                        </a:gs>
                      </a:gsLst>
                      <a:lin ang="5400000" scaled="0"/>
                    </a:gradFill>
                    <a:ea typeface="Segoe UI" pitchFamily="34" charset="0"/>
                    <a:cs typeface="Segoe UI" pitchFamily="34" charset="0"/>
                  </a:rPr>
                  <a:t>Premium</a:t>
                </a:r>
              </a:p>
            </p:txBody>
          </p:sp>
        </p:grpSp>
        <p:grpSp>
          <p:nvGrpSpPr>
            <p:cNvPr id="6" name="Group 5"/>
            <p:cNvGrpSpPr/>
            <p:nvPr/>
          </p:nvGrpSpPr>
          <p:grpSpPr>
            <a:xfrm>
              <a:off x="1189037" y="2807375"/>
              <a:ext cx="10039121" cy="553836"/>
              <a:chOff x="1189037" y="2650431"/>
              <a:chExt cx="10039121" cy="553836"/>
            </a:xfrm>
          </p:grpSpPr>
          <p:sp>
            <p:nvSpPr>
              <p:cNvPr id="22" name="Rectangle 21"/>
              <p:cNvSpPr/>
              <p:nvPr/>
            </p:nvSpPr>
            <p:spPr bwMode="auto">
              <a:xfrm>
                <a:off x="3170237" y="2650431"/>
                <a:ext cx="2514600" cy="55383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8" tIns="109719" rIns="137148" bIns="109719" numCol="1" spcCol="0" rtlCol="0" fromWordArt="0" anchor="ctr" anchorCtr="0" forceAA="0" compatLnSpc="1">
                <a:prstTxWarp prst="textNoShape">
                  <a:avLst/>
                </a:prstTxWarp>
                <a:noAutofit/>
              </a:bodyPr>
              <a:lstStyle/>
              <a:p>
                <a:pPr algn="ctr" defTabSz="699244" fontAlgn="base">
                  <a:lnSpc>
                    <a:spcPct val="90000"/>
                  </a:lnSpc>
                  <a:spcBef>
                    <a:spcPct val="0"/>
                  </a:spcBef>
                  <a:spcAft>
                    <a:spcPct val="0"/>
                  </a:spcAft>
                </a:pPr>
                <a:r>
                  <a:rPr lang="en-US" sz="1350" dirty="0">
                    <a:gradFill>
                      <a:gsLst>
                        <a:gs pos="0">
                          <a:srgbClr val="FFFFFF"/>
                        </a:gs>
                        <a:gs pos="100000">
                          <a:srgbClr val="FFFFFF"/>
                        </a:gs>
                      </a:gsLst>
                      <a:lin ang="5400000" scaled="0"/>
                    </a:gradFill>
                    <a:ea typeface="Segoe UI" pitchFamily="34" charset="0"/>
                    <a:cs typeface="Segoe UI" pitchFamily="34" charset="0"/>
                  </a:rPr>
                  <a:t>Light transactional workloads</a:t>
                </a:r>
              </a:p>
            </p:txBody>
          </p:sp>
          <p:sp>
            <p:nvSpPr>
              <p:cNvPr id="23" name="Rectangle 22"/>
              <p:cNvSpPr/>
              <p:nvPr/>
            </p:nvSpPr>
            <p:spPr bwMode="auto">
              <a:xfrm>
                <a:off x="5722165" y="2650431"/>
                <a:ext cx="2514600" cy="55383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74" tIns="109719" rIns="68574" bIns="109719" numCol="1" spcCol="0" rtlCol="0" fromWordArt="0" anchor="ctr" anchorCtr="0" forceAA="0" compatLnSpc="1">
                <a:prstTxWarp prst="textNoShape">
                  <a:avLst/>
                </a:prstTxWarp>
                <a:noAutofit/>
              </a:bodyPr>
              <a:lstStyle/>
              <a:p>
                <a:pPr algn="ctr" defTabSz="699244" fontAlgn="base">
                  <a:lnSpc>
                    <a:spcPct val="90000"/>
                  </a:lnSpc>
                  <a:spcBef>
                    <a:spcPct val="0"/>
                  </a:spcBef>
                  <a:spcAft>
                    <a:spcPct val="0"/>
                  </a:spcAft>
                </a:pPr>
                <a:r>
                  <a:rPr lang="en-US" sz="1350" dirty="0">
                    <a:gradFill>
                      <a:gsLst>
                        <a:gs pos="0">
                          <a:srgbClr val="FFFFFF"/>
                        </a:gs>
                        <a:gs pos="100000">
                          <a:srgbClr val="FFFFFF"/>
                        </a:gs>
                      </a:gsLst>
                      <a:lin ang="5400000" scaled="0"/>
                    </a:gradFill>
                    <a:ea typeface="Segoe UI" pitchFamily="34" charset="0"/>
                    <a:cs typeface="Segoe UI" pitchFamily="34" charset="0"/>
                  </a:rPr>
                  <a:t>Go-to option for most business applications</a:t>
                </a:r>
              </a:p>
            </p:txBody>
          </p:sp>
          <p:sp>
            <p:nvSpPr>
              <p:cNvPr id="24" name="Rectangle 23"/>
              <p:cNvSpPr/>
              <p:nvPr/>
            </p:nvSpPr>
            <p:spPr bwMode="auto">
              <a:xfrm>
                <a:off x="8277676" y="2650431"/>
                <a:ext cx="2950482" cy="55383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74" tIns="109719" rIns="68574" bIns="109719" numCol="1" spcCol="0" rtlCol="0" fromWordArt="0" anchor="ctr" anchorCtr="0" forceAA="0" compatLnSpc="1">
                <a:prstTxWarp prst="textNoShape">
                  <a:avLst/>
                </a:prstTxWarp>
                <a:noAutofit/>
              </a:bodyPr>
              <a:lstStyle/>
              <a:p>
                <a:pPr algn="ctr" defTabSz="699244" fontAlgn="base">
                  <a:lnSpc>
                    <a:spcPct val="90000"/>
                  </a:lnSpc>
                  <a:spcBef>
                    <a:spcPct val="0"/>
                  </a:spcBef>
                  <a:spcAft>
                    <a:spcPct val="0"/>
                  </a:spcAft>
                </a:pPr>
                <a:r>
                  <a:rPr lang="en-US" sz="1350" dirty="0">
                    <a:gradFill>
                      <a:gsLst>
                        <a:gs pos="0">
                          <a:srgbClr val="FFFFFF"/>
                        </a:gs>
                        <a:gs pos="100000">
                          <a:srgbClr val="FFFFFF"/>
                        </a:gs>
                      </a:gsLst>
                      <a:lin ang="5400000" scaled="0"/>
                    </a:gradFill>
                    <a:ea typeface="Segoe UI" pitchFamily="34" charset="0"/>
                    <a:cs typeface="Segoe UI" pitchFamily="34" charset="0"/>
                  </a:rPr>
                  <a:t>High throughput and business-critical databases </a:t>
                </a:r>
              </a:p>
            </p:txBody>
          </p:sp>
          <p:sp>
            <p:nvSpPr>
              <p:cNvPr id="25" name="Rectangle 24"/>
              <p:cNvSpPr/>
              <p:nvPr/>
            </p:nvSpPr>
            <p:spPr bwMode="auto">
              <a:xfrm>
                <a:off x="1189037" y="2650431"/>
                <a:ext cx="1932669" cy="553836"/>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8" tIns="109719" rIns="137148" bIns="109719" numCol="1" spcCol="0" rtlCol="0" fromWordArt="0" anchor="ctr" anchorCtr="0" forceAA="0" compatLnSpc="1">
                <a:prstTxWarp prst="textNoShape">
                  <a:avLst/>
                </a:prstTxWarp>
                <a:noAutofit/>
              </a:bodyPr>
              <a:lstStyle/>
              <a:p>
                <a:pPr defTabSz="699244" fontAlgn="base">
                  <a:lnSpc>
                    <a:spcPct val="85000"/>
                  </a:lnSpc>
                  <a:spcBef>
                    <a:spcPct val="0"/>
                  </a:spcBef>
                  <a:spcAft>
                    <a:spcPct val="0"/>
                  </a:spcAft>
                </a:pPr>
                <a:r>
                  <a:rPr lang="en-US" sz="1500" dirty="0">
                    <a:gradFill>
                      <a:gsLst>
                        <a:gs pos="0">
                          <a:srgbClr val="FFFFFF"/>
                        </a:gs>
                        <a:gs pos="100000">
                          <a:srgbClr val="FFFFFF"/>
                        </a:gs>
                      </a:gsLst>
                      <a:lin ang="5400000" scaled="0"/>
                    </a:gradFill>
                    <a:ea typeface="Segoe UI" pitchFamily="34" charset="0"/>
                    <a:cs typeface="Segoe UI" pitchFamily="34" charset="0"/>
                  </a:rPr>
                  <a:t>Intended Use</a:t>
                </a:r>
              </a:p>
            </p:txBody>
          </p:sp>
        </p:grpSp>
        <p:grpSp>
          <p:nvGrpSpPr>
            <p:cNvPr id="8" name="Group 7"/>
            <p:cNvGrpSpPr/>
            <p:nvPr/>
          </p:nvGrpSpPr>
          <p:grpSpPr>
            <a:xfrm>
              <a:off x="1189037" y="5229426"/>
              <a:ext cx="10039120" cy="553836"/>
              <a:chOff x="1189037" y="3251400"/>
              <a:chExt cx="10039120" cy="553836"/>
            </a:xfrm>
          </p:grpSpPr>
          <p:sp>
            <p:nvSpPr>
              <p:cNvPr id="20" name="Rectangle 19"/>
              <p:cNvSpPr/>
              <p:nvPr/>
            </p:nvSpPr>
            <p:spPr bwMode="auto">
              <a:xfrm>
                <a:off x="3170236" y="3251400"/>
                <a:ext cx="8057921" cy="55383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8" tIns="109719" rIns="137148" bIns="109719" numCol="1" spcCol="0" rtlCol="0" fromWordArt="0" anchor="ctr" anchorCtr="0" forceAA="0" compatLnSpc="1">
                <a:prstTxWarp prst="textNoShape">
                  <a:avLst/>
                </a:prstTxWarp>
                <a:noAutofit/>
              </a:bodyPr>
              <a:lstStyle/>
              <a:p>
                <a:pPr algn="ctr" defTabSz="699244" fontAlgn="base">
                  <a:lnSpc>
                    <a:spcPct val="90000"/>
                  </a:lnSpc>
                  <a:spcBef>
                    <a:spcPct val="0"/>
                  </a:spcBef>
                  <a:spcAft>
                    <a:spcPct val="0"/>
                  </a:spcAft>
                </a:pPr>
                <a:r>
                  <a:rPr lang="en-US" sz="1500" dirty="0">
                    <a:gradFill>
                      <a:gsLst>
                        <a:gs pos="0">
                          <a:srgbClr val="FFFFFF"/>
                        </a:gs>
                        <a:gs pos="100000">
                          <a:srgbClr val="FFFFFF"/>
                        </a:gs>
                      </a:gsLst>
                      <a:lin ang="5400000" scaled="0"/>
                    </a:gradFill>
                    <a:latin typeface="Segoe WP Semibold" panose="020B0702040204020203" pitchFamily="34" charset="0"/>
                    <a:ea typeface="Segoe UI" pitchFamily="34" charset="0"/>
                    <a:cs typeface="Segoe WP Semibold" panose="020B0702040204020203" pitchFamily="34" charset="0"/>
                  </a:rPr>
                  <a:t>99.99%</a:t>
                </a:r>
                <a:r>
                  <a:rPr lang="en-US" sz="1500" baseline="30000" dirty="0">
                    <a:gradFill>
                      <a:gsLst>
                        <a:gs pos="0">
                          <a:srgbClr val="FFFFFF"/>
                        </a:gs>
                        <a:gs pos="100000">
                          <a:srgbClr val="FFFFFF"/>
                        </a:gs>
                      </a:gsLst>
                      <a:lin ang="5400000" scaled="0"/>
                    </a:gradFill>
                    <a:ea typeface="Segoe UI" pitchFamily="34" charset="0"/>
                    <a:cs typeface="Segoe UI" pitchFamily="34" charset="0"/>
                  </a:rPr>
                  <a:t>*</a:t>
                </a:r>
              </a:p>
            </p:txBody>
          </p:sp>
          <p:sp>
            <p:nvSpPr>
              <p:cNvPr id="21" name="Rectangle 20"/>
              <p:cNvSpPr/>
              <p:nvPr/>
            </p:nvSpPr>
            <p:spPr bwMode="auto">
              <a:xfrm>
                <a:off x="1189037" y="3251400"/>
                <a:ext cx="1932669" cy="553836"/>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8" tIns="109719" rIns="137148" bIns="109719" numCol="1" spcCol="0" rtlCol="0" fromWordArt="0" anchor="ctr" anchorCtr="0" forceAA="0" compatLnSpc="1">
                <a:prstTxWarp prst="textNoShape">
                  <a:avLst/>
                </a:prstTxWarp>
                <a:noAutofit/>
              </a:bodyPr>
              <a:lstStyle/>
              <a:p>
                <a:pPr defTabSz="699244" fontAlgn="base">
                  <a:lnSpc>
                    <a:spcPct val="85000"/>
                  </a:lnSpc>
                  <a:spcBef>
                    <a:spcPct val="0"/>
                  </a:spcBef>
                  <a:spcAft>
                    <a:spcPct val="0"/>
                  </a:spcAft>
                </a:pPr>
                <a:r>
                  <a:rPr lang="en-US" sz="1500" dirty="0">
                    <a:gradFill>
                      <a:gsLst>
                        <a:gs pos="0">
                          <a:srgbClr val="FFFFFF"/>
                        </a:gs>
                        <a:gs pos="100000">
                          <a:srgbClr val="FFFFFF"/>
                        </a:gs>
                      </a:gsLst>
                      <a:lin ang="5400000" scaled="0"/>
                    </a:gradFill>
                    <a:ea typeface="Segoe UI" pitchFamily="34" charset="0"/>
                    <a:cs typeface="Segoe UI" pitchFamily="34" charset="0"/>
                  </a:rPr>
                  <a:t>Availability</a:t>
                </a:r>
              </a:p>
            </p:txBody>
          </p:sp>
        </p:grpSp>
        <p:grpSp>
          <p:nvGrpSpPr>
            <p:cNvPr id="9" name="Group 8"/>
            <p:cNvGrpSpPr/>
            <p:nvPr/>
          </p:nvGrpSpPr>
          <p:grpSpPr>
            <a:xfrm>
              <a:off x="1189037" y="3412888"/>
              <a:ext cx="10039121" cy="553836"/>
              <a:chOff x="1189037" y="5072957"/>
              <a:chExt cx="10039121" cy="553836"/>
            </a:xfrm>
          </p:grpSpPr>
          <p:sp>
            <p:nvSpPr>
              <p:cNvPr id="16" name="Rectangle 15"/>
              <p:cNvSpPr/>
              <p:nvPr/>
            </p:nvSpPr>
            <p:spPr bwMode="auto">
              <a:xfrm>
                <a:off x="3170237" y="5072957"/>
                <a:ext cx="2514600" cy="55383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8" tIns="109719" rIns="137148" bIns="109719" numCol="1" spcCol="0" rtlCol="0" fromWordArt="0" anchor="ctr" anchorCtr="0" forceAA="0" compatLnSpc="1">
                <a:prstTxWarp prst="textNoShape">
                  <a:avLst/>
                </a:prstTxWarp>
                <a:noAutofit/>
              </a:bodyPr>
              <a:lstStyle/>
              <a:p>
                <a:pPr algn="ctr"/>
                <a:r>
                  <a:rPr lang="en-US" sz="2400" dirty="0">
                    <a:solidFill>
                      <a:srgbClr val="FFFFFF"/>
                    </a:solidFill>
                  </a:rPr>
                  <a:t>•</a:t>
                </a:r>
              </a:p>
            </p:txBody>
          </p:sp>
          <p:sp>
            <p:nvSpPr>
              <p:cNvPr id="17" name="Rectangle 16"/>
              <p:cNvSpPr/>
              <p:nvPr/>
            </p:nvSpPr>
            <p:spPr bwMode="auto">
              <a:xfrm>
                <a:off x="5722165" y="5072957"/>
                <a:ext cx="2514600" cy="55383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8" tIns="109719" rIns="137148" bIns="109719" numCol="1" spcCol="0" rtlCol="0" fromWordArt="0" anchor="ctr" anchorCtr="0" forceAA="0" compatLnSpc="1">
                <a:prstTxWarp prst="textNoShape">
                  <a:avLst/>
                </a:prstTxWarp>
                <a:noAutofit/>
              </a:bodyPr>
              <a:lstStyle/>
              <a:p>
                <a:pPr algn="ctr"/>
                <a:r>
                  <a:rPr lang="en-US" sz="2400" dirty="0">
                    <a:solidFill>
                      <a:srgbClr val="FFFFFF"/>
                    </a:solidFill>
                  </a:rPr>
                  <a:t>••</a:t>
                </a:r>
              </a:p>
            </p:txBody>
          </p:sp>
          <p:sp>
            <p:nvSpPr>
              <p:cNvPr id="18" name="Rectangle 17"/>
              <p:cNvSpPr/>
              <p:nvPr/>
            </p:nvSpPr>
            <p:spPr bwMode="auto">
              <a:xfrm>
                <a:off x="8277676" y="5072957"/>
                <a:ext cx="2950482" cy="55383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8" tIns="109719" rIns="137148" bIns="109719" numCol="1" spcCol="0" rtlCol="0" fromWordArt="0" anchor="ctr" anchorCtr="0" forceAA="0" compatLnSpc="1">
                <a:prstTxWarp prst="textNoShape">
                  <a:avLst/>
                </a:prstTxWarp>
                <a:noAutofit/>
              </a:bodyPr>
              <a:lstStyle/>
              <a:p>
                <a:pPr algn="ctr"/>
                <a:r>
                  <a:rPr lang="en-US" sz="2400">
                    <a:solidFill>
                      <a:srgbClr val="FFFFFF"/>
                    </a:solidFill>
                  </a:rPr>
                  <a:t>•••</a:t>
                </a:r>
                <a:endParaRPr lang="en-US" sz="2400" dirty="0">
                  <a:solidFill>
                    <a:srgbClr val="FFFFFF"/>
                  </a:solidFill>
                </a:endParaRPr>
              </a:p>
            </p:txBody>
          </p:sp>
          <p:sp>
            <p:nvSpPr>
              <p:cNvPr id="19" name="Rectangle 18"/>
              <p:cNvSpPr/>
              <p:nvPr/>
            </p:nvSpPr>
            <p:spPr bwMode="auto">
              <a:xfrm>
                <a:off x="1189037" y="5072957"/>
                <a:ext cx="1932669" cy="553836"/>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8" tIns="109719" rIns="137148" bIns="109719" numCol="1" spcCol="0" rtlCol="0" fromWordArt="0" anchor="ctr" anchorCtr="0" forceAA="0" compatLnSpc="1">
                <a:prstTxWarp prst="textNoShape">
                  <a:avLst/>
                </a:prstTxWarp>
                <a:noAutofit/>
              </a:bodyPr>
              <a:lstStyle/>
              <a:p>
                <a:pPr defTabSz="699244" fontAlgn="base">
                  <a:lnSpc>
                    <a:spcPct val="85000"/>
                  </a:lnSpc>
                  <a:spcBef>
                    <a:spcPct val="0"/>
                  </a:spcBef>
                  <a:spcAft>
                    <a:spcPct val="0"/>
                  </a:spcAft>
                </a:pPr>
                <a:r>
                  <a:rPr lang="en-US" sz="1500" dirty="0">
                    <a:gradFill>
                      <a:gsLst>
                        <a:gs pos="0">
                          <a:srgbClr val="FFFFFF"/>
                        </a:gs>
                        <a:gs pos="100000">
                          <a:srgbClr val="FFFFFF"/>
                        </a:gs>
                      </a:gsLst>
                      <a:lin ang="5400000" scaled="0"/>
                    </a:gradFill>
                    <a:ea typeface="Segoe UI" pitchFamily="34" charset="0"/>
                    <a:cs typeface="Segoe UI" pitchFamily="34" charset="0"/>
                  </a:rPr>
                  <a:t>Performance</a:t>
                </a:r>
              </a:p>
            </p:txBody>
          </p:sp>
        </p:grpSp>
        <p:grpSp>
          <p:nvGrpSpPr>
            <p:cNvPr id="10" name="Group 9"/>
            <p:cNvGrpSpPr/>
            <p:nvPr/>
          </p:nvGrpSpPr>
          <p:grpSpPr>
            <a:xfrm>
              <a:off x="1189037" y="4623914"/>
              <a:ext cx="10039120" cy="553836"/>
              <a:chOff x="1189037" y="3861812"/>
              <a:chExt cx="10039120" cy="553836"/>
            </a:xfrm>
          </p:grpSpPr>
          <p:sp>
            <p:nvSpPr>
              <p:cNvPr id="14" name="Rectangle 13"/>
              <p:cNvSpPr/>
              <p:nvPr/>
            </p:nvSpPr>
            <p:spPr bwMode="auto">
              <a:xfrm>
                <a:off x="3170236" y="3861812"/>
                <a:ext cx="8057921" cy="55383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8" tIns="109719" rIns="137148" bIns="109719" numCol="1" spcCol="0" rtlCol="0" fromWordArt="0" anchor="ctr" anchorCtr="0" forceAA="0" compatLnSpc="1">
                <a:prstTxWarp prst="textNoShape">
                  <a:avLst/>
                </a:prstTxWarp>
                <a:noAutofit/>
              </a:bodyPr>
              <a:lstStyle/>
              <a:p>
                <a:pPr algn="ctr" defTabSz="699244" fontAlgn="base">
                  <a:lnSpc>
                    <a:spcPct val="90000"/>
                  </a:lnSpc>
                  <a:spcBef>
                    <a:spcPct val="0"/>
                  </a:spcBef>
                  <a:spcAft>
                    <a:spcPct val="0"/>
                  </a:spcAft>
                </a:pPr>
                <a:r>
                  <a:rPr lang="en-US" sz="1500" dirty="0">
                    <a:gradFill>
                      <a:gsLst>
                        <a:gs pos="0">
                          <a:srgbClr val="FFFFFF"/>
                        </a:gs>
                        <a:gs pos="100000">
                          <a:srgbClr val="FFFFFF"/>
                        </a:gs>
                      </a:gsLst>
                      <a:lin ang="5400000" scaled="0"/>
                    </a:gradFill>
                    <a:ea typeface="Segoe UI" pitchFamily="34" charset="0"/>
                    <a:cs typeface="Segoe UI" pitchFamily="34" charset="0"/>
                  </a:rPr>
                  <a:t>Fully compatible with SQL Server 2014 databases</a:t>
                </a:r>
                <a:endParaRPr lang="en-US" sz="1500" baseline="30000" dirty="0">
                  <a:gradFill>
                    <a:gsLst>
                      <a:gs pos="0">
                        <a:srgbClr val="FFFFFF"/>
                      </a:gs>
                      <a:gs pos="100000">
                        <a:srgbClr val="FFFFFF"/>
                      </a:gs>
                    </a:gsLst>
                    <a:lin ang="5400000" scaled="0"/>
                  </a:gradFill>
                  <a:ea typeface="Segoe UI" pitchFamily="34" charset="0"/>
                  <a:cs typeface="Segoe UI" pitchFamily="34" charset="0"/>
                </a:endParaRPr>
              </a:p>
            </p:txBody>
          </p:sp>
          <p:sp>
            <p:nvSpPr>
              <p:cNvPr id="15" name="Rectangle 14"/>
              <p:cNvSpPr/>
              <p:nvPr/>
            </p:nvSpPr>
            <p:spPr bwMode="auto">
              <a:xfrm>
                <a:off x="1189037" y="3861812"/>
                <a:ext cx="1932669" cy="553836"/>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8" tIns="109719" rIns="137148" bIns="109719" numCol="1" spcCol="0" rtlCol="0" fromWordArt="0" anchor="ctr" anchorCtr="0" forceAA="0" compatLnSpc="1">
                <a:prstTxWarp prst="textNoShape">
                  <a:avLst/>
                </a:prstTxWarp>
                <a:noAutofit/>
              </a:bodyPr>
              <a:lstStyle/>
              <a:p>
                <a:pPr defTabSz="699244" fontAlgn="base">
                  <a:lnSpc>
                    <a:spcPct val="85000"/>
                  </a:lnSpc>
                  <a:spcBef>
                    <a:spcPct val="0"/>
                  </a:spcBef>
                  <a:spcAft>
                    <a:spcPct val="0"/>
                  </a:spcAft>
                </a:pPr>
                <a:r>
                  <a:rPr lang="en-US" sz="1500" dirty="0">
                    <a:gradFill>
                      <a:gsLst>
                        <a:gs pos="0">
                          <a:srgbClr val="FFFFFF"/>
                        </a:gs>
                        <a:gs pos="100000">
                          <a:srgbClr val="FFFFFF"/>
                        </a:gs>
                      </a:gsLst>
                      <a:lin ang="5400000" scaled="0"/>
                    </a:gradFill>
                    <a:ea typeface="Segoe UI" pitchFamily="34" charset="0"/>
                    <a:cs typeface="Segoe UI" pitchFamily="34" charset="0"/>
                  </a:rPr>
                  <a:t>Programming</a:t>
                </a:r>
                <a:br>
                  <a:rPr lang="en-US" sz="1500" dirty="0">
                    <a:gradFill>
                      <a:gsLst>
                        <a:gs pos="0">
                          <a:srgbClr val="FFFFFF"/>
                        </a:gs>
                        <a:gs pos="100000">
                          <a:srgbClr val="FFFFFF"/>
                        </a:gs>
                      </a:gsLst>
                      <a:lin ang="5400000" scaled="0"/>
                    </a:gradFill>
                    <a:ea typeface="Segoe UI" pitchFamily="34" charset="0"/>
                    <a:cs typeface="Segoe UI" pitchFamily="34" charset="0"/>
                  </a:rPr>
                </a:br>
                <a:r>
                  <a:rPr lang="en-US" sz="1500" dirty="0">
                    <a:gradFill>
                      <a:gsLst>
                        <a:gs pos="0">
                          <a:srgbClr val="FFFFFF"/>
                        </a:gs>
                        <a:gs pos="100000">
                          <a:srgbClr val="FFFFFF"/>
                        </a:gs>
                      </a:gsLst>
                      <a:lin ang="5400000" scaled="0"/>
                    </a:gradFill>
                    <a:ea typeface="Segoe UI" pitchFamily="34" charset="0"/>
                    <a:cs typeface="Segoe UI" pitchFamily="34" charset="0"/>
                  </a:rPr>
                  <a:t>Surface</a:t>
                </a:r>
              </a:p>
            </p:txBody>
          </p:sp>
        </p:grpSp>
        <p:grpSp>
          <p:nvGrpSpPr>
            <p:cNvPr id="11" name="Group 10"/>
            <p:cNvGrpSpPr/>
            <p:nvPr/>
          </p:nvGrpSpPr>
          <p:grpSpPr>
            <a:xfrm>
              <a:off x="1189037" y="4018401"/>
              <a:ext cx="10039120" cy="553836"/>
              <a:chOff x="1189037" y="3861812"/>
              <a:chExt cx="10039120" cy="553836"/>
            </a:xfrm>
          </p:grpSpPr>
          <p:sp>
            <p:nvSpPr>
              <p:cNvPr id="12" name="Rectangle 11"/>
              <p:cNvSpPr/>
              <p:nvPr/>
            </p:nvSpPr>
            <p:spPr bwMode="auto">
              <a:xfrm>
                <a:off x="3170236" y="3861812"/>
                <a:ext cx="8057921" cy="55383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8" tIns="109719" rIns="137148" bIns="109719" numCol="1" spcCol="0" rtlCol="0" fromWordArt="0" anchor="ctr" anchorCtr="0" forceAA="0" compatLnSpc="1">
                <a:prstTxWarp prst="textNoShape">
                  <a:avLst/>
                </a:prstTxWarp>
                <a:noAutofit/>
              </a:bodyPr>
              <a:lstStyle/>
              <a:p>
                <a:pPr algn="ctr" defTabSz="699244" fontAlgn="base">
                  <a:lnSpc>
                    <a:spcPct val="90000"/>
                  </a:lnSpc>
                  <a:spcBef>
                    <a:spcPct val="0"/>
                  </a:spcBef>
                  <a:spcAft>
                    <a:spcPct val="0"/>
                  </a:spcAft>
                </a:pPr>
                <a:r>
                  <a:rPr lang="en-US" sz="1500" dirty="0">
                    <a:gradFill>
                      <a:gsLst>
                        <a:gs pos="0">
                          <a:srgbClr val="FFFFFF"/>
                        </a:gs>
                        <a:gs pos="100000">
                          <a:srgbClr val="FFFFFF"/>
                        </a:gs>
                      </a:gsLst>
                      <a:lin ang="5400000" scaled="0"/>
                    </a:gradFill>
                    <a:ea typeface="Segoe UI" pitchFamily="34" charset="0"/>
                    <a:cs typeface="Segoe UI" pitchFamily="34" charset="0"/>
                  </a:rPr>
                  <a:t>Isolated databases and elastic database pools</a:t>
                </a:r>
                <a:endParaRPr lang="en-US" sz="1500" baseline="30000" dirty="0">
                  <a:gradFill>
                    <a:gsLst>
                      <a:gs pos="0">
                        <a:srgbClr val="FFFFFF"/>
                      </a:gs>
                      <a:gs pos="100000">
                        <a:srgbClr val="FFFFFF"/>
                      </a:gs>
                    </a:gsLst>
                    <a:lin ang="5400000" scaled="0"/>
                  </a:gradFill>
                  <a:ea typeface="Segoe UI" pitchFamily="34" charset="0"/>
                  <a:cs typeface="Segoe UI" pitchFamily="34" charset="0"/>
                </a:endParaRPr>
              </a:p>
            </p:txBody>
          </p:sp>
          <p:sp>
            <p:nvSpPr>
              <p:cNvPr id="13" name="Rectangle 12"/>
              <p:cNvSpPr/>
              <p:nvPr/>
            </p:nvSpPr>
            <p:spPr bwMode="auto">
              <a:xfrm>
                <a:off x="1189037" y="3861812"/>
                <a:ext cx="1932669" cy="553836"/>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8" tIns="109719" rIns="137148" bIns="109719" numCol="1" spcCol="0" rtlCol="0" fromWordArt="0" anchor="ctr" anchorCtr="0" forceAA="0" compatLnSpc="1">
                <a:prstTxWarp prst="textNoShape">
                  <a:avLst/>
                </a:prstTxWarp>
                <a:noAutofit/>
              </a:bodyPr>
              <a:lstStyle/>
              <a:p>
                <a:pPr defTabSz="699244" fontAlgn="base">
                  <a:lnSpc>
                    <a:spcPct val="85000"/>
                  </a:lnSpc>
                  <a:spcBef>
                    <a:spcPct val="0"/>
                  </a:spcBef>
                  <a:spcAft>
                    <a:spcPct val="0"/>
                  </a:spcAft>
                </a:pPr>
                <a:r>
                  <a:rPr lang="en-US" sz="1500" dirty="0">
                    <a:gradFill>
                      <a:gsLst>
                        <a:gs pos="0">
                          <a:srgbClr val="FFFFFF"/>
                        </a:gs>
                        <a:gs pos="100000">
                          <a:srgbClr val="FFFFFF"/>
                        </a:gs>
                      </a:gsLst>
                      <a:lin ang="5400000" scaled="0"/>
                    </a:gradFill>
                    <a:ea typeface="Segoe UI" pitchFamily="34" charset="0"/>
                    <a:cs typeface="Segoe UI" pitchFamily="34" charset="0"/>
                  </a:rPr>
                  <a:t>Workload Elasticity</a:t>
                </a:r>
              </a:p>
            </p:txBody>
          </p:sp>
        </p:grpSp>
      </p:grpSp>
    </p:spTree>
    <p:extLst>
      <p:ext uri="{BB962C8B-B14F-4D97-AF65-F5344CB8AC3E}">
        <p14:creationId xmlns:p14="http://schemas.microsoft.com/office/powerpoint/2010/main" val="258617032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66168" y="2989432"/>
            <a:ext cx="11702553" cy="1292662"/>
          </a:xfrm>
        </p:spPr>
        <p:txBody>
          <a:bodyPr/>
          <a:lstStyle/>
          <a:p>
            <a:r>
              <a:rPr lang="en-US" dirty="0"/>
              <a:t>Azure PaaS Overview</a:t>
            </a:r>
          </a:p>
        </p:txBody>
      </p:sp>
    </p:spTree>
    <p:extLst>
      <p:ext uri="{BB962C8B-B14F-4D97-AF65-F5344CB8AC3E}">
        <p14:creationId xmlns:p14="http://schemas.microsoft.com/office/powerpoint/2010/main" val="324144362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366169" y="1212851"/>
            <a:ext cx="4984206" cy="4949047"/>
          </a:xfrm>
        </p:spPr>
        <p:txBody>
          <a:bodyPr/>
          <a:lstStyle/>
          <a:p>
            <a:r>
              <a:rPr lang="en-US" dirty="0"/>
              <a:t>Connection security</a:t>
            </a:r>
          </a:p>
          <a:p>
            <a:r>
              <a:rPr lang="en-US" dirty="0"/>
              <a:t>Authentication</a:t>
            </a:r>
          </a:p>
          <a:p>
            <a:r>
              <a:rPr lang="en-US" dirty="0"/>
              <a:t>SQL and AAD</a:t>
            </a:r>
          </a:p>
          <a:p>
            <a:r>
              <a:rPr lang="en-US" dirty="0"/>
              <a:t>Authorization</a:t>
            </a:r>
          </a:p>
          <a:p>
            <a:r>
              <a:rPr lang="en-US" dirty="0"/>
              <a:t>Database roles</a:t>
            </a:r>
          </a:p>
          <a:p>
            <a:r>
              <a:rPr lang="en-US" dirty="0"/>
              <a:t>Permissions</a:t>
            </a:r>
          </a:p>
          <a:p>
            <a:r>
              <a:rPr lang="en-US" dirty="0"/>
              <a:t>Row-level security</a:t>
            </a:r>
          </a:p>
          <a:p>
            <a:r>
              <a:rPr lang="en-US" dirty="0"/>
              <a:t>Data masking</a:t>
            </a:r>
          </a:p>
        </p:txBody>
      </p:sp>
      <p:sp>
        <p:nvSpPr>
          <p:cNvPr id="2" name="Title 1"/>
          <p:cNvSpPr>
            <a:spLocks noGrp="1"/>
          </p:cNvSpPr>
          <p:nvPr>
            <p:ph type="title"/>
          </p:nvPr>
        </p:nvSpPr>
        <p:spPr/>
        <p:txBody>
          <a:bodyPr/>
          <a:lstStyle/>
          <a:p>
            <a:r>
              <a:rPr lang="en-US" dirty="0"/>
              <a:t>Securing Azure SQL Database</a:t>
            </a:r>
          </a:p>
        </p:txBody>
      </p:sp>
      <p:sp>
        <p:nvSpPr>
          <p:cNvPr id="6" name="Text Placeholder 4"/>
          <p:cNvSpPr txBox="1">
            <a:spLocks/>
          </p:cNvSpPr>
          <p:nvPr/>
        </p:nvSpPr>
        <p:spPr>
          <a:xfrm>
            <a:off x="6562930" y="1212851"/>
            <a:ext cx="4984206" cy="2917722"/>
          </a:xfrm>
          <a:prstGeom prst="rect">
            <a:avLst/>
          </a:prstGeom>
        </p:spPr>
        <p:txBody>
          <a:bodyPr vert="horz" wrap="square" lIns="146304" tIns="91440" rIns="146304" bIns="91440" rtlCol="0">
            <a:spAutoFit/>
          </a:bodyPr>
          <a:lstStyle>
            <a:lvl1pPr marL="342846" marR="0" indent="-342846" algn="l" defTabSz="932594" rtl="0" eaLnBrk="1" fontAlgn="auto" latinLnBrk="0" hangingPunct="1">
              <a:lnSpc>
                <a:spcPct val="90000"/>
              </a:lnSpc>
              <a:spcBef>
                <a:spcPct val="20000"/>
              </a:spcBef>
              <a:spcAft>
                <a:spcPts val="0"/>
              </a:spcAft>
              <a:buClrTx/>
              <a:buSzPct val="90000"/>
              <a:buFont typeface="Arial" pitchFamily="34" charset="0"/>
              <a:buChar char="•"/>
              <a:tabLst/>
              <a:defRPr sz="3600" kern="1200" spc="0" baseline="0">
                <a:gradFill>
                  <a:gsLst>
                    <a:gs pos="1250">
                      <a:schemeClr val="tx2"/>
                    </a:gs>
                    <a:gs pos="99000">
                      <a:schemeClr val="tx2"/>
                    </a:gs>
                  </a:gsLst>
                  <a:lin ang="5400000" scaled="0"/>
                </a:gradFill>
                <a:latin typeface="+mj-lt"/>
                <a:ea typeface="+mn-ea"/>
                <a:cs typeface="+mn-cs"/>
              </a:defRPr>
            </a:lvl1pPr>
            <a:lvl2pPr marL="615935" marR="0" indent="-273044" algn="l" defTabSz="93259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2pPr>
            <a:lvl3pPr marL="840296" marR="0" indent="-226478" algn="l" defTabSz="932594"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3pPr>
            <a:lvl4pPr marL="1064657" marR="0" indent="-226478" algn="l" defTabSz="932594" rtl="0" eaLnBrk="1" fontAlgn="auto" latinLnBrk="0" hangingPunct="1">
              <a:lnSpc>
                <a:spcPct val="90000"/>
              </a:lnSpc>
              <a:spcBef>
                <a:spcPct val="20000"/>
              </a:spcBef>
              <a:spcAft>
                <a:spcPts val="0"/>
              </a:spcAft>
              <a:buClrTx/>
              <a:buSzPct val="90000"/>
              <a:buFont typeface="Arial" pitchFamily="34" charset="0"/>
              <a:buChar char="•"/>
              <a:tabLst/>
              <a:defRPr sz="1600" kern="1200" spc="0" baseline="0">
                <a:gradFill>
                  <a:gsLst>
                    <a:gs pos="1250">
                      <a:schemeClr val="tx1"/>
                    </a:gs>
                    <a:gs pos="100000">
                      <a:schemeClr val="tx1"/>
                    </a:gs>
                  </a:gsLst>
                  <a:lin ang="5400000" scaled="0"/>
                </a:gradFill>
                <a:latin typeface="+mn-lt"/>
                <a:ea typeface="+mn-ea"/>
                <a:cs typeface="+mn-cs"/>
              </a:defRPr>
            </a:lvl4pPr>
            <a:lvl5pPr marL="1219170" marR="0" indent="-226478" algn="l" defTabSz="932594" rtl="0" eaLnBrk="1" fontAlgn="auto" latinLnBrk="0" hangingPunct="1">
              <a:lnSpc>
                <a:spcPct val="90000"/>
              </a:lnSpc>
              <a:spcBef>
                <a:spcPct val="20000"/>
              </a:spcBef>
              <a:spcAft>
                <a:spcPts val="0"/>
              </a:spcAft>
              <a:buClrTx/>
              <a:buSzPct val="90000"/>
              <a:buFont typeface="Arial" pitchFamily="34" charset="0"/>
              <a:buChar char="•"/>
              <a:tabLst/>
              <a:defRPr sz="1600" kern="1200" spc="0" baseline="0">
                <a:gradFill>
                  <a:gsLst>
                    <a:gs pos="1250">
                      <a:schemeClr val="tx1"/>
                    </a:gs>
                    <a:gs pos="100000">
                      <a:schemeClr val="tx1"/>
                    </a:gs>
                  </a:gsLst>
                  <a:lin ang="5400000" scaled="0"/>
                </a:gradFill>
                <a:latin typeface="+mn-lt"/>
                <a:ea typeface="+mn-ea"/>
                <a:cs typeface="+mn-cs"/>
              </a:defRPr>
            </a:lvl5pPr>
            <a:lvl6pPr marL="2564633" indent="-233149" algn="l" defTabSz="93259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932" indent="-233149" algn="l" defTabSz="93259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229" indent="-233149" algn="l" defTabSz="93259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528" indent="-233149" algn="l" defTabSz="932594"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dirty="0"/>
              <a:t>Encryption</a:t>
            </a:r>
          </a:p>
          <a:p>
            <a:pPr marL="567261" lvl="2" indent="-342900"/>
            <a:r>
              <a:rPr lang="en-US" sz="2000" dirty="0"/>
              <a:t>TDE</a:t>
            </a:r>
          </a:p>
          <a:p>
            <a:pPr marL="567261" lvl="2" indent="-342900"/>
            <a:r>
              <a:rPr lang="en-US" sz="2000" dirty="0"/>
              <a:t>Cell-level encryption</a:t>
            </a:r>
          </a:p>
          <a:p>
            <a:pPr marL="567261" lvl="2" indent="-342900"/>
            <a:r>
              <a:rPr lang="en-US" sz="2000" dirty="0"/>
              <a:t>Always encrypted</a:t>
            </a:r>
          </a:p>
          <a:p>
            <a:r>
              <a:rPr lang="en-US" dirty="0"/>
              <a:t>Auditing</a:t>
            </a:r>
          </a:p>
          <a:p>
            <a:r>
              <a:rPr lang="en-US" dirty="0"/>
              <a:t>Firewall</a:t>
            </a:r>
          </a:p>
        </p:txBody>
      </p:sp>
    </p:spTree>
    <p:extLst>
      <p:ext uri="{BB962C8B-B14F-4D97-AF65-F5344CB8AC3E}">
        <p14:creationId xmlns:p14="http://schemas.microsoft.com/office/powerpoint/2010/main" val="320868674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zure Container Services</a:t>
            </a:r>
          </a:p>
        </p:txBody>
      </p:sp>
    </p:spTree>
    <p:extLst>
      <p:ext uri="{BB962C8B-B14F-4D97-AF65-F5344CB8AC3E}">
        <p14:creationId xmlns:p14="http://schemas.microsoft.com/office/powerpoint/2010/main" val="391084678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366169" y="295278"/>
            <a:ext cx="11702551" cy="917575"/>
          </a:xfrm>
        </p:spPr>
        <p:txBody>
          <a:bodyPr/>
          <a:lstStyle/>
          <a:p>
            <a:r>
              <a:rPr lang="en-US" dirty="0"/>
              <a:t>Azure Container Service</a:t>
            </a:r>
          </a:p>
        </p:txBody>
      </p:sp>
      <p:sp>
        <p:nvSpPr>
          <p:cNvPr id="8" name="Text Placeholder 1"/>
          <p:cNvSpPr txBox="1">
            <a:spLocks/>
          </p:cNvSpPr>
          <p:nvPr/>
        </p:nvSpPr>
        <p:spPr>
          <a:xfrm>
            <a:off x="366167" y="1212852"/>
            <a:ext cx="11702552" cy="1487318"/>
          </a:xfrm>
          <a:prstGeom prst="rect">
            <a:avLst/>
          </a:prstGeom>
        </p:spPr>
        <p:txBody>
          <a:bodyPr/>
          <a:lstStyle>
            <a:lvl1pPr marL="342846" marR="0" indent="-342846" algn="l" defTabSz="932594" rtl="0" eaLnBrk="1" fontAlgn="auto" latinLnBrk="0" hangingPunct="1">
              <a:lnSpc>
                <a:spcPct val="90000"/>
              </a:lnSpc>
              <a:spcBef>
                <a:spcPct val="20000"/>
              </a:spcBef>
              <a:spcAft>
                <a:spcPts val="0"/>
              </a:spcAft>
              <a:buClrTx/>
              <a:buSzPct val="90000"/>
              <a:buFont typeface="Arial" pitchFamily="34" charset="0"/>
              <a:buChar char="•"/>
              <a:tabLst/>
              <a:defRPr sz="4800" kern="1200" spc="0" baseline="0">
                <a:gradFill>
                  <a:gsLst>
                    <a:gs pos="1250">
                      <a:schemeClr val="tx1"/>
                    </a:gs>
                    <a:gs pos="100000">
                      <a:schemeClr val="tx1"/>
                    </a:gs>
                  </a:gsLst>
                  <a:lin ang="5400000" scaled="0"/>
                </a:gradFill>
                <a:latin typeface="+mj-lt"/>
                <a:ea typeface="+mn-ea"/>
                <a:cs typeface="+mn-cs"/>
              </a:defRPr>
            </a:lvl1pPr>
            <a:lvl2pPr marL="615935" marR="0" indent="-273044" algn="l" defTabSz="932594" rtl="0" eaLnBrk="1" fontAlgn="auto" latinLnBrk="0" hangingPunct="1">
              <a:lnSpc>
                <a:spcPct val="90000"/>
              </a:lnSpc>
              <a:spcBef>
                <a:spcPct val="20000"/>
              </a:spcBef>
              <a:spcAft>
                <a:spcPts val="0"/>
              </a:spcAft>
              <a:buClrTx/>
              <a:buSzPct val="90000"/>
              <a:buFont typeface="Arial" pitchFamily="34" charset="0"/>
              <a:buChar char="•"/>
              <a:tabLst/>
              <a:defRPr sz="3200" kern="1200" spc="0" baseline="0">
                <a:gradFill>
                  <a:gsLst>
                    <a:gs pos="1250">
                      <a:schemeClr val="tx1"/>
                    </a:gs>
                    <a:gs pos="100000">
                      <a:schemeClr val="tx1"/>
                    </a:gs>
                  </a:gsLst>
                  <a:lin ang="5400000" scaled="0"/>
                </a:gradFill>
                <a:latin typeface="+mn-lt"/>
                <a:ea typeface="+mn-ea"/>
                <a:cs typeface="+mn-cs"/>
              </a:defRPr>
            </a:lvl2pPr>
            <a:lvl3pPr marL="840296" marR="0" indent="-226478" algn="l" defTabSz="932594" rtl="0" eaLnBrk="1" fontAlgn="auto" latinLnBrk="0" hangingPunct="1">
              <a:lnSpc>
                <a:spcPct val="90000"/>
              </a:lnSpc>
              <a:spcBef>
                <a:spcPct val="20000"/>
              </a:spcBef>
              <a:spcAft>
                <a:spcPts val="0"/>
              </a:spcAft>
              <a:buClrTx/>
              <a:buSzPct val="90000"/>
              <a:buFont typeface="Arial" pitchFamily="34" charset="0"/>
              <a:buChar char="•"/>
              <a:tabLst/>
              <a:defRPr sz="2667" kern="1200" spc="0" baseline="0">
                <a:gradFill>
                  <a:gsLst>
                    <a:gs pos="1250">
                      <a:schemeClr val="tx1"/>
                    </a:gs>
                    <a:gs pos="100000">
                      <a:schemeClr val="tx1"/>
                    </a:gs>
                  </a:gsLst>
                  <a:lin ang="5400000" scaled="0"/>
                </a:gradFill>
                <a:latin typeface="+mn-lt"/>
                <a:ea typeface="+mn-ea"/>
                <a:cs typeface="+mn-cs"/>
              </a:defRPr>
            </a:lvl3pPr>
            <a:lvl4pPr marL="1064657" marR="0" indent="-226478" algn="l" defTabSz="93259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4pPr>
            <a:lvl5pPr marL="1219170" marR="0" indent="-226478" algn="l" defTabSz="93259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5pPr>
            <a:lvl6pPr marL="2564633" indent="-233149" algn="l" defTabSz="93259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932" indent="-233149" algn="l" defTabSz="93259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229" indent="-233149" algn="l" defTabSz="93259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528" indent="-233149" algn="l" defTabSz="932594"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3200" dirty="0">
                <a:solidFill>
                  <a:schemeClr val="tx2"/>
                </a:solidFill>
              </a:rPr>
              <a:t>A platform for reliable, </a:t>
            </a:r>
            <a:r>
              <a:rPr lang="en-US" sz="3200" dirty="0" err="1">
                <a:solidFill>
                  <a:schemeClr val="tx2"/>
                </a:solidFill>
              </a:rPr>
              <a:t>hyperscale</a:t>
            </a:r>
            <a:r>
              <a:rPr lang="en-US" sz="3200" dirty="0">
                <a:solidFill>
                  <a:schemeClr val="tx2"/>
                </a:solidFill>
              </a:rPr>
              <a:t>, container-based applications</a:t>
            </a:r>
          </a:p>
        </p:txBody>
      </p:sp>
      <p:sp>
        <p:nvSpPr>
          <p:cNvPr id="357" name="Right Arrow 355"/>
          <p:cNvSpPr/>
          <p:nvPr/>
        </p:nvSpPr>
        <p:spPr>
          <a:xfrm rot="5400000">
            <a:off x="1610309" y="3900887"/>
            <a:ext cx="668350" cy="761847"/>
          </a:xfrm>
          <a:prstGeom prst="rightArrow">
            <a:avLst/>
          </a:prstGeom>
          <a:solidFill>
            <a:schemeClr val="tx2"/>
          </a:solidFill>
          <a:ln w="12700" cap="flat" cmpd="sng" algn="ctr">
            <a:noFill/>
            <a:prstDash val="solid"/>
            <a:miter lim="800000"/>
          </a:ln>
          <a:effectLst/>
        </p:spPr>
        <p:txBody>
          <a:bodyPr rtlCol="0" anchor="ctr"/>
          <a:lstStyle/>
          <a:p>
            <a:pPr algn="ctr" defTabSz="914133">
              <a:defRPr/>
            </a:pPr>
            <a:endParaRPr lang="en-US" kern="0">
              <a:solidFill>
                <a:srgbClr val="FFFFFF"/>
              </a:solidFill>
              <a:latin typeface="Calibri" panose="020F0502020204030204"/>
            </a:endParaRPr>
          </a:p>
        </p:txBody>
      </p:sp>
      <p:sp>
        <p:nvSpPr>
          <p:cNvPr id="358" name="Right Arrow 356"/>
          <p:cNvSpPr/>
          <p:nvPr/>
        </p:nvSpPr>
        <p:spPr>
          <a:xfrm rot="5400000">
            <a:off x="5682741" y="3871684"/>
            <a:ext cx="706284" cy="806214"/>
          </a:xfrm>
          <a:prstGeom prst="rightArrow">
            <a:avLst/>
          </a:prstGeom>
          <a:solidFill>
            <a:schemeClr val="tx2"/>
          </a:solidFill>
          <a:ln w="12700" cap="flat" cmpd="sng" algn="ctr">
            <a:noFill/>
            <a:prstDash val="solid"/>
            <a:miter lim="800000"/>
          </a:ln>
          <a:effectLst/>
        </p:spPr>
        <p:txBody>
          <a:bodyPr rtlCol="0" anchor="ctr"/>
          <a:lstStyle/>
          <a:p>
            <a:pPr algn="ctr" defTabSz="914133">
              <a:defRPr/>
            </a:pPr>
            <a:endParaRPr lang="en-US" kern="0">
              <a:solidFill>
                <a:srgbClr val="FFFFFF"/>
              </a:solidFill>
              <a:latin typeface="Calibri" panose="020F0502020204030204"/>
            </a:endParaRPr>
          </a:p>
        </p:txBody>
      </p:sp>
      <p:sp>
        <p:nvSpPr>
          <p:cNvPr id="359" name="Right Arrow 357"/>
          <p:cNvSpPr/>
          <p:nvPr/>
        </p:nvSpPr>
        <p:spPr>
          <a:xfrm rot="5400000">
            <a:off x="10146698" y="3897864"/>
            <a:ext cx="667618" cy="742659"/>
          </a:xfrm>
          <a:prstGeom prst="rightArrow">
            <a:avLst/>
          </a:prstGeom>
          <a:solidFill>
            <a:schemeClr val="tx2"/>
          </a:solidFill>
          <a:ln w="12700" cap="flat" cmpd="sng" algn="ctr">
            <a:noFill/>
            <a:prstDash val="solid"/>
            <a:miter lim="800000"/>
          </a:ln>
          <a:effectLst/>
        </p:spPr>
        <p:txBody>
          <a:bodyPr rtlCol="0" anchor="ctr"/>
          <a:lstStyle/>
          <a:p>
            <a:pPr algn="ctr" defTabSz="914133">
              <a:defRPr/>
            </a:pPr>
            <a:endParaRPr lang="en-US" kern="0">
              <a:solidFill>
                <a:srgbClr val="FFFFFF"/>
              </a:solidFill>
              <a:latin typeface="Calibri" panose="020F0502020204030204"/>
            </a:endParaRPr>
          </a:p>
        </p:txBody>
      </p:sp>
      <p:sp>
        <p:nvSpPr>
          <p:cNvPr id="360" name="Hexagon 359"/>
          <p:cNvSpPr/>
          <p:nvPr/>
        </p:nvSpPr>
        <p:spPr>
          <a:xfrm>
            <a:off x="534619" y="2728047"/>
            <a:ext cx="274840" cy="247924"/>
          </a:xfrm>
          <a:prstGeom prst="hexagon">
            <a:avLst/>
          </a:prstGeom>
          <a:solidFill>
            <a:schemeClr val="tx2"/>
          </a:solidFill>
          <a:ln w="12700" cap="flat" cmpd="sng" algn="ctr">
            <a:noFill/>
            <a:prstDash val="solid"/>
            <a:miter lim="800000"/>
          </a:ln>
          <a:effectLst/>
        </p:spPr>
        <p:txBody>
          <a:bodyPr rtlCol="0" anchor="ctr"/>
          <a:lstStyle/>
          <a:p>
            <a:pPr algn="ctr" defTabSz="914133">
              <a:defRPr/>
            </a:pPr>
            <a:endParaRPr lang="en-US" kern="0">
              <a:solidFill>
                <a:srgbClr val="FFFFFF"/>
              </a:solidFill>
              <a:latin typeface="Calibri" panose="020F0502020204030204"/>
            </a:endParaRPr>
          </a:p>
        </p:txBody>
      </p:sp>
      <p:sp>
        <p:nvSpPr>
          <p:cNvPr id="361" name="Hexagon 360"/>
          <p:cNvSpPr/>
          <p:nvPr/>
        </p:nvSpPr>
        <p:spPr>
          <a:xfrm>
            <a:off x="993515" y="2728047"/>
            <a:ext cx="274840" cy="247924"/>
          </a:xfrm>
          <a:prstGeom prst="hexagon">
            <a:avLst/>
          </a:prstGeom>
          <a:solidFill>
            <a:schemeClr val="tx2"/>
          </a:solidFill>
          <a:ln w="12700" cap="flat" cmpd="sng" algn="ctr">
            <a:noFill/>
            <a:prstDash val="solid"/>
            <a:miter lim="800000"/>
          </a:ln>
          <a:effectLst/>
        </p:spPr>
        <p:txBody>
          <a:bodyPr rtlCol="0" anchor="ctr"/>
          <a:lstStyle/>
          <a:p>
            <a:pPr algn="ctr" defTabSz="914133">
              <a:defRPr/>
            </a:pPr>
            <a:endParaRPr lang="en-US" kern="0">
              <a:solidFill>
                <a:srgbClr val="FFFFFF"/>
              </a:solidFill>
              <a:latin typeface="Calibri" panose="020F0502020204030204"/>
            </a:endParaRPr>
          </a:p>
        </p:txBody>
      </p:sp>
      <p:sp>
        <p:nvSpPr>
          <p:cNvPr id="362" name="Hexagon 361"/>
          <p:cNvSpPr/>
          <p:nvPr/>
        </p:nvSpPr>
        <p:spPr>
          <a:xfrm>
            <a:off x="1454897" y="2728047"/>
            <a:ext cx="274840" cy="247924"/>
          </a:xfrm>
          <a:prstGeom prst="hexagon">
            <a:avLst/>
          </a:prstGeom>
          <a:solidFill>
            <a:schemeClr val="tx2"/>
          </a:solidFill>
          <a:ln w="12700" cap="flat" cmpd="sng" algn="ctr">
            <a:noFill/>
            <a:prstDash val="solid"/>
            <a:miter lim="800000"/>
          </a:ln>
          <a:effectLst/>
        </p:spPr>
        <p:txBody>
          <a:bodyPr rtlCol="0" anchor="ctr"/>
          <a:lstStyle/>
          <a:p>
            <a:pPr algn="ctr" defTabSz="914133">
              <a:defRPr/>
            </a:pPr>
            <a:endParaRPr lang="en-US" kern="0">
              <a:solidFill>
                <a:srgbClr val="FFFFFF"/>
              </a:solidFill>
              <a:latin typeface="Calibri" panose="020F0502020204030204"/>
            </a:endParaRPr>
          </a:p>
        </p:txBody>
      </p:sp>
      <p:sp>
        <p:nvSpPr>
          <p:cNvPr id="363" name="Hexagon 362"/>
          <p:cNvSpPr/>
          <p:nvPr/>
        </p:nvSpPr>
        <p:spPr>
          <a:xfrm>
            <a:off x="1913793" y="2728047"/>
            <a:ext cx="274840" cy="247924"/>
          </a:xfrm>
          <a:prstGeom prst="hexagon">
            <a:avLst/>
          </a:prstGeom>
          <a:solidFill>
            <a:schemeClr val="tx2"/>
          </a:solidFill>
          <a:ln w="12700" cap="flat" cmpd="sng" algn="ctr">
            <a:noFill/>
            <a:prstDash val="solid"/>
            <a:miter lim="800000"/>
          </a:ln>
          <a:effectLst/>
        </p:spPr>
        <p:txBody>
          <a:bodyPr rtlCol="0" anchor="ctr"/>
          <a:lstStyle/>
          <a:p>
            <a:pPr algn="ctr" defTabSz="914133">
              <a:defRPr/>
            </a:pPr>
            <a:endParaRPr lang="en-US" kern="0">
              <a:solidFill>
                <a:srgbClr val="FFFFFF"/>
              </a:solidFill>
              <a:latin typeface="Calibri" panose="020F0502020204030204"/>
            </a:endParaRPr>
          </a:p>
        </p:txBody>
      </p:sp>
      <p:sp>
        <p:nvSpPr>
          <p:cNvPr id="364" name="Hexagon 363"/>
          <p:cNvSpPr/>
          <p:nvPr/>
        </p:nvSpPr>
        <p:spPr>
          <a:xfrm>
            <a:off x="2376361" y="2728047"/>
            <a:ext cx="274840" cy="247924"/>
          </a:xfrm>
          <a:prstGeom prst="hexagon">
            <a:avLst/>
          </a:prstGeom>
          <a:solidFill>
            <a:schemeClr val="tx2"/>
          </a:solidFill>
          <a:ln w="12700" cap="flat" cmpd="sng" algn="ctr">
            <a:noFill/>
            <a:prstDash val="solid"/>
            <a:miter lim="800000"/>
          </a:ln>
          <a:effectLst/>
        </p:spPr>
        <p:txBody>
          <a:bodyPr rtlCol="0" anchor="ctr"/>
          <a:lstStyle/>
          <a:p>
            <a:pPr algn="ctr" defTabSz="914133">
              <a:defRPr/>
            </a:pPr>
            <a:endParaRPr lang="en-US" kern="0">
              <a:solidFill>
                <a:srgbClr val="FFFFFF"/>
              </a:solidFill>
              <a:latin typeface="Calibri" panose="020F0502020204030204"/>
            </a:endParaRPr>
          </a:p>
        </p:txBody>
      </p:sp>
      <p:sp>
        <p:nvSpPr>
          <p:cNvPr id="365" name="Hexagon 364"/>
          <p:cNvSpPr/>
          <p:nvPr/>
        </p:nvSpPr>
        <p:spPr>
          <a:xfrm>
            <a:off x="2831587" y="2728047"/>
            <a:ext cx="274840" cy="247924"/>
          </a:xfrm>
          <a:prstGeom prst="hexagon">
            <a:avLst/>
          </a:prstGeom>
          <a:solidFill>
            <a:schemeClr val="tx2"/>
          </a:solidFill>
          <a:ln w="12700" cap="flat" cmpd="sng" algn="ctr">
            <a:noFill/>
            <a:prstDash val="solid"/>
            <a:miter lim="800000"/>
          </a:ln>
          <a:effectLst/>
        </p:spPr>
        <p:txBody>
          <a:bodyPr rtlCol="0" anchor="ctr"/>
          <a:lstStyle/>
          <a:p>
            <a:pPr algn="ctr" defTabSz="914133">
              <a:defRPr/>
            </a:pPr>
            <a:endParaRPr lang="en-US" kern="0">
              <a:solidFill>
                <a:srgbClr val="FFFFFF"/>
              </a:solidFill>
              <a:latin typeface="Calibri" panose="020F0502020204030204"/>
            </a:endParaRPr>
          </a:p>
        </p:txBody>
      </p:sp>
      <p:sp>
        <p:nvSpPr>
          <p:cNvPr id="366" name="Hexagon 365"/>
          <p:cNvSpPr/>
          <p:nvPr/>
        </p:nvSpPr>
        <p:spPr>
          <a:xfrm>
            <a:off x="3289297" y="2728047"/>
            <a:ext cx="274840" cy="247924"/>
          </a:xfrm>
          <a:prstGeom prst="hexagon">
            <a:avLst/>
          </a:prstGeom>
          <a:solidFill>
            <a:schemeClr val="tx2"/>
          </a:solidFill>
          <a:ln w="12700" cap="flat" cmpd="sng" algn="ctr">
            <a:noFill/>
            <a:prstDash val="solid"/>
            <a:miter lim="800000"/>
          </a:ln>
          <a:effectLst/>
        </p:spPr>
        <p:txBody>
          <a:bodyPr rtlCol="0" anchor="ctr"/>
          <a:lstStyle/>
          <a:p>
            <a:pPr algn="ctr" defTabSz="914133">
              <a:defRPr/>
            </a:pPr>
            <a:endParaRPr lang="en-US" kern="0">
              <a:solidFill>
                <a:srgbClr val="FFFFFF"/>
              </a:solidFill>
              <a:latin typeface="Calibri" panose="020F0502020204030204"/>
            </a:endParaRPr>
          </a:p>
        </p:txBody>
      </p:sp>
      <p:sp>
        <p:nvSpPr>
          <p:cNvPr id="367" name="Hexagon 366"/>
          <p:cNvSpPr/>
          <p:nvPr/>
        </p:nvSpPr>
        <p:spPr>
          <a:xfrm>
            <a:off x="3757179" y="2728047"/>
            <a:ext cx="274840" cy="247924"/>
          </a:xfrm>
          <a:prstGeom prst="hexagon">
            <a:avLst/>
          </a:prstGeom>
          <a:solidFill>
            <a:schemeClr val="tx2"/>
          </a:solidFill>
          <a:ln w="12700" cap="flat" cmpd="sng" algn="ctr">
            <a:noFill/>
            <a:prstDash val="solid"/>
            <a:miter lim="800000"/>
          </a:ln>
          <a:effectLst/>
        </p:spPr>
        <p:txBody>
          <a:bodyPr rtlCol="0" anchor="ctr"/>
          <a:lstStyle/>
          <a:p>
            <a:pPr algn="ctr" defTabSz="914133">
              <a:defRPr/>
            </a:pPr>
            <a:endParaRPr lang="en-US" kern="0">
              <a:solidFill>
                <a:srgbClr val="FFFFFF"/>
              </a:solidFill>
              <a:latin typeface="Calibri" panose="020F0502020204030204"/>
            </a:endParaRPr>
          </a:p>
        </p:txBody>
      </p:sp>
      <p:sp>
        <p:nvSpPr>
          <p:cNvPr id="368" name="Hexagon 367"/>
          <p:cNvSpPr/>
          <p:nvPr/>
        </p:nvSpPr>
        <p:spPr>
          <a:xfrm>
            <a:off x="4218912" y="2729367"/>
            <a:ext cx="274840" cy="247924"/>
          </a:xfrm>
          <a:prstGeom prst="hexagon">
            <a:avLst/>
          </a:prstGeom>
          <a:solidFill>
            <a:schemeClr val="tx2"/>
          </a:solidFill>
          <a:ln w="12700" cap="flat" cmpd="sng" algn="ctr">
            <a:noFill/>
            <a:prstDash val="solid"/>
            <a:miter lim="800000"/>
          </a:ln>
          <a:effectLst/>
        </p:spPr>
        <p:txBody>
          <a:bodyPr rtlCol="0" anchor="ctr"/>
          <a:lstStyle/>
          <a:p>
            <a:pPr algn="ctr" defTabSz="914133">
              <a:defRPr/>
            </a:pPr>
            <a:endParaRPr lang="en-US" kern="0">
              <a:solidFill>
                <a:srgbClr val="FFFFFF"/>
              </a:solidFill>
              <a:latin typeface="Calibri" panose="020F0502020204030204"/>
            </a:endParaRPr>
          </a:p>
        </p:txBody>
      </p:sp>
      <p:sp>
        <p:nvSpPr>
          <p:cNvPr id="369" name="Hexagon 368"/>
          <p:cNvSpPr/>
          <p:nvPr/>
        </p:nvSpPr>
        <p:spPr>
          <a:xfrm>
            <a:off x="4677808" y="2729367"/>
            <a:ext cx="274840" cy="247924"/>
          </a:xfrm>
          <a:prstGeom prst="hexagon">
            <a:avLst/>
          </a:prstGeom>
          <a:solidFill>
            <a:schemeClr val="tx2"/>
          </a:solidFill>
          <a:ln w="12700" cap="flat" cmpd="sng" algn="ctr">
            <a:noFill/>
            <a:prstDash val="solid"/>
            <a:miter lim="800000"/>
          </a:ln>
          <a:effectLst/>
        </p:spPr>
        <p:txBody>
          <a:bodyPr rtlCol="0" anchor="ctr"/>
          <a:lstStyle/>
          <a:p>
            <a:pPr algn="ctr" defTabSz="914133">
              <a:defRPr/>
            </a:pPr>
            <a:endParaRPr lang="en-US" kern="0">
              <a:solidFill>
                <a:srgbClr val="FFFFFF"/>
              </a:solidFill>
              <a:latin typeface="Calibri" panose="020F0502020204030204"/>
            </a:endParaRPr>
          </a:p>
        </p:txBody>
      </p:sp>
      <p:sp>
        <p:nvSpPr>
          <p:cNvPr id="370" name="Hexagon 369"/>
          <p:cNvSpPr/>
          <p:nvPr/>
        </p:nvSpPr>
        <p:spPr>
          <a:xfrm>
            <a:off x="5139190" y="2729367"/>
            <a:ext cx="274840" cy="247924"/>
          </a:xfrm>
          <a:prstGeom prst="hexagon">
            <a:avLst/>
          </a:prstGeom>
          <a:solidFill>
            <a:schemeClr val="tx2"/>
          </a:solidFill>
          <a:ln w="12700" cap="flat" cmpd="sng" algn="ctr">
            <a:noFill/>
            <a:prstDash val="solid"/>
            <a:miter lim="800000"/>
          </a:ln>
          <a:effectLst/>
        </p:spPr>
        <p:txBody>
          <a:bodyPr rtlCol="0" anchor="ctr"/>
          <a:lstStyle/>
          <a:p>
            <a:pPr algn="ctr" defTabSz="914133">
              <a:defRPr/>
            </a:pPr>
            <a:endParaRPr lang="en-US" kern="0">
              <a:solidFill>
                <a:srgbClr val="FFFFFF"/>
              </a:solidFill>
              <a:latin typeface="Calibri" panose="020F0502020204030204"/>
            </a:endParaRPr>
          </a:p>
        </p:txBody>
      </p:sp>
      <p:sp>
        <p:nvSpPr>
          <p:cNvPr id="371" name="Hexagon 370"/>
          <p:cNvSpPr/>
          <p:nvPr/>
        </p:nvSpPr>
        <p:spPr>
          <a:xfrm>
            <a:off x="5598086" y="2729367"/>
            <a:ext cx="274840" cy="247924"/>
          </a:xfrm>
          <a:prstGeom prst="hexagon">
            <a:avLst/>
          </a:prstGeom>
          <a:solidFill>
            <a:schemeClr val="tx2"/>
          </a:solidFill>
          <a:ln w="12700" cap="flat" cmpd="sng" algn="ctr">
            <a:noFill/>
            <a:prstDash val="solid"/>
            <a:miter lim="800000"/>
          </a:ln>
          <a:effectLst/>
        </p:spPr>
        <p:txBody>
          <a:bodyPr rtlCol="0" anchor="ctr"/>
          <a:lstStyle/>
          <a:p>
            <a:pPr algn="ctr" defTabSz="914133">
              <a:defRPr/>
            </a:pPr>
            <a:endParaRPr lang="en-US" kern="0">
              <a:solidFill>
                <a:srgbClr val="FFFFFF"/>
              </a:solidFill>
              <a:latin typeface="Calibri" panose="020F0502020204030204"/>
            </a:endParaRPr>
          </a:p>
        </p:txBody>
      </p:sp>
      <p:sp>
        <p:nvSpPr>
          <p:cNvPr id="372" name="Hexagon 371"/>
          <p:cNvSpPr/>
          <p:nvPr/>
        </p:nvSpPr>
        <p:spPr>
          <a:xfrm>
            <a:off x="6056983" y="2729367"/>
            <a:ext cx="274840" cy="247924"/>
          </a:xfrm>
          <a:prstGeom prst="hexagon">
            <a:avLst/>
          </a:prstGeom>
          <a:solidFill>
            <a:schemeClr val="tx2"/>
          </a:solidFill>
          <a:ln w="12700" cap="flat" cmpd="sng" algn="ctr">
            <a:noFill/>
            <a:prstDash val="solid"/>
            <a:miter lim="800000"/>
          </a:ln>
          <a:effectLst/>
        </p:spPr>
        <p:txBody>
          <a:bodyPr rtlCol="0" anchor="ctr"/>
          <a:lstStyle/>
          <a:p>
            <a:pPr algn="ctr" defTabSz="914133">
              <a:defRPr/>
            </a:pPr>
            <a:endParaRPr lang="en-US" kern="0">
              <a:solidFill>
                <a:srgbClr val="FFFFFF"/>
              </a:solidFill>
              <a:latin typeface="Calibri" panose="020F0502020204030204"/>
            </a:endParaRPr>
          </a:p>
        </p:txBody>
      </p:sp>
      <p:sp>
        <p:nvSpPr>
          <p:cNvPr id="373" name="Hexagon 372"/>
          <p:cNvSpPr/>
          <p:nvPr/>
        </p:nvSpPr>
        <p:spPr>
          <a:xfrm>
            <a:off x="6518772" y="2729367"/>
            <a:ext cx="274840" cy="247924"/>
          </a:xfrm>
          <a:prstGeom prst="hexagon">
            <a:avLst/>
          </a:prstGeom>
          <a:solidFill>
            <a:schemeClr val="tx2"/>
          </a:solidFill>
          <a:ln w="12700" cap="flat" cmpd="sng" algn="ctr">
            <a:noFill/>
            <a:prstDash val="solid"/>
            <a:miter lim="800000"/>
          </a:ln>
          <a:effectLst/>
        </p:spPr>
        <p:txBody>
          <a:bodyPr rtlCol="0" anchor="ctr"/>
          <a:lstStyle/>
          <a:p>
            <a:pPr algn="ctr" defTabSz="914133">
              <a:defRPr/>
            </a:pPr>
            <a:endParaRPr lang="en-US" kern="0">
              <a:solidFill>
                <a:srgbClr val="FFFFFF"/>
              </a:solidFill>
              <a:latin typeface="Calibri" panose="020F0502020204030204"/>
            </a:endParaRPr>
          </a:p>
        </p:txBody>
      </p:sp>
      <p:sp>
        <p:nvSpPr>
          <p:cNvPr id="374" name="Hexagon 373"/>
          <p:cNvSpPr/>
          <p:nvPr/>
        </p:nvSpPr>
        <p:spPr>
          <a:xfrm>
            <a:off x="6980154" y="2729367"/>
            <a:ext cx="274840" cy="247924"/>
          </a:xfrm>
          <a:prstGeom prst="hexagon">
            <a:avLst/>
          </a:prstGeom>
          <a:solidFill>
            <a:schemeClr val="tx2"/>
          </a:solidFill>
          <a:ln w="12700" cap="flat" cmpd="sng" algn="ctr">
            <a:noFill/>
            <a:prstDash val="solid"/>
            <a:miter lim="800000"/>
          </a:ln>
          <a:effectLst/>
        </p:spPr>
        <p:txBody>
          <a:bodyPr rtlCol="0" anchor="ctr"/>
          <a:lstStyle/>
          <a:p>
            <a:pPr algn="ctr" defTabSz="914133">
              <a:defRPr/>
            </a:pPr>
            <a:endParaRPr lang="en-US" kern="0">
              <a:solidFill>
                <a:srgbClr val="FFFFFF"/>
              </a:solidFill>
              <a:latin typeface="Calibri" panose="020F0502020204030204"/>
            </a:endParaRPr>
          </a:p>
        </p:txBody>
      </p:sp>
      <p:sp>
        <p:nvSpPr>
          <p:cNvPr id="375" name="Hexagon 374"/>
          <p:cNvSpPr/>
          <p:nvPr/>
        </p:nvSpPr>
        <p:spPr>
          <a:xfrm>
            <a:off x="7439050" y="2729367"/>
            <a:ext cx="274840" cy="247924"/>
          </a:xfrm>
          <a:prstGeom prst="hexagon">
            <a:avLst/>
          </a:prstGeom>
          <a:solidFill>
            <a:schemeClr val="tx2"/>
          </a:solidFill>
          <a:ln w="12700" cap="flat" cmpd="sng" algn="ctr">
            <a:noFill/>
            <a:prstDash val="solid"/>
            <a:miter lim="800000"/>
          </a:ln>
          <a:effectLst/>
        </p:spPr>
        <p:txBody>
          <a:bodyPr rtlCol="0" anchor="ctr"/>
          <a:lstStyle/>
          <a:p>
            <a:pPr algn="ctr" defTabSz="914133">
              <a:defRPr/>
            </a:pPr>
            <a:endParaRPr lang="en-US" kern="0">
              <a:solidFill>
                <a:srgbClr val="FFFFFF"/>
              </a:solidFill>
              <a:latin typeface="Calibri" panose="020F0502020204030204"/>
            </a:endParaRPr>
          </a:p>
        </p:txBody>
      </p:sp>
      <p:sp>
        <p:nvSpPr>
          <p:cNvPr id="376" name="Hexagon 375"/>
          <p:cNvSpPr/>
          <p:nvPr/>
        </p:nvSpPr>
        <p:spPr>
          <a:xfrm>
            <a:off x="7903223" y="2732909"/>
            <a:ext cx="274840" cy="247924"/>
          </a:xfrm>
          <a:prstGeom prst="hexagon">
            <a:avLst/>
          </a:prstGeom>
          <a:solidFill>
            <a:schemeClr val="tx2"/>
          </a:solidFill>
          <a:ln w="12700" cap="flat" cmpd="sng" algn="ctr">
            <a:noFill/>
            <a:prstDash val="solid"/>
            <a:miter lim="800000"/>
          </a:ln>
          <a:effectLst/>
        </p:spPr>
        <p:txBody>
          <a:bodyPr rtlCol="0" anchor="ctr"/>
          <a:lstStyle/>
          <a:p>
            <a:pPr algn="ctr" defTabSz="914133">
              <a:defRPr/>
            </a:pPr>
            <a:endParaRPr lang="en-US" kern="0">
              <a:solidFill>
                <a:srgbClr val="FFFFFF"/>
              </a:solidFill>
              <a:latin typeface="Calibri" panose="020F0502020204030204"/>
            </a:endParaRPr>
          </a:p>
        </p:txBody>
      </p:sp>
      <p:sp>
        <p:nvSpPr>
          <p:cNvPr id="377" name="Hexagon 376"/>
          <p:cNvSpPr/>
          <p:nvPr/>
        </p:nvSpPr>
        <p:spPr>
          <a:xfrm>
            <a:off x="8362591" y="2732909"/>
            <a:ext cx="274840" cy="247924"/>
          </a:xfrm>
          <a:prstGeom prst="hexagon">
            <a:avLst/>
          </a:prstGeom>
          <a:solidFill>
            <a:schemeClr val="tx2"/>
          </a:solidFill>
          <a:ln w="12700" cap="flat" cmpd="sng" algn="ctr">
            <a:noFill/>
            <a:prstDash val="solid"/>
            <a:miter lim="800000"/>
          </a:ln>
          <a:effectLst/>
        </p:spPr>
        <p:txBody>
          <a:bodyPr rtlCol="0" anchor="ctr"/>
          <a:lstStyle/>
          <a:p>
            <a:pPr algn="ctr" defTabSz="914133">
              <a:defRPr/>
            </a:pPr>
            <a:endParaRPr lang="en-US" kern="0">
              <a:solidFill>
                <a:srgbClr val="FFFFFF"/>
              </a:solidFill>
              <a:latin typeface="Calibri" panose="020F0502020204030204"/>
            </a:endParaRPr>
          </a:p>
        </p:txBody>
      </p:sp>
      <p:sp>
        <p:nvSpPr>
          <p:cNvPr id="378" name="Hexagon 377"/>
          <p:cNvSpPr/>
          <p:nvPr/>
        </p:nvSpPr>
        <p:spPr>
          <a:xfrm>
            <a:off x="8815854" y="2732909"/>
            <a:ext cx="274840" cy="247924"/>
          </a:xfrm>
          <a:prstGeom prst="hexagon">
            <a:avLst/>
          </a:prstGeom>
          <a:solidFill>
            <a:schemeClr val="tx2"/>
          </a:solidFill>
          <a:ln w="12700" cap="flat" cmpd="sng" algn="ctr">
            <a:noFill/>
            <a:prstDash val="solid"/>
            <a:miter lim="800000"/>
          </a:ln>
          <a:effectLst/>
        </p:spPr>
        <p:txBody>
          <a:bodyPr rtlCol="0" anchor="ctr"/>
          <a:lstStyle/>
          <a:p>
            <a:pPr algn="ctr" defTabSz="914133">
              <a:defRPr/>
            </a:pPr>
            <a:endParaRPr lang="en-US" kern="0">
              <a:solidFill>
                <a:srgbClr val="FFFFFF"/>
              </a:solidFill>
              <a:latin typeface="Calibri" panose="020F0502020204030204"/>
            </a:endParaRPr>
          </a:p>
        </p:txBody>
      </p:sp>
      <p:sp>
        <p:nvSpPr>
          <p:cNvPr id="379" name="Hexagon 378"/>
          <p:cNvSpPr/>
          <p:nvPr/>
        </p:nvSpPr>
        <p:spPr>
          <a:xfrm>
            <a:off x="9274749" y="2732909"/>
            <a:ext cx="274840" cy="247924"/>
          </a:xfrm>
          <a:prstGeom prst="hexagon">
            <a:avLst/>
          </a:prstGeom>
          <a:solidFill>
            <a:schemeClr val="tx2"/>
          </a:solidFill>
          <a:ln w="12700" cap="flat" cmpd="sng" algn="ctr">
            <a:noFill/>
            <a:prstDash val="solid"/>
            <a:miter lim="800000"/>
          </a:ln>
          <a:effectLst/>
        </p:spPr>
        <p:txBody>
          <a:bodyPr rtlCol="0" anchor="ctr"/>
          <a:lstStyle/>
          <a:p>
            <a:pPr algn="ctr" defTabSz="914133">
              <a:defRPr/>
            </a:pPr>
            <a:endParaRPr lang="en-US" kern="0">
              <a:solidFill>
                <a:srgbClr val="FFFFFF"/>
              </a:solidFill>
              <a:latin typeface="Calibri" panose="020F0502020204030204"/>
            </a:endParaRPr>
          </a:p>
        </p:txBody>
      </p:sp>
      <p:sp>
        <p:nvSpPr>
          <p:cNvPr id="380" name="Hexagon 379"/>
          <p:cNvSpPr/>
          <p:nvPr/>
        </p:nvSpPr>
        <p:spPr>
          <a:xfrm>
            <a:off x="9734983" y="2732909"/>
            <a:ext cx="274840" cy="247924"/>
          </a:xfrm>
          <a:prstGeom prst="hexagon">
            <a:avLst/>
          </a:prstGeom>
          <a:solidFill>
            <a:schemeClr val="tx2"/>
          </a:solidFill>
          <a:ln w="12700" cap="flat" cmpd="sng" algn="ctr">
            <a:noFill/>
            <a:prstDash val="solid"/>
            <a:miter lim="800000"/>
          </a:ln>
          <a:effectLst/>
        </p:spPr>
        <p:txBody>
          <a:bodyPr rtlCol="0" anchor="ctr"/>
          <a:lstStyle/>
          <a:p>
            <a:pPr algn="ctr" defTabSz="914133">
              <a:defRPr/>
            </a:pPr>
            <a:endParaRPr lang="en-US" kern="0">
              <a:solidFill>
                <a:srgbClr val="FFFFFF"/>
              </a:solidFill>
              <a:latin typeface="Calibri" panose="020F0502020204030204"/>
            </a:endParaRPr>
          </a:p>
        </p:txBody>
      </p:sp>
      <p:sp>
        <p:nvSpPr>
          <p:cNvPr id="381" name="Hexagon 380"/>
          <p:cNvSpPr/>
          <p:nvPr/>
        </p:nvSpPr>
        <p:spPr>
          <a:xfrm>
            <a:off x="10196773" y="2732909"/>
            <a:ext cx="274840" cy="247924"/>
          </a:xfrm>
          <a:prstGeom prst="hexagon">
            <a:avLst/>
          </a:prstGeom>
          <a:solidFill>
            <a:schemeClr val="tx2"/>
          </a:solidFill>
          <a:ln w="12700" cap="flat" cmpd="sng" algn="ctr">
            <a:noFill/>
            <a:prstDash val="solid"/>
            <a:miter lim="800000"/>
          </a:ln>
          <a:effectLst/>
        </p:spPr>
        <p:txBody>
          <a:bodyPr rtlCol="0" anchor="ctr"/>
          <a:lstStyle/>
          <a:p>
            <a:pPr algn="ctr" defTabSz="914133">
              <a:defRPr/>
            </a:pPr>
            <a:endParaRPr lang="en-US" kern="0">
              <a:solidFill>
                <a:srgbClr val="FFFFFF"/>
              </a:solidFill>
              <a:latin typeface="Calibri" panose="020F0502020204030204"/>
            </a:endParaRPr>
          </a:p>
        </p:txBody>
      </p:sp>
      <p:sp>
        <p:nvSpPr>
          <p:cNvPr id="382" name="Hexagon 381"/>
          <p:cNvSpPr/>
          <p:nvPr/>
        </p:nvSpPr>
        <p:spPr>
          <a:xfrm>
            <a:off x="10654483" y="2732909"/>
            <a:ext cx="274840" cy="247924"/>
          </a:xfrm>
          <a:prstGeom prst="hexagon">
            <a:avLst/>
          </a:prstGeom>
          <a:solidFill>
            <a:schemeClr val="tx2"/>
          </a:solidFill>
          <a:ln w="12700" cap="flat" cmpd="sng" algn="ctr">
            <a:noFill/>
            <a:prstDash val="solid"/>
            <a:miter lim="800000"/>
          </a:ln>
          <a:effectLst/>
        </p:spPr>
        <p:txBody>
          <a:bodyPr rtlCol="0" anchor="ctr"/>
          <a:lstStyle/>
          <a:p>
            <a:pPr algn="ctr" defTabSz="914133">
              <a:defRPr/>
            </a:pPr>
            <a:endParaRPr lang="en-US" kern="0">
              <a:solidFill>
                <a:srgbClr val="FFFFFF"/>
              </a:solidFill>
              <a:latin typeface="Calibri" panose="020F0502020204030204"/>
            </a:endParaRPr>
          </a:p>
        </p:txBody>
      </p:sp>
      <p:sp>
        <p:nvSpPr>
          <p:cNvPr id="383" name="Hexagon 382"/>
          <p:cNvSpPr/>
          <p:nvPr/>
        </p:nvSpPr>
        <p:spPr>
          <a:xfrm>
            <a:off x="11116273" y="2732909"/>
            <a:ext cx="274840" cy="247924"/>
          </a:xfrm>
          <a:prstGeom prst="hexagon">
            <a:avLst/>
          </a:prstGeom>
          <a:solidFill>
            <a:schemeClr val="tx2"/>
          </a:solidFill>
          <a:ln w="12700" cap="flat" cmpd="sng" algn="ctr">
            <a:noFill/>
            <a:prstDash val="solid"/>
            <a:miter lim="800000"/>
          </a:ln>
          <a:effectLst/>
        </p:spPr>
        <p:txBody>
          <a:bodyPr rtlCol="0" anchor="ctr"/>
          <a:lstStyle/>
          <a:p>
            <a:pPr algn="ctr" defTabSz="914133">
              <a:defRPr/>
            </a:pPr>
            <a:endParaRPr lang="en-US" kern="0">
              <a:solidFill>
                <a:srgbClr val="FFFFFF"/>
              </a:solidFill>
              <a:latin typeface="Calibri" panose="020F0502020204030204"/>
            </a:endParaRPr>
          </a:p>
        </p:txBody>
      </p:sp>
      <p:sp>
        <p:nvSpPr>
          <p:cNvPr id="384" name="Rectangle 383"/>
          <p:cNvSpPr/>
          <p:nvPr/>
        </p:nvSpPr>
        <p:spPr>
          <a:xfrm>
            <a:off x="534619" y="2158612"/>
            <a:ext cx="11083245" cy="1832315"/>
          </a:xfrm>
          <a:prstGeom prst="rect">
            <a:avLst/>
          </a:prstGeom>
          <a:solidFill>
            <a:schemeClr val="tx2"/>
          </a:solidFill>
          <a:ln w="12700" cap="flat" cmpd="sng" algn="ctr">
            <a:noFill/>
            <a:prstDash val="solid"/>
            <a:miter lim="800000"/>
          </a:ln>
          <a:effectLst/>
        </p:spPr>
        <p:txBody>
          <a:bodyPr rtlCol="0" anchor="ctr"/>
          <a:lstStyle/>
          <a:p>
            <a:pPr algn="ctr" defTabSz="914133">
              <a:defRPr/>
            </a:pPr>
            <a:endParaRPr lang="en-US" b="1" kern="0">
              <a:solidFill>
                <a:srgbClr val="FFFFFF"/>
              </a:solidFill>
              <a:latin typeface="Calibri" panose="020F0502020204030204"/>
            </a:endParaRPr>
          </a:p>
        </p:txBody>
      </p:sp>
      <p:sp>
        <p:nvSpPr>
          <p:cNvPr id="385" name="TextBox 384"/>
          <p:cNvSpPr txBox="1"/>
          <p:nvPr/>
        </p:nvSpPr>
        <p:spPr>
          <a:xfrm>
            <a:off x="4168776" y="2815515"/>
            <a:ext cx="3890600" cy="533568"/>
          </a:xfrm>
          <a:prstGeom prst="rect">
            <a:avLst/>
          </a:prstGeom>
          <a:noFill/>
        </p:spPr>
        <p:txBody>
          <a:bodyPr wrap="square" rtlCol="0">
            <a:spAutoFit/>
          </a:bodyPr>
          <a:lstStyle/>
          <a:p>
            <a:pPr defTabSz="914133"/>
            <a:r>
              <a:rPr lang="en-US" sz="2800" b="1" dirty="0">
                <a:solidFill>
                  <a:srgbClr val="FFFFFF"/>
                </a:solidFill>
                <a:latin typeface="Segoe UI Light"/>
              </a:rPr>
              <a:t>Azure Container Service</a:t>
            </a:r>
          </a:p>
        </p:txBody>
      </p:sp>
      <p:sp>
        <p:nvSpPr>
          <p:cNvPr id="386" name="TextBox 385"/>
          <p:cNvSpPr txBox="1"/>
          <p:nvPr/>
        </p:nvSpPr>
        <p:spPr>
          <a:xfrm>
            <a:off x="10172990" y="3181411"/>
            <a:ext cx="1227919" cy="282347"/>
          </a:xfrm>
          <a:prstGeom prst="rect">
            <a:avLst/>
          </a:prstGeom>
          <a:noFill/>
        </p:spPr>
        <p:txBody>
          <a:bodyPr wrap="square" rtlCol="0">
            <a:spAutoFit/>
          </a:bodyPr>
          <a:lstStyle/>
          <a:p>
            <a:pPr defTabSz="914133"/>
            <a:r>
              <a:rPr lang="en-US" sz="1199" b="1" dirty="0">
                <a:solidFill>
                  <a:srgbClr val="FFFFFF"/>
                </a:solidFill>
                <a:latin typeface="Segoe UI Light"/>
              </a:rPr>
              <a:t>High Availability</a:t>
            </a:r>
          </a:p>
        </p:txBody>
      </p:sp>
      <p:sp>
        <p:nvSpPr>
          <p:cNvPr id="387" name="TextBox 386"/>
          <p:cNvSpPr txBox="1"/>
          <p:nvPr/>
        </p:nvSpPr>
        <p:spPr>
          <a:xfrm>
            <a:off x="3361712" y="3257261"/>
            <a:ext cx="1183042" cy="282347"/>
          </a:xfrm>
          <a:prstGeom prst="rect">
            <a:avLst/>
          </a:prstGeom>
          <a:noFill/>
        </p:spPr>
        <p:txBody>
          <a:bodyPr wrap="square" rtlCol="0">
            <a:spAutoFit/>
          </a:bodyPr>
          <a:lstStyle/>
          <a:p>
            <a:pPr defTabSz="914133"/>
            <a:r>
              <a:rPr lang="en-US" sz="1199" b="1" dirty="0">
                <a:solidFill>
                  <a:srgbClr val="FFFFFF"/>
                </a:solidFill>
                <a:latin typeface="Segoe UI Light"/>
              </a:rPr>
              <a:t>Hyper-Scale</a:t>
            </a:r>
          </a:p>
        </p:txBody>
      </p:sp>
      <p:grpSp>
        <p:nvGrpSpPr>
          <p:cNvPr id="388" name="Group 387"/>
          <p:cNvGrpSpPr/>
          <p:nvPr/>
        </p:nvGrpSpPr>
        <p:grpSpPr>
          <a:xfrm>
            <a:off x="535275" y="2158612"/>
            <a:ext cx="11082588" cy="654725"/>
            <a:chOff x="534536" y="1849823"/>
            <a:chExt cx="11085575" cy="654902"/>
          </a:xfrm>
        </p:grpSpPr>
        <p:sp>
          <p:nvSpPr>
            <p:cNvPr id="389" name="Hexagon 388"/>
            <p:cNvSpPr/>
            <p:nvPr/>
          </p:nvSpPr>
          <p:spPr>
            <a:xfrm>
              <a:off x="534536" y="1853051"/>
              <a:ext cx="274914" cy="247991"/>
            </a:xfrm>
            <a:prstGeom prst="hexagon">
              <a:avLst/>
            </a:prstGeom>
            <a:solidFill>
              <a:srgbClr val="5B9BD5"/>
            </a:solidFill>
            <a:ln w="12700" cap="flat" cmpd="sng" algn="ctr">
              <a:noFill/>
              <a:prstDash val="solid"/>
              <a:miter lim="800000"/>
            </a:ln>
            <a:effectLst/>
          </p:spPr>
          <p:txBody>
            <a:bodyPr rtlCol="0" anchor="ctr"/>
            <a:lstStyle/>
            <a:p>
              <a:pPr algn="ctr" defTabSz="914133">
                <a:defRPr/>
              </a:pPr>
              <a:endParaRPr lang="en-US" kern="0">
                <a:solidFill>
                  <a:srgbClr val="FFFFFF"/>
                </a:solidFill>
                <a:latin typeface="Calibri" panose="020F0502020204030204"/>
              </a:endParaRPr>
            </a:p>
          </p:txBody>
        </p:sp>
        <p:sp>
          <p:nvSpPr>
            <p:cNvPr id="390" name="Hexagon 389"/>
            <p:cNvSpPr/>
            <p:nvPr/>
          </p:nvSpPr>
          <p:spPr>
            <a:xfrm>
              <a:off x="765473" y="1984139"/>
              <a:ext cx="274914" cy="247991"/>
            </a:xfrm>
            <a:prstGeom prst="hexagon">
              <a:avLst/>
            </a:prstGeom>
            <a:solidFill>
              <a:srgbClr val="5B9BD5"/>
            </a:solidFill>
            <a:ln w="12700" cap="flat" cmpd="sng" algn="ctr">
              <a:noFill/>
              <a:prstDash val="solid"/>
              <a:miter lim="800000"/>
            </a:ln>
            <a:effectLst/>
          </p:spPr>
          <p:txBody>
            <a:bodyPr rtlCol="0" anchor="ctr"/>
            <a:lstStyle/>
            <a:p>
              <a:pPr algn="ctr" defTabSz="914133">
                <a:defRPr/>
              </a:pPr>
              <a:endParaRPr lang="en-US" kern="0">
                <a:solidFill>
                  <a:srgbClr val="FFFFFF"/>
                </a:solidFill>
                <a:latin typeface="Calibri" panose="020F0502020204030204"/>
              </a:endParaRPr>
            </a:p>
          </p:txBody>
        </p:sp>
        <p:sp>
          <p:nvSpPr>
            <p:cNvPr id="391" name="Hexagon 390"/>
            <p:cNvSpPr/>
            <p:nvPr/>
          </p:nvSpPr>
          <p:spPr>
            <a:xfrm>
              <a:off x="534536" y="2119776"/>
              <a:ext cx="274914" cy="247991"/>
            </a:xfrm>
            <a:prstGeom prst="hexagon">
              <a:avLst/>
            </a:prstGeom>
            <a:solidFill>
              <a:srgbClr val="5B9BD5"/>
            </a:solidFill>
            <a:ln w="12700" cap="flat" cmpd="sng" algn="ctr">
              <a:noFill/>
              <a:prstDash val="solid"/>
              <a:miter lim="800000"/>
            </a:ln>
            <a:effectLst/>
          </p:spPr>
          <p:txBody>
            <a:bodyPr rtlCol="0" anchor="ctr"/>
            <a:lstStyle/>
            <a:p>
              <a:pPr algn="ctr" defTabSz="914133">
                <a:defRPr/>
              </a:pPr>
              <a:endParaRPr lang="en-US" kern="0">
                <a:solidFill>
                  <a:srgbClr val="FFFFFF"/>
                </a:solidFill>
                <a:latin typeface="Calibri" panose="020F0502020204030204"/>
              </a:endParaRPr>
            </a:p>
          </p:txBody>
        </p:sp>
        <p:sp>
          <p:nvSpPr>
            <p:cNvPr id="392" name="Hexagon 391"/>
            <p:cNvSpPr/>
            <p:nvPr/>
          </p:nvSpPr>
          <p:spPr>
            <a:xfrm>
              <a:off x="765473" y="2250864"/>
              <a:ext cx="274914" cy="247991"/>
            </a:xfrm>
            <a:prstGeom prst="hexagon">
              <a:avLst/>
            </a:prstGeom>
            <a:solidFill>
              <a:srgbClr val="5B9BD5"/>
            </a:solidFill>
            <a:ln w="12700" cap="flat" cmpd="sng" algn="ctr">
              <a:noFill/>
              <a:prstDash val="solid"/>
              <a:miter lim="800000"/>
            </a:ln>
            <a:effectLst/>
          </p:spPr>
          <p:txBody>
            <a:bodyPr rtlCol="0" anchor="ctr"/>
            <a:lstStyle/>
            <a:p>
              <a:pPr algn="ctr" defTabSz="914133">
                <a:defRPr/>
              </a:pPr>
              <a:endParaRPr lang="en-US" kern="0">
                <a:solidFill>
                  <a:srgbClr val="FFFFFF"/>
                </a:solidFill>
                <a:latin typeface="Calibri" panose="020F0502020204030204"/>
              </a:endParaRPr>
            </a:p>
          </p:txBody>
        </p:sp>
        <p:cxnSp>
          <p:nvCxnSpPr>
            <p:cNvPr id="393" name="Straight Connector 392"/>
            <p:cNvCxnSpPr/>
            <p:nvPr/>
          </p:nvCxnSpPr>
          <p:spPr>
            <a:xfrm>
              <a:off x="671993" y="2243771"/>
              <a:ext cx="230937" cy="135637"/>
            </a:xfrm>
            <a:prstGeom prst="line">
              <a:avLst/>
            </a:prstGeom>
            <a:noFill/>
            <a:ln w="6350" cap="flat" cmpd="sng" algn="ctr">
              <a:solidFill>
                <a:srgbClr val="5B9BD5"/>
              </a:solidFill>
              <a:prstDash val="solid"/>
              <a:miter lim="800000"/>
            </a:ln>
            <a:effectLst/>
          </p:spPr>
        </p:cxnSp>
        <p:cxnSp>
          <p:nvCxnSpPr>
            <p:cNvPr id="394" name="Straight Connector 393"/>
            <p:cNvCxnSpPr/>
            <p:nvPr/>
          </p:nvCxnSpPr>
          <p:spPr>
            <a:xfrm>
              <a:off x="671993" y="1972496"/>
              <a:ext cx="230937" cy="135637"/>
            </a:xfrm>
            <a:prstGeom prst="line">
              <a:avLst/>
            </a:prstGeom>
            <a:noFill/>
            <a:ln w="6350" cap="flat" cmpd="sng" algn="ctr">
              <a:solidFill>
                <a:srgbClr val="5B9BD5"/>
              </a:solidFill>
              <a:prstDash val="solid"/>
              <a:miter lim="800000"/>
            </a:ln>
            <a:effectLst/>
          </p:spPr>
        </p:cxnSp>
        <p:cxnSp>
          <p:nvCxnSpPr>
            <p:cNvPr id="395" name="Straight Connector 394"/>
            <p:cNvCxnSpPr/>
            <p:nvPr/>
          </p:nvCxnSpPr>
          <p:spPr>
            <a:xfrm>
              <a:off x="899173" y="2102313"/>
              <a:ext cx="230937" cy="135637"/>
            </a:xfrm>
            <a:prstGeom prst="line">
              <a:avLst/>
            </a:prstGeom>
            <a:noFill/>
            <a:ln w="6350" cap="flat" cmpd="sng" algn="ctr">
              <a:solidFill>
                <a:srgbClr val="5B9BD5"/>
              </a:solidFill>
              <a:prstDash val="solid"/>
              <a:miter lim="800000"/>
            </a:ln>
            <a:effectLst/>
          </p:spPr>
        </p:cxnSp>
        <p:cxnSp>
          <p:nvCxnSpPr>
            <p:cNvPr id="396" name="Straight Connector 395"/>
            <p:cNvCxnSpPr/>
            <p:nvPr/>
          </p:nvCxnSpPr>
          <p:spPr>
            <a:xfrm flipH="1">
              <a:off x="899173" y="2243771"/>
              <a:ext cx="230937" cy="135637"/>
            </a:xfrm>
            <a:prstGeom prst="line">
              <a:avLst/>
            </a:prstGeom>
            <a:noFill/>
            <a:ln w="6350" cap="flat" cmpd="sng" algn="ctr">
              <a:solidFill>
                <a:srgbClr val="5B9BD5"/>
              </a:solidFill>
              <a:prstDash val="solid"/>
              <a:miter lim="800000"/>
            </a:ln>
            <a:effectLst/>
          </p:spPr>
        </p:cxnSp>
        <p:cxnSp>
          <p:nvCxnSpPr>
            <p:cNvPr id="397" name="Straight Connector 396"/>
            <p:cNvCxnSpPr/>
            <p:nvPr/>
          </p:nvCxnSpPr>
          <p:spPr>
            <a:xfrm>
              <a:off x="899174" y="2113954"/>
              <a:ext cx="33" cy="268599"/>
            </a:xfrm>
            <a:prstGeom prst="line">
              <a:avLst/>
            </a:prstGeom>
            <a:noFill/>
            <a:ln w="6350" cap="flat" cmpd="sng" algn="ctr">
              <a:solidFill>
                <a:srgbClr val="5B9BD5"/>
              </a:solidFill>
              <a:prstDash val="solid"/>
              <a:miter lim="800000"/>
            </a:ln>
            <a:effectLst/>
          </p:spPr>
        </p:cxnSp>
        <p:cxnSp>
          <p:nvCxnSpPr>
            <p:cNvPr id="398" name="Straight Connector 397"/>
            <p:cNvCxnSpPr/>
            <p:nvPr/>
          </p:nvCxnSpPr>
          <p:spPr>
            <a:xfrm flipV="1">
              <a:off x="668270" y="2108133"/>
              <a:ext cx="230903" cy="129817"/>
            </a:xfrm>
            <a:prstGeom prst="line">
              <a:avLst/>
            </a:prstGeom>
            <a:noFill/>
            <a:ln w="6350" cap="flat" cmpd="sng" algn="ctr">
              <a:solidFill>
                <a:srgbClr val="5B9BD5"/>
              </a:solidFill>
              <a:prstDash val="solid"/>
              <a:miter lim="800000"/>
            </a:ln>
            <a:effectLst/>
          </p:spPr>
        </p:cxnSp>
        <p:cxnSp>
          <p:nvCxnSpPr>
            <p:cNvPr id="399" name="Straight Connector 398"/>
            <p:cNvCxnSpPr/>
            <p:nvPr/>
          </p:nvCxnSpPr>
          <p:spPr>
            <a:xfrm flipV="1">
              <a:off x="899173" y="1966675"/>
              <a:ext cx="230937" cy="147278"/>
            </a:xfrm>
            <a:prstGeom prst="line">
              <a:avLst/>
            </a:prstGeom>
            <a:noFill/>
            <a:ln w="6350" cap="flat" cmpd="sng" algn="ctr">
              <a:solidFill>
                <a:srgbClr val="5B9BD5"/>
              </a:solidFill>
              <a:prstDash val="solid"/>
              <a:miter lim="800000"/>
            </a:ln>
            <a:effectLst/>
          </p:spPr>
        </p:cxnSp>
        <p:cxnSp>
          <p:nvCxnSpPr>
            <p:cNvPr id="400" name="Straight Connector 399"/>
            <p:cNvCxnSpPr/>
            <p:nvPr/>
          </p:nvCxnSpPr>
          <p:spPr>
            <a:xfrm>
              <a:off x="671976" y="1997116"/>
              <a:ext cx="33" cy="268599"/>
            </a:xfrm>
            <a:prstGeom prst="line">
              <a:avLst/>
            </a:prstGeom>
            <a:noFill/>
            <a:ln w="6350" cap="flat" cmpd="sng" algn="ctr">
              <a:solidFill>
                <a:srgbClr val="5B9BD5"/>
              </a:solidFill>
              <a:prstDash val="solid"/>
              <a:miter lim="800000"/>
            </a:ln>
            <a:effectLst/>
          </p:spPr>
        </p:cxnSp>
        <p:sp>
          <p:nvSpPr>
            <p:cNvPr id="401" name="Hexagon 400"/>
            <p:cNvSpPr/>
            <p:nvPr/>
          </p:nvSpPr>
          <p:spPr>
            <a:xfrm>
              <a:off x="993556" y="1853051"/>
              <a:ext cx="274914" cy="247991"/>
            </a:xfrm>
            <a:prstGeom prst="hexagon">
              <a:avLst/>
            </a:prstGeom>
            <a:solidFill>
              <a:srgbClr val="5B9BD5"/>
            </a:solidFill>
            <a:ln w="12700" cap="flat" cmpd="sng" algn="ctr">
              <a:noFill/>
              <a:prstDash val="solid"/>
              <a:miter lim="800000"/>
            </a:ln>
            <a:effectLst/>
          </p:spPr>
          <p:txBody>
            <a:bodyPr rtlCol="0" anchor="ctr"/>
            <a:lstStyle/>
            <a:p>
              <a:pPr algn="ctr" defTabSz="914133">
                <a:defRPr/>
              </a:pPr>
              <a:endParaRPr lang="en-US" kern="0">
                <a:solidFill>
                  <a:srgbClr val="FFFFFF"/>
                </a:solidFill>
                <a:latin typeface="Calibri" panose="020F0502020204030204"/>
              </a:endParaRPr>
            </a:p>
          </p:txBody>
        </p:sp>
        <p:sp>
          <p:nvSpPr>
            <p:cNvPr id="402" name="Hexagon 401"/>
            <p:cNvSpPr/>
            <p:nvPr/>
          </p:nvSpPr>
          <p:spPr>
            <a:xfrm>
              <a:off x="1224493" y="1984139"/>
              <a:ext cx="274914" cy="247991"/>
            </a:xfrm>
            <a:prstGeom prst="hexagon">
              <a:avLst/>
            </a:prstGeom>
            <a:solidFill>
              <a:srgbClr val="5B9BD5"/>
            </a:solidFill>
            <a:ln w="12700" cap="flat" cmpd="sng" algn="ctr">
              <a:noFill/>
              <a:prstDash val="solid"/>
              <a:miter lim="800000"/>
            </a:ln>
            <a:effectLst/>
          </p:spPr>
          <p:txBody>
            <a:bodyPr rtlCol="0" anchor="ctr"/>
            <a:lstStyle/>
            <a:p>
              <a:pPr algn="ctr" defTabSz="914133">
                <a:defRPr/>
              </a:pPr>
              <a:endParaRPr lang="en-US" kern="0">
                <a:solidFill>
                  <a:srgbClr val="FFFFFF"/>
                </a:solidFill>
                <a:latin typeface="Calibri" panose="020F0502020204030204"/>
              </a:endParaRPr>
            </a:p>
          </p:txBody>
        </p:sp>
        <p:sp>
          <p:nvSpPr>
            <p:cNvPr id="403" name="Hexagon 402"/>
            <p:cNvSpPr/>
            <p:nvPr/>
          </p:nvSpPr>
          <p:spPr>
            <a:xfrm>
              <a:off x="993556" y="2119776"/>
              <a:ext cx="274914" cy="247991"/>
            </a:xfrm>
            <a:prstGeom prst="hexagon">
              <a:avLst/>
            </a:prstGeom>
            <a:solidFill>
              <a:srgbClr val="5B9BD5"/>
            </a:solidFill>
            <a:ln w="12700" cap="flat" cmpd="sng" algn="ctr">
              <a:noFill/>
              <a:prstDash val="solid"/>
              <a:miter lim="800000"/>
            </a:ln>
            <a:effectLst/>
          </p:spPr>
          <p:txBody>
            <a:bodyPr rtlCol="0" anchor="ctr"/>
            <a:lstStyle/>
            <a:p>
              <a:pPr algn="ctr" defTabSz="914133">
                <a:defRPr/>
              </a:pPr>
              <a:endParaRPr lang="en-US" kern="0">
                <a:solidFill>
                  <a:srgbClr val="FFFFFF"/>
                </a:solidFill>
                <a:latin typeface="Calibri" panose="020F0502020204030204"/>
              </a:endParaRPr>
            </a:p>
          </p:txBody>
        </p:sp>
        <p:sp>
          <p:nvSpPr>
            <p:cNvPr id="404" name="Hexagon 403"/>
            <p:cNvSpPr/>
            <p:nvPr/>
          </p:nvSpPr>
          <p:spPr>
            <a:xfrm>
              <a:off x="1224493" y="2250864"/>
              <a:ext cx="274914" cy="247991"/>
            </a:xfrm>
            <a:prstGeom prst="hexagon">
              <a:avLst/>
            </a:prstGeom>
            <a:solidFill>
              <a:srgbClr val="5B9BD5"/>
            </a:solidFill>
            <a:ln w="12700" cap="flat" cmpd="sng" algn="ctr">
              <a:noFill/>
              <a:prstDash val="solid"/>
              <a:miter lim="800000"/>
            </a:ln>
            <a:effectLst/>
          </p:spPr>
          <p:txBody>
            <a:bodyPr rtlCol="0" anchor="ctr"/>
            <a:lstStyle/>
            <a:p>
              <a:pPr algn="ctr" defTabSz="914133">
                <a:defRPr/>
              </a:pPr>
              <a:endParaRPr lang="en-US" kern="0">
                <a:solidFill>
                  <a:srgbClr val="FFFFFF"/>
                </a:solidFill>
                <a:latin typeface="Calibri" panose="020F0502020204030204"/>
              </a:endParaRPr>
            </a:p>
          </p:txBody>
        </p:sp>
        <p:cxnSp>
          <p:nvCxnSpPr>
            <p:cNvPr id="405" name="Straight Connector 404"/>
            <p:cNvCxnSpPr/>
            <p:nvPr/>
          </p:nvCxnSpPr>
          <p:spPr>
            <a:xfrm>
              <a:off x="1131013" y="2243771"/>
              <a:ext cx="230937" cy="135637"/>
            </a:xfrm>
            <a:prstGeom prst="line">
              <a:avLst/>
            </a:prstGeom>
            <a:noFill/>
            <a:ln w="6350" cap="flat" cmpd="sng" algn="ctr">
              <a:solidFill>
                <a:srgbClr val="5B9BD5"/>
              </a:solidFill>
              <a:prstDash val="solid"/>
              <a:miter lim="800000"/>
            </a:ln>
            <a:effectLst/>
          </p:spPr>
        </p:cxnSp>
        <p:cxnSp>
          <p:nvCxnSpPr>
            <p:cNvPr id="406" name="Straight Connector 405"/>
            <p:cNvCxnSpPr/>
            <p:nvPr/>
          </p:nvCxnSpPr>
          <p:spPr>
            <a:xfrm>
              <a:off x="1131013" y="1977045"/>
              <a:ext cx="230937" cy="135637"/>
            </a:xfrm>
            <a:prstGeom prst="line">
              <a:avLst/>
            </a:prstGeom>
            <a:noFill/>
            <a:ln w="6350" cap="flat" cmpd="sng" algn="ctr">
              <a:solidFill>
                <a:srgbClr val="5B9BD5"/>
              </a:solidFill>
              <a:prstDash val="solid"/>
              <a:miter lim="800000"/>
            </a:ln>
            <a:effectLst/>
          </p:spPr>
        </p:cxnSp>
        <p:cxnSp>
          <p:nvCxnSpPr>
            <p:cNvPr id="407" name="Straight Connector 406"/>
            <p:cNvCxnSpPr/>
            <p:nvPr/>
          </p:nvCxnSpPr>
          <p:spPr>
            <a:xfrm>
              <a:off x="1358193" y="2102313"/>
              <a:ext cx="230937" cy="135637"/>
            </a:xfrm>
            <a:prstGeom prst="line">
              <a:avLst/>
            </a:prstGeom>
            <a:noFill/>
            <a:ln w="6350" cap="flat" cmpd="sng" algn="ctr">
              <a:solidFill>
                <a:srgbClr val="5B9BD5"/>
              </a:solidFill>
              <a:prstDash val="solid"/>
              <a:miter lim="800000"/>
            </a:ln>
            <a:effectLst/>
          </p:spPr>
        </p:cxnSp>
        <p:cxnSp>
          <p:nvCxnSpPr>
            <p:cNvPr id="408" name="Straight Connector 407"/>
            <p:cNvCxnSpPr/>
            <p:nvPr/>
          </p:nvCxnSpPr>
          <p:spPr>
            <a:xfrm flipH="1">
              <a:off x="1358193" y="2243771"/>
              <a:ext cx="230937" cy="135637"/>
            </a:xfrm>
            <a:prstGeom prst="line">
              <a:avLst/>
            </a:prstGeom>
            <a:noFill/>
            <a:ln w="6350" cap="flat" cmpd="sng" algn="ctr">
              <a:solidFill>
                <a:srgbClr val="5B9BD5"/>
              </a:solidFill>
              <a:prstDash val="solid"/>
              <a:miter lim="800000"/>
            </a:ln>
            <a:effectLst/>
          </p:spPr>
        </p:cxnSp>
        <p:cxnSp>
          <p:nvCxnSpPr>
            <p:cNvPr id="409" name="Straight Connector 408"/>
            <p:cNvCxnSpPr/>
            <p:nvPr/>
          </p:nvCxnSpPr>
          <p:spPr>
            <a:xfrm>
              <a:off x="1358194" y="2113954"/>
              <a:ext cx="33" cy="268599"/>
            </a:xfrm>
            <a:prstGeom prst="line">
              <a:avLst/>
            </a:prstGeom>
            <a:noFill/>
            <a:ln w="6350" cap="flat" cmpd="sng" algn="ctr">
              <a:solidFill>
                <a:srgbClr val="5B9BD5"/>
              </a:solidFill>
              <a:prstDash val="solid"/>
              <a:miter lim="800000"/>
            </a:ln>
            <a:effectLst/>
          </p:spPr>
        </p:cxnSp>
        <p:cxnSp>
          <p:nvCxnSpPr>
            <p:cNvPr id="410" name="Straight Connector 409"/>
            <p:cNvCxnSpPr/>
            <p:nvPr/>
          </p:nvCxnSpPr>
          <p:spPr>
            <a:xfrm flipV="1">
              <a:off x="1127290" y="2108133"/>
              <a:ext cx="230903" cy="129817"/>
            </a:xfrm>
            <a:prstGeom prst="line">
              <a:avLst/>
            </a:prstGeom>
            <a:noFill/>
            <a:ln w="6350" cap="flat" cmpd="sng" algn="ctr">
              <a:solidFill>
                <a:srgbClr val="5B9BD5"/>
              </a:solidFill>
              <a:prstDash val="solid"/>
              <a:miter lim="800000"/>
            </a:ln>
            <a:effectLst/>
          </p:spPr>
        </p:cxnSp>
        <p:cxnSp>
          <p:nvCxnSpPr>
            <p:cNvPr id="411" name="Straight Connector 410"/>
            <p:cNvCxnSpPr/>
            <p:nvPr/>
          </p:nvCxnSpPr>
          <p:spPr>
            <a:xfrm flipV="1">
              <a:off x="1358193" y="1966675"/>
              <a:ext cx="230937" cy="147278"/>
            </a:xfrm>
            <a:prstGeom prst="line">
              <a:avLst/>
            </a:prstGeom>
            <a:noFill/>
            <a:ln w="6350" cap="flat" cmpd="sng" algn="ctr">
              <a:solidFill>
                <a:srgbClr val="5B9BD5"/>
              </a:solidFill>
              <a:prstDash val="solid"/>
              <a:miter lim="800000"/>
            </a:ln>
            <a:effectLst/>
          </p:spPr>
        </p:cxnSp>
        <p:cxnSp>
          <p:nvCxnSpPr>
            <p:cNvPr id="412" name="Straight Connector 411"/>
            <p:cNvCxnSpPr/>
            <p:nvPr/>
          </p:nvCxnSpPr>
          <p:spPr>
            <a:xfrm>
              <a:off x="1130996" y="1997116"/>
              <a:ext cx="33" cy="268599"/>
            </a:xfrm>
            <a:prstGeom prst="line">
              <a:avLst/>
            </a:prstGeom>
            <a:noFill/>
            <a:ln w="6350" cap="flat" cmpd="sng" algn="ctr">
              <a:solidFill>
                <a:srgbClr val="5B9BD5"/>
              </a:solidFill>
              <a:prstDash val="solid"/>
              <a:miter lim="800000"/>
            </a:ln>
            <a:effectLst/>
          </p:spPr>
        </p:cxnSp>
        <p:sp>
          <p:nvSpPr>
            <p:cNvPr id="413" name="Hexagon 412"/>
            <p:cNvSpPr/>
            <p:nvPr/>
          </p:nvSpPr>
          <p:spPr>
            <a:xfrm>
              <a:off x="1455062" y="1853051"/>
              <a:ext cx="274914" cy="247991"/>
            </a:xfrm>
            <a:prstGeom prst="hexagon">
              <a:avLst/>
            </a:prstGeom>
            <a:solidFill>
              <a:srgbClr val="5B9BD5"/>
            </a:solidFill>
            <a:ln w="12700" cap="flat" cmpd="sng" algn="ctr">
              <a:noFill/>
              <a:prstDash val="solid"/>
              <a:miter lim="800000"/>
            </a:ln>
            <a:effectLst/>
          </p:spPr>
          <p:txBody>
            <a:bodyPr rtlCol="0" anchor="ctr"/>
            <a:lstStyle/>
            <a:p>
              <a:pPr algn="ctr" defTabSz="914133">
                <a:defRPr/>
              </a:pPr>
              <a:endParaRPr lang="en-US" kern="0">
                <a:solidFill>
                  <a:srgbClr val="FFFFFF"/>
                </a:solidFill>
                <a:latin typeface="Calibri" panose="020F0502020204030204"/>
              </a:endParaRPr>
            </a:p>
          </p:txBody>
        </p:sp>
        <p:sp>
          <p:nvSpPr>
            <p:cNvPr id="414" name="Hexagon 413"/>
            <p:cNvSpPr/>
            <p:nvPr/>
          </p:nvSpPr>
          <p:spPr>
            <a:xfrm>
              <a:off x="1685999" y="1984139"/>
              <a:ext cx="274914" cy="247991"/>
            </a:xfrm>
            <a:prstGeom prst="hexagon">
              <a:avLst/>
            </a:prstGeom>
            <a:solidFill>
              <a:srgbClr val="5B9BD5"/>
            </a:solidFill>
            <a:ln w="12700" cap="flat" cmpd="sng" algn="ctr">
              <a:noFill/>
              <a:prstDash val="solid"/>
              <a:miter lim="800000"/>
            </a:ln>
            <a:effectLst/>
          </p:spPr>
          <p:txBody>
            <a:bodyPr rtlCol="0" anchor="ctr"/>
            <a:lstStyle/>
            <a:p>
              <a:pPr algn="ctr" defTabSz="914133">
                <a:defRPr/>
              </a:pPr>
              <a:endParaRPr lang="en-US" kern="0">
                <a:solidFill>
                  <a:srgbClr val="FFFFFF"/>
                </a:solidFill>
                <a:latin typeface="Calibri" panose="020F0502020204030204"/>
              </a:endParaRPr>
            </a:p>
          </p:txBody>
        </p:sp>
        <p:sp>
          <p:nvSpPr>
            <p:cNvPr id="415" name="Hexagon 414"/>
            <p:cNvSpPr/>
            <p:nvPr/>
          </p:nvSpPr>
          <p:spPr>
            <a:xfrm>
              <a:off x="1455062" y="2119776"/>
              <a:ext cx="274914" cy="247991"/>
            </a:xfrm>
            <a:prstGeom prst="hexagon">
              <a:avLst/>
            </a:prstGeom>
            <a:solidFill>
              <a:srgbClr val="5B9BD5"/>
            </a:solidFill>
            <a:ln w="12700" cap="flat" cmpd="sng" algn="ctr">
              <a:noFill/>
              <a:prstDash val="solid"/>
              <a:miter lim="800000"/>
            </a:ln>
            <a:effectLst/>
          </p:spPr>
          <p:txBody>
            <a:bodyPr rtlCol="0" anchor="ctr"/>
            <a:lstStyle/>
            <a:p>
              <a:pPr algn="ctr" defTabSz="914133">
                <a:defRPr/>
              </a:pPr>
              <a:endParaRPr lang="en-US" kern="0">
                <a:solidFill>
                  <a:srgbClr val="FFFFFF"/>
                </a:solidFill>
                <a:latin typeface="Calibri" panose="020F0502020204030204"/>
              </a:endParaRPr>
            </a:p>
          </p:txBody>
        </p:sp>
        <p:sp>
          <p:nvSpPr>
            <p:cNvPr id="416" name="Hexagon 415"/>
            <p:cNvSpPr/>
            <p:nvPr/>
          </p:nvSpPr>
          <p:spPr>
            <a:xfrm>
              <a:off x="1685999" y="2250864"/>
              <a:ext cx="274914" cy="247991"/>
            </a:xfrm>
            <a:prstGeom prst="hexagon">
              <a:avLst/>
            </a:prstGeom>
            <a:solidFill>
              <a:srgbClr val="5B9BD5"/>
            </a:solidFill>
            <a:ln w="12700" cap="flat" cmpd="sng" algn="ctr">
              <a:noFill/>
              <a:prstDash val="solid"/>
              <a:miter lim="800000"/>
            </a:ln>
            <a:effectLst/>
          </p:spPr>
          <p:txBody>
            <a:bodyPr rtlCol="0" anchor="ctr"/>
            <a:lstStyle/>
            <a:p>
              <a:pPr algn="ctr" defTabSz="914133">
                <a:defRPr/>
              </a:pPr>
              <a:endParaRPr lang="en-US" kern="0">
                <a:solidFill>
                  <a:srgbClr val="FFFFFF"/>
                </a:solidFill>
                <a:latin typeface="Calibri" panose="020F0502020204030204"/>
              </a:endParaRPr>
            </a:p>
          </p:txBody>
        </p:sp>
        <p:cxnSp>
          <p:nvCxnSpPr>
            <p:cNvPr id="417" name="Straight Connector 416"/>
            <p:cNvCxnSpPr/>
            <p:nvPr/>
          </p:nvCxnSpPr>
          <p:spPr>
            <a:xfrm>
              <a:off x="1592519" y="2243771"/>
              <a:ext cx="230937" cy="135637"/>
            </a:xfrm>
            <a:prstGeom prst="line">
              <a:avLst/>
            </a:prstGeom>
            <a:noFill/>
            <a:ln w="6350" cap="flat" cmpd="sng" algn="ctr">
              <a:solidFill>
                <a:srgbClr val="5B9BD5"/>
              </a:solidFill>
              <a:prstDash val="solid"/>
              <a:miter lim="800000"/>
            </a:ln>
            <a:effectLst/>
          </p:spPr>
        </p:cxnSp>
        <p:cxnSp>
          <p:nvCxnSpPr>
            <p:cNvPr id="418" name="Straight Connector 417"/>
            <p:cNvCxnSpPr/>
            <p:nvPr/>
          </p:nvCxnSpPr>
          <p:spPr>
            <a:xfrm>
              <a:off x="1592519" y="1972496"/>
              <a:ext cx="230937" cy="135637"/>
            </a:xfrm>
            <a:prstGeom prst="line">
              <a:avLst/>
            </a:prstGeom>
            <a:noFill/>
            <a:ln w="6350" cap="flat" cmpd="sng" algn="ctr">
              <a:solidFill>
                <a:srgbClr val="5B9BD5"/>
              </a:solidFill>
              <a:prstDash val="solid"/>
              <a:miter lim="800000"/>
            </a:ln>
            <a:effectLst/>
          </p:spPr>
        </p:cxnSp>
        <p:cxnSp>
          <p:nvCxnSpPr>
            <p:cNvPr id="419" name="Straight Connector 418"/>
            <p:cNvCxnSpPr/>
            <p:nvPr/>
          </p:nvCxnSpPr>
          <p:spPr>
            <a:xfrm>
              <a:off x="1819699" y="2102313"/>
              <a:ext cx="230937" cy="135637"/>
            </a:xfrm>
            <a:prstGeom prst="line">
              <a:avLst/>
            </a:prstGeom>
            <a:noFill/>
            <a:ln w="6350" cap="flat" cmpd="sng" algn="ctr">
              <a:solidFill>
                <a:srgbClr val="5B9BD5"/>
              </a:solidFill>
              <a:prstDash val="solid"/>
              <a:miter lim="800000"/>
            </a:ln>
            <a:effectLst/>
          </p:spPr>
        </p:cxnSp>
        <p:cxnSp>
          <p:nvCxnSpPr>
            <p:cNvPr id="420" name="Straight Connector 419"/>
            <p:cNvCxnSpPr/>
            <p:nvPr/>
          </p:nvCxnSpPr>
          <p:spPr>
            <a:xfrm flipH="1">
              <a:off x="1819699" y="2243771"/>
              <a:ext cx="230937" cy="135637"/>
            </a:xfrm>
            <a:prstGeom prst="line">
              <a:avLst/>
            </a:prstGeom>
            <a:noFill/>
            <a:ln w="6350" cap="flat" cmpd="sng" algn="ctr">
              <a:solidFill>
                <a:srgbClr val="5B9BD5"/>
              </a:solidFill>
              <a:prstDash val="solid"/>
              <a:miter lim="800000"/>
            </a:ln>
            <a:effectLst/>
          </p:spPr>
        </p:cxnSp>
        <p:cxnSp>
          <p:nvCxnSpPr>
            <p:cNvPr id="421" name="Straight Connector 420"/>
            <p:cNvCxnSpPr/>
            <p:nvPr/>
          </p:nvCxnSpPr>
          <p:spPr>
            <a:xfrm>
              <a:off x="1819700" y="2113954"/>
              <a:ext cx="33" cy="268599"/>
            </a:xfrm>
            <a:prstGeom prst="line">
              <a:avLst/>
            </a:prstGeom>
            <a:noFill/>
            <a:ln w="6350" cap="flat" cmpd="sng" algn="ctr">
              <a:solidFill>
                <a:srgbClr val="5B9BD5"/>
              </a:solidFill>
              <a:prstDash val="solid"/>
              <a:miter lim="800000"/>
            </a:ln>
            <a:effectLst/>
          </p:spPr>
        </p:cxnSp>
        <p:cxnSp>
          <p:nvCxnSpPr>
            <p:cNvPr id="422" name="Straight Connector 421"/>
            <p:cNvCxnSpPr/>
            <p:nvPr/>
          </p:nvCxnSpPr>
          <p:spPr>
            <a:xfrm flipV="1">
              <a:off x="1588796" y="2108133"/>
              <a:ext cx="230903" cy="129817"/>
            </a:xfrm>
            <a:prstGeom prst="line">
              <a:avLst/>
            </a:prstGeom>
            <a:noFill/>
            <a:ln w="6350" cap="flat" cmpd="sng" algn="ctr">
              <a:solidFill>
                <a:srgbClr val="5B9BD5"/>
              </a:solidFill>
              <a:prstDash val="solid"/>
              <a:miter lim="800000"/>
            </a:ln>
            <a:effectLst/>
          </p:spPr>
        </p:cxnSp>
        <p:cxnSp>
          <p:nvCxnSpPr>
            <p:cNvPr id="423" name="Straight Connector 422"/>
            <p:cNvCxnSpPr/>
            <p:nvPr/>
          </p:nvCxnSpPr>
          <p:spPr>
            <a:xfrm flipV="1">
              <a:off x="1819699" y="1966675"/>
              <a:ext cx="230937" cy="147278"/>
            </a:xfrm>
            <a:prstGeom prst="line">
              <a:avLst/>
            </a:prstGeom>
            <a:noFill/>
            <a:ln w="6350" cap="flat" cmpd="sng" algn="ctr">
              <a:solidFill>
                <a:srgbClr val="5B9BD5"/>
              </a:solidFill>
              <a:prstDash val="solid"/>
              <a:miter lim="800000"/>
            </a:ln>
            <a:effectLst/>
          </p:spPr>
        </p:cxnSp>
        <p:cxnSp>
          <p:nvCxnSpPr>
            <p:cNvPr id="424" name="Straight Connector 423"/>
            <p:cNvCxnSpPr/>
            <p:nvPr/>
          </p:nvCxnSpPr>
          <p:spPr>
            <a:xfrm>
              <a:off x="1592502" y="2001665"/>
              <a:ext cx="33" cy="268599"/>
            </a:xfrm>
            <a:prstGeom prst="line">
              <a:avLst/>
            </a:prstGeom>
            <a:noFill/>
            <a:ln w="6350" cap="flat" cmpd="sng" algn="ctr">
              <a:solidFill>
                <a:srgbClr val="5B9BD5"/>
              </a:solidFill>
              <a:prstDash val="solid"/>
              <a:miter lim="800000"/>
            </a:ln>
            <a:effectLst/>
          </p:spPr>
        </p:cxnSp>
        <p:sp>
          <p:nvSpPr>
            <p:cNvPr id="425" name="Hexagon 424"/>
            <p:cNvSpPr/>
            <p:nvPr/>
          </p:nvSpPr>
          <p:spPr>
            <a:xfrm>
              <a:off x="1914082" y="1853051"/>
              <a:ext cx="274914" cy="247991"/>
            </a:xfrm>
            <a:prstGeom prst="hexagon">
              <a:avLst/>
            </a:prstGeom>
            <a:solidFill>
              <a:srgbClr val="5B9BD5"/>
            </a:solidFill>
            <a:ln w="12700" cap="flat" cmpd="sng" algn="ctr">
              <a:noFill/>
              <a:prstDash val="solid"/>
              <a:miter lim="800000"/>
            </a:ln>
            <a:effectLst/>
          </p:spPr>
          <p:txBody>
            <a:bodyPr rtlCol="0" anchor="ctr"/>
            <a:lstStyle/>
            <a:p>
              <a:pPr algn="ctr" defTabSz="914133">
                <a:defRPr/>
              </a:pPr>
              <a:endParaRPr lang="en-US" kern="0">
                <a:solidFill>
                  <a:srgbClr val="FFFFFF"/>
                </a:solidFill>
                <a:latin typeface="Calibri" panose="020F0502020204030204"/>
              </a:endParaRPr>
            </a:p>
          </p:txBody>
        </p:sp>
        <p:sp>
          <p:nvSpPr>
            <p:cNvPr id="426" name="Hexagon 425"/>
            <p:cNvSpPr/>
            <p:nvPr/>
          </p:nvSpPr>
          <p:spPr>
            <a:xfrm>
              <a:off x="2145019" y="1984139"/>
              <a:ext cx="274914" cy="247991"/>
            </a:xfrm>
            <a:prstGeom prst="hexagon">
              <a:avLst/>
            </a:prstGeom>
            <a:solidFill>
              <a:srgbClr val="5B9BD5"/>
            </a:solidFill>
            <a:ln w="12700" cap="flat" cmpd="sng" algn="ctr">
              <a:noFill/>
              <a:prstDash val="solid"/>
              <a:miter lim="800000"/>
            </a:ln>
            <a:effectLst/>
          </p:spPr>
          <p:txBody>
            <a:bodyPr rtlCol="0" anchor="ctr"/>
            <a:lstStyle/>
            <a:p>
              <a:pPr algn="ctr" defTabSz="914133">
                <a:defRPr/>
              </a:pPr>
              <a:endParaRPr lang="en-US" kern="0">
                <a:solidFill>
                  <a:srgbClr val="FFFFFF"/>
                </a:solidFill>
                <a:latin typeface="Calibri" panose="020F0502020204030204"/>
              </a:endParaRPr>
            </a:p>
          </p:txBody>
        </p:sp>
        <p:sp>
          <p:nvSpPr>
            <p:cNvPr id="427" name="Hexagon 426"/>
            <p:cNvSpPr/>
            <p:nvPr/>
          </p:nvSpPr>
          <p:spPr>
            <a:xfrm>
              <a:off x="1914082" y="2119776"/>
              <a:ext cx="274914" cy="247991"/>
            </a:xfrm>
            <a:prstGeom prst="hexagon">
              <a:avLst/>
            </a:prstGeom>
            <a:solidFill>
              <a:srgbClr val="5B9BD5"/>
            </a:solidFill>
            <a:ln w="12700" cap="flat" cmpd="sng" algn="ctr">
              <a:noFill/>
              <a:prstDash val="solid"/>
              <a:miter lim="800000"/>
            </a:ln>
            <a:effectLst/>
          </p:spPr>
          <p:txBody>
            <a:bodyPr rtlCol="0" anchor="ctr"/>
            <a:lstStyle/>
            <a:p>
              <a:pPr algn="ctr" defTabSz="914133">
                <a:defRPr/>
              </a:pPr>
              <a:endParaRPr lang="en-US" kern="0">
                <a:solidFill>
                  <a:srgbClr val="FFFFFF"/>
                </a:solidFill>
                <a:latin typeface="Calibri" panose="020F0502020204030204"/>
              </a:endParaRPr>
            </a:p>
          </p:txBody>
        </p:sp>
        <p:sp>
          <p:nvSpPr>
            <p:cNvPr id="428" name="Hexagon 427"/>
            <p:cNvSpPr/>
            <p:nvPr/>
          </p:nvSpPr>
          <p:spPr>
            <a:xfrm>
              <a:off x="2145019" y="2250864"/>
              <a:ext cx="274914" cy="247991"/>
            </a:xfrm>
            <a:prstGeom prst="hexagon">
              <a:avLst/>
            </a:prstGeom>
            <a:solidFill>
              <a:srgbClr val="5B9BD5"/>
            </a:solidFill>
            <a:ln w="12700" cap="flat" cmpd="sng" algn="ctr">
              <a:noFill/>
              <a:prstDash val="solid"/>
              <a:miter lim="800000"/>
            </a:ln>
            <a:effectLst/>
          </p:spPr>
          <p:txBody>
            <a:bodyPr rtlCol="0" anchor="ctr"/>
            <a:lstStyle/>
            <a:p>
              <a:pPr algn="ctr" defTabSz="914133">
                <a:defRPr/>
              </a:pPr>
              <a:endParaRPr lang="en-US" kern="0">
                <a:solidFill>
                  <a:srgbClr val="FFFFFF"/>
                </a:solidFill>
                <a:latin typeface="Calibri" panose="020F0502020204030204"/>
              </a:endParaRPr>
            </a:p>
          </p:txBody>
        </p:sp>
        <p:cxnSp>
          <p:nvCxnSpPr>
            <p:cNvPr id="429" name="Straight Connector 428"/>
            <p:cNvCxnSpPr/>
            <p:nvPr/>
          </p:nvCxnSpPr>
          <p:spPr>
            <a:xfrm>
              <a:off x="2051539" y="2243771"/>
              <a:ext cx="230937" cy="135637"/>
            </a:xfrm>
            <a:prstGeom prst="line">
              <a:avLst/>
            </a:prstGeom>
            <a:noFill/>
            <a:ln w="6350" cap="flat" cmpd="sng" algn="ctr">
              <a:solidFill>
                <a:srgbClr val="5B9BD5"/>
              </a:solidFill>
              <a:prstDash val="solid"/>
              <a:miter lim="800000"/>
            </a:ln>
            <a:effectLst/>
          </p:spPr>
        </p:cxnSp>
        <p:cxnSp>
          <p:nvCxnSpPr>
            <p:cNvPr id="430" name="Straight Connector 429"/>
            <p:cNvCxnSpPr/>
            <p:nvPr/>
          </p:nvCxnSpPr>
          <p:spPr>
            <a:xfrm>
              <a:off x="2051539" y="1972496"/>
              <a:ext cx="230937" cy="135637"/>
            </a:xfrm>
            <a:prstGeom prst="line">
              <a:avLst/>
            </a:prstGeom>
            <a:noFill/>
            <a:ln w="6350" cap="flat" cmpd="sng" algn="ctr">
              <a:solidFill>
                <a:srgbClr val="5B9BD5"/>
              </a:solidFill>
              <a:prstDash val="solid"/>
              <a:miter lim="800000"/>
            </a:ln>
            <a:effectLst/>
          </p:spPr>
        </p:cxnSp>
        <p:cxnSp>
          <p:nvCxnSpPr>
            <p:cNvPr id="431" name="Straight Connector 430"/>
            <p:cNvCxnSpPr/>
            <p:nvPr/>
          </p:nvCxnSpPr>
          <p:spPr>
            <a:xfrm>
              <a:off x="2278719" y="2102313"/>
              <a:ext cx="230937" cy="135637"/>
            </a:xfrm>
            <a:prstGeom prst="line">
              <a:avLst/>
            </a:prstGeom>
            <a:noFill/>
            <a:ln w="6350" cap="flat" cmpd="sng" algn="ctr">
              <a:solidFill>
                <a:srgbClr val="5B9BD5"/>
              </a:solidFill>
              <a:prstDash val="solid"/>
              <a:miter lim="800000"/>
            </a:ln>
            <a:effectLst/>
          </p:spPr>
        </p:cxnSp>
        <p:cxnSp>
          <p:nvCxnSpPr>
            <p:cNvPr id="432" name="Straight Connector 431"/>
            <p:cNvCxnSpPr/>
            <p:nvPr/>
          </p:nvCxnSpPr>
          <p:spPr>
            <a:xfrm flipH="1">
              <a:off x="2278719" y="2243771"/>
              <a:ext cx="230937" cy="135637"/>
            </a:xfrm>
            <a:prstGeom prst="line">
              <a:avLst/>
            </a:prstGeom>
            <a:noFill/>
            <a:ln w="6350" cap="flat" cmpd="sng" algn="ctr">
              <a:solidFill>
                <a:srgbClr val="5B9BD5"/>
              </a:solidFill>
              <a:prstDash val="solid"/>
              <a:miter lim="800000"/>
            </a:ln>
            <a:effectLst/>
          </p:spPr>
        </p:cxnSp>
        <p:cxnSp>
          <p:nvCxnSpPr>
            <p:cNvPr id="433" name="Straight Connector 432"/>
            <p:cNvCxnSpPr/>
            <p:nvPr/>
          </p:nvCxnSpPr>
          <p:spPr>
            <a:xfrm>
              <a:off x="2278720" y="2109405"/>
              <a:ext cx="33" cy="268599"/>
            </a:xfrm>
            <a:prstGeom prst="line">
              <a:avLst/>
            </a:prstGeom>
            <a:noFill/>
            <a:ln w="6350" cap="flat" cmpd="sng" algn="ctr">
              <a:solidFill>
                <a:srgbClr val="5B9BD5"/>
              </a:solidFill>
              <a:prstDash val="solid"/>
              <a:miter lim="800000"/>
            </a:ln>
            <a:effectLst/>
          </p:spPr>
        </p:cxnSp>
        <p:cxnSp>
          <p:nvCxnSpPr>
            <p:cNvPr id="434" name="Straight Connector 433"/>
            <p:cNvCxnSpPr/>
            <p:nvPr/>
          </p:nvCxnSpPr>
          <p:spPr>
            <a:xfrm flipV="1">
              <a:off x="2047816" y="2108133"/>
              <a:ext cx="230903" cy="129817"/>
            </a:xfrm>
            <a:prstGeom prst="line">
              <a:avLst/>
            </a:prstGeom>
            <a:noFill/>
            <a:ln w="6350" cap="flat" cmpd="sng" algn="ctr">
              <a:solidFill>
                <a:srgbClr val="5B9BD5"/>
              </a:solidFill>
              <a:prstDash val="solid"/>
              <a:miter lim="800000"/>
            </a:ln>
            <a:effectLst/>
          </p:spPr>
        </p:cxnSp>
        <p:cxnSp>
          <p:nvCxnSpPr>
            <p:cNvPr id="435" name="Straight Connector 434"/>
            <p:cNvCxnSpPr/>
            <p:nvPr/>
          </p:nvCxnSpPr>
          <p:spPr>
            <a:xfrm flipV="1">
              <a:off x="2278719" y="1966675"/>
              <a:ext cx="230937" cy="147278"/>
            </a:xfrm>
            <a:prstGeom prst="line">
              <a:avLst/>
            </a:prstGeom>
            <a:noFill/>
            <a:ln w="6350" cap="flat" cmpd="sng" algn="ctr">
              <a:solidFill>
                <a:srgbClr val="5B9BD5"/>
              </a:solidFill>
              <a:prstDash val="solid"/>
              <a:miter lim="800000"/>
            </a:ln>
            <a:effectLst/>
          </p:spPr>
        </p:cxnSp>
        <p:cxnSp>
          <p:nvCxnSpPr>
            <p:cNvPr id="436" name="Straight Connector 435"/>
            <p:cNvCxnSpPr/>
            <p:nvPr/>
          </p:nvCxnSpPr>
          <p:spPr>
            <a:xfrm>
              <a:off x="2051522" y="2001665"/>
              <a:ext cx="33" cy="268599"/>
            </a:xfrm>
            <a:prstGeom prst="line">
              <a:avLst/>
            </a:prstGeom>
            <a:noFill/>
            <a:ln w="6350" cap="flat" cmpd="sng" algn="ctr">
              <a:solidFill>
                <a:srgbClr val="5B9BD5"/>
              </a:solidFill>
              <a:prstDash val="solid"/>
              <a:miter lim="800000"/>
            </a:ln>
            <a:effectLst/>
          </p:spPr>
        </p:cxnSp>
        <p:sp>
          <p:nvSpPr>
            <p:cNvPr id="437" name="Hexagon 436"/>
            <p:cNvSpPr/>
            <p:nvPr/>
          </p:nvSpPr>
          <p:spPr>
            <a:xfrm>
              <a:off x="2373102" y="1853051"/>
              <a:ext cx="274914" cy="247991"/>
            </a:xfrm>
            <a:prstGeom prst="hexagon">
              <a:avLst/>
            </a:prstGeom>
            <a:solidFill>
              <a:srgbClr val="5B9BD5"/>
            </a:solidFill>
            <a:ln w="12700" cap="flat" cmpd="sng" algn="ctr">
              <a:noFill/>
              <a:prstDash val="solid"/>
              <a:miter lim="800000"/>
            </a:ln>
            <a:effectLst/>
          </p:spPr>
          <p:txBody>
            <a:bodyPr rtlCol="0" anchor="ctr"/>
            <a:lstStyle/>
            <a:p>
              <a:pPr algn="ctr" defTabSz="914133">
                <a:defRPr/>
              </a:pPr>
              <a:endParaRPr lang="en-US" kern="0">
                <a:solidFill>
                  <a:srgbClr val="FFFFFF"/>
                </a:solidFill>
                <a:latin typeface="Calibri" panose="020F0502020204030204"/>
              </a:endParaRPr>
            </a:p>
          </p:txBody>
        </p:sp>
        <p:sp>
          <p:nvSpPr>
            <p:cNvPr id="438" name="Hexagon 437"/>
            <p:cNvSpPr/>
            <p:nvPr/>
          </p:nvSpPr>
          <p:spPr>
            <a:xfrm>
              <a:off x="2600367" y="1984139"/>
              <a:ext cx="274914" cy="247991"/>
            </a:xfrm>
            <a:prstGeom prst="hexagon">
              <a:avLst/>
            </a:prstGeom>
            <a:solidFill>
              <a:srgbClr val="5B9BD5"/>
            </a:solidFill>
            <a:ln w="12700" cap="flat" cmpd="sng" algn="ctr">
              <a:noFill/>
              <a:prstDash val="solid"/>
              <a:miter lim="800000"/>
            </a:ln>
            <a:effectLst/>
          </p:spPr>
          <p:txBody>
            <a:bodyPr rtlCol="0" anchor="ctr"/>
            <a:lstStyle/>
            <a:p>
              <a:pPr algn="ctr" defTabSz="914133">
                <a:defRPr/>
              </a:pPr>
              <a:endParaRPr lang="en-US" kern="0">
                <a:solidFill>
                  <a:srgbClr val="FFFFFF"/>
                </a:solidFill>
                <a:latin typeface="Calibri" panose="020F0502020204030204"/>
              </a:endParaRPr>
            </a:p>
          </p:txBody>
        </p:sp>
        <p:sp>
          <p:nvSpPr>
            <p:cNvPr id="439" name="Hexagon 438"/>
            <p:cNvSpPr/>
            <p:nvPr/>
          </p:nvSpPr>
          <p:spPr>
            <a:xfrm>
              <a:off x="2373102" y="2119776"/>
              <a:ext cx="274914" cy="247991"/>
            </a:xfrm>
            <a:prstGeom prst="hexagon">
              <a:avLst/>
            </a:prstGeom>
            <a:solidFill>
              <a:srgbClr val="5B9BD5"/>
            </a:solidFill>
            <a:ln w="12700" cap="flat" cmpd="sng" algn="ctr">
              <a:noFill/>
              <a:prstDash val="solid"/>
              <a:miter lim="800000"/>
            </a:ln>
            <a:effectLst/>
          </p:spPr>
          <p:txBody>
            <a:bodyPr rtlCol="0" anchor="ctr"/>
            <a:lstStyle/>
            <a:p>
              <a:pPr algn="ctr" defTabSz="914133">
                <a:defRPr/>
              </a:pPr>
              <a:endParaRPr lang="en-US" kern="0">
                <a:solidFill>
                  <a:srgbClr val="FFFFFF"/>
                </a:solidFill>
                <a:latin typeface="Calibri" panose="020F0502020204030204"/>
              </a:endParaRPr>
            </a:p>
          </p:txBody>
        </p:sp>
        <p:sp>
          <p:nvSpPr>
            <p:cNvPr id="440" name="Hexagon 439"/>
            <p:cNvSpPr/>
            <p:nvPr/>
          </p:nvSpPr>
          <p:spPr>
            <a:xfrm>
              <a:off x="2600367" y="2250864"/>
              <a:ext cx="274914" cy="247991"/>
            </a:xfrm>
            <a:prstGeom prst="hexagon">
              <a:avLst/>
            </a:prstGeom>
            <a:solidFill>
              <a:srgbClr val="5B9BD5"/>
            </a:solidFill>
            <a:ln w="12700" cap="flat" cmpd="sng" algn="ctr">
              <a:noFill/>
              <a:prstDash val="solid"/>
              <a:miter lim="800000"/>
            </a:ln>
            <a:effectLst/>
          </p:spPr>
          <p:txBody>
            <a:bodyPr rtlCol="0" anchor="ctr"/>
            <a:lstStyle/>
            <a:p>
              <a:pPr algn="ctr" defTabSz="914133">
                <a:defRPr/>
              </a:pPr>
              <a:endParaRPr lang="en-US" kern="0">
                <a:solidFill>
                  <a:srgbClr val="FFFFFF"/>
                </a:solidFill>
                <a:latin typeface="Calibri" panose="020F0502020204030204"/>
              </a:endParaRPr>
            </a:p>
          </p:txBody>
        </p:sp>
        <p:cxnSp>
          <p:nvCxnSpPr>
            <p:cNvPr id="441" name="Straight Connector 440"/>
            <p:cNvCxnSpPr/>
            <p:nvPr/>
          </p:nvCxnSpPr>
          <p:spPr>
            <a:xfrm>
              <a:off x="2506887" y="2243771"/>
              <a:ext cx="230937" cy="135637"/>
            </a:xfrm>
            <a:prstGeom prst="line">
              <a:avLst/>
            </a:prstGeom>
            <a:noFill/>
            <a:ln w="6350" cap="flat" cmpd="sng" algn="ctr">
              <a:solidFill>
                <a:srgbClr val="5B9BD5"/>
              </a:solidFill>
              <a:prstDash val="solid"/>
              <a:miter lim="800000"/>
            </a:ln>
            <a:effectLst/>
          </p:spPr>
        </p:cxnSp>
        <p:cxnSp>
          <p:nvCxnSpPr>
            <p:cNvPr id="442" name="Straight Connector 441"/>
            <p:cNvCxnSpPr/>
            <p:nvPr/>
          </p:nvCxnSpPr>
          <p:spPr>
            <a:xfrm>
              <a:off x="2506887" y="1972496"/>
              <a:ext cx="230937" cy="135637"/>
            </a:xfrm>
            <a:prstGeom prst="line">
              <a:avLst/>
            </a:prstGeom>
            <a:noFill/>
            <a:ln w="6350" cap="flat" cmpd="sng" algn="ctr">
              <a:solidFill>
                <a:srgbClr val="5B9BD5"/>
              </a:solidFill>
              <a:prstDash val="solid"/>
              <a:miter lim="800000"/>
            </a:ln>
            <a:effectLst/>
          </p:spPr>
        </p:cxnSp>
        <p:cxnSp>
          <p:nvCxnSpPr>
            <p:cNvPr id="443" name="Straight Connector 442"/>
            <p:cNvCxnSpPr/>
            <p:nvPr/>
          </p:nvCxnSpPr>
          <p:spPr>
            <a:xfrm>
              <a:off x="2734067" y="2102313"/>
              <a:ext cx="230937" cy="135637"/>
            </a:xfrm>
            <a:prstGeom prst="line">
              <a:avLst/>
            </a:prstGeom>
            <a:noFill/>
            <a:ln w="6350" cap="flat" cmpd="sng" algn="ctr">
              <a:solidFill>
                <a:srgbClr val="5B9BD5"/>
              </a:solidFill>
              <a:prstDash val="solid"/>
              <a:miter lim="800000"/>
            </a:ln>
            <a:effectLst/>
          </p:spPr>
        </p:cxnSp>
        <p:cxnSp>
          <p:nvCxnSpPr>
            <p:cNvPr id="444" name="Straight Connector 443"/>
            <p:cNvCxnSpPr/>
            <p:nvPr/>
          </p:nvCxnSpPr>
          <p:spPr>
            <a:xfrm flipH="1">
              <a:off x="2734067" y="2243771"/>
              <a:ext cx="230937" cy="135637"/>
            </a:xfrm>
            <a:prstGeom prst="line">
              <a:avLst/>
            </a:prstGeom>
            <a:noFill/>
            <a:ln w="6350" cap="flat" cmpd="sng" algn="ctr">
              <a:solidFill>
                <a:srgbClr val="5B9BD5"/>
              </a:solidFill>
              <a:prstDash val="solid"/>
              <a:miter lim="800000"/>
            </a:ln>
            <a:effectLst/>
          </p:spPr>
        </p:cxnSp>
        <p:cxnSp>
          <p:nvCxnSpPr>
            <p:cNvPr id="445" name="Straight Connector 444"/>
            <p:cNvCxnSpPr/>
            <p:nvPr/>
          </p:nvCxnSpPr>
          <p:spPr>
            <a:xfrm>
              <a:off x="2734068" y="2113954"/>
              <a:ext cx="33" cy="268599"/>
            </a:xfrm>
            <a:prstGeom prst="line">
              <a:avLst/>
            </a:prstGeom>
            <a:noFill/>
            <a:ln w="6350" cap="flat" cmpd="sng" algn="ctr">
              <a:solidFill>
                <a:srgbClr val="5B9BD5"/>
              </a:solidFill>
              <a:prstDash val="solid"/>
              <a:miter lim="800000"/>
            </a:ln>
            <a:effectLst/>
          </p:spPr>
        </p:cxnSp>
        <p:cxnSp>
          <p:nvCxnSpPr>
            <p:cNvPr id="446" name="Straight Connector 445"/>
            <p:cNvCxnSpPr/>
            <p:nvPr/>
          </p:nvCxnSpPr>
          <p:spPr>
            <a:xfrm flipV="1">
              <a:off x="2503164" y="2108133"/>
              <a:ext cx="230903" cy="129817"/>
            </a:xfrm>
            <a:prstGeom prst="line">
              <a:avLst/>
            </a:prstGeom>
            <a:noFill/>
            <a:ln w="6350" cap="flat" cmpd="sng" algn="ctr">
              <a:solidFill>
                <a:srgbClr val="5B9BD5"/>
              </a:solidFill>
              <a:prstDash val="solid"/>
              <a:miter lim="800000"/>
            </a:ln>
            <a:effectLst/>
          </p:spPr>
        </p:cxnSp>
        <p:cxnSp>
          <p:nvCxnSpPr>
            <p:cNvPr id="447" name="Straight Connector 446"/>
            <p:cNvCxnSpPr/>
            <p:nvPr/>
          </p:nvCxnSpPr>
          <p:spPr>
            <a:xfrm flipV="1">
              <a:off x="2734067" y="1966675"/>
              <a:ext cx="230937" cy="147278"/>
            </a:xfrm>
            <a:prstGeom prst="line">
              <a:avLst/>
            </a:prstGeom>
            <a:noFill/>
            <a:ln w="6350" cap="flat" cmpd="sng" algn="ctr">
              <a:solidFill>
                <a:srgbClr val="5B9BD5"/>
              </a:solidFill>
              <a:prstDash val="solid"/>
              <a:miter lim="800000"/>
            </a:ln>
            <a:effectLst/>
          </p:spPr>
        </p:cxnSp>
        <p:cxnSp>
          <p:nvCxnSpPr>
            <p:cNvPr id="448" name="Straight Connector 447"/>
            <p:cNvCxnSpPr/>
            <p:nvPr/>
          </p:nvCxnSpPr>
          <p:spPr>
            <a:xfrm>
              <a:off x="2510542" y="1997116"/>
              <a:ext cx="33" cy="268599"/>
            </a:xfrm>
            <a:prstGeom prst="line">
              <a:avLst/>
            </a:prstGeom>
            <a:noFill/>
            <a:ln w="6350" cap="flat" cmpd="sng" algn="ctr">
              <a:solidFill>
                <a:srgbClr val="5B9BD5"/>
              </a:solidFill>
              <a:prstDash val="solid"/>
              <a:miter lim="800000"/>
            </a:ln>
            <a:effectLst/>
          </p:spPr>
        </p:cxnSp>
        <p:sp>
          <p:nvSpPr>
            <p:cNvPr id="449" name="Hexagon 448"/>
            <p:cNvSpPr/>
            <p:nvPr/>
          </p:nvSpPr>
          <p:spPr>
            <a:xfrm>
              <a:off x="2828450" y="1853051"/>
              <a:ext cx="274914" cy="247991"/>
            </a:xfrm>
            <a:prstGeom prst="hexagon">
              <a:avLst/>
            </a:prstGeom>
            <a:solidFill>
              <a:srgbClr val="5B9BD5"/>
            </a:solidFill>
            <a:ln w="12700" cap="flat" cmpd="sng" algn="ctr">
              <a:noFill/>
              <a:prstDash val="solid"/>
              <a:miter lim="800000"/>
            </a:ln>
            <a:effectLst/>
          </p:spPr>
          <p:txBody>
            <a:bodyPr rtlCol="0" anchor="ctr"/>
            <a:lstStyle/>
            <a:p>
              <a:pPr algn="ctr" defTabSz="914133">
                <a:defRPr/>
              </a:pPr>
              <a:endParaRPr lang="en-US" kern="0">
                <a:solidFill>
                  <a:srgbClr val="FFFFFF"/>
                </a:solidFill>
                <a:latin typeface="Calibri" panose="020F0502020204030204"/>
              </a:endParaRPr>
            </a:p>
          </p:txBody>
        </p:sp>
        <p:sp>
          <p:nvSpPr>
            <p:cNvPr id="450" name="Hexagon 449"/>
            <p:cNvSpPr/>
            <p:nvPr/>
          </p:nvSpPr>
          <p:spPr>
            <a:xfrm>
              <a:off x="3059387" y="1984139"/>
              <a:ext cx="274914" cy="247991"/>
            </a:xfrm>
            <a:prstGeom prst="hexagon">
              <a:avLst/>
            </a:prstGeom>
            <a:solidFill>
              <a:srgbClr val="5B9BD5"/>
            </a:solidFill>
            <a:ln w="12700" cap="flat" cmpd="sng" algn="ctr">
              <a:noFill/>
              <a:prstDash val="solid"/>
              <a:miter lim="800000"/>
            </a:ln>
            <a:effectLst/>
          </p:spPr>
          <p:txBody>
            <a:bodyPr rtlCol="0" anchor="ctr"/>
            <a:lstStyle/>
            <a:p>
              <a:pPr algn="ctr" defTabSz="914133">
                <a:defRPr/>
              </a:pPr>
              <a:endParaRPr lang="en-US" kern="0">
                <a:solidFill>
                  <a:srgbClr val="FFFFFF"/>
                </a:solidFill>
                <a:latin typeface="Calibri" panose="020F0502020204030204"/>
              </a:endParaRPr>
            </a:p>
          </p:txBody>
        </p:sp>
        <p:sp>
          <p:nvSpPr>
            <p:cNvPr id="451" name="Hexagon 450"/>
            <p:cNvSpPr/>
            <p:nvPr/>
          </p:nvSpPr>
          <p:spPr>
            <a:xfrm>
              <a:off x="2828450" y="2119776"/>
              <a:ext cx="274914" cy="247991"/>
            </a:xfrm>
            <a:prstGeom prst="hexagon">
              <a:avLst/>
            </a:prstGeom>
            <a:solidFill>
              <a:srgbClr val="5B9BD5"/>
            </a:solidFill>
            <a:ln w="12700" cap="flat" cmpd="sng" algn="ctr">
              <a:noFill/>
              <a:prstDash val="solid"/>
              <a:miter lim="800000"/>
            </a:ln>
            <a:effectLst/>
          </p:spPr>
          <p:txBody>
            <a:bodyPr rtlCol="0" anchor="ctr"/>
            <a:lstStyle/>
            <a:p>
              <a:pPr algn="ctr" defTabSz="914133">
                <a:defRPr/>
              </a:pPr>
              <a:endParaRPr lang="en-US" kern="0">
                <a:solidFill>
                  <a:srgbClr val="FFFFFF"/>
                </a:solidFill>
                <a:latin typeface="Calibri" panose="020F0502020204030204"/>
              </a:endParaRPr>
            </a:p>
          </p:txBody>
        </p:sp>
        <p:sp>
          <p:nvSpPr>
            <p:cNvPr id="452" name="Hexagon 451"/>
            <p:cNvSpPr/>
            <p:nvPr/>
          </p:nvSpPr>
          <p:spPr>
            <a:xfrm>
              <a:off x="3059387" y="2250864"/>
              <a:ext cx="274914" cy="247991"/>
            </a:xfrm>
            <a:prstGeom prst="hexagon">
              <a:avLst/>
            </a:prstGeom>
            <a:solidFill>
              <a:srgbClr val="5B9BD5"/>
            </a:solidFill>
            <a:ln w="12700" cap="flat" cmpd="sng" algn="ctr">
              <a:noFill/>
              <a:prstDash val="solid"/>
              <a:miter lim="800000"/>
            </a:ln>
            <a:effectLst/>
          </p:spPr>
          <p:txBody>
            <a:bodyPr rtlCol="0" anchor="ctr"/>
            <a:lstStyle/>
            <a:p>
              <a:pPr algn="ctr" defTabSz="914133">
                <a:defRPr/>
              </a:pPr>
              <a:endParaRPr lang="en-US" kern="0">
                <a:solidFill>
                  <a:srgbClr val="FFFFFF"/>
                </a:solidFill>
                <a:latin typeface="Calibri" panose="020F0502020204030204"/>
              </a:endParaRPr>
            </a:p>
          </p:txBody>
        </p:sp>
        <p:cxnSp>
          <p:nvCxnSpPr>
            <p:cNvPr id="453" name="Straight Connector 452"/>
            <p:cNvCxnSpPr/>
            <p:nvPr/>
          </p:nvCxnSpPr>
          <p:spPr>
            <a:xfrm>
              <a:off x="2965907" y="2243771"/>
              <a:ext cx="230937" cy="135637"/>
            </a:xfrm>
            <a:prstGeom prst="line">
              <a:avLst/>
            </a:prstGeom>
            <a:noFill/>
            <a:ln w="6350" cap="flat" cmpd="sng" algn="ctr">
              <a:solidFill>
                <a:srgbClr val="5B9BD5"/>
              </a:solidFill>
              <a:prstDash val="solid"/>
              <a:miter lim="800000"/>
            </a:ln>
            <a:effectLst/>
          </p:spPr>
        </p:cxnSp>
        <p:cxnSp>
          <p:nvCxnSpPr>
            <p:cNvPr id="454" name="Straight Connector 453"/>
            <p:cNvCxnSpPr/>
            <p:nvPr/>
          </p:nvCxnSpPr>
          <p:spPr>
            <a:xfrm>
              <a:off x="2965907" y="1972496"/>
              <a:ext cx="230937" cy="135637"/>
            </a:xfrm>
            <a:prstGeom prst="line">
              <a:avLst/>
            </a:prstGeom>
            <a:noFill/>
            <a:ln w="6350" cap="flat" cmpd="sng" algn="ctr">
              <a:solidFill>
                <a:srgbClr val="5B9BD5"/>
              </a:solidFill>
              <a:prstDash val="solid"/>
              <a:miter lim="800000"/>
            </a:ln>
            <a:effectLst/>
          </p:spPr>
        </p:cxnSp>
        <p:cxnSp>
          <p:nvCxnSpPr>
            <p:cNvPr id="455" name="Straight Connector 454"/>
            <p:cNvCxnSpPr/>
            <p:nvPr/>
          </p:nvCxnSpPr>
          <p:spPr>
            <a:xfrm>
              <a:off x="3193087" y="2102313"/>
              <a:ext cx="230937" cy="135637"/>
            </a:xfrm>
            <a:prstGeom prst="line">
              <a:avLst/>
            </a:prstGeom>
            <a:noFill/>
            <a:ln w="6350" cap="flat" cmpd="sng" algn="ctr">
              <a:solidFill>
                <a:srgbClr val="5B9BD5"/>
              </a:solidFill>
              <a:prstDash val="solid"/>
              <a:miter lim="800000"/>
            </a:ln>
            <a:effectLst/>
          </p:spPr>
        </p:cxnSp>
        <p:cxnSp>
          <p:nvCxnSpPr>
            <p:cNvPr id="456" name="Straight Connector 455"/>
            <p:cNvCxnSpPr/>
            <p:nvPr/>
          </p:nvCxnSpPr>
          <p:spPr>
            <a:xfrm flipH="1">
              <a:off x="3193087" y="2243771"/>
              <a:ext cx="230937" cy="135637"/>
            </a:xfrm>
            <a:prstGeom prst="line">
              <a:avLst/>
            </a:prstGeom>
            <a:noFill/>
            <a:ln w="6350" cap="flat" cmpd="sng" algn="ctr">
              <a:solidFill>
                <a:srgbClr val="5B9BD5"/>
              </a:solidFill>
              <a:prstDash val="solid"/>
              <a:miter lim="800000"/>
            </a:ln>
            <a:effectLst/>
          </p:spPr>
        </p:cxnSp>
        <p:cxnSp>
          <p:nvCxnSpPr>
            <p:cNvPr id="457" name="Straight Connector 456"/>
            <p:cNvCxnSpPr/>
            <p:nvPr/>
          </p:nvCxnSpPr>
          <p:spPr>
            <a:xfrm>
              <a:off x="3193088" y="2113954"/>
              <a:ext cx="33" cy="268599"/>
            </a:xfrm>
            <a:prstGeom prst="line">
              <a:avLst/>
            </a:prstGeom>
            <a:noFill/>
            <a:ln w="6350" cap="flat" cmpd="sng" algn="ctr">
              <a:solidFill>
                <a:srgbClr val="5B9BD5"/>
              </a:solidFill>
              <a:prstDash val="solid"/>
              <a:miter lim="800000"/>
            </a:ln>
            <a:effectLst/>
          </p:spPr>
        </p:cxnSp>
        <p:cxnSp>
          <p:nvCxnSpPr>
            <p:cNvPr id="458" name="Straight Connector 457"/>
            <p:cNvCxnSpPr/>
            <p:nvPr/>
          </p:nvCxnSpPr>
          <p:spPr>
            <a:xfrm flipV="1">
              <a:off x="2962184" y="2108133"/>
              <a:ext cx="230903" cy="129817"/>
            </a:xfrm>
            <a:prstGeom prst="line">
              <a:avLst/>
            </a:prstGeom>
            <a:noFill/>
            <a:ln w="6350" cap="flat" cmpd="sng" algn="ctr">
              <a:solidFill>
                <a:srgbClr val="5B9BD5"/>
              </a:solidFill>
              <a:prstDash val="solid"/>
              <a:miter lim="800000"/>
            </a:ln>
            <a:effectLst/>
          </p:spPr>
        </p:cxnSp>
        <p:cxnSp>
          <p:nvCxnSpPr>
            <p:cNvPr id="459" name="Straight Connector 458"/>
            <p:cNvCxnSpPr/>
            <p:nvPr/>
          </p:nvCxnSpPr>
          <p:spPr>
            <a:xfrm flipV="1">
              <a:off x="3193087" y="1966675"/>
              <a:ext cx="230937" cy="147278"/>
            </a:xfrm>
            <a:prstGeom prst="line">
              <a:avLst/>
            </a:prstGeom>
            <a:noFill/>
            <a:ln w="6350" cap="flat" cmpd="sng" algn="ctr">
              <a:solidFill>
                <a:srgbClr val="5B9BD5"/>
              </a:solidFill>
              <a:prstDash val="solid"/>
              <a:miter lim="800000"/>
            </a:ln>
            <a:effectLst/>
          </p:spPr>
        </p:cxnSp>
        <p:cxnSp>
          <p:nvCxnSpPr>
            <p:cNvPr id="460" name="Straight Connector 459"/>
            <p:cNvCxnSpPr/>
            <p:nvPr/>
          </p:nvCxnSpPr>
          <p:spPr>
            <a:xfrm>
              <a:off x="2965890" y="1997116"/>
              <a:ext cx="33" cy="268599"/>
            </a:xfrm>
            <a:prstGeom prst="line">
              <a:avLst/>
            </a:prstGeom>
            <a:noFill/>
            <a:ln w="6350" cap="flat" cmpd="sng" algn="ctr">
              <a:solidFill>
                <a:srgbClr val="5B9BD5"/>
              </a:solidFill>
              <a:prstDash val="solid"/>
              <a:miter lim="800000"/>
            </a:ln>
            <a:effectLst/>
          </p:spPr>
        </p:cxnSp>
        <p:sp>
          <p:nvSpPr>
            <p:cNvPr id="461" name="Hexagon 460"/>
            <p:cNvSpPr/>
            <p:nvPr/>
          </p:nvSpPr>
          <p:spPr>
            <a:xfrm>
              <a:off x="3289956" y="1853051"/>
              <a:ext cx="274914" cy="247991"/>
            </a:xfrm>
            <a:prstGeom prst="hexagon">
              <a:avLst/>
            </a:prstGeom>
            <a:solidFill>
              <a:srgbClr val="5B9BD5"/>
            </a:solidFill>
            <a:ln w="12700" cap="flat" cmpd="sng" algn="ctr">
              <a:noFill/>
              <a:prstDash val="solid"/>
              <a:miter lim="800000"/>
            </a:ln>
            <a:effectLst/>
          </p:spPr>
          <p:txBody>
            <a:bodyPr rtlCol="0" anchor="ctr"/>
            <a:lstStyle/>
            <a:p>
              <a:pPr algn="ctr" defTabSz="914133">
                <a:defRPr/>
              </a:pPr>
              <a:endParaRPr lang="en-US" kern="0">
                <a:solidFill>
                  <a:srgbClr val="FFFFFF"/>
                </a:solidFill>
                <a:latin typeface="Calibri" panose="020F0502020204030204"/>
              </a:endParaRPr>
            </a:p>
          </p:txBody>
        </p:sp>
        <p:sp>
          <p:nvSpPr>
            <p:cNvPr id="462" name="Hexagon 461"/>
            <p:cNvSpPr/>
            <p:nvPr/>
          </p:nvSpPr>
          <p:spPr>
            <a:xfrm>
              <a:off x="3520893" y="1984139"/>
              <a:ext cx="274914" cy="247991"/>
            </a:xfrm>
            <a:prstGeom prst="hexagon">
              <a:avLst/>
            </a:prstGeom>
            <a:solidFill>
              <a:srgbClr val="5B9BD5"/>
            </a:solidFill>
            <a:ln w="12700" cap="flat" cmpd="sng" algn="ctr">
              <a:noFill/>
              <a:prstDash val="solid"/>
              <a:miter lim="800000"/>
            </a:ln>
            <a:effectLst/>
          </p:spPr>
          <p:txBody>
            <a:bodyPr rtlCol="0" anchor="ctr"/>
            <a:lstStyle/>
            <a:p>
              <a:pPr algn="ctr" defTabSz="914133">
                <a:defRPr/>
              </a:pPr>
              <a:endParaRPr lang="en-US" kern="0">
                <a:solidFill>
                  <a:srgbClr val="FFFFFF"/>
                </a:solidFill>
                <a:latin typeface="Calibri" panose="020F0502020204030204"/>
              </a:endParaRPr>
            </a:p>
          </p:txBody>
        </p:sp>
        <p:sp>
          <p:nvSpPr>
            <p:cNvPr id="463" name="Hexagon 462"/>
            <p:cNvSpPr/>
            <p:nvPr/>
          </p:nvSpPr>
          <p:spPr>
            <a:xfrm>
              <a:off x="3289956" y="2119776"/>
              <a:ext cx="274914" cy="247991"/>
            </a:xfrm>
            <a:prstGeom prst="hexagon">
              <a:avLst/>
            </a:prstGeom>
            <a:solidFill>
              <a:srgbClr val="5B9BD5"/>
            </a:solidFill>
            <a:ln w="12700" cap="flat" cmpd="sng" algn="ctr">
              <a:noFill/>
              <a:prstDash val="solid"/>
              <a:miter lim="800000"/>
            </a:ln>
            <a:effectLst/>
          </p:spPr>
          <p:txBody>
            <a:bodyPr rtlCol="0" anchor="ctr"/>
            <a:lstStyle/>
            <a:p>
              <a:pPr algn="ctr" defTabSz="914133">
                <a:defRPr/>
              </a:pPr>
              <a:endParaRPr lang="en-US" kern="0">
                <a:solidFill>
                  <a:srgbClr val="FFFFFF"/>
                </a:solidFill>
                <a:latin typeface="Calibri" panose="020F0502020204030204"/>
              </a:endParaRPr>
            </a:p>
          </p:txBody>
        </p:sp>
        <p:sp>
          <p:nvSpPr>
            <p:cNvPr id="464" name="Hexagon 463"/>
            <p:cNvSpPr/>
            <p:nvPr/>
          </p:nvSpPr>
          <p:spPr>
            <a:xfrm>
              <a:off x="3520893" y="2250864"/>
              <a:ext cx="274914" cy="247991"/>
            </a:xfrm>
            <a:prstGeom prst="hexagon">
              <a:avLst/>
            </a:prstGeom>
            <a:solidFill>
              <a:srgbClr val="5B9BD5"/>
            </a:solidFill>
            <a:ln w="12700" cap="flat" cmpd="sng" algn="ctr">
              <a:noFill/>
              <a:prstDash val="solid"/>
              <a:miter lim="800000"/>
            </a:ln>
            <a:effectLst/>
          </p:spPr>
          <p:txBody>
            <a:bodyPr rtlCol="0" anchor="ctr"/>
            <a:lstStyle/>
            <a:p>
              <a:pPr algn="ctr" defTabSz="914133">
                <a:defRPr/>
              </a:pPr>
              <a:endParaRPr lang="en-US" kern="0">
                <a:solidFill>
                  <a:srgbClr val="FFFFFF"/>
                </a:solidFill>
                <a:latin typeface="Calibri" panose="020F0502020204030204"/>
              </a:endParaRPr>
            </a:p>
          </p:txBody>
        </p:sp>
        <p:cxnSp>
          <p:nvCxnSpPr>
            <p:cNvPr id="465" name="Straight Connector 464"/>
            <p:cNvCxnSpPr/>
            <p:nvPr/>
          </p:nvCxnSpPr>
          <p:spPr>
            <a:xfrm>
              <a:off x="3427413" y="2243771"/>
              <a:ext cx="230937" cy="135637"/>
            </a:xfrm>
            <a:prstGeom prst="line">
              <a:avLst/>
            </a:prstGeom>
            <a:noFill/>
            <a:ln w="6350" cap="flat" cmpd="sng" algn="ctr">
              <a:solidFill>
                <a:srgbClr val="5B9BD5"/>
              </a:solidFill>
              <a:prstDash val="solid"/>
              <a:miter lim="800000"/>
            </a:ln>
            <a:effectLst/>
          </p:spPr>
        </p:cxnSp>
        <p:cxnSp>
          <p:nvCxnSpPr>
            <p:cNvPr id="466" name="Straight Connector 465"/>
            <p:cNvCxnSpPr/>
            <p:nvPr/>
          </p:nvCxnSpPr>
          <p:spPr>
            <a:xfrm>
              <a:off x="3427413" y="1972496"/>
              <a:ext cx="230937" cy="135637"/>
            </a:xfrm>
            <a:prstGeom prst="line">
              <a:avLst/>
            </a:prstGeom>
            <a:noFill/>
            <a:ln w="6350" cap="flat" cmpd="sng" algn="ctr">
              <a:solidFill>
                <a:srgbClr val="5B9BD5"/>
              </a:solidFill>
              <a:prstDash val="solid"/>
              <a:miter lim="800000"/>
            </a:ln>
            <a:effectLst/>
          </p:spPr>
        </p:cxnSp>
        <p:cxnSp>
          <p:nvCxnSpPr>
            <p:cNvPr id="467" name="Straight Connector 466"/>
            <p:cNvCxnSpPr/>
            <p:nvPr/>
          </p:nvCxnSpPr>
          <p:spPr>
            <a:xfrm>
              <a:off x="3654593" y="2102313"/>
              <a:ext cx="230937" cy="135637"/>
            </a:xfrm>
            <a:prstGeom prst="line">
              <a:avLst/>
            </a:prstGeom>
            <a:noFill/>
            <a:ln w="6350" cap="flat" cmpd="sng" algn="ctr">
              <a:solidFill>
                <a:srgbClr val="5B9BD5"/>
              </a:solidFill>
              <a:prstDash val="solid"/>
              <a:miter lim="800000"/>
            </a:ln>
            <a:effectLst/>
          </p:spPr>
        </p:cxnSp>
        <p:cxnSp>
          <p:nvCxnSpPr>
            <p:cNvPr id="468" name="Straight Connector 467"/>
            <p:cNvCxnSpPr/>
            <p:nvPr/>
          </p:nvCxnSpPr>
          <p:spPr>
            <a:xfrm flipH="1">
              <a:off x="3654593" y="2243771"/>
              <a:ext cx="230937" cy="135637"/>
            </a:xfrm>
            <a:prstGeom prst="line">
              <a:avLst/>
            </a:prstGeom>
            <a:noFill/>
            <a:ln w="6350" cap="flat" cmpd="sng" algn="ctr">
              <a:solidFill>
                <a:srgbClr val="5B9BD5"/>
              </a:solidFill>
              <a:prstDash val="solid"/>
              <a:miter lim="800000"/>
            </a:ln>
            <a:effectLst/>
          </p:spPr>
        </p:cxnSp>
        <p:cxnSp>
          <p:nvCxnSpPr>
            <p:cNvPr id="469" name="Straight Connector 468"/>
            <p:cNvCxnSpPr/>
            <p:nvPr/>
          </p:nvCxnSpPr>
          <p:spPr>
            <a:xfrm>
              <a:off x="3654594" y="2113954"/>
              <a:ext cx="33" cy="268599"/>
            </a:xfrm>
            <a:prstGeom prst="line">
              <a:avLst/>
            </a:prstGeom>
            <a:noFill/>
            <a:ln w="6350" cap="flat" cmpd="sng" algn="ctr">
              <a:solidFill>
                <a:srgbClr val="5B9BD5"/>
              </a:solidFill>
              <a:prstDash val="solid"/>
              <a:miter lim="800000"/>
            </a:ln>
            <a:effectLst/>
          </p:spPr>
        </p:cxnSp>
        <p:cxnSp>
          <p:nvCxnSpPr>
            <p:cNvPr id="470" name="Straight Connector 469"/>
            <p:cNvCxnSpPr/>
            <p:nvPr/>
          </p:nvCxnSpPr>
          <p:spPr>
            <a:xfrm flipV="1">
              <a:off x="3423690" y="2108133"/>
              <a:ext cx="230903" cy="129817"/>
            </a:xfrm>
            <a:prstGeom prst="line">
              <a:avLst/>
            </a:prstGeom>
            <a:noFill/>
            <a:ln w="6350" cap="flat" cmpd="sng" algn="ctr">
              <a:solidFill>
                <a:srgbClr val="5B9BD5"/>
              </a:solidFill>
              <a:prstDash val="solid"/>
              <a:miter lim="800000"/>
            </a:ln>
            <a:effectLst/>
          </p:spPr>
        </p:cxnSp>
        <p:cxnSp>
          <p:nvCxnSpPr>
            <p:cNvPr id="471" name="Straight Connector 470"/>
            <p:cNvCxnSpPr/>
            <p:nvPr/>
          </p:nvCxnSpPr>
          <p:spPr>
            <a:xfrm flipV="1">
              <a:off x="3654593" y="1966675"/>
              <a:ext cx="230937" cy="147278"/>
            </a:xfrm>
            <a:prstGeom prst="line">
              <a:avLst/>
            </a:prstGeom>
            <a:noFill/>
            <a:ln w="6350" cap="flat" cmpd="sng" algn="ctr">
              <a:solidFill>
                <a:srgbClr val="5B9BD5"/>
              </a:solidFill>
              <a:prstDash val="solid"/>
              <a:miter lim="800000"/>
            </a:ln>
            <a:effectLst/>
          </p:spPr>
        </p:cxnSp>
        <p:cxnSp>
          <p:nvCxnSpPr>
            <p:cNvPr id="472" name="Straight Connector 471"/>
            <p:cNvCxnSpPr/>
            <p:nvPr/>
          </p:nvCxnSpPr>
          <p:spPr>
            <a:xfrm>
              <a:off x="3427396" y="1997116"/>
              <a:ext cx="33" cy="268599"/>
            </a:xfrm>
            <a:prstGeom prst="line">
              <a:avLst/>
            </a:prstGeom>
            <a:noFill/>
            <a:ln w="6350" cap="flat" cmpd="sng" algn="ctr">
              <a:solidFill>
                <a:srgbClr val="5B9BD5"/>
              </a:solidFill>
              <a:prstDash val="solid"/>
              <a:miter lim="800000"/>
            </a:ln>
            <a:effectLst/>
          </p:spPr>
        </p:cxnSp>
        <p:sp>
          <p:nvSpPr>
            <p:cNvPr id="473" name="Hexagon 472"/>
            <p:cNvSpPr/>
            <p:nvPr/>
          </p:nvSpPr>
          <p:spPr>
            <a:xfrm>
              <a:off x="3753132" y="1853051"/>
              <a:ext cx="274914" cy="247991"/>
            </a:xfrm>
            <a:prstGeom prst="hexagon">
              <a:avLst/>
            </a:prstGeom>
            <a:solidFill>
              <a:srgbClr val="5B9BD5"/>
            </a:solidFill>
            <a:ln w="12700" cap="flat" cmpd="sng" algn="ctr">
              <a:noFill/>
              <a:prstDash val="solid"/>
              <a:miter lim="800000"/>
            </a:ln>
            <a:effectLst/>
          </p:spPr>
          <p:txBody>
            <a:bodyPr rtlCol="0" anchor="ctr"/>
            <a:lstStyle/>
            <a:p>
              <a:pPr algn="ctr" defTabSz="914133">
                <a:defRPr/>
              </a:pPr>
              <a:endParaRPr lang="en-US" kern="0">
                <a:solidFill>
                  <a:srgbClr val="FFFFFF"/>
                </a:solidFill>
                <a:latin typeface="Calibri" panose="020F0502020204030204"/>
              </a:endParaRPr>
            </a:p>
          </p:txBody>
        </p:sp>
        <p:sp>
          <p:nvSpPr>
            <p:cNvPr id="474" name="Hexagon 473"/>
            <p:cNvSpPr/>
            <p:nvPr/>
          </p:nvSpPr>
          <p:spPr>
            <a:xfrm>
              <a:off x="3984069" y="1984139"/>
              <a:ext cx="274914" cy="247991"/>
            </a:xfrm>
            <a:prstGeom prst="hexagon">
              <a:avLst/>
            </a:prstGeom>
            <a:solidFill>
              <a:srgbClr val="5B9BD5"/>
            </a:solidFill>
            <a:ln w="12700" cap="flat" cmpd="sng" algn="ctr">
              <a:noFill/>
              <a:prstDash val="solid"/>
              <a:miter lim="800000"/>
            </a:ln>
            <a:effectLst/>
          </p:spPr>
          <p:txBody>
            <a:bodyPr rtlCol="0" anchor="ctr"/>
            <a:lstStyle/>
            <a:p>
              <a:pPr algn="ctr" defTabSz="914133">
                <a:defRPr/>
              </a:pPr>
              <a:endParaRPr lang="en-US" kern="0">
                <a:solidFill>
                  <a:srgbClr val="FFFFFF"/>
                </a:solidFill>
                <a:latin typeface="Calibri" panose="020F0502020204030204"/>
              </a:endParaRPr>
            </a:p>
          </p:txBody>
        </p:sp>
        <p:sp>
          <p:nvSpPr>
            <p:cNvPr id="475" name="Hexagon 474"/>
            <p:cNvSpPr/>
            <p:nvPr/>
          </p:nvSpPr>
          <p:spPr>
            <a:xfrm>
              <a:off x="3753132" y="2119776"/>
              <a:ext cx="274914" cy="247991"/>
            </a:xfrm>
            <a:prstGeom prst="hexagon">
              <a:avLst/>
            </a:prstGeom>
            <a:solidFill>
              <a:srgbClr val="5B9BD5"/>
            </a:solidFill>
            <a:ln w="12700" cap="flat" cmpd="sng" algn="ctr">
              <a:noFill/>
              <a:prstDash val="solid"/>
              <a:miter lim="800000"/>
            </a:ln>
            <a:effectLst/>
          </p:spPr>
          <p:txBody>
            <a:bodyPr rtlCol="0" anchor="ctr"/>
            <a:lstStyle/>
            <a:p>
              <a:pPr algn="ctr" defTabSz="914133">
                <a:defRPr/>
              </a:pPr>
              <a:endParaRPr lang="en-US" kern="0">
                <a:solidFill>
                  <a:srgbClr val="FFFFFF"/>
                </a:solidFill>
                <a:latin typeface="Calibri" panose="020F0502020204030204"/>
              </a:endParaRPr>
            </a:p>
          </p:txBody>
        </p:sp>
        <p:sp>
          <p:nvSpPr>
            <p:cNvPr id="476" name="Hexagon 475"/>
            <p:cNvSpPr/>
            <p:nvPr/>
          </p:nvSpPr>
          <p:spPr>
            <a:xfrm>
              <a:off x="3984069" y="2250864"/>
              <a:ext cx="274914" cy="247991"/>
            </a:xfrm>
            <a:prstGeom prst="hexagon">
              <a:avLst/>
            </a:prstGeom>
            <a:solidFill>
              <a:srgbClr val="5B9BD5"/>
            </a:solidFill>
            <a:ln w="12700" cap="flat" cmpd="sng" algn="ctr">
              <a:noFill/>
              <a:prstDash val="solid"/>
              <a:miter lim="800000"/>
            </a:ln>
            <a:effectLst/>
          </p:spPr>
          <p:txBody>
            <a:bodyPr rtlCol="0" anchor="ctr"/>
            <a:lstStyle/>
            <a:p>
              <a:pPr algn="ctr" defTabSz="914133">
                <a:defRPr/>
              </a:pPr>
              <a:endParaRPr lang="en-US" kern="0">
                <a:solidFill>
                  <a:srgbClr val="FFFFFF"/>
                </a:solidFill>
                <a:latin typeface="Calibri" panose="020F0502020204030204"/>
              </a:endParaRPr>
            </a:p>
          </p:txBody>
        </p:sp>
        <p:cxnSp>
          <p:nvCxnSpPr>
            <p:cNvPr id="477" name="Straight Connector 476"/>
            <p:cNvCxnSpPr/>
            <p:nvPr/>
          </p:nvCxnSpPr>
          <p:spPr>
            <a:xfrm>
              <a:off x="3890589" y="2243771"/>
              <a:ext cx="230937" cy="135637"/>
            </a:xfrm>
            <a:prstGeom prst="line">
              <a:avLst/>
            </a:prstGeom>
            <a:noFill/>
            <a:ln w="6350" cap="flat" cmpd="sng" algn="ctr">
              <a:solidFill>
                <a:srgbClr val="5B9BD5"/>
              </a:solidFill>
              <a:prstDash val="solid"/>
              <a:miter lim="800000"/>
            </a:ln>
            <a:effectLst/>
          </p:spPr>
        </p:cxnSp>
        <p:cxnSp>
          <p:nvCxnSpPr>
            <p:cNvPr id="478" name="Straight Connector 477"/>
            <p:cNvCxnSpPr/>
            <p:nvPr/>
          </p:nvCxnSpPr>
          <p:spPr>
            <a:xfrm>
              <a:off x="3890589" y="1972496"/>
              <a:ext cx="230937" cy="135637"/>
            </a:xfrm>
            <a:prstGeom prst="line">
              <a:avLst/>
            </a:prstGeom>
            <a:noFill/>
            <a:ln w="6350" cap="flat" cmpd="sng" algn="ctr">
              <a:solidFill>
                <a:srgbClr val="5B9BD5"/>
              </a:solidFill>
              <a:prstDash val="solid"/>
              <a:miter lim="800000"/>
            </a:ln>
            <a:effectLst/>
          </p:spPr>
        </p:cxnSp>
        <p:cxnSp>
          <p:nvCxnSpPr>
            <p:cNvPr id="479" name="Straight Connector 478"/>
            <p:cNvCxnSpPr/>
            <p:nvPr/>
          </p:nvCxnSpPr>
          <p:spPr>
            <a:xfrm>
              <a:off x="4108054" y="2107644"/>
              <a:ext cx="230937" cy="135637"/>
            </a:xfrm>
            <a:prstGeom prst="line">
              <a:avLst/>
            </a:prstGeom>
            <a:noFill/>
            <a:ln w="6350" cap="flat" cmpd="sng" algn="ctr">
              <a:solidFill>
                <a:srgbClr val="5B9BD5"/>
              </a:solidFill>
              <a:prstDash val="solid"/>
              <a:miter lim="800000"/>
            </a:ln>
            <a:effectLst/>
          </p:spPr>
        </p:cxnSp>
        <p:cxnSp>
          <p:nvCxnSpPr>
            <p:cNvPr id="480" name="Straight Connector 479"/>
            <p:cNvCxnSpPr/>
            <p:nvPr/>
          </p:nvCxnSpPr>
          <p:spPr>
            <a:xfrm flipH="1">
              <a:off x="4108054" y="2249102"/>
              <a:ext cx="230937" cy="135637"/>
            </a:xfrm>
            <a:prstGeom prst="line">
              <a:avLst/>
            </a:prstGeom>
            <a:noFill/>
            <a:ln w="6350" cap="flat" cmpd="sng" algn="ctr">
              <a:solidFill>
                <a:srgbClr val="5B9BD5"/>
              </a:solidFill>
              <a:prstDash val="solid"/>
              <a:miter lim="800000"/>
            </a:ln>
            <a:effectLst/>
          </p:spPr>
        </p:cxnSp>
        <p:cxnSp>
          <p:nvCxnSpPr>
            <p:cNvPr id="481" name="Straight Connector 480"/>
            <p:cNvCxnSpPr/>
            <p:nvPr/>
          </p:nvCxnSpPr>
          <p:spPr>
            <a:xfrm>
              <a:off x="4119275" y="2119285"/>
              <a:ext cx="33" cy="268599"/>
            </a:xfrm>
            <a:prstGeom prst="line">
              <a:avLst/>
            </a:prstGeom>
            <a:noFill/>
            <a:ln w="6350" cap="flat" cmpd="sng" algn="ctr">
              <a:solidFill>
                <a:srgbClr val="5B9BD5"/>
              </a:solidFill>
              <a:prstDash val="solid"/>
              <a:miter lim="800000"/>
            </a:ln>
            <a:effectLst/>
          </p:spPr>
        </p:cxnSp>
        <p:cxnSp>
          <p:nvCxnSpPr>
            <p:cNvPr id="482" name="Straight Connector 481"/>
            <p:cNvCxnSpPr/>
            <p:nvPr/>
          </p:nvCxnSpPr>
          <p:spPr>
            <a:xfrm flipV="1">
              <a:off x="3886866" y="2108133"/>
              <a:ext cx="230903" cy="129817"/>
            </a:xfrm>
            <a:prstGeom prst="line">
              <a:avLst/>
            </a:prstGeom>
            <a:noFill/>
            <a:ln w="6350" cap="flat" cmpd="sng" algn="ctr">
              <a:solidFill>
                <a:srgbClr val="5B9BD5"/>
              </a:solidFill>
              <a:prstDash val="solid"/>
              <a:miter lim="800000"/>
            </a:ln>
            <a:effectLst/>
          </p:spPr>
        </p:cxnSp>
        <p:cxnSp>
          <p:nvCxnSpPr>
            <p:cNvPr id="483" name="Straight Connector 482"/>
            <p:cNvCxnSpPr/>
            <p:nvPr/>
          </p:nvCxnSpPr>
          <p:spPr>
            <a:xfrm flipV="1">
              <a:off x="4108054" y="1972006"/>
              <a:ext cx="230937" cy="147278"/>
            </a:xfrm>
            <a:prstGeom prst="line">
              <a:avLst/>
            </a:prstGeom>
            <a:noFill/>
            <a:ln w="6350" cap="flat" cmpd="sng" algn="ctr">
              <a:solidFill>
                <a:srgbClr val="5B9BD5"/>
              </a:solidFill>
              <a:prstDash val="solid"/>
              <a:miter lim="800000"/>
            </a:ln>
            <a:effectLst/>
          </p:spPr>
        </p:cxnSp>
        <p:cxnSp>
          <p:nvCxnSpPr>
            <p:cNvPr id="484" name="Straight Connector 483"/>
            <p:cNvCxnSpPr/>
            <p:nvPr/>
          </p:nvCxnSpPr>
          <p:spPr>
            <a:xfrm>
              <a:off x="3890572" y="1997116"/>
              <a:ext cx="33" cy="268599"/>
            </a:xfrm>
            <a:prstGeom prst="line">
              <a:avLst/>
            </a:prstGeom>
            <a:noFill/>
            <a:ln w="6350" cap="flat" cmpd="sng" algn="ctr">
              <a:solidFill>
                <a:srgbClr val="5B9BD5"/>
              </a:solidFill>
              <a:prstDash val="solid"/>
              <a:miter lim="800000"/>
            </a:ln>
            <a:effectLst/>
          </p:spPr>
        </p:cxnSp>
        <p:sp>
          <p:nvSpPr>
            <p:cNvPr id="485" name="Hexagon 484"/>
            <p:cNvSpPr/>
            <p:nvPr/>
          </p:nvSpPr>
          <p:spPr>
            <a:xfrm>
              <a:off x="4214990" y="1854372"/>
              <a:ext cx="274914" cy="247991"/>
            </a:xfrm>
            <a:prstGeom prst="hexagon">
              <a:avLst/>
            </a:prstGeom>
            <a:solidFill>
              <a:srgbClr val="5B9BD5"/>
            </a:solidFill>
            <a:ln w="12700" cap="flat" cmpd="sng" algn="ctr">
              <a:noFill/>
              <a:prstDash val="solid"/>
              <a:miter lim="800000"/>
            </a:ln>
            <a:effectLst/>
          </p:spPr>
          <p:txBody>
            <a:bodyPr rtlCol="0" anchor="ctr"/>
            <a:lstStyle/>
            <a:p>
              <a:pPr algn="ctr" defTabSz="914133">
                <a:defRPr/>
              </a:pPr>
              <a:endParaRPr lang="en-US" kern="0">
                <a:solidFill>
                  <a:srgbClr val="FFFFFF"/>
                </a:solidFill>
                <a:latin typeface="Calibri" panose="020F0502020204030204"/>
              </a:endParaRPr>
            </a:p>
          </p:txBody>
        </p:sp>
        <p:sp>
          <p:nvSpPr>
            <p:cNvPr id="486" name="Hexagon 485"/>
            <p:cNvSpPr/>
            <p:nvPr/>
          </p:nvSpPr>
          <p:spPr>
            <a:xfrm>
              <a:off x="4445927" y="1985460"/>
              <a:ext cx="274914" cy="247991"/>
            </a:xfrm>
            <a:prstGeom prst="hexagon">
              <a:avLst/>
            </a:prstGeom>
            <a:solidFill>
              <a:srgbClr val="5B9BD5"/>
            </a:solidFill>
            <a:ln w="12700" cap="flat" cmpd="sng" algn="ctr">
              <a:noFill/>
              <a:prstDash val="solid"/>
              <a:miter lim="800000"/>
            </a:ln>
            <a:effectLst/>
          </p:spPr>
          <p:txBody>
            <a:bodyPr rtlCol="0" anchor="ctr"/>
            <a:lstStyle/>
            <a:p>
              <a:pPr algn="ctr" defTabSz="914133">
                <a:defRPr/>
              </a:pPr>
              <a:endParaRPr lang="en-US" kern="0">
                <a:solidFill>
                  <a:srgbClr val="FFFFFF"/>
                </a:solidFill>
                <a:latin typeface="Calibri" panose="020F0502020204030204"/>
              </a:endParaRPr>
            </a:p>
          </p:txBody>
        </p:sp>
        <p:sp>
          <p:nvSpPr>
            <p:cNvPr id="487" name="Hexagon 486"/>
            <p:cNvSpPr/>
            <p:nvPr/>
          </p:nvSpPr>
          <p:spPr>
            <a:xfrm>
              <a:off x="4214990" y="2121097"/>
              <a:ext cx="274914" cy="247991"/>
            </a:xfrm>
            <a:prstGeom prst="hexagon">
              <a:avLst/>
            </a:prstGeom>
            <a:solidFill>
              <a:srgbClr val="5B9BD5"/>
            </a:solidFill>
            <a:ln w="12700" cap="flat" cmpd="sng" algn="ctr">
              <a:noFill/>
              <a:prstDash val="solid"/>
              <a:miter lim="800000"/>
            </a:ln>
            <a:effectLst/>
          </p:spPr>
          <p:txBody>
            <a:bodyPr rtlCol="0" anchor="ctr"/>
            <a:lstStyle/>
            <a:p>
              <a:pPr algn="ctr" defTabSz="914133">
                <a:defRPr/>
              </a:pPr>
              <a:endParaRPr lang="en-US" kern="0">
                <a:solidFill>
                  <a:srgbClr val="FFFFFF"/>
                </a:solidFill>
                <a:latin typeface="Calibri" panose="020F0502020204030204"/>
              </a:endParaRPr>
            </a:p>
          </p:txBody>
        </p:sp>
        <p:sp>
          <p:nvSpPr>
            <p:cNvPr id="488" name="Hexagon 487"/>
            <p:cNvSpPr/>
            <p:nvPr/>
          </p:nvSpPr>
          <p:spPr>
            <a:xfrm>
              <a:off x="4445927" y="2256734"/>
              <a:ext cx="274914" cy="247991"/>
            </a:xfrm>
            <a:prstGeom prst="hexagon">
              <a:avLst/>
            </a:prstGeom>
            <a:solidFill>
              <a:srgbClr val="5B9BD5"/>
            </a:solidFill>
            <a:ln w="12700" cap="flat" cmpd="sng" algn="ctr">
              <a:noFill/>
              <a:prstDash val="solid"/>
              <a:miter lim="800000"/>
            </a:ln>
            <a:effectLst/>
          </p:spPr>
          <p:txBody>
            <a:bodyPr rtlCol="0" anchor="ctr"/>
            <a:lstStyle/>
            <a:p>
              <a:pPr algn="ctr" defTabSz="914133">
                <a:defRPr/>
              </a:pPr>
              <a:endParaRPr lang="en-US" kern="0">
                <a:solidFill>
                  <a:srgbClr val="FFFFFF"/>
                </a:solidFill>
                <a:latin typeface="Calibri" panose="020F0502020204030204"/>
              </a:endParaRPr>
            </a:p>
          </p:txBody>
        </p:sp>
        <p:cxnSp>
          <p:nvCxnSpPr>
            <p:cNvPr id="489" name="Straight Connector 488"/>
            <p:cNvCxnSpPr/>
            <p:nvPr/>
          </p:nvCxnSpPr>
          <p:spPr>
            <a:xfrm>
              <a:off x="4352447" y="2245092"/>
              <a:ext cx="230937" cy="135637"/>
            </a:xfrm>
            <a:prstGeom prst="line">
              <a:avLst/>
            </a:prstGeom>
            <a:noFill/>
            <a:ln w="6350" cap="flat" cmpd="sng" algn="ctr">
              <a:solidFill>
                <a:srgbClr val="5B9BD5"/>
              </a:solidFill>
              <a:prstDash val="solid"/>
              <a:miter lim="800000"/>
            </a:ln>
            <a:effectLst/>
          </p:spPr>
        </p:cxnSp>
        <p:cxnSp>
          <p:nvCxnSpPr>
            <p:cNvPr id="490" name="Straight Connector 489"/>
            <p:cNvCxnSpPr/>
            <p:nvPr/>
          </p:nvCxnSpPr>
          <p:spPr>
            <a:xfrm>
              <a:off x="4352447" y="1973817"/>
              <a:ext cx="230937" cy="135637"/>
            </a:xfrm>
            <a:prstGeom prst="line">
              <a:avLst/>
            </a:prstGeom>
            <a:noFill/>
            <a:ln w="6350" cap="flat" cmpd="sng" algn="ctr">
              <a:solidFill>
                <a:srgbClr val="5B9BD5"/>
              </a:solidFill>
              <a:prstDash val="solid"/>
              <a:miter lim="800000"/>
            </a:ln>
            <a:effectLst/>
          </p:spPr>
        </p:cxnSp>
        <p:cxnSp>
          <p:nvCxnSpPr>
            <p:cNvPr id="491" name="Straight Connector 490"/>
            <p:cNvCxnSpPr/>
            <p:nvPr/>
          </p:nvCxnSpPr>
          <p:spPr>
            <a:xfrm>
              <a:off x="4579627" y="2103634"/>
              <a:ext cx="230937" cy="135637"/>
            </a:xfrm>
            <a:prstGeom prst="line">
              <a:avLst/>
            </a:prstGeom>
            <a:noFill/>
            <a:ln w="6350" cap="flat" cmpd="sng" algn="ctr">
              <a:solidFill>
                <a:srgbClr val="5B9BD5"/>
              </a:solidFill>
              <a:prstDash val="solid"/>
              <a:miter lim="800000"/>
            </a:ln>
            <a:effectLst/>
          </p:spPr>
        </p:cxnSp>
        <p:cxnSp>
          <p:nvCxnSpPr>
            <p:cNvPr id="492" name="Straight Connector 491"/>
            <p:cNvCxnSpPr/>
            <p:nvPr/>
          </p:nvCxnSpPr>
          <p:spPr>
            <a:xfrm flipH="1">
              <a:off x="4579627" y="2245092"/>
              <a:ext cx="230937" cy="135637"/>
            </a:xfrm>
            <a:prstGeom prst="line">
              <a:avLst/>
            </a:prstGeom>
            <a:noFill/>
            <a:ln w="6350" cap="flat" cmpd="sng" algn="ctr">
              <a:solidFill>
                <a:srgbClr val="5B9BD5"/>
              </a:solidFill>
              <a:prstDash val="solid"/>
              <a:miter lim="800000"/>
            </a:ln>
            <a:effectLst/>
          </p:spPr>
        </p:cxnSp>
        <p:cxnSp>
          <p:nvCxnSpPr>
            <p:cNvPr id="493" name="Straight Connector 492"/>
            <p:cNvCxnSpPr/>
            <p:nvPr/>
          </p:nvCxnSpPr>
          <p:spPr>
            <a:xfrm>
              <a:off x="4579628" y="2115275"/>
              <a:ext cx="33" cy="268599"/>
            </a:xfrm>
            <a:prstGeom prst="line">
              <a:avLst/>
            </a:prstGeom>
            <a:noFill/>
            <a:ln w="6350" cap="flat" cmpd="sng" algn="ctr">
              <a:solidFill>
                <a:srgbClr val="5B9BD5"/>
              </a:solidFill>
              <a:prstDash val="solid"/>
              <a:miter lim="800000"/>
            </a:ln>
            <a:effectLst/>
          </p:spPr>
        </p:cxnSp>
        <p:cxnSp>
          <p:nvCxnSpPr>
            <p:cNvPr id="494" name="Straight Connector 493"/>
            <p:cNvCxnSpPr/>
            <p:nvPr/>
          </p:nvCxnSpPr>
          <p:spPr>
            <a:xfrm flipV="1">
              <a:off x="4348724" y="2109454"/>
              <a:ext cx="230903" cy="129817"/>
            </a:xfrm>
            <a:prstGeom prst="line">
              <a:avLst/>
            </a:prstGeom>
            <a:noFill/>
            <a:ln w="6350" cap="flat" cmpd="sng" algn="ctr">
              <a:solidFill>
                <a:srgbClr val="5B9BD5"/>
              </a:solidFill>
              <a:prstDash val="solid"/>
              <a:miter lim="800000"/>
            </a:ln>
            <a:effectLst/>
          </p:spPr>
        </p:cxnSp>
        <p:cxnSp>
          <p:nvCxnSpPr>
            <p:cNvPr id="495" name="Straight Connector 494"/>
            <p:cNvCxnSpPr/>
            <p:nvPr/>
          </p:nvCxnSpPr>
          <p:spPr>
            <a:xfrm flipV="1">
              <a:off x="4579627" y="1967996"/>
              <a:ext cx="230937" cy="147278"/>
            </a:xfrm>
            <a:prstGeom prst="line">
              <a:avLst/>
            </a:prstGeom>
            <a:noFill/>
            <a:ln w="6350" cap="flat" cmpd="sng" algn="ctr">
              <a:solidFill>
                <a:srgbClr val="5B9BD5"/>
              </a:solidFill>
              <a:prstDash val="solid"/>
              <a:miter lim="800000"/>
            </a:ln>
            <a:effectLst/>
          </p:spPr>
        </p:cxnSp>
        <p:cxnSp>
          <p:nvCxnSpPr>
            <p:cNvPr id="496" name="Straight Connector 495"/>
            <p:cNvCxnSpPr/>
            <p:nvPr/>
          </p:nvCxnSpPr>
          <p:spPr>
            <a:xfrm>
              <a:off x="4352430" y="1998437"/>
              <a:ext cx="33" cy="268599"/>
            </a:xfrm>
            <a:prstGeom prst="line">
              <a:avLst/>
            </a:prstGeom>
            <a:noFill/>
            <a:ln w="6350" cap="flat" cmpd="sng" algn="ctr">
              <a:solidFill>
                <a:srgbClr val="5B9BD5"/>
              </a:solidFill>
              <a:prstDash val="solid"/>
              <a:miter lim="800000"/>
            </a:ln>
            <a:effectLst/>
          </p:spPr>
        </p:cxnSp>
        <p:sp>
          <p:nvSpPr>
            <p:cNvPr id="497" name="Hexagon 496"/>
            <p:cNvSpPr/>
            <p:nvPr/>
          </p:nvSpPr>
          <p:spPr>
            <a:xfrm>
              <a:off x="4674010" y="1854372"/>
              <a:ext cx="274914" cy="247991"/>
            </a:xfrm>
            <a:prstGeom prst="hexagon">
              <a:avLst/>
            </a:prstGeom>
            <a:solidFill>
              <a:srgbClr val="5B9BD5"/>
            </a:solidFill>
            <a:ln w="12700" cap="flat" cmpd="sng" algn="ctr">
              <a:noFill/>
              <a:prstDash val="solid"/>
              <a:miter lim="800000"/>
            </a:ln>
            <a:effectLst/>
          </p:spPr>
          <p:txBody>
            <a:bodyPr rtlCol="0" anchor="ctr"/>
            <a:lstStyle/>
            <a:p>
              <a:pPr algn="ctr" defTabSz="914133">
                <a:defRPr/>
              </a:pPr>
              <a:endParaRPr lang="en-US" kern="0">
                <a:solidFill>
                  <a:srgbClr val="FFFFFF"/>
                </a:solidFill>
                <a:latin typeface="Calibri" panose="020F0502020204030204"/>
              </a:endParaRPr>
            </a:p>
          </p:txBody>
        </p:sp>
        <p:sp>
          <p:nvSpPr>
            <p:cNvPr id="498" name="Hexagon 497"/>
            <p:cNvSpPr/>
            <p:nvPr/>
          </p:nvSpPr>
          <p:spPr>
            <a:xfrm>
              <a:off x="4904947" y="1985460"/>
              <a:ext cx="274914" cy="247991"/>
            </a:xfrm>
            <a:prstGeom prst="hexagon">
              <a:avLst/>
            </a:prstGeom>
            <a:solidFill>
              <a:srgbClr val="5B9BD5"/>
            </a:solidFill>
            <a:ln w="12700" cap="flat" cmpd="sng" algn="ctr">
              <a:noFill/>
              <a:prstDash val="solid"/>
              <a:miter lim="800000"/>
            </a:ln>
            <a:effectLst/>
          </p:spPr>
          <p:txBody>
            <a:bodyPr rtlCol="0" anchor="ctr"/>
            <a:lstStyle/>
            <a:p>
              <a:pPr algn="ctr" defTabSz="914133">
                <a:defRPr/>
              </a:pPr>
              <a:endParaRPr lang="en-US" kern="0">
                <a:solidFill>
                  <a:srgbClr val="FFFFFF"/>
                </a:solidFill>
                <a:latin typeface="Calibri" panose="020F0502020204030204"/>
              </a:endParaRPr>
            </a:p>
          </p:txBody>
        </p:sp>
        <p:sp>
          <p:nvSpPr>
            <p:cNvPr id="499" name="Hexagon 498"/>
            <p:cNvSpPr/>
            <p:nvPr/>
          </p:nvSpPr>
          <p:spPr>
            <a:xfrm>
              <a:off x="4674010" y="2121097"/>
              <a:ext cx="274914" cy="247991"/>
            </a:xfrm>
            <a:prstGeom prst="hexagon">
              <a:avLst/>
            </a:prstGeom>
            <a:solidFill>
              <a:srgbClr val="5B9BD5"/>
            </a:solidFill>
            <a:ln w="12700" cap="flat" cmpd="sng" algn="ctr">
              <a:noFill/>
              <a:prstDash val="solid"/>
              <a:miter lim="800000"/>
            </a:ln>
            <a:effectLst/>
          </p:spPr>
          <p:txBody>
            <a:bodyPr rtlCol="0" anchor="ctr"/>
            <a:lstStyle/>
            <a:p>
              <a:pPr algn="ctr" defTabSz="914133">
                <a:defRPr/>
              </a:pPr>
              <a:endParaRPr lang="en-US" kern="0">
                <a:solidFill>
                  <a:srgbClr val="FFFFFF"/>
                </a:solidFill>
                <a:latin typeface="Calibri" panose="020F0502020204030204"/>
              </a:endParaRPr>
            </a:p>
          </p:txBody>
        </p:sp>
        <p:sp>
          <p:nvSpPr>
            <p:cNvPr id="500" name="Hexagon 499"/>
            <p:cNvSpPr/>
            <p:nvPr/>
          </p:nvSpPr>
          <p:spPr>
            <a:xfrm>
              <a:off x="4904947" y="2256734"/>
              <a:ext cx="274914" cy="247991"/>
            </a:xfrm>
            <a:prstGeom prst="hexagon">
              <a:avLst/>
            </a:prstGeom>
            <a:solidFill>
              <a:srgbClr val="5B9BD5"/>
            </a:solidFill>
            <a:ln w="12700" cap="flat" cmpd="sng" algn="ctr">
              <a:noFill/>
              <a:prstDash val="solid"/>
              <a:miter lim="800000"/>
            </a:ln>
            <a:effectLst/>
          </p:spPr>
          <p:txBody>
            <a:bodyPr rtlCol="0" anchor="ctr"/>
            <a:lstStyle/>
            <a:p>
              <a:pPr algn="ctr" defTabSz="914133">
                <a:defRPr/>
              </a:pPr>
              <a:endParaRPr lang="en-US" kern="0">
                <a:solidFill>
                  <a:srgbClr val="FFFFFF"/>
                </a:solidFill>
                <a:latin typeface="Calibri" panose="020F0502020204030204"/>
              </a:endParaRPr>
            </a:p>
          </p:txBody>
        </p:sp>
        <p:cxnSp>
          <p:nvCxnSpPr>
            <p:cNvPr id="501" name="Straight Connector 500"/>
            <p:cNvCxnSpPr/>
            <p:nvPr/>
          </p:nvCxnSpPr>
          <p:spPr>
            <a:xfrm>
              <a:off x="4811467" y="2245092"/>
              <a:ext cx="230937" cy="135637"/>
            </a:xfrm>
            <a:prstGeom prst="line">
              <a:avLst/>
            </a:prstGeom>
            <a:noFill/>
            <a:ln w="6350" cap="flat" cmpd="sng" algn="ctr">
              <a:solidFill>
                <a:srgbClr val="5B9BD5"/>
              </a:solidFill>
              <a:prstDash val="solid"/>
              <a:miter lim="800000"/>
            </a:ln>
            <a:effectLst/>
          </p:spPr>
        </p:cxnSp>
        <p:cxnSp>
          <p:nvCxnSpPr>
            <p:cNvPr id="502" name="Straight Connector 501"/>
            <p:cNvCxnSpPr/>
            <p:nvPr/>
          </p:nvCxnSpPr>
          <p:spPr>
            <a:xfrm>
              <a:off x="4811467" y="1973817"/>
              <a:ext cx="230937" cy="135637"/>
            </a:xfrm>
            <a:prstGeom prst="line">
              <a:avLst/>
            </a:prstGeom>
            <a:noFill/>
            <a:ln w="6350" cap="flat" cmpd="sng" algn="ctr">
              <a:solidFill>
                <a:srgbClr val="5B9BD5"/>
              </a:solidFill>
              <a:prstDash val="solid"/>
              <a:miter lim="800000"/>
            </a:ln>
            <a:effectLst/>
          </p:spPr>
        </p:cxnSp>
        <p:cxnSp>
          <p:nvCxnSpPr>
            <p:cNvPr id="503" name="Straight Connector 502"/>
            <p:cNvCxnSpPr/>
            <p:nvPr/>
          </p:nvCxnSpPr>
          <p:spPr>
            <a:xfrm>
              <a:off x="5038647" y="2103634"/>
              <a:ext cx="230937" cy="135637"/>
            </a:xfrm>
            <a:prstGeom prst="line">
              <a:avLst/>
            </a:prstGeom>
            <a:noFill/>
            <a:ln w="6350" cap="flat" cmpd="sng" algn="ctr">
              <a:solidFill>
                <a:srgbClr val="5B9BD5"/>
              </a:solidFill>
              <a:prstDash val="solid"/>
              <a:miter lim="800000"/>
            </a:ln>
            <a:effectLst/>
          </p:spPr>
        </p:cxnSp>
        <p:cxnSp>
          <p:nvCxnSpPr>
            <p:cNvPr id="504" name="Straight Connector 503"/>
            <p:cNvCxnSpPr/>
            <p:nvPr/>
          </p:nvCxnSpPr>
          <p:spPr>
            <a:xfrm flipH="1">
              <a:off x="5038647" y="2245092"/>
              <a:ext cx="230937" cy="135637"/>
            </a:xfrm>
            <a:prstGeom prst="line">
              <a:avLst/>
            </a:prstGeom>
            <a:noFill/>
            <a:ln w="6350" cap="flat" cmpd="sng" algn="ctr">
              <a:solidFill>
                <a:srgbClr val="5B9BD5"/>
              </a:solidFill>
              <a:prstDash val="solid"/>
              <a:miter lim="800000"/>
            </a:ln>
            <a:effectLst/>
          </p:spPr>
        </p:cxnSp>
        <p:cxnSp>
          <p:nvCxnSpPr>
            <p:cNvPr id="505" name="Straight Connector 504"/>
            <p:cNvCxnSpPr/>
            <p:nvPr/>
          </p:nvCxnSpPr>
          <p:spPr>
            <a:xfrm>
              <a:off x="5038648" y="2115275"/>
              <a:ext cx="33" cy="268599"/>
            </a:xfrm>
            <a:prstGeom prst="line">
              <a:avLst/>
            </a:prstGeom>
            <a:noFill/>
            <a:ln w="6350" cap="flat" cmpd="sng" algn="ctr">
              <a:solidFill>
                <a:srgbClr val="5B9BD5"/>
              </a:solidFill>
              <a:prstDash val="solid"/>
              <a:miter lim="800000"/>
            </a:ln>
            <a:effectLst/>
          </p:spPr>
        </p:cxnSp>
        <p:cxnSp>
          <p:nvCxnSpPr>
            <p:cNvPr id="506" name="Straight Connector 505"/>
            <p:cNvCxnSpPr/>
            <p:nvPr/>
          </p:nvCxnSpPr>
          <p:spPr>
            <a:xfrm flipV="1">
              <a:off x="4807744" y="2109454"/>
              <a:ext cx="230903" cy="129817"/>
            </a:xfrm>
            <a:prstGeom prst="line">
              <a:avLst/>
            </a:prstGeom>
            <a:noFill/>
            <a:ln w="6350" cap="flat" cmpd="sng" algn="ctr">
              <a:solidFill>
                <a:srgbClr val="5B9BD5"/>
              </a:solidFill>
              <a:prstDash val="solid"/>
              <a:miter lim="800000"/>
            </a:ln>
            <a:effectLst/>
          </p:spPr>
        </p:cxnSp>
        <p:cxnSp>
          <p:nvCxnSpPr>
            <p:cNvPr id="507" name="Straight Connector 506"/>
            <p:cNvCxnSpPr/>
            <p:nvPr/>
          </p:nvCxnSpPr>
          <p:spPr>
            <a:xfrm flipV="1">
              <a:off x="5038647" y="1967996"/>
              <a:ext cx="230937" cy="147278"/>
            </a:xfrm>
            <a:prstGeom prst="line">
              <a:avLst/>
            </a:prstGeom>
            <a:noFill/>
            <a:ln w="6350" cap="flat" cmpd="sng" algn="ctr">
              <a:solidFill>
                <a:srgbClr val="5B9BD5"/>
              </a:solidFill>
              <a:prstDash val="solid"/>
              <a:miter lim="800000"/>
            </a:ln>
            <a:effectLst/>
          </p:spPr>
        </p:cxnSp>
        <p:cxnSp>
          <p:nvCxnSpPr>
            <p:cNvPr id="508" name="Straight Connector 507"/>
            <p:cNvCxnSpPr/>
            <p:nvPr/>
          </p:nvCxnSpPr>
          <p:spPr>
            <a:xfrm>
              <a:off x="4811450" y="1998437"/>
              <a:ext cx="33" cy="268599"/>
            </a:xfrm>
            <a:prstGeom prst="line">
              <a:avLst/>
            </a:prstGeom>
            <a:noFill/>
            <a:ln w="6350" cap="flat" cmpd="sng" algn="ctr">
              <a:solidFill>
                <a:srgbClr val="5B9BD5"/>
              </a:solidFill>
              <a:prstDash val="solid"/>
              <a:miter lim="800000"/>
            </a:ln>
            <a:effectLst/>
          </p:spPr>
        </p:cxnSp>
        <p:sp>
          <p:nvSpPr>
            <p:cNvPr id="509" name="Hexagon 508"/>
            <p:cNvSpPr/>
            <p:nvPr/>
          </p:nvSpPr>
          <p:spPr>
            <a:xfrm>
              <a:off x="5135516" y="1854372"/>
              <a:ext cx="274914" cy="247991"/>
            </a:xfrm>
            <a:prstGeom prst="hexagon">
              <a:avLst/>
            </a:prstGeom>
            <a:solidFill>
              <a:srgbClr val="5B9BD5"/>
            </a:solidFill>
            <a:ln w="12700" cap="flat" cmpd="sng" algn="ctr">
              <a:noFill/>
              <a:prstDash val="solid"/>
              <a:miter lim="800000"/>
            </a:ln>
            <a:effectLst/>
          </p:spPr>
          <p:txBody>
            <a:bodyPr rtlCol="0" anchor="ctr"/>
            <a:lstStyle/>
            <a:p>
              <a:pPr algn="ctr" defTabSz="914133">
                <a:defRPr/>
              </a:pPr>
              <a:endParaRPr lang="en-US" kern="0">
                <a:solidFill>
                  <a:srgbClr val="FFFFFF"/>
                </a:solidFill>
                <a:latin typeface="Calibri" panose="020F0502020204030204"/>
              </a:endParaRPr>
            </a:p>
          </p:txBody>
        </p:sp>
        <p:sp>
          <p:nvSpPr>
            <p:cNvPr id="510" name="Hexagon 509"/>
            <p:cNvSpPr/>
            <p:nvPr/>
          </p:nvSpPr>
          <p:spPr>
            <a:xfrm>
              <a:off x="5366453" y="1985460"/>
              <a:ext cx="274914" cy="247991"/>
            </a:xfrm>
            <a:prstGeom prst="hexagon">
              <a:avLst/>
            </a:prstGeom>
            <a:solidFill>
              <a:srgbClr val="5B9BD5"/>
            </a:solidFill>
            <a:ln w="12700" cap="flat" cmpd="sng" algn="ctr">
              <a:noFill/>
              <a:prstDash val="solid"/>
              <a:miter lim="800000"/>
            </a:ln>
            <a:effectLst/>
          </p:spPr>
          <p:txBody>
            <a:bodyPr rtlCol="0" anchor="ctr"/>
            <a:lstStyle/>
            <a:p>
              <a:pPr algn="ctr" defTabSz="914133">
                <a:defRPr/>
              </a:pPr>
              <a:endParaRPr lang="en-US" kern="0">
                <a:solidFill>
                  <a:srgbClr val="FFFFFF"/>
                </a:solidFill>
                <a:latin typeface="Calibri" panose="020F0502020204030204"/>
              </a:endParaRPr>
            </a:p>
          </p:txBody>
        </p:sp>
        <p:sp>
          <p:nvSpPr>
            <p:cNvPr id="511" name="Hexagon 510"/>
            <p:cNvSpPr/>
            <p:nvPr/>
          </p:nvSpPr>
          <p:spPr>
            <a:xfrm>
              <a:off x="5135516" y="2121097"/>
              <a:ext cx="274914" cy="247991"/>
            </a:xfrm>
            <a:prstGeom prst="hexagon">
              <a:avLst/>
            </a:prstGeom>
            <a:solidFill>
              <a:srgbClr val="5B9BD5"/>
            </a:solidFill>
            <a:ln w="12700" cap="flat" cmpd="sng" algn="ctr">
              <a:noFill/>
              <a:prstDash val="solid"/>
              <a:miter lim="800000"/>
            </a:ln>
            <a:effectLst/>
          </p:spPr>
          <p:txBody>
            <a:bodyPr rtlCol="0" anchor="ctr"/>
            <a:lstStyle/>
            <a:p>
              <a:pPr algn="ctr" defTabSz="914133">
                <a:defRPr/>
              </a:pPr>
              <a:endParaRPr lang="en-US" kern="0">
                <a:solidFill>
                  <a:srgbClr val="FFFFFF"/>
                </a:solidFill>
                <a:latin typeface="Calibri" panose="020F0502020204030204"/>
              </a:endParaRPr>
            </a:p>
          </p:txBody>
        </p:sp>
        <p:sp>
          <p:nvSpPr>
            <p:cNvPr id="512" name="Hexagon 511"/>
            <p:cNvSpPr/>
            <p:nvPr/>
          </p:nvSpPr>
          <p:spPr>
            <a:xfrm>
              <a:off x="5366453" y="2252185"/>
              <a:ext cx="274914" cy="247991"/>
            </a:xfrm>
            <a:prstGeom prst="hexagon">
              <a:avLst/>
            </a:prstGeom>
            <a:solidFill>
              <a:srgbClr val="5B9BD5"/>
            </a:solidFill>
            <a:ln w="12700" cap="flat" cmpd="sng" algn="ctr">
              <a:noFill/>
              <a:prstDash val="solid"/>
              <a:miter lim="800000"/>
            </a:ln>
            <a:effectLst/>
          </p:spPr>
          <p:txBody>
            <a:bodyPr rtlCol="0" anchor="ctr"/>
            <a:lstStyle/>
            <a:p>
              <a:pPr algn="ctr" defTabSz="914133">
                <a:defRPr/>
              </a:pPr>
              <a:endParaRPr lang="en-US" kern="0">
                <a:solidFill>
                  <a:srgbClr val="FFFFFF"/>
                </a:solidFill>
                <a:latin typeface="Calibri" panose="020F0502020204030204"/>
              </a:endParaRPr>
            </a:p>
          </p:txBody>
        </p:sp>
        <p:cxnSp>
          <p:nvCxnSpPr>
            <p:cNvPr id="513" name="Straight Connector 512"/>
            <p:cNvCxnSpPr/>
            <p:nvPr/>
          </p:nvCxnSpPr>
          <p:spPr>
            <a:xfrm>
              <a:off x="5272973" y="2245092"/>
              <a:ext cx="230937" cy="135637"/>
            </a:xfrm>
            <a:prstGeom prst="line">
              <a:avLst/>
            </a:prstGeom>
            <a:noFill/>
            <a:ln w="6350" cap="flat" cmpd="sng" algn="ctr">
              <a:solidFill>
                <a:srgbClr val="5B9BD5"/>
              </a:solidFill>
              <a:prstDash val="solid"/>
              <a:miter lim="800000"/>
            </a:ln>
            <a:effectLst/>
          </p:spPr>
        </p:cxnSp>
        <p:cxnSp>
          <p:nvCxnSpPr>
            <p:cNvPr id="514" name="Straight Connector 513"/>
            <p:cNvCxnSpPr/>
            <p:nvPr/>
          </p:nvCxnSpPr>
          <p:spPr>
            <a:xfrm>
              <a:off x="5272973" y="1973817"/>
              <a:ext cx="230937" cy="135637"/>
            </a:xfrm>
            <a:prstGeom prst="line">
              <a:avLst/>
            </a:prstGeom>
            <a:noFill/>
            <a:ln w="6350" cap="flat" cmpd="sng" algn="ctr">
              <a:solidFill>
                <a:srgbClr val="5B9BD5"/>
              </a:solidFill>
              <a:prstDash val="solid"/>
              <a:miter lim="800000"/>
            </a:ln>
            <a:effectLst/>
          </p:spPr>
        </p:cxnSp>
        <p:cxnSp>
          <p:nvCxnSpPr>
            <p:cNvPr id="515" name="Straight Connector 514"/>
            <p:cNvCxnSpPr/>
            <p:nvPr/>
          </p:nvCxnSpPr>
          <p:spPr>
            <a:xfrm>
              <a:off x="5495997" y="2103634"/>
              <a:ext cx="230937" cy="135637"/>
            </a:xfrm>
            <a:prstGeom prst="line">
              <a:avLst/>
            </a:prstGeom>
            <a:noFill/>
            <a:ln w="6350" cap="flat" cmpd="sng" algn="ctr">
              <a:solidFill>
                <a:srgbClr val="5B9BD5"/>
              </a:solidFill>
              <a:prstDash val="solid"/>
              <a:miter lim="800000"/>
            </a:ln>
            <a:effectLst/>
          </p:spPr>
        </p:cxnSp>
        <p:cxnSp>
          <p:nvCxnSpPr>
            <p:cNvPr id="516" name="Straight Connector 515"/>
            <p:cNvCxnSpPr/>
            <p:nvPr/>
          </p:nvCxnSpPr>
          <p:spPr>
            <a:xfrm flipH="1">
              <a:off x="5495997" y="2245092"/>
              <a:ext cx="230937" cy="135637"/>
            </a:xfrm>
            <a:prstGeom prst="line">
              <a:avLst/>
            </a:prstGeom>
            <a:noFill/>
            <a:ln w="6350" cap="flat" cmpd="sng" algn="ctr">
              <a:solidFill>
                <a:srgbClr val="5B9BD5"/>
              </a:solidFill>
              <a:prstDash val="solid"/>
              <a:miter lim="800000"/>
            </a:ln>
            <a:effectLst/>
          </p:spPr>
        </p:cxnSp>
        <p:cxnSp>
          <p:nvCxnSpPr>
            <p:cNvPr id="517" name="Straight Connector 516"/>
            <p:cNvCxnSpPr/>
            <p:nvPr/>
          </p:nvCxnSpPr>
          <p:spPr>
            <a:xfrm>
              <a:off x="5500154" y="2115275"/>
              <a:ext cx="33" cy="268599"/>
            </a:xfrm>
            <a:prstGeom prst="line">
              <a:avLst/>
            </a:prstGeom>
            <a:noFill/>
            <a:ln w="6350" cap="flat" cmpd="sng" algn="ctr">
              <a:solidFill>
                <a:srgbClr val="5B9BD5"/>
              </a:solidFill>
              <a:prstDash val="solid"/>
              <a:miter lim="800000"/>
            </a:ln>
            <a:effectLst/>
          </p:spPr>
        </p:cxnSp>
        <p:cxnSp>
          <p:nvCxnSpPr>
            <p:cNvPr id="518" name="Straight Connector 517"/>
            <p:cNvCxnSpPr/>
            <p:nvPr/>
          </p:nvCxnSpPr>
          <p:spPr>
            <a:xfrm flipV="1">
              <a:off x="5269250" y="2109454"/>
              <a:ext cx="230903" cy="129817"/>
            </a:xfrm>
            <a:prstGeom prst="line">
              <a:avLst/>
            </a:prstGeom>
            <a:noFill/>
            <a:ln w="6350" cap="flat" cmpd="sng" algn="ctr">
              <a:solidFill>
                <a:srgbClr val="5B9BD5"/>
              </a:solidFill>
              <a:prstDash val="solid"/>
              <a:miter lim="800000"/>
            </a:ln>
            <a:effectLst/>
          </p:spPr>
        </p:cxnSp>
        <p:cxnSp>
          <p:nvCxnSpPr>
            <p:cNvPr id="519" name="Straight Connector 518"/>
            <p:cNvCxnSpPr/>
            <p:nvPr/>
          </p:nvCxnSpPr>
          <p:spPr>
            <a:xfrm flipV="1">
              <a:off x="5495997" y="1967996"/>
              <a:ext cx="230937" cy="147278"/>
            </a:xfrm>
            <a:prstGeom prst="line">
              <a:avLst/>
            </a:prstGeom>
            <a:noFill/>
            <a:ln w="6350" cap="flat" cmpd="sng" algn="ctr">
              <a:solidFill>
                <a:srgbClr val="5B9BD5"/>
              </a:solidFill>
              <a:prstDash val="solid"/>
              <a:miter lim="800000"/>
            </a:ln>
            <a:effectLst/>
          </p:spPr>
        </p:cxnSp>
        <p:cxnSp>
          <p:nvCxnSpPr>
            <p:cNvPr id="520" name="Straight Connector 519"/>
            <p:cNvCxnSpPr/>
            <p:nvPr/>
          </p:nvCxnSpPr>
          <p:spPr>
            <a:xfrm>
              <a:off x="5272956" y="1998437"/>
              <a:ext cx="33" cy="268599"/>
            </a:xfrm>
            <a:prstGeom prst="line">
              <a:avLst/>
            </a:prstGeom>
            <a:noFill/>
            <a:ln w="6350" cap="flat" cmpd="sng" algn="ctr">
              <a:solidFill>
                <a:srgbClr val="5B9BD5"/>
              </a:solidFill>
              <a:prstDash val="solid"/>
              <a:miter lim="800000"/>
            </a:ln>
            <a:effectLst/>
          </p:spPr>
        </p:cxnSp>
        <p:sp>
          <p:nvSpPr>
            <p:cNvPr id="521" name="Hexagon 520"/>
            <p:cNvSpPr/>
            <p:nvPr/>
          </p:nvSpPr>
          <p:spPr>
            <a:xfrm>
              <a:off x="5595020" y="1849823"/>
              <a:ext cx="274914" cy="247991"/>
            </a:xfrm>
            <a:prstGeom prst="hexagon">
              <a:avLst/>
            </a:prstGeom>
            <a:solidFill>
              <a:srgbClr val="5B9BD5"/>
            </a:solidFill>
            <a:ln w="12700" cap="flat" cmpd="sng" algn="ctr">
              <a:noFill/>
              <a:prstDash val="solid"/>
              <a:miter lim="800000"/>
            </a:ln>
            <a:effectLst/>
          </p:spPr>
          <p:txBody>
            <a:bodyPr rtlCol="0" anchor="ctr"/>
            <a:lstStyle/>
            <a:p>
              <a:pPr algn="ctr" defTabSz="914133">
                <a:defRPr/>
              </a:pPr>
              <a:endParaRPr lang="en-US" kern="0">
                <a:solidFill>
                  <a:srgbClr val="FFFFFF"/>
                </a:solidFill>
                <a:latin typeface="Calibri" panose="020F0502020204030204"/>
              </a:endParaRPr>
            </a:p>
          </p:txBody>
        </p:sp>
        <p:sp>
          <p:nvSpPr>
            <p:cNvPr id="522" name="Hexagon 521"/>
            <p:cNvSpPr/>
            <p:nvPr/>
          </p:nvSpPr>
          <p:spPr>
            <a:xfrm>
              <a:off x="5825957" y="1985460"/>
              <a:ext cx="274914" cy="247991"/>
            </a:xfrm>
            <a:prstGeom prst="hexagon">
              <a:avLst/>
            </a:prstGeom>
            <a:solidFill>
              <a:srgbClr val="5B9BD5"/>
            </a:solidFill>
            <a:ln w="12700" cap="flat" cmpd="sng" algn="ctr">
              <a:noFill/>
              <a:prstDash val="solid"/>
              <a:miter lim="800000"/>
            </a:ln>
            <a:effectLst/>
          </p:spPr>
          <p:txBody>
            <a:bodyPr rtlCol="0" anchor="ctr"/>
            <a:lstStyle/>
            <a:p>
              <a:pPr algn="ctr" defTabSz="914133">
                <a:defRPr/>
              </a:pPr>
              <a:endParaRPr lang="en-US" kern="0">
                <a:solidFill>
                  <a:srgbClr val="FFFFFF"/>
                </a:solidFill>
                <a:latin typeface="Calibri" panose="020F0502020204030204"/>
              </a:endParaRPr>
            </a:p>
          </p:txBody>
        </p:sp>
        <p:sp>
          <p:nvSpPr>
            <p:cNvPr id="523" name="Hexagon 522"/>
            <p:cNvSpPr/>
            <p:nvPr/>
          </p:nvSpPr>
          <p:spPr>
            <a:xfrm>
              <a:off x="5595020" y="2121097"/>
              <a:ext cx="274914" cy="247991"/>
            </a:xfrm>
            <a:prstGeom prst="hexagon">
              <a:avLst/>
            </a:prstGeom>
            <a:solidFill>
              <a:srgbClr val="5B9BD5"/>
            </a:solidFill>
            <a:ln w="12700" cap="flat" cmpd="sng" algn="ctr">
              <a:noFill/>
              <a:prstDash val="solid"/>
              <a:miter lim="800000"/>
            </a:ln>
            <a:effectLst/>
          </p:spPr>
          <p:txBody>
            <a:bodyPr rtlCol="0" anchor="ctr"/>
            <a:lstStyle/>
            <a:p>
              <a:pPr algn="ctr" defTabSz="914133">
                <a:defRPr/>
              </a:pPr>
              <a:endParaRPr lang="en-US" kern="0">
                <a:solidFill>
                  <a:srgbClr val="FFFFFF"/>
                </a:solidFill>
                <a:latin typeface="Calibri" panose="020F0502020204030204"/>
              </a:endParaRPr>
            </a:p>
          </p:txBody>
        </p:sp>
        <p:sp>
          <p:nvSpPr>
            <p:cNvPr id="524" name="Hexagon 523"/>
            <p:cNvSpPr/>
            <p:nvPr/>
          </p:nvSpPr>
          <p:spPr>
            <a:xfrm>
              <a:off x="5825957" y="2252185"/>
              <a:ext cx="274914" cy="247991"/>
            </a:xfrm>
            <a:prstGeom prst="hexagon">
              <a:avLst/>
            </a:prstGeom>
            <a:solidFill>
              <a:srgbClr val="5B9BD5"/>
            </a:solidFill>
            <a:ln w="12700" cap="flat" cmpd="sng" algn="ctr">
              <a:noFill/>
              <a:prstDash val="solid"/>
              <a:miter lim="800000"/>
            </a:ln>
            <a:effectLst/>
          </p:spPr>
          <p:txBody>
            <a:bodyPr rtlCol="0" anchor="ctr"/>
            <a:lstStyle/>
            <a:p>
              <a:pPr algn="ctr" defTabSz="914133">
                <a:defRPr/>
              </a:pPr>
              <a:endParaRPr lang="en-US" kern="0">
                <a:solidFill>
                  <a:srgbClr val="FFFFFF"/>
                </a:solidFill>
                <a:latin typeface="Calibri" panose="020F0502020204030204"/>
              </a:endParaRPr>
            </a:p>
          </p:txBody>
        </p:sp>
        <p:cxnSp>
          <p:nvCxnSpPr>
            <p:cNvPr id="525" name="Straight Connector 524"/>
            <p:cNvCxnSpPr/>
            <p:nvPr/>
          </p:nvCxnSpPr>
          <p:spPr>
            <a:xfrm>
              <a:off x="5732477" y="2245092"/>
              <a:ext cx="230937" cy="135637"/>
            </a:xfrm>
            <a:prstGeom prst="line">
              <a:avLst/>
            </a:prstGeom>
            <a:noFill/>
            <a:ln w="6350" cap="flat" cmpd="sng" algn="ctr">
              <a:solidFill>
                <a:srgbClr val="5B9BD5"/>
              </a:solidFill>
              <a:prstDash val="solid"/>
              <a:miter lim="800000"/>
            </a:ln>
            <a:effectLst/>
          </p:spPr>
        </p:cxnSp>
        <p:cxnSp>
          <p:nvCxnSpPr>
            <p:cNvPr id="526" name="Straight Connector 525"/>
            <p:cNvCxnSpPr/>
            <p:nvPr/>
          </p:nvCxnSpPr>
          <p:spPr>
            <a:xfrm>
              <a:off x="5732477" y="1973817"/>
              <a:ext cx="230937" cy="135637"/>
            </a:xfrm>
            <a:prstGeom prst="line">
              <a:avLst/>
            </a:prstGeom>
            <a:noFill/>
            <a:ln w="6350" cap="flat" cmpd="sng" algn="ctr">
              <a:solidFill>
                <a:srgbClr val="5B9BD5"/>
              </a:solidFill>
              <a:prstDash val="solid"/>
              <a:miter lim="800000"/>
            </a:ln>
            <a:effectLst/>
          </p:spPr>
        </p:cxnSp>
        <p:cxnSp>
          <p:nvCxnSpPr>
            <p:cNvPr id="527" name="Straight Connector 526"/>
            <p:cNvCxnSpPr/>
            <p:nvPr/>
          </p:nvCxnSpPr>
          <p:spPr>
            <a:xfrm>
              <a:off x="5959657" y="2103634"/>
              <a:ext cx="230937" cy="135637"/>
            </a:xfrm>
            <a:prstGeom prst="line">
              <a:avLst/>
            </a:prstGeom>
            <a:noFill/>
            <a:ln w="6350" cap="flat" cmpd="sng" algn="ctr">
              <a:solidFill>
                <a:srgbClr val="5B9BD5"/>
              </a:solidFill>
              <a:prstDash val="solid"/>
              <a:miter lim="800000"/>
            </a:ln>
            <a:effectLst/>
          </p:spPr>
        </p:cxnSp>
        <p:cxnSp>
          <p:nvCxnSpPr>
            <p:cNvPr id="528" name="Straight Connector 527"/>
            <p:cNvCxnSpPr/>
            <p:nvPr/>
          </p:nvCxnSpPr>
          <p:spPr>
            <a:xfrm flipH="1">
              <a:off x="5959657" y="2245092"/>
              <a:ext cx="230937" cy="135637"/>
            </a:xfrm>
            <a:prstGeom prst="line">
              <a:avLst/>
            </a:prstGeom>
            <a:noFill/>
            <a:ln w="6350" cap="flat" cmpd="sng" algn="ctr">
              <a:solidFill>
                <a:srgbClr val="5B9BD5"/>
              </a:solidFill>
              <a:prstDash val="solid"/>
              <a:miter lim="800000"/>
            </a:ln>
            <a:effectLst/>
          </p:spPr>
        </p:cxnSp>
        <p:cxnSp>
          <p:nvCxnSpPr>
            <p:cNvPr id="529" name="Straight Connector 528"/>
            <p:cNvCxnSpPr/>
            <p:nvPr/>
          </p:nvCxnSpPr>
          <p:spPr>
            <a:xfrm>
              <a:off x="5959658" y="2115275"/>
              <a:ext cx="33" cy="268599"/>
            </a:xfrm>
            <a:prstGeom prst="line">
              <a:avLst/>
            </a:prstGeom>
            <a:noFill/>
            <a:ln w="6350" cap="flat" cmpd="sng" algn="ctr">
              <a:solidFill>
                <a:srgbClr val="5B9BD5"/>
              </a:solidFill>
              <a:prstDash val="solid"/>
              <a:miter lim="800000"/>
            </a:ln>
            <a:effectLst/>
          </p:spPr>
        </p:cxnSp>
        <p:cxnSp>
          <p:nvCxnSpPr>
            <p:cNvPr id="530" name="Straight Connector 529"/>
            <p:cNvCxnSpPr/>
            <p:nvPr/>
          </p:nvCxnSpPr>
          <p:spPr>
            <a:xfrm flipV="1">
              <a:off x="5728754" y="2109454"/>
              <a:ext cx="230903" cy="129817"/>
            </a:xfrm>
            <a:prstGeom prst="line">
              <a:avLst/>
            </a:prstGeom>
            <a:noFill/>
            <a:ln w="6350" cap="flat" cmpd="sng" algn="ctr">
              <a:solidFill>
                <a:srgbClr val="5B9BD5"/>
              </a:solidFill>
              <a:prstDash val="solid"/>
              <a:miter lim="800000"/>
            </a:ln>
            <a:effectLst/>
          </p:spPr>
        </p:cxnSp>
        <p:cxnSp>
          <p:nvCxnSpPr>
            <p:cNvPr id="531" name="Straight Connector 530"/>
            <p:cNvCxnSpPr/>
            <p:nvPr/>
          </p:nvCxnSpPr>
          <p:spPr>
            <a:xfrm flipV="1">
              <a:off x="5959657" y="1967996"/>
              <a:ext cx="230937" cy="147278"/>
            </a:xfrm>
            <a:prstGeom prst="line">
              <a:avLst/>
            </a:prstGeom>
            <a:noFill/>
            <a:ln w="6350" cap="flat" cmpd="sng" algn="ctr">
              <a:solidFill>
                <a:srgbClr val="5B9BD5"/>
              </a:solidFill>
              <a:prstDash val="solid"/>
              <a:miter lim="800000"/>
            </a:ln>
            <a:effectLst/>
          </p:spPr>
        </p:cxnSp>
        <p:cxnSp>
          <p:nvCxnSpPr>
            <p:cNvPr id="532" name="Straight Connector 531"/>
            <p:cNvCxnSpPr/>
            <p:nvPr/>
          </p:nvCxnSpPr>
          <p:spPr>
            <a:xfrm>
              <a:off x="5732460" y="1998437"/>
              <a:ext cx="33" cy="268599"/>
            </a:xfrm>
            <a:prstGeom prst="line">
              <a:avLst/>
            </a:prstGeom>
            <a:noFill/>
            <a:ln w="6350" cap="flat" cmpd="sng" algn="ctr">
              <a:solidFill>
                <a:srgbClr val="5B9BD5"/>
              </a:solidFill>
              <a:prstDash val="solid"/>
              <a:miter lim="800000"/>
            </a:ln>
            <a:effectLst/>
          </p:spPr>
        </p:cxnSp>
        <p:sp>
          <p:nvSpPr>
            <p:cNvPr id="533" name="Hexagon 532"/>
            <p:cNvSpPr/>
            <p:nvPr/>
          </p:nvSpPr>
          <p:spPr>
            <a:xfrm>
              <a:off x="6054040" y="1854372"/>
              <a:ext cx="274914" cy="247991"/>
            </a:xfrm>
            <a:prstGeom prst="hexagon">
              <a:avLst/>
            </a:prstGeom>
            <a:solidFill>
              <a:srgbClr val="5B9BD5"/>
            </a:solidFill>
            <a:ln w="12700" cap="flat" cmpd="sng" algn="ctr">
              <a:noFill/>
              <a:prstDash val="solid"/>
              <a:miter lim="800000"/>
            </a:ln>
            <a:effectLst/>
          </p:spPr>
          <p:txBody>
            <a:bodyPr rtlCol="0" anchor="ctr"/>
            <a:lstStyle/>
            <a:p>
              <a:pPr algn="ctr" defTabSz="914133">
                <a:defRPr/>
              </a:pPr>
              <a:endParaRPr lang="en-US" kern="0">
                <a:solidFill>
                  <a:srgbClr val="FFFFFF"/>
                </a:solidFill>
                <a:latin typeface="Calibri" panose="020F0502020204030204"/>
              </a:endParaRPr>
            </a:p>
          </p:txBody>
        </p:sp>
        <p:sp>
          <p:nvSpPr>
            <p:cNvPr id="534" name="Hexagon 533"/>
            <p:cNvSpPr/>
            <p:nvPr/>
          </p:nvSpPr>
          <p:spPr>
            <a:xfrm>
              <a:off x="6284977" y="1985460"/>
              <a:ext cx="274914" cy="247991"/>
            </a:xfrm>
            <a:prstGeom prst="hexagon">
              <a:avLst/>
            </a:prstGeom>
            <a:solidFill>
              <a:srgbClr val="5B9BD5"/>
            </a:solidFill>
            <a:ln w="12700" cap="flat" cmpd="sng" algn="ctr">
              <a:noFill/>
              <a:prstDash val="solid"/>
              <a:miter lim="800000"/>
            </a:ln>
            <a:effectLst/>
          </p:spPr>
          <p:txBody>
            <a:bodyPr rtlCol="0" anchor="ctr"/>
            <a:lstStyle/>
            <a:p>
              <a:pPr algn="ctr" defTabSz="914133">
                <a:defRPr/>
              </a:pPr>
              <a:endParaRPr lang="en-US" kern="0">
                <a:solidFill>
                  <a:srgbClr val="FFFFFF"/>
                </a:solidFill>
                <a:latin typeface="Calibri" panose="020F0502020204030204"/>
              </a:endParaRPr>
            </a:p>
          </p:txBody>
        </p:sp>
        <p:sp>
          <p:nvSpPr>
            <p:cNvPr id="535" name="Hexagon 534"/>
            <p:cNvSpPr/>
            <p:nvPr/>
          </p:nvSpPr>
          <p:spPr>
            <a:xfrm>
              <a:off x="6054040" y="2121097"/>
              <a:ext cx="274914" cy="247991"/>
            </a:xfrm>
            <a:prstGeom prst="hexagon">
              <a:avLst/>
            </a:prstGeom>
            <a:solidFill>
              <a:srgbClr val="5B9BD5"/>
            </a:solidFill>
            <a:ln w="12700" cap="flat" cmpd="sng" algn="ctr">
              <a:noFill/>
              <a:prstDash val="solid"/>
              <a:miter lim="800000"/>
            </a:ln>
            <a:effectLst/>
          </p:spPr>
          <p:txBody>
            <a:bodyPr rtlCol="0" anchor="ctr"/>
            <a:lstStyle/>
            <a:p>
              <a:pPr algn="ctr" defTabSz="914133">
                <a:defRPr/>
              </a:pPr>
              <a:endParaRPr lang="en-US" kern="0">
                <a:solidFill>
                  <a:srgbClr val="FFFFFF"/>
                </a:solidFill>
                <a:latin typeface="Calibri" panose="020F0502020204030204"/>
              </a:endParaRPr>
            </a:p>
          </p:txBody>
        </p:sp>
        <p:sp>
          <p:nvSpPr>
            <p:cNvPr id="536" name="Hexagon 535"/>
            <p:cNvSpPr/>
            <p:nvPr/>
          </p:nvSpPr>
          <p:spPr>
            <a:xfrm>
              <a:off x="6284977" y="2252185"/>
              <a:ext cx="274914" cy="247991"/>
            </a:xfrm>
            <a:prstGeom prst="hexagon">
              <a:avLst/>
            </a:prstGeom>
            <a:solidFill>
              <a:srgbClr val="5B9BD5"/>
            </a:solidFill>
            <a:ln w="12700" cap="flat" cmpd="sng" algn="ctr">
              <a:noFill/>
              <a:prstDash val="solid"/>
              <a:miter lim="800000"/>
            </a:ln>
            <a:effectLst/>
          </p:spPr>
          <p:txBody>
            <a:bodyPr rtlCol="0" anchor="ctr"/>
            <a:lstStyle/>
            <a:p>
              <a:pPr algn="ctr" defTabSz="914133">
                <a:defRPr/>
              </a:pPr>
              <a:endParaRPr lang="en-US" kern="0">
                <a:solidFill>
                  <a:srgbClr val="FFFFFF"/>
                </a:solidFill>
                <a:latin typeface="Calibri" panose="020F0502020204030204"/>
              </a:endParaRPr>
            </a:p>
          </p:txBody>
        </p:sp>
        <p:cxnSp>
          <p:nvCxnSpPr>
            <p:cNvPr id="537" name="Straight Connector 536"/>
            <p:cNvCxnSpPr/>
            <p:nvPr/>
          </p:nvCxnSpPr>
          <p:spPr>
            <a:xfrm>
              <a:off x="6191497" y="2245092"/>
              <a:ext cx="230937" cy="135637"/>
            </a:xfrm>
            <a:prstGeom prst="line">
              <a:avLst/>
            </a:prstGeom>
            <a:noFill/>
            <a:ln w="6350" cap="flat" cmpd="sng" algn="ctr">
              <a:solidFill>
                <a:srgbClr val="5B9BD5"/>
              </a:solidFill>
              <a:prstDash val="solid"/>
              <a:miter lim="800000"/>
            </a:ln>
            <a:effectLst/>
          </p:spPr>
        </p:cxnSp>
        <p:cxnSp>
          <p:nvCxnSpPr>
            <p:cNvPr id="538" name="Straight Connector 537"/>
            <p:cNvCxnSpPr/>
            <p:nvPr/>
          </p:nvCxnSpPr>
          <p:spPr>
            <a:xfrm>
              <a:off x="6191497" y="1978366"/>
              <a:ext cx="230937" cy="135637"/>
            </a:xfrm>
            <a:prstGeom prst="line">
              <a:avLst/>
            </a:prstGeom>
            <a:noFill/>
            <a:ln w="6350" cap="flat" cmpd="sng" algn="ctr">
              <a:solidFill>
                <a:srgbClr val="5B9BD5"/>
              </a:solidFill>
              <a:prstDash val="solid"/>
              <a:miter lim="800000"/>
            </a:ln>
            <a:effectLst/>
          </p:spPr>
        </p:cxnSp>
        <p:cxnSp>
          <p:nvCxnSpPr>
            <p:cNvPr id="539" name="Straight Connector 538"/>
            <p:cNvCxnSpPr/>
            <p:nvPr/>
          </p:nvCxnSpPr>
          <p:spPr>
            <a:xfrm>
              <a:off x="6418677" y="2103634"/>
              <a:ext cx="230937" cy="135637"/>
            </a:xfrm>
            <a:prstGeom prst="line">
              <a:avLst/>
            </a:prstGeom>
            <a:noFill/>
            <a:ln w="6350" cap="flat" cmpd="sng" algn="ctr">
              <a:solidFill>
                <a:srgbClr val="5B9BD5"/>
              </a:solidFill>
              <a:prstDash val="solid"/>
              <a:miter lim="800000"/>
            </a:ln>
            <a:effectLst/>
          </p:spPr>
        </p:cxnSp>
        <p:cxnSp>
          <p:nvCxnSpPr>
            <p:cNvPr id="540" name="Straight Connector 539"/>
            <p:cNvCxnSpPr/>
            <p:nvPr/>
          </p:nvCxnSpPr>
          <p:spPr>
            <a:xfrm flipH="1">
              <a:off x="6418677" y="2245092"/>
              <a:ext cx="230937" cy="135637"/>
            </a:xfrm>
            <a:prstGeom prst="line">
              <a:avLst/>
            </a:prstGeom>
            <a:noFill/>
            <a:ln w="6350" cap="flat" cmpd="sng" algn="ctr">
              <a:solidFill>
                <a:srgbClr val="5B9BD5"/>
              </a:solidFill>
              <a:prstDash val="solid"/>
              <a:miter lim="800000"/>
            </a:ln>
            <a:effectLst/>
          </p:spPr>
        </p:cxnSp>
        <p:cxnSp>
          <p:nvCxnSpPr>
            <p:cNvPr id="541" name="Straight Connector 540"/>
            <p:cNvCxnSpPr/>
            <p:nvPr/>
          </p:nvCxnSpPr>
          <p:spPr>
            <a:xfrm>
              <a:off x="6418678" y="2115275"/>
              <a:ext cx="33" cy="268599"/>
            </a:xfrm>
            <a:prstGeom prst="line">
              <a:avLst/>
            </a:prstGeom>
            <a:noFill/>
            <a:ln w="6350" cap="flat" cmpd="sng" algn="ctr">
              <a:solidFill>
                <a:srgbClr val="5B9BD5"/>
              </a:solidFill>
              <a:prstDash val="solid"/>
              <a:miter lim="800000"/>
            </a:ln>
            <a:effectLst/>
          </p:spPr>
        </p:cxnSp>
        <p:cxnSp>
          <p:nvCxnSpPr>
            <p:cNvPr id="542" name="Straight Connector 541"/>
            <p:cNvCxnSpPr/>
            <p:nvPr/>
          </p:nvCxnSpPr>
          <p:spPr>
            <a:xfrm flipV="1">
              <a:off x="6187774" y="2109454"/>
              <a:ext cx="230903" cy="129817"/>
            </a:xfrm>
            <a:prstGeom prst="line">
              <a:avLst/>
            </a:prstGeom>
            <a:noFill/>
            <a:ln w="6350" cap="flat" cmpd="sng" algn="ctr">
              <a:solidFill>
                <a:srgbClr val="5B9BD5"/>
              </a:solidFill>
              <a:prstDash val="solid"/>
              <a:miter lim="800000"/>
            </a:ln>
            <a:effectLst/>
          </p:spPr>
        </p:cxnSp>
        <p:cxnSp>
          <p:nvCxnSpPr>
            <p:cNvPr id="543" name="Straight Connector 542"/>
            <p:cNvCxnSpPr/>
            <p:nvPr/>
          </p:nvCxnSpPr>
          <p:spPr>
            <a:xfrm flipV="1">
              <a:off x="6418677" y="1967996"/>
              <a:ext cx="230937" cy="147278"/>
            </a:xfrm>
            <a:prstGeom prst="line">
              <a:avLst/>
            </a:prstGeom>
            <a:noFill/>
            <a:ln w="6350" cap="flat" cmpd="sng" algn="ctr">
              <a:solidFill>
                <a:srgbClr val="5B9BD5"/>
              </a:solidFill>
              <a:prstDash val="solid"/>
              <a:miter lim="800000"/>
            </a:ln>
            <a:effectLst/>
          </p:spPr>
        </p:cxnSp>
        <p:cxnSp>
          <p:nvCxnSpPr>
            <p:cNvPr id="544" name="Straight Connector 543"/>
            <p:cNvCxnSpPr/>
            <p:nvPr/>
          </p:nvCxnSpPr>
          <p:spPr>
            <a:xfrm>
              <a:off x="6191480" y="1998437"/>
              <a:ext cx="33" cy="268599"/>
            </a:xfrm>
            <a:prstGeom prst="line">
              <a:avLst/>
            </a:prstGeom>
            <a:noFill/>
            <a:ln w="6350" cap="flat" cmpd="sng" algn="ctr">
              <a:solidFill>
                <a:srgbClr val="5B9BD5"/>
              </a:solidFill>
              <a:prstDash val="solid"/>
              <a:miter lim="800000"/>
            </a:ln>
            <a:effectLst/>
          </p:spPr>
        </p:cxnSp>
        <p:sp>
          <p:nvSpPr>
            <p:cNvPr id="545" name="Hexagon 544"/>
            <p:cNvSpPr/>
            <p:nvPr/>
          </p:nvSpPr>
          <p:spPr>
            <a:xfrm>
              <a:off x="6517216" y="1854372"/>
              <a:ext cx="274914" cy="247991"/>
            </a:xfrm>
            <a:prstGeom prst="hexagon">
              <a:avLst/>
            </a:prstGeom>
            <a:solidFill>
              <a:srgbClr val="5B9BD5"/>
            </a:solidFill>
            <a:ln w="12700" cap="flat" cmpd="sng" algn="ctr">
              <a:noFill/>
              <a:prstDash val="solid"/>
              <a:miter lim="800000"/>
            </a:ln>
            <a:effectLst/>
          </p:spPr>
          <p:txBody>
            <a:bodyPr rtlCol="0" anchor="ctr"/>
            <a:lstStyle/>
            <a:p>
              <a:pPr algn="ctr" defTabSz="914133">
                <a:defRPr/>
              </a:pPr>
              <a:endParaRPr lang="en-US" kern="0">
                <a:solidFill>
                  <a:srgbClr val="FFFFFF"/>
                </a:solidFill>
                <a:latin typeface="Calibri" panose="020F0502020204030204"/>
              </a:endParaRPr>
            </a:p>
          </p:txBody>
        </p:sp>
        <p:sp>
          <p:nvSpPr>
            <p:cNvPr id="546" name="Hexagon 545"/>
            <p:cNvSpPr/>
            <p:nvPr/>
          </p:nvSpPr>
          <p:spPr>
            <a:xfrm>
              <a:off x="6748153" y="1985460"/>
              <a:ext cx="274914" cy="247991"/>
            </a:xfrm>
            <a:prstGeom prst="hexagon">
              <a:avLst/>
            </a:prstGeom>
            <a:solidFill>
              <a:srgbClr val="5B9BD5"/>
            </a:solidFill>
            <a:ln w="12700" cap="flat" cmpd="sng" algn="ctr">
              <a:noFill/>
              <a:prstDash val="solid"/>
              <a:miter lim="800000"/>
            </a:ln>
            <a:effectLst/>
          </p:spPr>
          <p:txBody>
            <a:bodyPr rtlCol="0" anchor="ctr"/>
            <a:lstStyle/>
            <a:p>
              <a:pPr algn="ctr" defTabSz="914133">
                <a:defRPr/>
              </a:pPr>
              <a:endParaRPr lang="en-US" kern="0">
                <a:solidFill>
                  <a:srgbClr val="FFFFFF"/>
                </a:solidFill>
                <a:latin typeface="Calibri" panose="020F0502020204030204"/>
              </a:endParaRPr>
            </a:p>
          </p:txBody>
        </p:sp>
        <p:sp>
          <p:nvSpPr>
            <p:cNvPr id="547" name="Hexagon 546"/>
            <p:cNvSpPr/>
            <p:nvPr/>
          </p:nvSpPr>
          <p:spPr>
            <a:xfrm>
              <a:off x="6517216" y="2121097"/>
              <a:ext cx="274914" cy="247991"/>
            </a:xfrm>
            <a:prstGeom prst="hexagon">
              <a:avLst/>
            </a:prstGeom>
            <a:solidFill>
              <a:srgbClr val="5B9BD5"/>
            </a:solidFill>
            <a:ln w="12700" cap="flat" cmpd="sng" algn="ctr">
              <a:noFill/>
              <a:prstDash val="solid"/>
              <a:miter lim="800000"/>
            </a:ln>
            <a:effectLst/>
          </p:spPr>
          <p:txBody>
            <a:bodyPr rtlCol="0" anchor="ctr"/>
            <a:lstStyle/>
            <a:p>
              <a:pPr algn="ctr" defTabSz="914133">
                <a:defRPr/>
              </a:pPr>
              <a:endParaRPr lang="en-US" kern="0">
                <a:solidFill>
                  <a:srgbClr val="FFFFFF"/>
                </a:solidFill>
                <a:latin typeface="Calibri" panose="020F0502020204030204"/>
              </a:endParaRPr>
            </a:p>
          </p:txBody>
        </p:sp>
        <p:sp>
          <p:nvSpPr>
            <p:cNvPr id="548" name="Hexagon 547"/>
            <p:cNvSpPr/>
            <p:nvPr/>
          </p:nvSpPr>
          <p:spPr>
            <a:xfrm>
              <a:off x="6748153" y="2252185"/>
              <a:ext cx="274914" cy="247991"/>
            </a:xfrm>
            <a:prstGeom prst="hexagon">
              <a:avLst/>
            </a:prstGeom>
            <a:solidFill>
              <a:srgbClr val="5B9BD5"/>
            </a:solidFill>
            <a:ln w="12700" cap="flat" cmpd="sng" algn="ctr">
              <a:noFill/>
              <a:prstDash val="solid"/>
              <a:miter lim="800000"/>
            </a:ln>
            <a:effectLst/>
          </p:spPr>
          <p:txBody>
            <a:bodyPr rtlCol="0" anchor="ctr"/>
            <a:lstStyle/>
            <a:p>
              <a:pPr algn="ctr" defTabSz="914133">
                <a:defRPr/>
              </a:pPr>
              <a:endParaRPr lang="en-US" kern="0">
                <a:solidFill>
                  <a:srgbClr val="FFFFFF"/>
                </a:solidFill>
                <a:latin typeface="Calibri" panose="020F0502020204030204"/>
              </a:endParaRPr>
            </a:p>
          </p:txBody>
        </p:sp>
        <p:cxnSp>
          <p:nvCxnSpPr>
            <p:cNvPr id="549" name="Straight Connector 548"/>
            <p:cNvCxnSpPr/>
            <p:nvPr/>
          </p:nvCxnSpPr>
          <p:spPr>
            <a:xfrm>
              <a:off x="6654673" y="2245092"/>
              <a:ext cx="230937" cy="135637"/>
            </a:xfrm>
            <a:prstGeom prst="line">
              <a:avLst/>
            </a:prstGeom>
            <a:noFill/>
            <a:ln w="6350" cap="flat" cmpd="sng" algn="ctr">
              <a:solidFill>
                <a:srgbClr val="5B9BD5"/>
              </a:solidFill>
              <a:prstDash val="solid"/>
              <a:miter lim="800000"/>
            </a:ln>
            <a:effectLst/>
          </p:spPr>
        </p:cxnSp>
        <p:cxnSp>
          <p:nvCxnSpPr>
            <p:cNvPr id="550" name="Straight Connector 549"/>
            <p:cNvCxnSpPr/>
            <p:nvPr/>
          </p:nvCxnSpPr>
          <p:spPr>
            <a:xfrm>
              <a:off x="6654673" y="1973817"/>
              <a:ext cx="230937" cy="135637"/>
            </a:xfrm>
            <a:prstGeom prst="line">
              <a:avLst/>
            </a:prstGeom>
            <a:noFill/>
            <a:ln w="6350" cap="flat" cmpd="sng" algn="ctr">
              <a:solidFill>
                <a:srgbClr val="5B9BD5"/>
              </a:solidFill>
              <a:prstDash val="solid"/>
              <a:miter lim="800000"/>
            </a:ln>
            <a:effectLst/>
          </p:spPr>
        </p:cxnSp>
        <p:cxnSp>
          <p:nvCxnSpPr>
            <p:cNvPr id="551" name="Straight Connector 550"/>
            <p:cNvCxnSpPr/>
            <p:nvPr/>
          </p:nvCxnSpPr>
          <p:spPr>
            <a:xfrm>
              <a:off x="6881853" y="2103634"/>
              <a:ext cx="230937" cy="135637"/>
            </a:xfrm>
            <a:prstGeom prst="line">
              <a:avLst/>
            </a:prstGeom>
            <a:noFill/>
            <a:ln w="6350" cap="flat" cmpd="sng" algn="ctr">
              <a:solidFill>
                <a:srgbClr val="5B9BD5"/>
              </a:solidFill>
              <a:prstDash val="solid"/>
              <a:miter lim="800000"/>
            </a:ln>
            <a:effectLst/>
          </p:spPr>
        </p:cxnSp>
        <p:cxnSp>
          <p:nvCxnSpPr>
            <p:cNvPr id="552" name="Straight Connector 551"/>
            <p:cNvCxnSpPr/>
            <p:nvPr/>
          </p:nvCxnSpPr>
          <p:spPr>
            <a:xfrm flipH="1">
              <a:off x="6881853" y="2245092"/>
              <a:ext cx="230937" cy="135637"/>
            </a:xfrm>
            <a:prstGeom prst="line">
              <a:avLst/>
            </a:prstGeom>
            <a:noFill/>
            <a:ln w="6350" cap="flat" cmpd="sng" algn="ctr">
              <a:solidFill>
                <a:srgbClr val="5B9BD5"/>
              </a:solidFill>
              <a:prstDash val="solid"/>
              <a:miter lim="800000"/>
            </a:ln>
            <a:effectLst/>
          </p:spPr>
        </p:cxnSp>
        <p:cxnSp>
          <p:nvCxnSpPr>
            <p:cNvPr id="553" name="Straight Connector 552"/>
            <p:cNvCxnSpPr/>
            <p:nvPr/>
          </p:nvCxnSpPr>
          <p:spPr>
            <a:xfrm>
              <a:off x="6881854" y="2115275"/>
              <a:ext cx="33" cy="268599"/>
            </a:xfrm>
            <a:prstGeom prst="line">
              <a:avLst/>
            </a:prstGeom>
            <a:noFill/>
            <a:ln w="6350" cap="flat" cmpd="sng" algn="ctr">
              <a:solidFill>
                <a:srgbClr val="5B9BD5"/>
              </a:solidFill>
              <a:prstDash val="solid"/>
              <a:miter lim="800000"/>
            </a:ln>
            <a:effectLst/>
          </p:spPr>
        </p:cxnSp>
        <p:cxnSp>
          <p:nvCxnSpPr>
            <p:cNvPr id="554" name="Straight Connector 553"/>
            <p:cNvCxnSpPr/>
            <p:nvPr/>
          </p:nvCxnSpPr>
          <p:spPr>
            <a:xfrm flipV="1">
              <a:off x="6650950" y="2109454"/>
              <a:ext cx="230903" cy="129817"/>
            </a:xfrm>
            <a:prstGeom prst="line">
              <a:avLst/>
            </a:prstGeom>
            <a:noFill/>
            <a:ln w="6350" cap="flat" cmpd="sng" algn="ctr">
              <a:solidFill>
                <a:srgbClr val="5B9BD5"/>
              </a:solidFill>
              <a:prstDash val="solid"/>
              <a:miter lim="800000"/>
            </a:ln>
            <a:effectLst/>
          </p:spPr>
        </p:cxnSp>
        <p:cxnSp>
          <p:nvCxnSpPr>
            <p:cNvPr id="555" name="Straight Connector 554"/>
            <p:cNvCxnSpPr/>
            <p:nvPr/>
          </p:nvCxnSpPr>
          <p:spPr>
            <a:xfrm flipV="1">
              <a:off x="6881853" y="1967996"/>
              <a:ext cx="230937" cy="147278"/>
            </a:xfrm>
            <a:prstGeom prst="line">
              <a:avLst/>
            </a:prstGeom>
            <a:noFill/>
            <a:ln w="6350" cap="flat" cmpd="sng" algn="ctr">
              <a:solidFill>
                <a:srgbClr val="5B9BD5"/>
              </a:solidFill>
              <a:prstDash val="solid"/>
              <a:miter lim="800000"/>
            </a:ln>
            <a:effectLst/>
          </p:spPr>
        </p:cxnSp>
        <p:cxnSp>
          <p:nvCxnSpPr>
            <p:cNvPr id="556" name="Straight Connector 555"/>
            <p:cNvCxnSpPr/>
            <p:nvPr/>
          </p:nvCxnSpPr>
          <p:spPr>
            <a:xfrm>
              <a:off x="6662968" y="1998437"/>
              <a:ext cx="33" cy="268599"/>
            </a:xfrm>
            <a:prstGeom prst="line">
              <a:avLst/>
            </a:prstGeom>
            <a:noFill/>
            <a:ln w="6350" cap="flat" cmpd="sng" algn="ctr">
              <a:solidFill>
                <a:srgbClr val="5B9BD5"/>
              </a:solidFill>
              <a:prstDash val="solid"/>
              <a:miter lim="800000"/>
            </a:ln>
            <a:effectLst/>
          </p:spPr>
        </p:cxnSp>
        <p:sp>
          <p:nvSpPr>
            <p:cNvPr id="557" name="Hexagon 556"/>
            <p:cNvSpPr/>
            <p:nvPr/>
          </p:nvSpPr>
          <p:spPr>
            <a:xfrm>
              <a:off x="6978722" y="1854372"/>
              <a:ext cx="274914" cy="247991"/>
            </a:xfrm>
            <a:prstGeom prst="hexagon">
              <a:avLst/>
            </a:prstGeom>
            <a:solidFill>
              <a:srgbClr val="5B9BD5"/>
            </a:solidFill>
            <a:ln w="12700" cap="flat" cmpd="sng" algn="ctr">
              <a:noFill/>
              <a:prstDash val="solid"/>
              <a:miter lim="800000"/>
            </a:ln>
            <a:effectLst/>
          </p:spPr>
          <p:txBody>
            <a:bodyPr rtlCol="0" anchor="ctr"/>
            <a:lstStyle/>
            <a:p>
              <a:pPr algn="ctr" defTabSz="914133">
                <a:defRPr/>
              </a:pPr>
              <a:endParaRPr lang="en-US" kern="0">
                <a:solidFill>
                  <a:srgbClr val="FFFFFF"/>
                </a:solidFill>
                <a:latin typeface="Calibri" panose="020F0502020204030204"/>
              </a:endParaRPr>
            </a:p>
          </p:txBody>
        </p:sp>
        <p:sp>
          <p:nvSpPr>
            <p:cNvPr id="558" name="Hexagon 557"/>
            <p:cNvSpPr/>
            <p:nvPr/>
          </p:nvSpPr>
          <p:spPr>
            <a:xfrm>
              <a:off x="7209659" y="1985460"/>
              <a:ext cx="274914" cy="247991"/>
            </a:xfrm>
            <a:prstGeom prst="hexagon">
              <a:avLst/>
            </a:prstGeom>
            <a:solidFill>
              <a:srgbClr val="5B9BD5"/>
            </a:solidFill>
            <a:ln w="12700" cap="flat" cmpd="sng" algn="ctr">
              <a:noFill/>
              <a:prstDash val="solid"/>
              <a:miter lim="800000"/>
            </a:ln>
            <a:effectLst/>
          </p:spPr>
          <p:txBody>
            <a:bodyPr rtlCol="0" anchor="ctr"/>
            <a:lstStyle/>
            <a:p>
              <a:pPr algn="ctr" defTabSz="914133">
                <a:defRPr/>
              </a:pPr>
              <a:endParaRPr lang="en-US" kern="0">
                <a:solidFill>
                  <a:srgbClr val="FFFFFF"/>
                </a:solidFill>
                <a:latin typeface="Calibri" panose="020F0502020204030204"/>
              </a:endParaRPr>
            </a:p>
          </p:txBody>
        </p:sp>
        <p:sp>
          <p:nvSpPr>
            <p:cNvPr id="559" name="Hexagon 558"/>
            <p:cNvSpPr/>
            <p:nvPr/>
          </p:nvSpPr>
          <p:spPr>
            <a:xfrm>
              <a:off x="6978722" y="2121097"/>
              <a:ext cx="274914" cy="247991"/>
            </a:xfrm>
            <a:prstGeom prst="hexagon">
              <a:avLst/>
            </a:prstGeom>
            <a:solidFill>
              <a:srgbClr val="5B9BD5"/>
            </a:solidFill>
            <a:ln w="12700" cap="flat" cmpd="sng" algn="ctr">
              <a:noFill/>
              <a:prstDash val="solid"/>
              <a:miter lim="800000"/>
            </a:ln>
            <a:effectLst/>
          </p:spPr>
          <p:txBody>
            <a:bodyPr rtlCol="0" anchor="ctr"/>
            <a:lstStyle/>
            <a:p>
              <a:pPr algn="ctr" defTabSz="914133">
                <a:defRPr/>
              </a:pPr>
              <a:endParaRPr lang="en-US" kern="0">
                <a:solidFill>
                  <a:srgbClr val="FFFFFF"/>
                </a:solidFill>
                <a:latin typeface="Calibri" panose="020F0502020204030204"/>
              </a:endParaRPr>
            </a:p>
          </p:txBody>
        </p:sp>
        <p:sp>
          <p:nvSpPr>
            <p:cNvPr id="560" name="Hexagon 559"/>
            <p:cNvSpPr/>
            <p:nvPr/>
          </p:nvSpPr>
          <p:spPr>
            <a:xfrm>
              <a:off x="7209659" y="2252185"/>
              <a:ext cx="274914" cy="247991"/>
            </a:xfrm>
            <a:prstGeom prst="hexagon">
              <a:avLst/>
            </a:prstGeom>
            <a:solidFill>
              <a:srgbClr val="5B9BD5"/>
            </a:solidFill>
            <a:ln w="12700" cap="flat" cmpd="sng" algn="ctr">
              <a:noFill/>
              <a:prstDash val="solid"/>
              <a:miter lim="800000"/>
            </a:ln>
            <a:effectLst/>
          </p:spPr>
          <p:txBody>
            <a:bodyPr rtlCol="0" anchor="ctr"/>
            <a:lstStyle/>
            <a:p>
              <a:pPr algn="ctr" defTabSz="914133">
                <a:defRPr/>
              </a:pPr>
              <a:endParaRPr lang="en-US" kern="0">
                <a:solidFill>
                  <a:srgbClr val="FFFFFF"/>
                </a:solidFill>
                <a:latin typeface="Calibri" panose="020F0502020204030204"/>
              </a:endParaRPr>
            </a:p>
          </p:txBody>
        </p:sp>
        <p:cxnSp>
          <p:nvCxnSpPr>
            <p:cNvPr id="561" name="Straight Connector 560"/>
            <p:cNvCxnSpPr/>
            <p:nvPr/>
          </p:nvCxnSpPr>
          <p:spPr>
            <a:xfrm>
              <a:off x="7116179" y="2245092"/>
              <a:ext cx="230937" cy="135637"/>
            </a:xfrm>
            <a:prstGeom prst="line">
              <a:avLst/>
            </a:prstGeom>
            <a:noFill/>
            <a:ln w="6350" cap="flat" cmpd="sng" algn="ctr">
              <a:solidFill>
                <a:srgbClr val="5B9BD5"/>
              </a:solidFill>
              <a:prstDash val="solid"/>
              <a:miter lim="800000"/>
            </a:ln>
            <a:effectLst/>
          </p:spPr>
        </p:cxnSp>
        <p:cxnSp>
          <p:nvCxnSpPr>
            <p:cNvPr id="562" name="Straight Connector 561"/>
            <p:cNvCxnSpPr/>
            <p:nvPr/>
          </p:nvCxnSpPr>
          <p:spPr>
            <a:xfrm>
              <a:off x="7116179" y="1973817"/>
              <a:ext cx="230937" cy="135637"/>
            </a:xfrm>
            <a:prstGeom prst="line">
              <a:avLst/>
            </a:prstGeom>
            <a:noFill/>
            <a:ln w="6350" cap="flat" cmpd="sng" algn="ctr">
              <a:solidFill>
                <a:srgbClr val="5B9BD5"/>
              </a:solidFill>
              <a:prstDash val="solid"/>
              <a:miter lim="800000"/>
            </a:ln>
            <a:effectLst/>
          </p:spPr>
        </p:cxnSp>
        <p:cxnSp>
          <p:nvCxnSpPr>
            <p:cNvPr id="563" name="Straight Connector 562"/>
            <p:cNvCxnSpPr/>
            <p:nvPr/>
          </p:nvCxnSpPr>
          <p:spPr>
            <a:xfrm>
              <a:off x="7347031" y="2103634"/>
              <a:ext cx="230937" cy="135637"/>
            </a:xfrm>
            <a:prstGeom prst="line">
              <a:avLst/>
            </a:prstGeom>
            <a:noFill/>
            <a:ln w="6350" cap="flat" cmpd="sng" algn="ctr">
              <a:solidFill>
                <a:srgbClr val="5B9BD5"/>
              </a:solidFill>
              <a:prstDash val="solid"/>
              <a:miter lim="800000"/>
            </a:ln>
            <a:effectLst/>
          </p:spPr>
        </p:cxnSp>
        <p:cxnSp>
          <p:nvCxnSpPr>
            <p:cNvPr id="564" name="Straight Connector 563"/>
            <p:cNvCxnSpPr/>
            <p:nvPr/>
          </p:nvCxnSpPr>
          <p:spPr>
            <a:xfrm flipH="1">
              <a:off x="7347031" y="2245092"/>
              <a:ext cx="230937" cy="135637"/>
            </a:xfrm>
            <a:prstGeom prst="line">
              <a:avLst/>
            </a:prstGeom>
            <a:noFill/>
            <a:ln w="6350" cap="flat" cmpd="sng" algn="ctr">
              <a:solidFill>
                <a:srgbClr val="5B9BD5"/>
              </a:solidFill>
              <a:prstDash val="solid"/>
              <a:miter lim="800000"/>
            </a:ln>
            <a:effectLst/>
          </p:spPr>
        </p:cxnSp>
        <p:cxnSp>
          <p:nvCxnSpPr>
            <p:cNvPr id="565" name="Straight Connector 564"/>
            <p:cNvCxnSpPr/>
            <p:nvPr/>
          </p:nvCxnSpPr>
          <p:spPr>
            <a:xfrm>
              <a:off x="7343360" y="2115275"/>
              <a:ext cx="33" cy="268599"/>
            </a:xfrm>
            <a:prstGeom prst="line">
              <a:avLst/>
            </a:prstGeom>
            <a:noFill/>
            <a:ln w="6350" cap="flat" cmpd="sng" algn="ctr">
              <a:solidFill>
                <a:srgbClr val="5B9BD5"/>
              </a:solidFill>
              <a:prstDash val="solid"/>
              <a:miter lim="800000"/>
            </a:ln>
            <a:effectLst/>
          </p:spPr>
        </p:cxnSp>
        <p:cxnSp>
          <p:nvCxnSpPr>
            <p:cNvPr id="566" name="Straight Connector 565"/>
            <p:cNvCxnSpPr/>
            <p:nvPr/>
          </p:nvCxnSpPr>
          <p:spPr>
            <a:xfrm flipV="1">
              <a:off x="7112456" y="2109454"/>
              <a:ext cx="230903" cy="129817"/>
            </a:xfrm>
            <a:prstGeom prst="line">
              <a:avLst/>
            </a:prstGeom>
            <a:noFill/>
            <a:ln w="6350" cap="flat" cmpd="sng" algn="ctr">
              <a:solidFill>
                <a:srgbClr val="5B9BD5"/>
              </a:solidFill>
              <a:prstDash val="solid"/>
              <a:miter lim="800000"/>
            </a:ln>
            <a:effectLst/>
          </p:spPr>
        </p:cxnSp>
        <p:cxnSp>
          <p:nvCxnSpPr>
            <p:cNvPr id="567" name="Straight Connector 566"/>
            <p:cNvCxnSpPr/>
            <p:nvPr/>
          </p:nvCxnSpPr>
          <p:spPr>
            <a:xfrm flipV="1">
              <a:off x="7347031" y="1967996"/>
              <a:ext cx="230937" cy="147278"/>
            </a:xfrm>
            <a:prstGeom prst="line">
              <a:avLst/>
            </a:prstGeom>
            <a:noFill/>
            <a:ln w="6350" cap="flat" cmpd="sng" algn="ctr">
              <a:solidFill>
                <a:srgbClr val="5B9BD5"/>
              </a:solidFill>
              <a:prstDash val="solid"/>
              <a:miter lim="800000"/>
            </a:ln>
            <a:effectLst/>
          </p:spPr>
        </p:cxnSp>
        <p:cxnSp>
          <p:nvCxnSpPr>
            <p:cNvPr id="568" name="Straight Connector 567"/>
            <p:cNvCxnSpPr/>
            <p:nvPr/>
          </p:nvCxnSpPr>
          <p:spPr>
            <a:xfrm>
              <a:off x="7116162" y="1998437"/>
              <a:ext cx="33" cy="268599"/>
            </a:xfrm>
            <a:prstGeom prst="line">
              <a:avLst/>
            </a:prstGeom>
            <a:noFill/>
            <a:ln w="6350" cap="flat" cmpd="sng" algn="ctr">
              <a:solidFill>
                <a:srgbClr val="5B9BD5"/>
              </a:solidFill>
              <a:prstDash val="solid"/>
              <a:miter lim="800000"/>
            </a:ln>
            <a:effectLst/>
          </p:spPr>
        </p:cxnSp>
        <p:sp>
          <p:nvSpPr>
            <p:cNvPr id="569" name="Hexagon 568"/>
            <p:cNvSpPr/>
            <p:nvPr/>
          </p:nvSpPr>
          <p:spPr>
            <a:xfrm>
              <a:off x="7441414" y="1854372"/>
              <a:ext cx="274914" cy="247991"/>
            </a:xfrm>
            <a:prstGeom prst="hexagon">
              <a:avLst/>
            </a:prstGeom>
            <a:solidFill>
              <a:srgbClr val="5B9BD5"/>
            </a:solidFill>
            <a:ln w="12700" cap="flat" cmpd="sng" algn="ctr">
              <a:noFill/>
              <a:prstDash val="solid"/>
              <a:miter lim="800000"/>
            </a:ln>
            <a:effectLst/>
          </p:spPr>
          <p:txBody>
            <a:bodyPr rtlCol="0" anchor="ctr"/>
            <a:lstStyle/>
            <a:p>
              <a:pPr algn="ctr" defTabSz="914133">
                <a:defRPr/>
              </a:pPr>
              <a:endParaRPr lang="en-US" kern="0">
                <a:solidFill>
                  <a:srgbClr val="FFFFFF"/>
                </a:solidFill>
                <a:latin typeface="Calibri" panose="020F0502020204030204"/>
              </a:endParaRPr>
            </a:p>
          </p:txBody>
        </p:sp>
        <p:sp>
          <p:nvSpPr>
            <p:cNvPr id="570" name="Hexagon 569"/>
            <p:cNvSpPr/>
            <p:nvPr/>
          </p:nvSpPr>
          <p:spPr>
            <a:xfrm>
              <a:off x="7672351" y="1985460"/>
              <a:ext cx="274914" cy="247991"/>
            </a:xfrm>
            <a:prstGeom prst="hexagon">
              <a:avLst/>
            </a:prstGeom>
            <a:solidFill>
              <a:srgbClr val="5B9BD5"/>
            </a:solidFill>
            <a:ln w="12700" cap="flat" cmpd="sng" algn="ctr">
              <a:noFill/>
              <a:prstDash val="solid"/>
              <a:miter lim="800000"/>
            </a:ln>
            <a:effectLst/>
          </p:spPr>
          <p:txBody>
            <a:bodyPr rtlCol="0" anchor="ctr"/>
            <a:lstStyle/>
            <a:p>
              <a:pPr algn="ctr" defTabSz="914133">
                <a:defRPr/>
              </a:pPr>
              <a:endParaRPr lang="en-US" kern="0">
                <a:solidFill>
                  <a:srgbClr val="FFFFFF"/>
                </a:solidFill>
                <a:latin typeface="Calibri" panose="020F0502020204030204"/>
              </a:endParaRPr>
            </a:p>
          </p:txBody>
        </p:sp>
        <p:sp>
          <p:nvSpPr>
            <p:cNvPr id="571" name="Hexagon 570"/>
            <p:cNvSpPr/>
            <p:nvPr/>
          </p:nvSpPr>
          <p:spPr>
            <a:xfrm>
              <a:off x="7441414" y="2121097"/>
              <a:ext cx="274914" cy="247991"/>
            </a:xfrm>
            <a:prstGeom prst="hexagon">
              <a:avLst/>
            </a:prstGeom>
            <a:solidFill>
              <a:srgbClr val="5B9BD5"/>
            </a:solidFill>
            <a:ln w="12700" cap="flat" cmpd="sng" algn="ctr">
              <a:noFill/>
              <a:prstDash val="solid"/>
              <a:miter lim="800000"/>
            </a:ln>
            <a:effectLst/>
          </p:spPr>
          <p:txBody>
            <a:bodyPr rtlCol="0" anchor="ctr"/>
            <a:lstStyle/>
            <a:p>
              <a:pPr algn="ctr" defTabSz="914133">
                <a:defRPr/>
              </a:pPr>
              <a:endParaRPr lang="en-US" kern="0">
                <a:solidFill>
                  <a:srgbClr val="FFFFFF"/>
                </a:solidFill>
                <a:latin typeface="Calibri" panose="020F0502020204030204"/>
              </a:endParaRPr>
            </a:p>
          </p:txBody>
        </p:sp>
        <p:sp>
          <p:nvSpPr>
            <p:cNvPr id="572" name="Hexagon 571"/>
            <p:cNvSpPr/>
            <p:nvPr/>
          </p:nvSpPr>
          <p:spPr>
            <a:xfrm>
              <a:off x="7672351" y="2252185"/>
              <a:ext cx="274914" cy="247991"/>
            </a:xfrm>
            <a:prstGeom prst="hexagon">
              <a:avLst/>
            </a:prstGeom>
            <a:solidFill>
              <a:srgbClr val="5B9BD5"/>
            </a:solidFill>
            <a:ln w="12700" cap="flat" cmpd="sng" algn="ctr">
              <a:noFill/>
              <a:prstDash val="solid"/>
              <a:miter lim="800000"/>
            </a:ln>
            <a:effectLst/>
          </p:spPr>
          <p:txBody>
            <a:bodyPr rtlCol="0" anchor="ctr"/>
            <a:lstStyle/>
            <a:p>
              <a:pPr algn="ctr" defTabSz="914133">
                <a:defRPr/>
              </a:pPr>
              <a:endParaRPr lang="en-US" kern="0">
                <a:solidFill>
                  <a:srgbClr val="FFFFFF"/>
                </a:solidFill>
                <a:latin typeface="Calibri" panose="020F0502020204030204"/>
              </a:endParaRPr>
            </a:p>
          </p:txBody>
        </p:sp>
        <p:cxnSp>
          <p:nvCxnSpPr>
            <p:cNvPr id="573" name="Straight Connector 572"/>
            <p:cNvCxnSpPr/>
            <p:nvPr/>
          </p:nvCxnSpPr>
          <p:spPr>
            <a:xfrm>
              <a:off x="7578871" y="2245092"/>
              <a:ext cx="230937" cy="135637"/>
            </a:xfrm>
            <a:prstGeom prst="line">
              <a:avLst/>
            </a:prstGeom>
            <a:noFill/>
            <a:ln w="6350" cap="flat" cmpd="sng" algn="ctr">
              <a:solidFill>
                <a:srgbClr val="5B9BD5"/>
              </a:solidFill>
              <a:prstDash val="solid"/>
              <a:miter lim="800000"/>
            </a:ln>
            <a:effectLst/>
          </p:spPr>
        </p:cxnSp>
        <p:cxnSp>
          <p:nvCxnSpPr>
            <p:cNvPr id="574" name="Straight Connector 573"/>
            <p:cNvCxnSpPr/>
            <p:nvPr/>
          </p:nvCxnSpPr>
          <p:spPr>
            <a:xfrm>
              <a:off x="7578871" y="1973817"/>
              <a:ext cx="230937" cy="135637"/>
            </a:xfrm>
            <a:prstGeom prst="line">
              <a:avLst/>
            </a:prstGeom>
            <a:noFill/>
            <a:ln w="6350" cap="flat" cmpd="sng" algn="ctr">
              <a:solidFill>
                <a:srgbClr val="5B9BD5"/>
              </a:solidFill>
              <a:prstDash val="solid"/>
              <a:miter lim="800000"/>
            </a:ln>
            <a:effectLst/>
          </p:spPr>
        </p:cxnSp>
        <p:cxnSp>
          <p:nvCxnSpPr>
            <p:cNvPr id="575" name="Straight Connector 574"/>
            <p:cNvCxnSpPr/>
            <p:nvPr/>
          </p:nvCxnSpPr>
          <p:spPr>
            <a:xfrm>
              <a:off x="7802379" y="2103634"/>
              <a:ext cx="230937" cy="135637"/>
            </a:xfrm>
            <a:prstGeom prst="line">
              <a:avLst/>
            </a:prstGeom>
            <a:noFill/>
            <a:ln w="6350" cap="flat" cmpd="sng" algn="ctr">
              <a:solidFill>
                <a:srgbClr val="5B9BD5"/>
              </a:solidFill>
              <a:prstDash val="solid"/>
              <a:miter lim="800000"/>
            </a:ln>
            <a:effectLst/>
          </p:spPr>
        </p:cxnSp>
        <p:cxnSp>
          <p:nvCxnSpPr>
            <p:cNvPr id="576" name="Straight Connector 575"/>
            <p:cNvCxnSpPr/>
            <p:nvPr/>
          </p:nvCxnSpPr>
          <p:spPr>
            <a:xfrm flipH="1">
              <a:off x="7802379" y="2245092"/>
              <a:ext cx="230937" cy="135637"/>
            </a:xfrm>
            <a:prstGeom prst="line">
              <a:avLst/>
            </a:prstGeom>
            <a:noFill/>
            <a:ln w="6350" cap="flat" cmpd="sng" algn="ctr">
              <a:solidFill>
                <a:srgbClr val="5B9BD5"/>
              </a:solidFill>
              <a:prstDash val="solid"/>
              <a:miter lim="800000"/>
            </a:ln>
            <a:effectLst/>
          </p:spPr>
        </p:cxnSp>
        <p:cxnSp>
          <p:nvCxnSpPr>
            <p:cNvPr id="577" name="Straight Connector 576"/>
            <p:cNvCxnSpPr/>
            <p:nvPr/>
          </p:nvCxnSpPr>
          <p:spPr>
            <a:xfrm>
              <a:off x="7802380" y="2115275"/>
              <a:ext cx="33" cy="268599"/>
            </a:xfrm>
            <a:prstGeom prst="line">
              <a:avLst/>
            </a:prstGeom>
            <a:noFill/>
            <a:ln w="6350" cap="flat" cmpd="sng" algn="ctr">
              <a:solidFill>
                <a:srgbClr val="5B9BD5"/>
              </a:solidFill>
              <a:prstDash val="solid"/>
              <a:miter lim="800000"/>
            </a:ln>
            <a:effectLst/>
          </p:spPr>
        </p:cxnSp>
        <p:cxnSp>
          <p:nvCxnSpPr>
            <p:cNvPr id="578" name="Straight Connector 577"/>
            <p:cNvCxnSpPr/>
            <p:nvPr/>
          </p:nvCxnSpPr>
          <p:spPr>
            <a:xfrm flipV="1">
              <a:off x="7575148" y="2109454"/>
              <a:ext cx="230903" cy="129817"/>
            </a:xfrm>
            <a:prstGeom prst="line">
              <a:avLst/>
            </a:prstGeom>
            <a:noFill/>
            <a:ln w="6350" cap="flat" cmpd="sng" algn="ctr">
              <a:solidFill>
                <a:srgbClr val="5B9BD5"/>
              </a:solidFill>
              <a:prstDash val="solid"/>
              <a:miter lim="800000"/>
            </a:ln>
            <a:effectLst/>
          </p:spPr>
        </p:cxnSp>
        <p:cxnSp>
          <p:nvCxnSpPr>
            <p:cNvPr id="579" name="Straight Connector 578"/>
            <p:cNvCxnSpPr/>
            <p:nvPr/>
          </p:nvCxnSpPr>
          <p:spPr>
            <a:xfrm flipV="1">
              <a:off x="7802379" y="1967996"/>
              <a:ext cx="230937" cy="147278"/>
            </a:xfrm>
            <a:prstGeom prst="line">
              <a:avLst/>
            </a:prstGeom>
            <a:noFill/>
            <a:ln w="6350" cap="flat" cmpd="sng" algn="ctr">
              <a:solidFill>
                <a:srgbClr val="5B9BD5"/>
              </a:solidFill>
              <a:prstDash val="solid"/>
              <a:miter lim="800000"/>
            </a:ln>
            <a:effectLst/>
          </p:spPr>
        </p:cxnSp>
        <p:cxnSp>
          <p:nvCxnSpPr>
            <p:cNvPr id="580" name="Straight Connector 579"/>
            <p:cNvCxnSpPr/>
            <p:nvPr/>
          </p:nvCxnSpPr>
          <p:spPr>
            <a:xfrm>
              <a:off x="7578854" y="1998437"/>
              <a:ext cx="33" cy="268599"/>
            </a:xfrm>
            <a:prstGeom prst="line">
              <a:avLst/>
            </a:prstGeom>
            <a:noFill/>
            <a:ln w="6350" cap="flat" cmpd="sng" algn="ctr">
              <a:solidFill>
                <a:srgbClr val="5B9BD5"/>
              </a:solidFill>
              <a:prstDash val="solid"/>
              <a:miter lim="800000"/>
            </a:ln>
            <a:effectLst/>
          </p:spPr>
        </p:cxnSp>
        <p:sp>
          <p:nvSpPr>
            <p:cNvPr id="581" name="Hexagon 580"/>
            <p:cNvSpPr/>
            <p:nvPr/>
          </p:nvSpPr>
          <p:spPr>
            <a:xfrm>
              <a:off x="7902040" y="1857916"/>
              <a:ext cx="274914" cy="247991"/>
            </a:xfrm>
            <a:prstGeom prst="hexagon">
              <a:avLst/>
            </a:prstGeom>
            <a:solidFill>
              <a:srgbClr val="5B9BD5"/>
            </a:solidFill>
            <a:ln w="12700" cap="flat" cmpd="sng" algn="ctr">
              <a:noFill/>
              <a:prstDash val="solid"/>
              <a:miter lim="800000"/>
            </a:ln>
            <a:effectLst/>
          </p:spPr>
          <p:txBody>
            <a:bodyPr rtlCol="0" anchor="ctr"/>
            <a:lstStyle/>
            <a:p>
              <a:pPr algn="ctr" defTabSz="914133">
                <a:defRPr/>
              </a:pPr>
              <a:endParaRPr lang="en-US" kern="0">
                <a:solidFill>
                  <a:srgbClr val="FFFFFF"/>
                </a:solidFill>
                <a:latin typeface="Calibri" panose="020F0502020204030204"/>
              </a:endParaRPr>
            </a:p>
          </p:txBody>
        </p:sp>
        <p:sp>
          <p:nvSpPr>
            <p:cNvPr id="582" name="Hexagon 581"/>
            <p:cNvSpPr/>
            <p:nvPr/>
          </p:nvSpPr>
          <p:spPr>
            <a:xfrm>
              <a:off x="8132977" y="1989004"/>
              <a:ext cx="274914" cy="247991"/>
            </a:xfrm>
            <a:prstGeom prst="hexagon">
              <a:avLst/>
            </a:prstGeom>
            <a:solidFill>
              <a:srgbClr val="5B9BD5"/>
            </a:solidFill>
            <a:ln w="12700" cap="flat" cmpd="sng" algn="ctr">
              <a:noFill/>
              <a:prstDash val="solid"/>
              <a:miter lim="800000"/>
            </a:ln>
            <a:effectLst/>
          </p:spPr>
          <p:txBody>
            <a:bodyPr rtlCol="0" anchor="ctr"/>
            <a:lstStyle/>
            <a:p>
              <a:pPr algn="ctr" defTabSz="914133">
                <a:defRPr/>
              </a:pPr>
              <a:endParaRPr lang="en-US" kern="0">
                <a:solidFill>
                  <a:srgbClr val="FFFFFF"/>
                </a:solidFill>
                <a:latin typeface="Calibri" panose="020F0502020204030204"/>
              </a:endParaRPr>
            </a:p>
          </p:txBody>
        </p:sp>
        <p:sp>
          <p:nvSpPr>
            <p:cNvPr id="583" name="Hexagon 582"/>
            <p:cNvSpPr/>
            <p:nvPr/>
          </p:nvSpPr>
          <p:spPr>
            <a:xfrm>
              <a:off x="7902040" y="2124641"/>
              <a:ext cx="274914" cy="247991"/>
            </a:xfrm>
            <a:prstGeom prst="hexagon">
              <a:avLst/>
            </a:prstGeom>
            <a:solidFill>
              <a:srgbClr val="5B9BD5"/>
            </a:solidFill>
            <a:ln w="12700" cap="flat" cmpd="sng" algn="ctr">
              <a:noFill/>
              <a:prstDash val="solid"/>
              <a:miter lim="800000"/>
            </a:ln>
            <a:effectLst/>
          </p:spPr>
          <p:txBody>
            <a:bodyPr rtlCol="0" anchor="ctr"/>
            <a:lstStyle/>
            <a:p>
              <a:pPr algn="ctr" defTabSz="914133">
                <a:defRPr/>
              </a:pPr>
              <a:endParaRPr lang="en-US" kern="0">
                <a:solidFill>
                  <a:srgbClr val="FFFFFF"/>
                </a:solidFill>
                <a:latin typeface="Calibri" panose="020F0502020204030204"/>
              </a:endParaRPr>
            </a:p>
          </p:txBody>
        </p:sp>
        <p:sp>
          <p:nvSpPr>
            <p:cNvPr id="584" name="Hexagon 583"/>
            <p:cNvSpPr/>
            <p:nvPr/>
          </p:nvSpPr>
          <p:spPr>
            <a:xfrm>
              <a:off x="8132977" y="2255729"/>
              <a:ext cx="274914" cy="247991"/>
            </a:xfrm>
            <a:prstGeom prst="hexagon">
              <a:avLst/>
            </a:prstGeom>
            <a:solidFill>
              <a:srgbClr val="5B9BD5"/>
            </a:solidFill>
            <a:ln w="12700" cap="flat" cmpd="sng" algn="ctr">
              <a:noFill/>
              <a:prstDash val="solid"/>
              <a:miter lim="800000"/>
            </a:ln>
            <a:effectLst/>
          </p:spPr>
          <p:txBody>
            <a:bodyPr rtlCol="0" anchor="ctr"/>
            <a:lstStyle/>
            <a:p>
              <a:pPr algn="ctr" defTabSz="914133">
                <a:defRPr/>
              </a:pPr>
              <a:endParaRPr lang="en-US" kern="0">
                <a:solidFill>
                  <a:srgbClr val="FFFFFF"/>
                </a:solidFill>
                <a:latin typeface="Calibri" panose="020F0502020204030204"/>
              </a:endParaRPr>
            </a:p>
          </p:txBody>
        </p:sp>
        <p:cxnSp>
          <p:nvCxnSpPr>
            <p:cNvPr id="585" name="Straight Connector 584"/>
            <p:cNvCxnSpPr/>
            <p:nvPr/>
          </p:nvCxnSpPr>
          <p:spPr>
            <a:xfrm>
              <a:off x="8039497" y="2248636"/>
              <a:ext cx="230937" cy="135637"/>
            </a:xfrm>
            <a:prstGeom prst="line">
              <a:avLst/>
            </a:prstGeom>
            <a:noFill/>
            <a:ln w="6350" cap="flat" cmpd="sng" algn="ctr">
              <a:solidFill>
                <a:srgbClr val="5B9BD5"/>
              </a:solidFill>
              <a:prstDash val="solid"/>
              <a:miter lim="800000"/>
            </a:ln>
            <a:effectLst/>
          </p:spPr>
        </p:cxnSp>
        <p:cxnSp>
          <p:nvCxnSpPr>
            <p:cNvPr id="586" name="Straight Connector 585"/>
            <p:cNvCxnSpPr/>
            <p:nvPr/>
          </p:nvCxnSpPr>
          <p:spPr>
            <a:xfrm>
              <a:off x="8039497" y="1977361"/>
              <a:ext cx="230937" cy="135637"/>
            </a:xfrm>
            <a:prstGeom prst="line">
              <a:avLst/>
            </a:prstGeom>
            <a:noFill/>
            <a:ln w="6350" cap="flat" cmpd="sng" algn="ctr">
              <a:solidFill>
                <a:srgbClr val="5B9BD5"/>
              </a:solidFill>
              <a:prstDash val="solid"/>
              <a:miter lim="800000"/>
            </a:ln>
            <a:effectLst/>
          </p:spPr>
        </p:cxnSp>
        <p:cxnSp>
          <p:nvCxnSpPr>
            <p:cNvPr id="587" name="Straight Connector 586"/>
            <p:cNvCxnSpPr/>
            <p:nvPr/>
          </p:nvCxnSpPr>
          <p:spPr>
            <a:xfrm>
              <a:off x="8266677" y="2107178"/>
              <a:ext cx="230937" cy="135637"/>
            </a:xfrm>
            <a:prstGeom prst="line">
              <a:avLst/>
            </a:prstGeom>
            <a:noFill/>
            <a:ln w="6350" cap="flat" cmpd="sng" algn="ctr">
              <a:solidFill>
                <a:srgbClr val="5B9BD5"/>
              </a:solidFill>
              <a:prstDash val="solid"/>
              <a:miter lim="800000"/>
            </a:ln>
            <a:effectLst/>
          </p:spPr>
        </p:cxnSp>
        <p:cxnSp>
          <p:nvCxnSpPr>
            <p:cNvPr id="588" name="Straight Connector 587"/>
            <p:cNvCxnSpPr/>
            <p:nvPr/>
          </p:nvCxnSpPr>
          <p:spPr>
            <a:xfrm flipH="1">
              <a:off x="8266677" y="2248636"/>
              <a:ext cx="230937" cy="135637"/>
            </a:xfrm>
            <a:prstGeom prst="line">
              <a:avLst/>
            </a:prstGeom>
            <a:noFill/>
            <a:ln w="6350" cap="flat" cmpd="sng" algn="ctr">
              <a:solidFill>
                <a:srgbClr val="5B9BD5"/>
              </a:solidFill>
              <a:prstDash val="solid"/>
              <a:miter lim="800000"/>
            </a:ln>
            <a:effectLst/>
          </p:spPr>
        </p:cxnSp>
        <p:cxnSp>
          <p:nvCxnSpPr>
            <p:cNvPr id="589" name="Straight Connector 588"/>
            <p:cNvCxnSpPr/>
            <p:nvPr/>
          </p:nvCxnSpPr>
          <p:spPr>
            <a:xfrm>
              <a:off x="8266678" y="2118819"/>
              <a:ext cx="33" cy="268599"/>
            </a:xfrm>
            <a:prstGeom prst="line">
              <a:avLst/>
            </a:prstGeom>
            <a:noFill/>
            <a:ln w="6350" cap="flat" cmpd="sng" algn="ctr">
              <a:solidFill>
                <a:srgbClr val="5B9BD5"/>
              </a:solidFill>
              <a:prstDash val="solid"/>
              <a:miter lim="800000"/>
            </a:ln>
            <a:effectLst/>
          </p:spPr>
        </p:cxnSp>
        <p:cxnSp>
          <p:nvCxnSpPr>
            <p:cNvPr id="590" name="Straight Connector 589"/>
            <p:cNvCxnSpPr/>
            <p:nvPr/>
          </p:nvCxnSpPr>
          <p:spPr>
            <a:xfrm flipV="1">
              <a:off x="8035774" y="2112998"/>
              <a:ext cx="230903" cy="129817"/>
            </a:xfrm>
            <a:prstGeom prst="line">
              <a:avLst/>
            </a:prstGeom>
            <a:noFill/>
            <a:ln w="6350" cap="flat" cmpd="sng" algn="ctr">
              <a:solidFill>
                <a:srgbClr val="5B9BD5"/>
              </a:solidFill>
              <a:prstDash val="solid"/>
              <a:miter lim="800000"/>
            </a:ln>
            <a:effectLst/>
          </p:spPr>
        </p:cxnSp>
        <p:cxnSp>
          <p:nvCxnSpPr>
            <p:cNvPr id="591" name="Straight Connector 590"/>
            <p:cNvCxnSpPr/>
            <p:nvPr/>
          </p:nvCxnSpPr>
          <p:spPr>
            <a:xfrm flipV="1">
              <a:off x="8266677" y="1971540"/>
              <a:ext cx="230937" cy="147278"/>
            </a:xfrm>
            <a:prstGeom prst="line">
              <a:avLst/>
            </a:prstGeom>
            <a:noFill/>
            <a:ln w="6350" cap="flat" cmpd="sng" algn="ctr">
              <a:solidFill>
                <a:srgbClr val="5B9BD5"/>
              </a:solidFill>
              <a:prstDash val="solid"/>
              <a:miter lim="800000"/>
            </a:ln>
            <a:effectLst/>
          </p:spPr>
        </p:cxnSp>
        <p:cxnSp>
          <p:nvCxnSpPr>
            <p:cNvPr id="592" name="Straight Connector 591"/>
            <p:cNvCxnSpPr/>
            <p:nvPr/>
          </p:nvCxnSpPr>
          <p:spPr>
            <a:xfrm>
              <a:off x="8039480" y="2006530"/>
              <a:ext cx="33" cy="268599"/>
            </a:xfrm>
            <a:prstGeom prst="line">
              <a:avLst/>
            </a:prstGeom>
            <a:noFill/>
            <a:ln w="6350" cap="flat" cmpd="sng" algn="ctr">
              <a:solidFill>
                <a:srgbClr val="5B9BD5"/>
              </a:solidFill>
              <a:prstDash val="solid"/>
              <a:miter lim="800000"/>
            </a:ln>
            <a:effectLst/>
          </p:spPr>
        </p:cxnSp>
        <p:sp>
          <p:nvSpPr>
            <p:cNvPr id="593" name="Hexagon 592"/>
            <p:cNvSpPr/>
            <p:nvPr/>
          </p:nvSpPr>
          <p:spPr>
            <a:xfrm>
              <a:off x="8361060" y="1857916"/>
              <a:ext cx="274914" cy="247991"/>
            </a:xfrm>
            <a:prstGeom prst="hexagon">
              <a:avLst/>
            </a:prstGeom>
            <a:solidFill>
              <a:srgbClr val="5B9BD5"/>
            </a:solidFill>
            <a:ln w="12700" cap="flat" cmpd="sng" algn="ctr">
              <a:noFill/>
              <a:prstDash val="solid"/>
              <a:miter lim="800000"/>
            </a:ln>
            <a:effectLst/>
          </p:spPr>
          <p:txBody>
            <a:bodyPr rtlCol="0" anchor="ctr"/>
            <a:lstStyle/>
            <a:p>
              <a:pPr algn="ctr" defTabSz="914133">
                <a:defRPr/>
              </a:pPr>
              <a:endParaRPr lang="en-US" kern="0">
                <a:solidFill>
                  <a:srgbClr val="FFFFFF"/>
                </a:solidFill>
                <a:latin typeface="Calibri" panose="020F0502020204030204"/>
              </a:endParaRPr>
            </a:p>
          </p:txBody>
        </p:sp>
        <p:sp>
          <p:nvSpPr>
            <p:cNvPr id="594" name="Hexagon 593"/>
            <p:cNvSpPr/>
            <p:nvPr/>
          </p:nvSpPr>
          <p:spPr>
            <a:xfrm>
              <a:off x="8588325" y="1989004"/>
              <a:ext cx="274914" cy="247991"/>
            </a:xfrm>
            <a:prstGeom prst="hexagon">
              <a:avLst/>
            </a:prstGeom>
            <a:solidFill>
              <a:srgbClr val="5B9BD5"/>
            </a:solidFill>
            <a:ln w="12700" cap="flat" cmpd="sng" algn="ctr">
              <a:noFill/>
              <a:prstDash val="solid"/>
              <a:miter lim="800000"/>
            </a:ln>
            <a:effectLst/>
          </p:spPr>
          <p:txBody>
            <a:bodyPr rtlCol="0" anchor="ctr"/>
            <a:lstStyle/>
            <a:p>
              <a:pPr algn="ctr" defTabSz="914133">
                <a:defRPr/>
              </a:pPr>
              <a:endParaRPr lang="en-US" kern="0">
                <a:solidFill>
                  <a:srgbClr val="FFFFFF"/>
                </a:solidFill>
                <a:latin typeface="Calibri" panose="020F0502020204030204"/>
              </a:endParaRPr>
            </a:p>
          </p:txBody>
        </p:sp>
        <p:sp>
          <p:nvSpPr>
            <p:cNvPr id="595" name="Hexagon 594"/>
            <p:cNvSpPr/>
            <p:nvPr/>
          </p:nvSpPr>
          <p:spPr>
            <a:xfrm>
              <a:off x="8361060" y="2124641"/>
              <a:ext cx="274914" cy="247991"/>
            </a:xfrm>
            <a:prstGeom prst="hexagon">
              <a:avLst/>
            </a:prstGeom>
            <a:solidFill>
              <a:srgbClr val="5B9BD5"/>
            </a:solidFill>
            <a:ln w="12700" cap="flat" cmpd="sng" algn="ctr">
              <a:noFill/>
              <a:prstDash val="solid"/>
              <a:miter lim="800000"/>
            </a:ln>
            <a:effectLst/>
          </p:spPr>
          <p:txBody>
            <a:bodyPr rtlCol="0" anchor="ctr"/>
            <a:lstStyle/>
            <a:p>
              <a:pPr algn="ctr" defTabSz="914133">
                <a:defRPr/>
              </a:pPr>
              <a:endParaRPr lang="en-US" kern="0">
                <a:solidFill>
                  <a:srgbClr val="FFFFFF"/>
                </a:solidFill>
                <a:latin typeface="Calibri" panose="020F0502020204030204"/>
              </a:endParaRPr>
            </a:p>
          </p:txBody>
        </p:sp>
        <p:sp>
          <p:nvSpPr>
            <p:cNvPr id="596" name="Hexagon 595"/>
            <p:cNvSpPr/>
            <p:nvPr/>
          </p:nvSpPr>
          <p:spPr>
            <a:xfrm>
              <a:off x="8588325" y="2255729"/>
              <a:ext cx="274914" cy="247991"/>
            </a:xfrm>
            <a:prstGeom prst="hexagon">
              <a:avLst/>
            </a:prstGeom>
            <a:solidFill>
              <a:srgbClr val="5B9BD5"/>
            </a:solidFill>
            <a:ln w="12700" cap="flat" cmpd="sng" algn="ctr">
              <a:noFill/>
              <a:prstDash val="solid"/>
              <a:miter lim="800000"/>
            </a:ln>
            <a:effectLst/>
          </p:spPr>
          <p:txBody>
            <a:bodyPr rtlCol="0" anchor="ctr"/>
            <a:lstStyle/>
            <a:p>
              <a:pPr algn="ctr" defTabSz="914133">
                <a:defRPr/>
              </a:pPr>
              <a:endParaRPr lang="en-US" kern="0">
                <a:solidFill>
                  <a:srgbClr val="FFFFFF"/>
                </a:solidFill>
                <a:latin typeface="Calibri" panose="020F0502020204030204"/>
              </a:endParaRPr>
            </a:p>
          </p:txBody>
        </p:sp>
        <p:cxnSp>
          <p:nvCxnSpPr>
            <p:cNvPr id="597" name="Straight Connector 596"/>
            <p:cNvCxnSpPr/>
            <p:nvPr/>
          </p:nvCxnSpPr>
          <p:spPr>
            <a:xfrm>
              <a:off x="8498517" y="2248636"/>
              <a:ext cx="230937" cy="135637"/>
            </a:xfrm>
            <a:prstGeom prst="line">
              <a:avLst/>
            </a:prstGeom>
            <a:noFill/>
            <a:ln w="6350" cap="flat" cmpd="sng" algn="ctr">
              <a:solidFill>
                <a:srgbClr val="5B9BD5"/>
              </a:solidFill>
              <a:prstDash val="solid"/>
              <a:miter lim="800000"/>
            </a:ln>
            <a:effectLst/>
          </p:spPr>
        </p:cxnSp>
        <p:cxnSp>
          <p:nvCxnSpPr>
            <p:cNvPr id="598" name="Straight Connector 597"/>
            <p:cNvCxnSpPr/>
            <p:nvPr/>
          </p:nvCxnSpPr>
          <p:spPr>
            <a:xfrm>
              <a:off x="8498517" y="1977361"/>
              <a:ext cx="230937" cy="135637"/>
            </a:xfrm>
            <a:prstGeom prst="line">
              <a:avLst/>
            </a:prstGeom>
            <a:noFill/>
            <a:ln w="6350" cap="flat" cmpd="sng" algn="ctr">
              <a:solidFill>
                <a:srgbClr val="5B9BD5"/>
              </a:solidFill>
              <a:prstDash val="solid"/>
              <a:miter lim="800000"/>
            </a:ln>
            <a:effectLst/>
          </p:spPr>
        </p:cxnSp>
        <p:cxnSp>
          <p:nvCxnSpPr>
            <p:cNvPr id="599" name="Straight Connector 598"/>
            <p:cNvCxnSpPr/>
            <p:nvPr/>
          </p:nvCxnSpPr>
          <p:spPr>
            <a:xfrm>
              <a:off x="8722025" y="2107178"/>
              <a:ext cx="230937" cy="135637"/>
            </a:xfrm>
            <a:prstGeom prst="line">
              <a:avLst/>
            </a:prstGeom>
            <a:noFill/>
            <a:ln w="6350" cap="flat" cmpd="sng" algn="ctr">
              <a:solidFill>
                <a:srgbClr val="5B9BD5"/>
              </a:solidFill>
              <a:prstDash val="solid"/>
              <a:miter lim="800000"/>
            </a:ln>
            <a:effectLst/>
          </p:spPr>
        </p:cxnSp>
        <p:cxnSp>
          <p:nvCxnSpPr>
            <p:cNvPr id="600" name="Straight Connector 599"/>
            <p:cNvCxnSpPr/>
            <p:nvPr/>
          </p:nvCxnSpPr>
          <p:spPr>
            <a:xfrm flipH="1">
              <a:off x="8722025" y="2248636"/>
              <a:ext cx="230937" cy="135637"/>
            </a:xfrm>
            <a:prstGeom prst="line">
              <a:avLst/>
            </a:prstGeom>
            <a:noFill/>
            <a:ln w="6350" cap="flat" cmpd="sng" algn="ctr">
              <a:solidFill>
                <a:srgbClr val="5B9BD5"/>
              </a:solidFill>
              <a:prstDash val="solid"/>
              <a:miter lim="800000"/>
            </a:ln>
            <a:effectLst/>
          </p:spPr>
        </p:cxnSp>
        <p:cxnSp>
          <p:nvCxnSpPr>
            <p:cNvPr id="601" name="Straight Connector 600"/>
            <p:cNvCxnSpPr/>
            <p:nvPr/>
          </p:nvCxnSpPr>
          <p:spPr>
            <a:xfrm>
              <a:off x="8722026" y="2118819"/>
              <a:ext cx="33" cy="268599"/>
            </a:xfrm>
            <a:prstGeom prst="line">
              <a:avLst/>
            </a:prstGeom>
            <a:noFill/>
            <a:ln w="6350" cap="flat" cmpd="sng" algn="ctr">
              <a:solidFill>
                <a:srgbClr val="5B9BD5"/>
              </a:solidFill>
              <a:prstDash val="solid"/>
              <a:miter lim="800000"/>
            </a:ln>
            <a:effectLst/>
          </p:spPr>
        </p:cxnSp>
        <p:cxnSp>
          <p:nvCxnSpPr>
            <p:cNvPr id="602" name="Straight Connector 601"/>
            <p:cNvCxnSpPr/>
            <p:nvPr/>
          </p:nvCxnSpPr>
          <p:spPr>
            <a:xfrm flipV="1">
              <a:off x="8494794" y="2112998"/>
              <a:ext cx="230903" cy="129817"/>
            </a:xfrm>
            <a:prstGeom prst="line">
              <a:avLst/>
            </a:prstGeom>
            <a:noFill/>
            <a:ln w="6350" cap="flat" cmpd="sng" algn="ctr">
              <a:solidFill>
                <a:srgbClr val="5B9BD5"/>
              </a:solidFill>
              <a:prstDash val="solid"/>
              <a:miter lim="800000"/>
            </a:ln>
            <a:effectLst/>
          </p:spPr>
        </p:cxnSp>
        <p:cxnSp>
          <p:nvCxnSpPr>
            <p:cNvPr id="603" name="Straight Connector 602"/>
            <p:cNvCxnSpPr/>
            <p:nvPr/>
          </p:nvCxnSpPr>
          <p:spPr>
            <a:xfrm flipV="1">
              <a:off x="8722025" y="1971540"/>
              <a:ext cx="230937" cy="147278"/>
            </a:xfrm>
            <a:prstGeom prst="line">
              <a:avLst/>
            </a:prstGeom>
            <a:noFill/>
            <a:ln w="6350" cap="flat" cmpd="sng" algn="ctr">
              <a:solidFill>
                <a:srgbClr val="5B9BD5"/>
              </a:solidFill>
              <a:prstDash val="solid"/>
              <a:miter lim="800000"/>
            </a:ln>
            <a:effectLst/>
          </p:spPr>
        </p:cxnSp>
        <p:cxnSp>
          <p:nvCxnSpPr>
            <p:cNvPr id="604" name="Straight Connector 603"/>
            <p:cNvCxnSpPr/>
            <p:nvPr/>
          </p:nvCxnSpPr>
          <p:spPr>
            <a:xfrm>
              <a:off x="8498500" y="2001981"/>
              <a:ext cx="33" cy="268599"/>
            </a:xfrm>
            <a:prstGeom prst="line">
              <a:avLst/>
            </a:prstGeom>
            <a:noFill/>
            <a:ln w="6350" cap="flat" cmpd="sng" algn="ctr">
              <a:solidFill>
                <a:srgbClr val="5B9BD5"/>
              </a:solidFill>
              <a:prstDash val="solid"/>
              <a:miter lim="800000"/>
            </a:ln>
            <a:effectLst/>
          </p:spPr>
        </p:cxnSp>
        <p:sp>
          <p:nvSpPr>
            <p:cNvPr id="605" name="Hexagon 604"/>
            <p:cNvSpPr/>
            <p:nvPr/>
          </p:nvSpPr>
          <p:spPr>
            <a:xfrm>
              <a:off x="8818894" y="1857916"/>
              <a:ext cx="274914" cy="247991"/>
            </a:xfrm>
            <a:prstGeom prst="hexagon">
              <a:avLst/>
            </a:prstGeom>
            <a:solidFill>
              <a:srgbClr val="5B9BD5"/>
            </a:solidFill>
            <a:ln w="12700" cap="flat" cmpd="sng" algn="ctr">
              <a:noFill/>
              <a:prstDash val="solid"/>
              <a:miter lim="800000"/>
            </a:ln>
            <a:effectLst/>
          </p:spPr>
          <p:txBody>
            <a:bodyPr rtlCol="0" anchor="ctr"/>
            <a:lstStyle/>
            <a:p>
              <a:pPr algn="ctr" defTabSz="914133">
                <a:defRPr/>
              </a:pPr>
              <a:endParaRPr lang="en-US" kern="0">
                <a:solidFill>
                  <a:srgbClr val="FFFFFF"/>
                </a:solidFill>
                <a:latin typeface="Calibri" panose="020F0502020204030204"/>
              </a:endParaRPr>
            </a:p>
          </p:txBody>
        </p:sp>
        <p:sp>
          <p:nvSpPr>
            <p:cNvPr id="606" name="Hexagon 605"/>
            <p:cNvSpPr/>
            <p:nvPr/>
          </p:nvSpPr>
          <p:spPr>
            <a:xfrm>
              <a:off x="9046159" y="1989004"/>
              <a:ext cx="274914" cy="247991"/>
            </a:xfrm>
            <a:prstGeom prst="hexagon">
              <a:avLst/>
            </a:prstGeom>
            <a:solidFill>
              <a:srgbClr val="5B9BD5"/>
            </a:solidFill>
            <a:ln w="12700" cap="flat" cmpd="sng" algn="ctr">
              <a:noFill/>
              <a:prstDash val="solid"/>
              <a:miter lim="800000"/>
            </a:ln>
            <a:effectLst/>
          </p:spPr>
          <p:txBody>
            <a:bodyPr rtlCol="0" anchor="ctr"/>
            <a:lstStyle/>
            <a:p>
              <a:pPr algn="ctr" defTabSz="914133">
                <a:defRPr/>
              </a:pPr>
              <a:endParaRPr lang="en-US" kern="0">
                <a:solidFill>
                  <a:srgbClr val="FFFFFF"/>
                </a:solidFill>
                <a:latin typeface="Calibri" panose="020F0502020204030204"/>
              </a:endParaRPr>
            </a:p>
          </p:txBody>
        </p:sp>
        <p:sp>
          <p:nvSpPr>
            <p:cNvPr id="607" name="Hexagon 606"/>
            <p:cNvSpPr/>
            <p:nvPr/>
          </p:nvSpPr>
          <p:spPr>
            <a:xfrm>
              <a:off x="8818894" y="2124641"/>
              <a:ext cx="274914" cy="247991"/>
            </a:xfrm>
            <a:prstGeom prst="hexagon">
              <a:avLst/>
            </a:prstGeom>
            <a:solidFill>
              <a:srgbClr val="5B9BD5"/>
            </a:solidFill>
            <a:ln w="12700" cap="flat" cmpd="sng" algn="ctr">
              <a:noFill/>
              <a:prstDash val="solid"/>
              <a:miter lim="800000"/>
            </a:ln>
            <a:effectLst/>
          </p:spPr>
          <p:txBody>
            <a:bodyPr rtlCol="0" anchor="ctr"/>
            <a:lstStyle/>
            <a:p>
              <a:pPr algn="ctr" defTabSz="914133">
                <a:defRPr/>
              </a:pPr>
              <a:endParaRPr lang="en-US" kern="0">
                <a:solidFill>
                  <a:srgbClr val="FFFFFF"/>
                </a:solidFill>
                <a:latin typeface="Calibri" panose="020F0502020204030204"/>
              </a:endParaRPr>
            </a:p>
          </p:txBody>
        </p:sp>
        <p:sp>
          <p:nvSpPr>
            <p:cNvPr id="608" name="Hexagon 607"/>
            <p:cNvSpPr/>
            <p:nvPr/>
          </p:nvSpPr>
          <p:spPr>
            <a:xfrm>
              <a:off x="9046159" y="2255729"/>
              <a:ext cx="274914" cy="247991"/>
            </a:xfrm>
            <a:prstGeom prst="hexagon">
              <a:avLst/>
            </a:prstGeom>
            <a:solidFill>
              <a:srgbClr val="5B9BD5"/>
            </a:solidFill>
            <a:ln w="12700" cap="flat" cmpd="sng" algn="ctr">
              <a:noFill/>
              <a:prstDash val="solid"/>
              <a:miter lim="800000"/>
            </a:ln>
            <a:effectLst/>
          </p:spPr>
          <p:txBody>
            <a:bodyPr rtlCol="0" anchor="ctr"/>
            <a:lstStyle/>
            <a:p>
              <a:pPr algn="ctr" defTabSz="914133">
                <a:defRPr/>
              </a:pPr>
              <a:endParaRPr lang="en-US" kern="0">
                <a:solidFill>
                  <a:srgbClr val="FFFFFF"/>
                </a:solidFill>
                <a:latin typeface="Calibri" panose="020F0502020204030204"/>
              </a:endParaRPr>
            </a:p>
          </p:txBody>
        </p:sp>
        <p:cxnSp>
          <p:nvCxnSpPr>
            <p:cNvPr id="609" name="Straight Connector 608"/>
            <p:cNvCxnSpPr/>
            <p:nvPr/>
          </p:nvCxnSpPr>
          <p:spPr>
            <a:xfrm>
              <a:off x="8956351" y="2248636"/>
              <a:ext cx="230937" cy="135637"/>
            </a:xfrm>
            <a:prstGeom prst="line">
              <a:avLst/>
            </a:prstGeom>
            <a:noFill/>
            <a:ln w="6350" cap="flat" cmpd="sng" algn="ctr">
              <a:solidFill>
                <a:srgbClr val="5B9BD5"/>
              </a:solidFill>
              <a:prstDash val="solid"/>
              <a:miter lim="800000"/>
            </a:ln>
            <a:effectLst/>
          </p:spPr>
        </p:cxnSp>
        <p:cxnSp>
          <p:nvCxnSpPr>
            <p:cNvPr id="610" name="Straight Connector 609"/>
            <p:cNvCxnSpPr/>
            <p:nvPr/>
          </p:nvCxnSpPr>
          <p:spPr>
            <a:xfrm>
              <a:off x="8956351" y="1977361"/>
              <a:ext cx="230937" cy="135637"/>
            </a:xfrm>
            <a:prstGeom prst="line">
              <a:avLst/>
            </a:prstGeom>
            <a:noFill/>
            <a:ln w="6350" cap="flat" cmpd="sng" algn="ctr">
              <a:solidFill>
                <a:srgbClr val="5B9BD5"/>
              </a:solidFill>
              <a:prstDash val="solid"/>
              <a:miter lim="800000"/>
            </a:ln>
            <a:effectLst/>
          </p:spPr>
        </p:cxnSp>
        <p:cxnSp>
          <p:nvCxnSpPr>
            <p:cNvPr id="611" name="Straight Connector 610"/>
            <p:cNvCxnSpPr/>
            <p:nvPr/>
          </p:nvCxnSpPr>
          <p:spPr>
            <a:xfrm>
              <a:off x="9167391" y="2107178"/>
              <a:ext cx="230937" cy="135637"/>
            </a:xfrm>
            <a:prstGeom prst="line">
              <a:avLst/>
            </a:prstGeom>
            <a:noFill/>
            <a:ln w="6350" cap="flat" cmpd="sng" algn="ctr">
              <a:solidFill>
                <a:srgbClr val="5B9BD5"/>
              </a:solidFill>
              <a:prstDash val="solid"/>
              <a:miter lim="800000"/>
            </a:ln>
            <a:effectLst/>
          </p:spPr>
        </p:cxnSp>
        <p:cxnSp>
          <p:nvCxnSpPr>
            <p:cNvPr id="612" name="Straight Connector 611"/>
            <p:cNvCxnSpPr/>
            <p:nvPr/>
          </p:nvCxnSpPr>
          <p:spPr>
            <a:xfrm flipH="1">
              <a:off x="9167391" y="2248636"/>
              <a:ext cx="230937" cy="135637"/>
            </a:xfrm>
            <a:prstGeom prst="line">
              <a:avLst/>
            </a:prstGeom>
            <a:noFill/>
            <a:ln w="6350" cap="flat" cmpd="sng" algn="ctr">
              <a:solidFill>
                <a:srgbClr val="5B9BD5"/>
              </a:solidFill>
              <a:prstDash val="solid"/>
              <a:miter lim="800000"/>
            </a:ln>
            <a:effectLst/>
          </p:spPr>
        </p:cxnSp>
        <p:cxnSp>
          <p:nvCxnSpPr>
            <p:cNvPr id="613" name="Straight Connector 612"/>
            <p:cNvCxnSpPr/>
            <p:nvPr/>
          </p:nvCxnSpPr>
          <p:spPr>
            <a:xfrm>
              <a:off x="9179860" y="2118819"/>
              <a:ext cx="33" cy="268599"/>
            </a:xfrm>
            <a:prstGeom prst="line">
              <a:avLst/>
            </a:prstGeom>
            <a:noFill/>
            <a:ln w="6350" cap="flat" cmpd="sng" algn="ctr">
              <a:solidFill>
                <a:srgbClr val="5B9BD5"/>
              </a:solidFill>
              <a:prstDash val="solid"/>
              <a:miter lim="800000"/>
            </a:ln>
            <a:effectLst/>
          </p:spPr>
        </p:cxnSp>
        <p:cxnSp>
          <p:nvCxnSpPr>
            <p:cNvPr id="614" name="Straight Connector 613"/>
            <p:cNvCxnSpPr/>
            <p:nvPr/>
          </p:nvCxnSpPr>
          <p:spPr>
            <a:xfrm flipV="1">
              <a:off x="8952628" y="2112998"/>
              <a:ext cx="230903" cy="129817"/>
            </a:xfrm>
            <a:prstGeom prst="line">
              <a:avLst/>
            </a:prstGeom>
            <a:noFill/>
            <a:ln w="6350" cap="flat" cmpd="sng" algn="ctr">
              <a:solidFill>
                <a:srgbClr val="5B9BD5"/>
              </a:solidFill>
              <a:prstDash val="solid"/>
              <a:miter lim="800000"/>
            </a:ln>
            <a:effectLst/>
          </p:spPr>
        </p:cxnSp>
        <p:cxnSp>
          <p:nvCxnSpPr>
            <p:cNvPr id="615" name="Straight Connector 614"/>
            <p:cNvCxnSpPr/>
            <p:nvPr/>
          </p:nvCxnSpPr>
          <p:spPr>
            <a:xfrm flipV="1">
              <a:off x="9167391" y="1971540"/>
              <a:ext cx="230937" cy="147278"/>
            </a:xfrm>
            <a:prstGeom prst="line">
              <a:avLst/>
            </a:prstGeom>
            <a:noFill/>
            <a:ln w="6350" cap="flat" cmpd="sng" algn="ctr">
              <a:solidFill>
                <a:srgbClr val="5B9BD5"/>
              </a:solidFill>
              <a:prstDash val="solid"/>
              <a:miter lim="800000"/>
            </a:ln>
            <a:effectLst/>
          </p:spPr>
        </p:cxnSp>
        <p:cxnSp>
          <p:nvCxnSpPr>
            <p:cNvPr id="616" name="Straight Connector 615"/>
            <p:cNvCxnSpPr/>
            <p:nvPr/>
          </p:nvCxnSpPr>
          <p:spPr>
            <a:xfrm>
              <a:off x="8956334" y="2001981"/>
              <a:ext cx="33" cy="268599"/>
            </a:xfrm>
            <a:prstGeom prst="line">
              <a:avLst/>
            </a:prstGeom>
            <a:noFill/>
            <a:ln w="6350" cap="flat" cmpd="sng" algn="ctr">
              <a:solidFill>
                <a:srgbClr val="5B9BD5"/>
              </a:solidFill>
              <a:prstDash val="solid"/>
              <a:miter lim="800000"/>
            </a:ln>
            <a:effectLst/>
          </p:spPr>
        </p:cxnSp>
        <p:sp>
          <p:nvSpPr>
            <p:cNvPr id="617" name="Hexagon 616"/>
            <p:cNvSpPr/>
            <p:nvPr/>
          </p:nvSpPr>
          <p:spPr>
            <a:xfrm>
              <a:off x="9271538" y="1857916"/>
              <a:ext cx="274914" cy="247991"/>
            </a:xfrm>
            <a:prstGeom prst="hexagon">
              <a:avLst/>
            </a:prstGeom>
            <a:solidFill>
              <a:srgbClr val="5B9BD5"/>
            </a:solidFill>
            <a:ln w="12700" cap="flat" cmpd="sng" algn="ctr">
              <a:noFill/>
              <a:prstDash val="solid"/>
              <a:miter lim="800000"/>
            </a:ln>
            <a:effectLst/>
          </p:spPr>
          <p:txBody>
            <a:bodyPr rtlCol="0" anchor="ctr"/>
            <a:lstStyle/>
            <a:p>
              <a:pPr algn="ctr" defTabSz="914133">
                <a:defRPr/>
              </a:pPr>
              <a:endParaRPr lang="en-US" kern="0">
                <a:solidFill>
                  <a:srgbClr val="FFFFFF"/>
                </a:solidFill>
                <a:latin typeface="Calibri" panose="020F0502020204030204"/>
              </a:endParaRPr>
            </a:p>
          </p:txBody>
        </p:sp>
        <p:sp>
          <p:nvSpPr>
            <p:cNvPr id="618" name="Hexagon 617"/>
            <p:cNvSpPr/>
            <p:nvPr/>
          </p:nvSpPr>
          <p:spPr>
            <a:xfrm>
              <a:off x="9502475" y="1989004"/>
              <a:ext cx="274914" cy="247991"/>
            </a:xfrm>
            <a:prstGeom prst="hexagon">
              <a:avLst/>
            </a:prstGeom>
            <a:solidFill>
              <a:srgbClr val="5B9BD5"/>
            </a:solidFill>
            <a:ln w="12700" cap="flat" cmpd="sng" algn="ctr">
              <a:noFill/>
              <a:prstDash val="solid"/>
              <a:miter lim="800000"/>
            </a:ln>
            <a:effectLst/>
          </p:spPr>
          <p:txBody>
            <a:bodyPr rtlCol="0" anchor="ctr"/>
            <a:lstStyle/>
            <a:p>
              <a:pPr algn="ctr" defTabSz="914133">
                <a:defRPr/>
              </a:pPr>
              <a:endParaRPr lang="en-US" kern="0">
                <a:solidFill>
                  <a:srgbClr val="FFFFFF"/>
                </a:solidFill>
                <a:latin typeface="Calibri" panose="020F0502020204030204"/>
              </a:endParaRPr>
            </a:p>
          </p:txBody>
        </p:sp>
        <p:sp>
          <p:nvSpPr>
            <p:cNvPr id="619" name="Hexagon 618"/>
            <p:cNvSpPr/>
            <p:nvPr/>
          </p:nvSpPr>
          <p:spPr>
            <a:xfrm>
              <a:off x="9271538" y="2124641"/>
              <a:ext cx="274914" cy="247991"/>
            </a:xfrm>
            <a:prstGeom prst="hexagon">
              <a:avLst/>
            </a:prstGeom>
            <a:solidFill>
              <a:srgbClr val="5B9BD5"/>
            </a:solidFill>
            <a:ln w="12700" cap="flat" cmpd="sng" algn="ctr">
              <a:noFill/>
              <a:prstDash val="solid"/>
              <a:miter lim="800000"/>
            </a:ln>
            <a:effectLst/>
          </p:spPr>
          <p:txBody>
            <a:bodyPr rtlCol="0" anchor="ctr"/>
            <a:lstStyle/>
            <a:p>
              <a:pPr algn="ctr" defTabSz="914133">
                <a:defRPr/>
              </a:pPr>
              <a:endParaRPr lang="en-US" kern="0">
                <a:solidFill>
                  <a:srgbClr val="FFFFFF"/>
                </a:solidFill>
                <a:latin typeface="Calibri" panose="020F0502020204030204"/>
              </a:endParaRPr>
            </a:p>
          </p:txBody>
        </p:sp>
        <p:sp>
          <p:nvSpPr>
            <p:cNvPr id="620" name="Hexagon 619"/>
            <p:cNvSpPr/>
            <p:nvPr/>
          </p:nvSpPr>
          <p:spPr>
            <a:xfrm>
              <a:off x="9502475" y="2255729"/>
              <a:ext cx="274914" cy="247991"/>
            </a:xfrm>
            <a:prstGeom prst="hexagon">
              <a:avLst/>
            </a:prstGeom>
            <a:solidFill>
              <a:srgbClr val="5B9BD5"/>
            </a:solidFill>
            <a:ln w="12700" cap="flat" cmpd="sng" algn="ctr">
              <a:noFill/>
              <a:prstDash val="solid"/>
              <a:miter lim="800000"/>
            </a:ln>
            <a:effectLst/>
          </p:spPr>
          <p:txBody>
            <a:bodyPr rtlCol="0" anchor="ctr"/>
            <a:lstStyle/>
            <a:p>
              <a:pPr algn="ctr" defTabSz="914133">
                <a:defRPr/>
              </a:pPr>
              <a:endParaRPr lang="en-US" kern="0">
                <a:solidFill>
                  <a:srgbClr val="FFFFFF"/>
                </a:solidFill>
                <a:latin typeface="Calibri" panose="020F0502020204030204"/>
              </a:endParaRPr>
            </a:p>
          </p:txBody>
        </p:sp>
        <p:cxnSp>
          <p:nvCxnSpPr>
            <p:cNvPr id="621" name="Straight Connector 620"/>
            <p:cNvCxnSpPr/>
            <p:nvPr/>
          </p:nvCxnSpPr>
          <p:spPr>
            <a:xfrm>
              <a:off x="9408995" y="2248636"/>
              <a:ext cx="230937" cy="135637"/>
            </a:xfrm>
            <a:prstGeom prst="line">
              <a:avLst/>
            </a:prstGeom>
            <a:noFill/>
            <a:ln w="6350" cap="flat" cmpd="sng" algn="ctr">
              <a:solidFill>
                <a:srgbClr val="5B9BD5"/>
              </a:solidFill>
              <a:prstDash val="solid"/>
              <a:miter lim="800000"/>
            </a:ln>
            <a:effectLst/>
          </p:spPr>
        </p:cxnSp>
        <p:cxnSp>
          <p:nvCxnSpPr>
            <p:cNvPr id="622" name="Straight Connector 621"/>
            <p:cNvCxnSpPr/>
            <p:nvPr/>
          </p:nvCxnSpPr>
          <p:spPr>
            <a:xfrm>
              <a:off x="9408995" y="1977361"/>
              <a:ext cx="230937" cy="135637"/>
            </a:xfrm>
            <a:prstGeom prst="line">
              <a:avLst/>
            </a:prstGeom>
            <a:noFill/>
            <a:ln w="6350" cap="flat" cmpd="sng" algn="ctr">
              <a:solidFill>
                <a:srgbClr val="5B9BD5"/>
              </a:solidFill>
              <a:prstDash val="solid"/>
              <a:miter lim="800000"/>
            </a:ln>
            <a:effectLst/>
          </p:spPr>
        </p:cxnSp>
        <p:cxnSp>
          <p:nvCxnSpPr>
            <p:cNvPr id="623" name="Straight Connector 622"/>
            <p:cNvCxnSpPr/>
            <p:nvPr/>
          </p:nvCxnSpPr>
          <p:spPr>
            <a:xfrm>
              <a:off x="9636175" y="2107178"/>
              <a:ext cx="230937" cy="135637"/>
            </a:xfrm>
            <a:prstGeom prst="line">
              <a:avLst/>
            </a:prstGeom>
            <a:noFill/>
            <a:ln w="6350" cap="flat" cmpd="sng" algn="ctr">
              <a:solidFill>
                <a:srgbClr val="5B9BD5"/>
              </a:solidFill>
              <a:prstDash val="solid"/>
              <a:miter lim="800000"/>
            </a:ln>
            <a:effectLst/>
          </p:spPr>
        </p:cxnSp>
        <p:cxnSp>
          <p:nvCxnSpPr>
            <p:cNvPr id="624" name="Straight Connector 623"/>
            <p:cNvCxnSpPr/>
            <p:nvPr/>
          </p:nvCxnSpPr>
          <p:spPr>
            <a:xfrm flipH="1">
              <a:off x="9636175" y="2248636"/>
              <a:ext cx="230937" cy="135637"/>
            </a:xfrm>
            <a:prstGeom prst="line">
              <a:avLst/>
            </a:prstGeom>
            <a:noFill/>
            <a:ln w="6350" cap="flat" cmpd="sng" algn="ctr">
              <a:solidFill>
                <a:srgbClr val="5B9BD5"/>
              </a:solidFill>
              <a:prstDash val="solid"/>
              <a:miter lim="800000"/>
            </a:ln>
            <a:effectLst/>
          </p:spPr>
        </p:cxnSp>
        <p:cxnSp>
          <p:nvCxnSpPr>
            <p:cNvPr id="625" name="Straight Connector 624"/>
            <p:cNvCxnSpPr/>
            <p:nvPr/>
          </p:nvCxnSpPr>
          <p:spPr>
            <a:xfrm>
              <a:off x="9636176" y="2118819"/>
              <a:ext cx="33" cy="268599"/>
            </a:xfrm>
            <a:prstGeom prst="line">
              <a:avLst/>
            </a:prstGeom>
            <a:noFill/>
            <a:ln w="6350" cap="flat" cmpd="sng" algn="ctr">
              <a:solidFill>
                <a:srgbClr val="5B9BD5"/>
              </a:solidFill>
              <a:prstDash val="solid"/>
              <a:miter lim="800000"/>
            </a:ln>
            <a:effectLst/>
          </p:spPr>
        </p:cxnSp>
        <p:cxnSp>
          <p:nvCxnSpPr>
            <p:cNvPr id="626" name="Straight Connector 625"/>
            <p:cNvCxnSpPr/>
            <p:nvPr/>
          </p:nvCxnSpPr>
          <p:spPr>
            <a:xfrm flipV="1">
              <a:off x="9405272" y="2112998"/>
              <a:ext cx="230903" cy="129817"/>
            </a:xfrm>
            <a:prstGeom prst="line">
              <a:avLst/>
            </a:prstGeom>
            <a:noFill/>
            <a:ln w="6350" cap="flat" cmpd="sng" algn="ctr">
              <a:solidFill>
                <a:srgbClr val="5B9BD5"/>
              </a:solidFill>
              <a:prstDash val="solid"/>
              <a:miter lim="800000"/>
            </a:ln>
            <a:effectLst/>
          </p:spPr>
        </p:cxnSp>
        <p:cxnSp>
          <p:nvCxnSpPr>
            <p:cNvPr id="627" name="Straight Connector 626"/>
            <p:cNvCxnSpPr/>
            <p:nvPr/>
          </p:nvCxnSpPr>
          <p:spPr>
            <a:xfrm flipV="1">
              <a:off x="9636175" y="1971540"/>
              <a:ext cx="230937" cy="147278"/>
            </a:xfrm>
            <a:prstGeom prst="line">
              <a:avLst/>
            </a:prstGeom>
            <a:noFill/>
            <a:ln w="6350" cap="flat" cmpd="sng" algn="ctr">
              <a:solidFill>
                <a:srgbClr val="5B9BD5"/>
              </a:solidFill>
              <a:prstDash val="solid"/>
              <a:miter lim="800000"/>
            </a:ln>
            <a:effectLst/>
          </p:spPr>
        </p:cxnSp>
        <p:cxnSp>
          <p:nvCxnSpPr>
            <p:cNvPr id="628" name="Straight Connector 627"/>
            <p:cNvCxnSpPr/>
            <p:nvPr/>
          </p:nvCxnSpPr>
          <p:spPr>
            <a:xfrm>
              <a:off x="9408978" y="2001981"/>
              <a:ext cx="33" cy="268599"/>
            </a:xfrm>
            <a:prstGeom prst="line">
              <a:avLst/>
            </a:prstGeom>
            <a:noFill/>
            <a:ln w="6350" cap="flat" cmpd="sng" algn="ctr">
              <a:solidFill>
                <a:srgbClr val="5B9BD5"/>
              </a:solidFill>
              <a:prstDash val="solid"/>
              <a:miter lim="800000"/>
            </a:ln>
            <a:effectLst/>
          </p:spPr>
        </p:cxnSp>
        <p:sp>
          <p:nvSpPr>
            <p:cNvPr id="629" name="Hexagon 628"/>
            <p:cNvSpPr/>
            <p:nvPr/>
          </p:nvSpPr>
          <p:spPr>
            <a:xfrm>
              <a:off x="9730558" y="1857916"/>
              <a:ext cx="274914" cy="247991"/>
            </a:xfrm>
            <a:prstGeom prst="hexagon">
              <a:avLst/>
            </a:prstGeom>
            <a:solidFill>
              <a:srgbClr val="5B9BD5"/>
            </a:solidFill>
            <a:ln w="12700" cap="flat" cmpd="sng" algn="ctr">
              <a:noFill/>
              <a:prstDash val="solid"/>
              <a:miter lim="800000"/>
            </a:ln>
            <a:effectLst/>
          </p:spPr>
          <p:txBody>
            <a:bodyPr rtlCol="0" anchor="ctr"/>
            <a:lstStyle/>
            <a:p>
              <a:pPr algn="ctr" defTabSz="914133">
                <a:defRPr/>
              </a:pPr>
              <a:endParaRPr lang="en-US" kern="0">
                <a:solidFill>
                  <a:srgbClr val="FFFFFF"/>
                </a:solidFill>
                <a:latin typeface="Calibri" panose="020F0502020204030204"/>
              </a:endParaRPr>
            </a:p>
          </p:txBody>
        </p:sp>
        <p:sp>
          <p:nvSpPr>
            <p:cNvPr id="630" name="Hexagon 629"/>
            <p:cNvSpPr/>
            <p:nvPr/>
          </p:nvSpPr>
          <p:spPr>
            <a:xfrm>
              <a:off x="9961495" y="1989004"/>
              <a:ext cx="274914" cy="247991"/>
            </a:xfrm>
            <a:prstGeom prst="hexagon">
              <a:avLst/>
            </a:prstGeom>
            <a:solidFill>
              <a:srgbClr val="5B9BD5"/>
            </a:solidFill>
            <a:ln w="12700" cap="flat" cmpd="sng" algn="ctr">
              <a:noFill/>
              <a:prstDash val="solid"/>
              <a:miter lim="800000"/>
            </a:ln>
            <a:effectLst/>
          </p:spPr>
          <p:txBody>
            <a:bodyPr rtlCol="0" anchor="ctr"/>
            <a:lstStyle/>
            <a:p>
              <a:pPr algn="ctr" defTabSz="914133">
                <a:defRPr/>
              </a:pPr>
              <a:endParaRPr lang="en-US" kern="0">
                <a:solidFill>
                  <a:srgbClr val="FFFFFF"/>
                </a:solidFill>
                <a:latin typeface="Calibri" panose="020F0502020204030204"/>
              </a:endParaRPr>
            </a:p>
          </p:txBody>
        </p:sp>
        <p:sp>
          <p:nvSpPr>
            <p:cNvPr id="631" name="Hexagon 630"/>
            <p:cNvSpPr/>
            <p:nvPr/>
          </p:nvSpPr>
          <p:spPr>
            <a:xfrm>
              <a:off x="9730558" y="2124641"/>
              <a:ext cx="274914" cy="247991"/>
            </a:xfrm>
            <a:prstGeom prst="hexagon">
              <a:avLst/>
            </a:prstGeom>
            <a:solidFill>
              <a:srgbClr val="5B9BD5"/>
            </a:solidFill>
            <a:ln w="12700" cap="flat" cmpd="sng" algn="ctr">
              <a:noFill/>
              <a:prstDash val="solid"/>
              <a:miter lim="800000"/>
            </a:ln>
            <a:effectLst/>
          </p:spPr>
          <p:txBody>
            <a:bodyPr rtlCol="0" anchor="ctr"/>
            <a:lstStyle/>
            <a:p>
              <a:pPr algn="ctr" defTabSz="914133">
                <a:defRPr/>
              </a:pPr>
              <a:endParaRPr lang="en-US" kern="0">
                <a:solidFill>
                  <a:srgbClr val="FFFFFF"/>
                </a:solidFill>
                <a:latin typeface="Calibri" panose="020F0502020204030204"/>
              </a:endParaRPr>
            </a:p>
          </p:txBody>
        </p:sp>
        <p:sp>
          <p:nvSpPr>
            <p:cNvPr id="632" name="Hexagon 631"/>
            <p:cNvSpPr/>
            <p:nvPr/>
          </p:nvSpPr>
          <p:spPr>
            <a:xfrm>
              <a:off x="9961495" y="2255729"/>
              <a:ext cx="274914" cy="247991"/>
            </a:xfrm>
            <a:prstGeom prst="hexagon">
              <a:avLst/>
            </a:prstGeom>
            <a:solidFill>
              <a:srgbClr val="5B9BD5"/>
            </a:solidFill>
            <a:ln w="12700" cap="flat" cmpd="sng" algn="ctr">
              <a:noFill/>
              <a:prstDash val="solid"/>
              <a:miter lim="800000"/>
            </a:ln>
            <a:effectLst/>
          </p:spPr>
          <p:txBody>
            <a:bodyPr rtlCol="0" anchor="ctr"/>
            <a:lstStyle/>
            <a:p>
              <a:pPr algn="ctr" defTabSz="914133">
                <a:defRPr/>
              </a:pPr>
              <a:endParaRPr lang="en-US" kern="0">
                <a:solidFill>
                  <a:srgbClr val="FFFFFF"/>
                </a:solidFill>
                <a:latin typeface="Calibri" panose="020F0502020204030204"/>
              </a:endParaRPr>
            </a:p>
          </p:txBody>
        </p:sp>
        <p:cxnSp>
          <p:nvCxnSpPr>
            <p:cNvPr id="633" name="Straight Connector 632"/>
            <p:cNvCxnSpPr/>
            <p:nvPr/>
          </p:nvCxnSpPr>
          <p:spPr>
            <a:xfrm>
              <a:off x="9868015" y="2248636"/>
              <a:ext cx="230937" cy="135637"/>
            </a:xfrm>
            <a:prstGeom prst="line">
              <a:avLst/>
            </a:prstGeom>
            <a:noFill/>
            <a:ln w="6350" cap="flat" cmpd="sng" algn="ctr">
              <a:solidFill>
                <a:srgbClr val="5B9BD5"/>
              </a:solidFill>
              <a:prstDash val="solid"/>
              <a:miter lim="800000"/>
            </a:ln>
            <a:effectLst/>
          </p:spPr>
        </p:cxnSp>
        <p:cxnSp>
          <p:nvCxnSpPr>
            <p:cNvPr id="634" name="Straight Connector 633"/>
            <p:cNvCxnSpPr/>
            <p:nvPr/>
          </p:nvCxnSpPr>
          <p:spPr>
            <a:xfrm>
              <a:off x="9868015" y="1977361"/>
              <a:ext cx="230937" cy="135637"/>
            </a:xfrm>
            <a:prstGeom prst="line">
              <a:avLst/>
            </a:prstGeom>
            <a:noFill/>
            <a:ln w="6350" cap="flat" cmpd="sng" algn="ctr">
              <a:solidFill>
                <a:srgbClr val="5B9BD5"/>
              </a:solidFill>
              <a:prstDash val="solid"/>
              <a:miter lim="800000"/>
            </a:ln>
            <a:effectLst/>
          </p:spPr>
        </p:cxnSp>
        <p:cxnSp>
          <p:nvCxnSpPr>
            <p:cNvPr id="635" name="Straight Connector 634"/>
            <p:cNvCxnSpPr/>
            <p:nvPr/>
          </p:nvCxnSpPr>
          <p:spPr>
            <a:xfrm>
              <a:off x="10095195" y="2107178"/>
              <a:ext cx="230937" cy="135637"/>
            </a:xfrm>
            <a:prstGeom prst="line">
              <a:avLst/>
            </a:prstGeom>
            <a:noFill/>
            <a:ln w="6350" cap="flat" cmpd="sng" algn="ctr">
              <a:solidFill>
                <a:srgbClr val="5B9BD5"/>
              </a:solidFill>
              <a:prstDash val="solid"/>
              <a:miter lim="800000"/>
            </a:ln>
            <a:effectLst/>
          </p:spPr>
        </p:cxnSp>
        <p:cxnSp>
          <p:nvCxnSpPr>
            <p:cNvPr id="636" name="Straight Connector 635"/>
            <p:cNvCxnSpPr/>
            <p:nvPr/>
          </p:nvCxnSpPr>
          <p:spPr>
            <a:xfrm flipH="1">
              <a:off x="10095195" y="2248636"/>
              <a:ext cx="230937" cy="135637"/>
            </a:xfrm>
            <a:prstGeom prst="line">
              <a:avLst/>
            </a:prstGeom>
            <a:noFill/>
            <a:ln w="6350" cap="flat" cmpd="sng" algn="ctr">
              <a:solidFill>
                <a:srgbClr val="5B9BD5"/>
              </a:solidFill>
              <a:prstDash val="solid"/>
              <a:miter lim="800000"/>
            </a:ln>
            <a:effectLst/>
          </p:spPr>
        </p:cxnSp>
        <p:cxnSp>
          <p:nvCxnSpPr>
            <p:cNvPr id="637" name="Straight Connector 636"/>
            <p:cNvCxnSpPr/>
            <p:nvPr/>
          </p:nvCxnSpPr>
          <p:spPr>
            <a:xfrm>
              <a:off x="10095196" y="2118819"/>
              <a:ext cx="33" cy="268599"/>
            </a:xfrm>
            <a:prstGeom prst="line">
              <a:avLst/>
            </a:prstGeom>
            <a:noFill/>
            <a:ln w="6350" cap="flat" cmpd="sng" algn="ctr">
              <a:solidFill>
                <a:srgbClr val="5B9BD5"/>
              </a:solidFill>
              <a:prstDash val="solid"/>
              <a:miter lim="800000"/>
            </a:ln>
            <a:effectLst/>
          </p:spPr>
        </p:cxnSp>
        <p:cxnSp>
          <p:nvCxnSpPr>
            <p:cNvPr id="638" name="Straight Connector 637"/>
            <p:cNvCxnSpPr/>
            <p:nvPr/>
          </p:nvCxnSpPr>
          <p:spPr>
            <a:xfrm flipV="1">
              <a:off x="9864292" y="2112998"/>
              <a:ext cx="230903" cy="129817"/>
            </a:xfrm>
            <a:prstGeom prst="line">
              <a:avLst/>
            </a:prstGeom>
            <a:noFill/>
            <a:ln w="6350" cap="flat" cmpd="sng" algn="ctr">
              <a:solidFill>
                <a:srgbClr val="5B9BD5"/>
              </a:solidFill>
              <a:prstDash val="solid"/>
              <a:miter lim="800000"/>
            </a:ln>
            <a:effectLst/>
          </p:spPr>
        </p:cxnSp>
        <p:cxnSp>
          <p:nvCxnSpPr>
            <p:cNvPr id="639" name="Straight Connector 638"/>
            <p:cNvCxnSpPr/>
            <p:nvPr/>
          </p:nvCxnSpPr>
          <p:spPr>
            <a:xfrm flipV="1">
              <a:off x="10095195" y="1971540"/>
              <a:ext cx="230937" cy="147278"/>
            </a:xfrm>
            <a:prstGeom prst="line">
              <a:avLst/>
            </a:prstGeom>
            <a:noFill/>
            <a:ln w="6350" cap="flat" cmpd="sng" algn="ctr">
              <a:solidFill>
                <a:srgbClr val="5B9BD5"/>
              </a:solidFill>
              <a:prstDash val="solid"/>
              <a:miter lim="800000"/>
            </a:ln>
            <a:effectLst/>
          </p:spPr>
        </p:cxnSp>
        <p:cxnSp>
          <p:nvCxnSpPr>
            <p:cNvPr id="640" name="Straight Connector 639"/>
            <p:cNvCxnSpPr/>
            <p:nvPr/>
          </p:nvCxnSpPr>
          <p:spPr>
            <a:xfrm>
              <a:off x="9867998" y="2006530"/>
              <a:ext cx="33" cy="268599"/>
            </a:xfrm>
            <a:prstGeom prst="line">
              <a:avLst/>
            </a:prstGeom>
            <a:noFill/>
            <a:ln w="6350" cap="flat" cmpd="sng" algn="ctr">
              <a:solidFill>
                <a:srgbClr val="5B9BD5"/>
              </a:solidFill>
              <a:prstDash val="solid"/>
              <a:miter lim="800000"/>
            </a:ln>
            <a:effectLst/>
          </p:spPr>
        </p:cxnSp>
        <p:sp>
          <p:nvSpPr>
            <p:cNvPr id="641" name="Hexagon 640"/>
            <p:cNvSpPr/>
            <p:nvPr/>
          </p:nvSpPr>
          <p:spPr>
            <a:xfrm>
              <a:off x="10193734" y="1857916"/>
              <a:ext cx="274914" cy="247991"/>
            </a:xfrm>
            <a:prstGeom prst="hexagon">
              <a:avLst/>
            </a:prstGeom>
            <a:solidFill>
              <a:srgbClr val="5B9BD5"/>
            </a:solidFill>
            <a:ln w="12700" cap="flat" cmpd="sng" algn="ctr">
              <a:noFill/>
              <a:prstDash val="solid"/>
              <a:miter lim="800000"/>
            </a:ln>
            <a:effectLst/>
          </p:spPr>
          <p:txBody>
            <a:bodyPr rtlCol="0" anchor="ctr"/>
            <a:lstStyle/>
            <a:p>
              <a:pPr algn="ctr" defTabSz="914133">
                <a:defRPr/>
              </a:pPr>
              <a:endParaRPr lang="en-US" kern="0">
                <a:solidFill>
                  <a:srgbClr val="FFFFFF"/>
                </a:solidFill>
                <a:latin typeface="Calibri" panose="020F0502020204030204"/>
              </a:endParaRPr>
            </a:p>
          </p:txBody>
        </p:sp>
        <p:sp>
          <p:nvSpPr>
            <p:cNvPr id="642" name="Hexagon 641"/>
            <p:cNvSpPr/>
            <p:nvPr/>
          </p:nvSpPr>
          <p:spPr>
            <a:xfrm>
              <a:off x="10424671" y="1989004"/>
              <a:ext cx="274914" cy="247991"/>
            </a:xfrm>
            <a:prstGeom prst="hexagon">
              <a:avLst/>
            </a:prstGeom>
            <a:solidFill>
              <a:srgbClr val="5B9BD5"/>
            </a:solidFill>
            <a:ln w="12700" cap="flat" cmpd="sng" algn="ctr">
              <a:noFill/>
              <a:prstDash val="solid"/>
              <a:miter lim="800000"/>
            </a:ln>
            <a:effectLst/>
          </p:spPr>
          <p:txBody>
            <a:bodyPr rtlCol="0" anchor="ctr"/>
            <a:lstStyle/>
            <a:p>
              <a:pPr algn="ctr" defTabSz="914133">
                <a:defRPr/>
              </a:pPr>
              <a:endParaRPr lang="en-US" kern="0">
                <a:solidFill>
                  <a:srgbClr val="FFFFFF"/>
                </a:solidFill>
                <a:latin typeface="Calibri" panose="020F0502020204030204"/>
              </a:endParaRPr>
            </a:p>
          </p:txBody>
        </p:sp>
        <p:sp>
          <p:nvSpPr>
            <p:cNvPr id="643" name="Hexagon 642"/>
            <p:cNvSpPr/>
            <p:nvPr/>
          </p:nvSpPr>
          <p:spPr>
            <a:xfrm>
              <a:off x="10193734" y="2124641"/>
              <a:ext cx="274914" cy="247991"/>
            </a:xfrm>
            <a:prstGeom prst="hexagon">
              <a:avLst/>
            </a:prstGeom>
            <a:solidFill>
              <a:srgbClr val="5B9BD5"/>
            </a:solidFill>
            <a:ln w="12700" cap="flat" cmpd="sng" algn="ctr">
              <a:noFill/>
              <a:prstDash val="solid"/>
              <a:miter lim="800000"/>
            </a:ln>
            <a:effectLst/>
          </p:spPr>
          <p:txBody>
            <a:bodyPr rtlCol="0" anchor="ctr"/>
            <a:lstStyle/>
            <a:p>
              <a:pPr algn="ctr" defTabSz="914133">
                <a:defRPr/>
              </a:pPr>
              <a:endParaRPr lang="en-US" kern="0">
                <a:solidFill>
                  <a:srgbClr val="FFFFFF"/>
                </a:solidFill>
                <a:latin typeface="Calibri" panose="020F0502020204030204"/>
              </a:endParaRPr>
            </a:p>
          </p:txBody>
        </p:sp>
        <p:sp>
          <p:nvSpPr>
            <p:cNvPr id="644" name="Hexagon 643"/>
            <p:cNvSpPr/>
            <p:nvPr/>
          </p:nvSpPr>
          <p:spPr>
            <a:xfrm>
              <a:off x="10424671" y="2255729"/>
              <a:ext cx="274914" cy="247991"/>
            </a:xfrm>
            <a:prstGeom prst="hexagon">
              <a:avLst/>
            </a:prstGeom>
            <a:solidFill>
              <a:srgbClr val="5B9BD5"/>
            </a:solidFill>
            <a:ln w="12700" cap="flat" cmpd="sng" algn="ctr">
              <a:noFill/>
              <a:prstDash val="solid"/>
              <a:miter lim="800000"/>
            </a:ln>
            <a:effectLst/>
          </p:spPr>
          <p:txBody>
            <a:bodyPr rtlCol="0" anchor="ctr"/>
            <a:lstStyle/>
            <a:p>
              <a:pPr algn="ctr" defTabSz="914133">
                <a:defRPr/>
              </a:pPr>
              <a:endParaRPr lang="en-US" kern="0">
                <a:solidFill>
                  <a:srgbClr val="FFFFFF"/>
                </a:solidFill>
                <a:latin typeface="Calibri" panose="020F0502020204030204"/>
              </a:endParaRPr>
            </a:p>
          </p:txBody>
        </p:sp>
        <p:cxnSp>
          <p:nvCxnSpPr>
            <p:cNvPr id="645" name="Straight Connector 644"/>
            <p:cNvCxnSpPr/>
            <p:nvPr/>
          </p:nvCxnSpPr>
          <p:spPr>
            <a:xfrm>
              <a:off x="10331191" y="2248636"/>
              <a:ext cx="230937" cy="135637"/>
            </a:xfrm>
            <a:prstGeom prst="line">
              <a:avLst/>
            </a:prstGeom>
            <a:noFill/>
            <a:ln w="6350" cap="flat" cmpd="sng" algn="ctr">
              <a:solidFill>
                <a:srgbClr val="5B9BD5"/>
              </a:solidFill>
              <a:prstDash val="solid"/>
              <a:miter lim="800000"/>
            </a:ln>
            <a:effectLst/>
          </p:spPr>
        </p:cxnSp>
        <p:cxnSp>
          <p:nvCxnSpPr>
            <p:cNvPr id="646" name="Straight Connector 645"/>
            <p:cNvCxnSpPr/>
            <p:nvPr/>
          </p:nvCxnSpPr>
          <p:spPr>
            <a:xfrm>
              <a:off x="10331191" y="1977361"/>
              <a:ext cx="230937" cy="135637"/>
            </a:xfrm>
            <a:prstGeom prst="line">
              <a:avLst/>
            </a:prstGeom>
            <a:noFill/>
            <a:ln w="6350" cap="flat" cmpd="sng" algn="ctr">
              <a:solidFill>
                <a:srgbClr val="5B9BD5"/>
              </a:solidFill>
              <a:prstDash val="solid"/>
              <a:miter lim="800000"/>
            </a:ln>
            <a:effectLst/>
          </p:spPr>
        </p:cxnSp>
        <p:cxnSp>
          <p:nvCxnSpPr>
            <p:cNvPr id="647" name="Straight Connector 646"/>
            <p:cNvCxnSpPr/>
            <p:nvPr/>
          </p:nvCxnSpPr>
          <p:spPr>
            <a:xfrm>
              <a:off x="10558371" y="2107178"/>
              <a:ext cx="230937" cy="135637"/>
            </a:xfrm>
            <a:prstGeom prst="line">
              <a:avLst/>
            </a:prstGeom>
            <a:noFill/>
            <a:ln w="6350" cap="flat" cmpd="sng" algn="ctr">
              <a:solidFill>
                <a:srgbClr val="5B9BD5"/>
              </a:solidFill>
              <a:prstDash val="solid"/>
              <a:miter lim="800000"/>
            </a:ln>
            <a:effectLst/>
          </p:spPr>
        </p:cxnSp>
        <p:cxnSp>
          <p:nvCxnSpPr>
            <p:cNvPr id="648" name="Straight Connector 647"/>
            <p:cNvCxnSpPr/>
            <p:nvPr/>
          </p:nvCxnSpPr>
          <p:spPr>
            <a:xfrm flipH="1">
              <a:off x="10558371" y="2248636"/>
              <a:ext cx="230937" cy="135637"/>
            </a:xfrm>
            <a:prstGeom prst="line">
              <a:avLst/>
            </a:prstGeom>
            <a:noFill/>
            <a:ln w="6350" cap="flat" cmpd="sng" algn="ctr">
              <a:solidFill>
                <a:srgbClr val="5B9BD5"/>
              </a:solidFill>
              <a:prstDash val="solid"/>
              <a:miter lim="800000"/>
            </a:ln>
            <a:effectLst/>
          </p:spPr>
        </p:cxnSp>
        <p:cxnSp>
          <p:nvCxnSpPr>
            <p:cNvPr id="649" name="Straight Connector 648"/>
            <p:cNvCxnSpPr/>
            <p:nvPr/>
          </p:nvCxnSpPr>
          <p:spPr>
            <a:xfrm>
              <a:off x="10558372" y="2118819"/>
              <a:ext cx="33" cy="268599"/>
            </a:xfrm>
            <a:prstGeom prst="line">
              <a:avLst/>
            </a:prstGeom>
            <a:noFill/>
            <a:ln w="6350" cap="flat" cmpd="sng" algn="ctr">
              <a:solidFill>
                <a:srgbClr val="5B9BD5"/>
              </a:solidFill>
              <a:prstDash val="solid"/>
              <a:miter lim="800000"/>
            </a:ln>
            <a:effectLst/>
          </p:spPr>
        </p:cxnSp>
        <p:cxnSp>
          <p:nvCxnSpPr>
            <p:cNvPr id="650" name="Straight Connector 649"/>
            <p:cNvCxnSpPr/>
            <p:nvPr/>
          </p:nvCxnSpPr>
          <p:spPr>
            <a:xfrm flipV="1">
              <a:off x="10327468" y="2112998"/>
              <a:ext cx="230903" cy="129817"/>
            </a:xfrm>
            <a:prstGeom prst="line">
              <a:avLst/>
            </a:prstGeom>
            <a:noFill/>
            <a:ln w="6350" cap="flat" cmpd="sng" algn="ctr">
              <a:solidFill>
                <a:srgbClr val="5B9BD5"/>
              </a:solidFill>
              <a:prstDash val="solid"/>
              <a:miter lim="800000"/>
            </a:ln>
            <a:effectLst/>
          </p:spPr>
        </p:cxnSp>
        <p:cxnSp>
          <p:nvCxnSpPr>
            <p:cNvPr id="651" name="Straight Connector 650"/>
            <p:cNvCxnSpPr/>
            <p:nvPr/>
          </p:nvCxnSpPr>
          <p:spPr>
            <a:xfrm flipV="1">
              <a:off x="10558371" y="1971540"/>
              <a:ext cx="230937" cy="147278"/>
            </a:xfrm>
            <a:prstGeom prst="line">
              <a:avLst/>
            </a:prstGeom>
            <a:noFill/>
            <a:ln w="6350" cap="flat" cmpd="sng" algn="ctr">
              <a:solidFill>
                <a:srgbClr val="5B9BD5"/>
              </a:solidFill>
              <a:prstDash val="solid"/>
              <a:miter lim="800000"/>
            </a:ln>
            <a:effectLst/>
          </p:spPr>
        </p:cxnSp>
        <p:cxnSp>
          <p:nvCxnSpPr>
            <p:cNvPr id="652" name="Straight Connector 651"/>
            <p:cNvCxnSpPr/>
            <p:nvPr/>
          </p:nvCxnSpPr>
          <p:spPr>
            <a:xfrm>
              <a:off x="10331174" y="2006530"/>
              <a:ext cx="33" cy="268599"/>
            </a:xfrm>
            <a:prstGeom prst="line">
              <a:avLst/>
            </a:prstGeom>
            <a:noFill/>
            <a:ln w="6350" cap="flat" cmpd="sng" algn="ctr">
              <a:solidFill>
                <a:srgbClr val="5B9BD5"/>
              </a:solidFill>
              <a:prstDash val="solid"/>
              <a:miter lim="800000"/>
            </a:ln>
            <a:effectLst/>
          </p:spPr>
        </p:cxnSp>
        <p:sp>
          <p:nvSpPr>
            <p:cNvPr id="653" name="Hexagon 652"/>
            <p:cNvSpPr/>
            <p:nvPr/>
          </p:nvSpPr>
          <p:spPr>
            <a:xfrm>
              <a:off x="10655240" y="1857916"/>
              <a:ext cx="274914" cy="247991"/>
            </a:xfrm>
            <a:prstGeom prst="hexagon">
              <a:avLst/>
            </a:prstGeom>
            <a:solidFill>
              <a:srgbClr val="5B9BD5"/>
            </a:solidFill>
            <a:ln w="12700" cap="flat" cmpd="sng" algn="ctr">
              <a:noFill/>
              <a:prstDash val="solid"/>
              <a:miter lim="800000"/>
            </a:ln>
            <a:effectLst/>
          </p:spPr>
          <p:txBody>
            <a:bodyPr rtlCol="0" anchor="ctr"/>
            <a:lstStyle/>
            <a:p>
              <a:pPr algn="ctr" defTabSz="914133">
                <a:defRPr/>
              </a:pPr>
              <a:endParaRPr lang="en-US" kern="0">
                <a:solidFill>
                  <a:srgbClr val="FFFFFF"/>
                </a:solidFill>
                <a:latin typeface="Calibri" panose="020F0502020204030204"/>
              </a:endParaRPr>
            </a:p>
          </p:txBody>
        </p:sp>
        <p:sp>
          <p:nvSpPr>
            <p:cNvPr id="654" name="Hexagon 653"/>
            <p:cNvSpPr/>
            <p:nvPr/>
          </p:nvSpPr>
          <p:spPr>
            <a:xfrm>
              <a:off x="10886177" y="1989004"/>
              <a:ext cx="274914" cy="247991"/>
            </a:xfrm>
            <a:prstGeom prst="hexagon">
              <a:avLst/>
            </a:prstGeom>
            <a:solidFill>
              <a:srgbClr val="5B9BD5"/>
            </a:solidFill>
            <a:ln w="12700" cap="flat" cmpd="sng" algn="ctr">
              <a:noFill/>
              <a:prstDash val="solid"/>
              <a:miter lim="800000"/>
            </a:ln>
            <a:effectLst/>
          </p:spPr>
          <p:txBody>
            <a:bodyPr rtlCol="0" anchor="ctr"/>
            <a:lstStyle/>
            <a:p>
              <a:pPr algn="ctr" defTabSz="914133">
                <a:defRPr/>
              </a:pPr>
              <a:endParaRPr lang="en-US" kern="0">
                <a:solidFill>
                  <a:srgbClr val="FFFFFF"/>
                </a:solidFill>
                <a:latin typeface="Calibri" panose="020F0502020204030204"/>
              </a:endParaRPr>
            </a:p>
          </p:txBody>
        </p:sp>
        <p:sp>
          <p:nvSpPr>
            <p:cNvPr id="655" name="Hexagon 654"/>
            <p:cNvSpPr/>
            <p:nvPr/>
          </p:nvSpPr>
          <p:spPr>
            <a:xfrm>
              <a:off x="10655240" y="2124641"/>
              <a:ext cx="274914" cy="247991"/>
            </a:xfrm>
            <a:prstGeom prst="hexagon">
              <a:avLst/>
            </a:prstGeom>
            <a:solidFill>
              <a:srgbClr val="5B9BD5"/>
            </a:solidFill>
            <a:ln w="12700" cap="flat" cmpd="sng" algn="ctr">
              <a:noFill/>
              <a:prstDash val="solid"/>
              <a:miter lim="800000"/>
            </a:ln>
            <a:effectLst/>
          </p:spPr>
          <p:txBody>
            <a:bodyPr rtlCol="0" anchor="ctr"/>
            <a:lstStyle/>
            <a:p>
              <a:pPr algn="ctr" defTabSz="914133">
                <a:defRPr/>
              </a:pPr>
              <a:endParaRPr lang="en-US" kern="0">
                <a:solidFill>
                  <a:srgbClr val="FFFFFF"/>
                </a:solidFill>
                <a:latin typeface="Calibri" panose="020F0502020204030204"/>
              </a:endParaRPr>
            </a:p>
          </p:txBody>
        </p:sp>
        <p:sp>
          <p:nvSpPr>
            <p:cNvPr id="656" name="Hexagon 655"/>
            <p:cNvSpPr/>
            <p:nvPr/>
          </p:nvSpPr>
          <p:spPr>
            <a:xfrm>
              <a:off x="10886177" y="2255729"/>
              <a:ext cx="274914" cy="247991"/>
            </a:xfrm>
            <a:prstGeom prst="hexagon">
              <a:avLst/>
            </a:prstGeom>
            <a:solidFill>
              <a:srgbClr val="5B9BD5"/>
            </a:solidFill>
            <a:ln w="12700" cap="flat" cmpd="sng" algn="ctr">
              <a:noFill/>
              <a:prstDash val="solid"/>
              <a:miter lim="800000"/>
            </a:ln>
            <a:effectLst/>
          </p:spPr>
          <p:txBody>
            <a:bodyPr rtlCol="0" anchor="ctr"/>
            <a:lstStyle/>
            <a:p>
              <a:pPr algn="ctr" defTabSz="914133">
                <a:defRPr/>
              </a:pPr>
              <a:endParaRPr lang="en-US" kern="0">
                <a:solidFill>
                  <a:srgbClr val="FFFFFF"/>
                </a:solidFill>
                <a:latin typeface="Calibri" panose="020F0502020204030204"/>
              </a:endParaRPr>
            </a:p>
          </p:txBody>
        </p:sp>
        <p:cxnSp>
          <p:nvCxnSpPr>
            <p:cNvPr id="657" name="Straight Connector 656"/>
            <p:cNvCxnSpPr/>
            <p:nvPr/>
          </p:nvCxnSpPr>
          <p:spPr>
            <a:xfrm>
              <a:off x="10792697" y="2248636"/>
              <a:ext cx="230937" cy="135637"/>
            </a:xfrm>
            <a:prstGeom prst="line">
              <a:avLst/>
            </a:prstGeom>
            <a:noFill/>
            <a:ln w="6350" cap="flat" cmpd="sng" algn="ctr">
              <a:solidFill>
                <a:srgbClr val="5B9BD5"/>
              </a:solidFill>
              <a:prstDash val="solid"/>
              <a:miter lim="800000"/>
            </a:ln>
            <a:effectLst/>
          </p:spPr>
        </p:cxnSp>
        <p:cxnSp>
          <p:nvCxnSpPr>
            <p:cNvPr id="658" name="Straight Connector 657"/>
            <p:cNvCxnSpPr/>
            <p:nvPr/>
          </p:nvCxnSpPr>
          <p:spPr>
            <a:xfrm>
              <a:off x="10792697" y="1977361"/>
              <a:ext cx="230937" cy="135637"/>
            </a:xfrm>
            <a:prstGeom prst="line">
              <a:avLst/>
            </a:prstGeom>
            <a:noFill/>
            <a:ln w="6350" cap="flat" cmpd="sng" algn="ctr">
              <a:solidFill>
                <a:srgbClr val="5B9BD5"/>
              </a:solidFill>
              <a:prstDash val="solid"/>
              <a:miter lim="800000"/>
            </a:ln>
            <a:effectLst/>
          </p:spPr>
        </p:cxnSp>
        <p:cxnSp>
          <p:nvCxnSpPr>
            <p:cNvPr id="659" name="Straight Connector 658"/>
            <p:cNvCxnSpPr/>
            <p:nvPr/>
          </p:nvCxnSpPr>
          <p:spPr>
            <a:xfrm>
              <a:off x="11019877" y="2107178"/>
              <a:ext cx="230937" cy="135637"/>
            </a:xfrm>
            <a:prstGeom prst="line">
              <a:avLst/>
            </a:prstGeom>
            <a:noFill/>
            <a:ln w="6350" cap="flat" cmpd="sng" algn="ctr">
              <a:solidFill>
                <a:srgbClr val="5B9BD5"/>
              </a:solidFill>
              <a:prstDash val="solid"/>
              <a:miter lim="800000"/>
            </a:ln>
            <a:effectLst/>
          </p:spPr>
        </p:cxnSp>
        <p:cxnSp>
          <p:nvCxnSpPr>
            <p:cNvPr id="660" name="Straight Connector 659"/>
            <p:cNvCxnSpPr/>
            <p:nvPr/>
          </p:nvCxnSpPr>
          <p:spPr>
            <a:xfrm flipH="1">
              <a:off x="11019877" y="2248636"/>
              <a:ext cx="230937" cy="135637"/>
            </a:xfrm>
            <a:prstGeom prst="line">
              <a:avLst/>
            </a:prstGeom>
            <a:noFill/>
            <a:ln w="6350" cap="flat" cmpd="sng" algn="ctr">
              <a:solidFill>
                <a:srgbClr val="5B9BD5"/>
              </a:solidFill>
              <a:prstDash val="solid"/>
              <a:miter lim="800000"/>
            </a:ln>
            <a:effectLst/>
          </p:spPr>
        </p:cxnSp>
        <p:cxnSp>
          <p:nvCxnSpPr>
            <p:cNvPr id="661" name="Straight Connector 660"/>
            <p:cNvCxnSpPr/>
            <p:nvPr/>
          </p:nvCxnSpPr>
          <p:spPr>
            <a:xfrm>
              <a:off x="11019878" y="2118819"/>
              <a:ext cx="33" cy="268599"/>
            </a:xfrm>
            <a:prstGeom prst="line">
              <a:avLst/>
            </a:prstGeom>
            <a:noFill/>
            <a:ln w="6350" cap="flat" cmpd="sng" algn="ctr">
              <a:solidFill>
                <a:srgbClr val="5B9BD5"/>
              </a:solidFill>
              <a:prstDash val="solid"/>
              <a:miter lim="800000"/>
            </a:ln>
            <a:effectLst/>
          </p:spPr>
        </p:cxnSp>
        <p:cxnSp>
          <p:nvCxnSpPr>
            <p:cNvPr id="662" name="Straight Connector 661"/>
            <p:cNvCxnSpPr/>
            <p:nvPr/>
          </p:nvCxnSpPr>
          <p:spPr>
            <a:xfrm flipV="1">
              <a:off x="10788974" y="2112998"/>
              <a:ext cx="230903" cy="129817"/>
            </a:xfrm>
            <a:prstGeom prst="line">
              <a:avLst/>
            </a:prstGeom>
            <a:noFill/>
            <a:ln w="6350" cap="flat" cmpd="sng" algn="ctr">
              <a:solidFill>
                <a:srgbClr val="5B9BD5"/>
              </a:solidFill>
              <a:prstDash val="solid"/>
              <a:miter lim="800000"/>
            </a:ln>
            <a:effectLst/>
          </p:spPr>
        </p:cxnSp>
        <p:cxnSp>
          <p:nvCxnSpPr>
            <p:cNvPr id="663" name="Straight Connector 662"/>
            <p:cNvCxnSpPr/>
            <p:nvPr/>
          </p:nvCxnSpPr>
          <p:spPr>
            <a:xfrm flipV="1">
              <a:off x="11019877" y="1971540"/>
              <a:ext cx="230937" cy="147278"/>
            </a:xfrm>
            <a:prstGeom prst="line">
              <a:avLst/>
            </a:prstGeom>
            <a:noFill/>
            <a:ln w="6350" cap="flat" cmpd="sng" algn="ctr">
              <a:solidFill>
                <a:srgbClr val="5B9BD5"/>
              </a:solidFill>
              <a:prstDash val="solid"/>
              <a:miter lim="800000"/>
            </a:ln>
            <a:effectLst/>
          </p:spPr>
        </p:cxnSp>
        <p:cxnSp>
          <p:nvCxnSpPr>
            <p:cNvPr id="664" name="Straight Connector 663"/>
            <p:cNvCxnSpPr/>
            <p:nvPr/>
          </p:nvCxnSpPr>
          <p:spPr>
            <a:xfrm>
              <a:off x="10792680" y="2001981"/>
              <a:ext cx="33" cy="268599"/>
            </a:xfrm>
            <a:prstGeom prst="line">
              <a:avLst/>
            </a:prstGeom>
            <a:noFill/>
            <a:ln w="6350" cap="flat" cmpd="sng" algn="ctr">
              <a:solidFill>
                <a:srgbClr val="5B9BD5"/>
              </a:solidFill>
              <a:prstDash val="solid"/>
              <a:miter lim="800000"/>
            </a:ln>
            <a:effectLst/>
          </p:spPr>
        </p:cxnSp>
        <p:sp>
          <p:nvSpPr>
            <p:cNvPr id="665" name="Hexagon 664"/>
            <p:cNvSpPr/>
            <p:nvPr/>
          </p:nvSpPr>
          <p:spPr>
            <a:xfrm>
              <a:off x="11114260" y="1857916"/>
              <a:ext cx="274914" cy="247991"/>
            </a:xfrm>
            <a:prstGeom prst="hexagon">
              <a:avLst/>
            </a:prstGeom>
            <a:solidFill>
              <a:srgbClr val="5B9BD5"/>
            </a:solidFill>
            <a:ln w="12700" cap="flat" cmpd="sng" algn="ctr">
              <a:noFill/>
              <a:prstDash val="solid"/>
              <a:miter lim="800000"/>
            </a:ln>
            <a:effectLst/>
          </p:spPr>
          <p:txBody>
            <a:bodyPr rtlCol="0" anchor="ctr"/>
            <a:lstStyle/>
            <a:p>
              <a:pPr algn="ctr" defTabSz="914133">
                <a:defRPr/>
              </a:pPr>
              <a:endParaRPr lang="en-US" kern="0">
                <a:solidFill>
                  <a:srgbClr val="FFFFFF"/>
                </a:solidFill>
                <a:latin typeface="Calibri" panose="020F0502020204030204"/>
              </a:endParaRPr>
            </a:p>
          </p:txBody>
        </p:sp>
        <p:sp>
          <p:nvSpPr>
            <p:cNvPr id="666" name="Hexagon 665"/>
            <p:cNvSpPr/>
            <p:nvPr/>
          </p:nvSpPr>
          <p:spPr>
            <a:xfrm>
              <a:off x="11345197" y="1989004"/>
              <a:ext cx="274914" cy="247991"/>
            </a:xfrm>
            <a:prstGeom prst="hexagon">
              <a:avLst/>
            </a:prstGeom>
            <a:solidFill>
              <a:srgbClr val="5B9BD5"/>
            </a:solidFill>
            <a:ln w="12700" cap="flat" cmpd="sng" algn="ctr">
              <a:noFill/>
              <a:prstDash val="solid"/>
              <a:miter lim="800000"/>
            </a:ln>
            <a:effectLst/>
          </p:spPr>
          <p:txBody>
            <a:bodyPr rtlCol="0" anchor="ctr"/>
            <a:lstStyle/>
            <a:p>
              <a:pPr algn="ctr" defTabSz="914133">
                <a:defRPr/>
              </a:pPr>
              <a:endParaRPr lang="en-US" kern="0">
                <a:solidFill>
                  <a:srgbClr val="FFFFFF"/>
                </a:solidFill>
                <a:latin typeface="Calibri" panose="020F0502020204030204"/>
              </a:endParaRPr>
            </a:p>
          </p:txBody>
        </p:sp>
        <p:sp>
          <p:nvSpPr>
            <p:cNvPr id="667" name="Hexagon 666"/>
            <p:cNvSpPr/>
            <p:nvPr/>
          </p:nvSpPr>
          <p:spPr>
            <a:xfrm>
              <a:off x="11114260" y="2124641"/>
              <a:ext cx="274914" cy="247991"/>
            </a:xfrm>
            <a:prstGeom prst="hexagon">
              <a:avLst/>
            </a:prstGeom>
            <a:solidFill>
              <a:srgbClr val="5B9BD5"/>
            </a:solidFill>
            <a:ln w="12700" cap="flat" cmpd="sng" algn="ctr">
              <a:noFill/>
              <a:prstDash val="solid"/>
              <a:miter lim="800000"/>
            </a:ln>
            <a:effectLst/>
          </p:spPr>
          <p:txBody>
            <a:bodyPr rtlCol="0" anchor="ctr"/>
            <a:lstStyle/>
            <a:p>
              <a:pPr algn="ctr" defTabSz="914133">
                <a:defRPr/>
              </a:pPr>
              <a:endParaRPr lang="en-US" kern="0">
                <a:solidFill>
                  <a:srgbClr val="FFFFFF"/>
                </a:solidFill>
                <a:latin typeface="Calibri" panose="020F0502020204030204"/>
              </a:endParaRPr>
            </a:p>
          </p:txBody>
        </p:sp>
        <p:sp>
          <p:nvSpPr>
            <p:cNvPr id="668" name="Hexagon 667"/>
            <p:cNvSpPr/>
            <p:nvPr/>
          </p:nvSpPr>
          <p:spPr>
            <a:xfrm>
              <a:off x="11345197" y="2255729"/>
              <a:ext cx="274914" cy="247991"/>
            </a:xfrm>
            <a:prstGeom prst="hexagon">
              <a:avLst/>
            </a:prstGeom>
            <a:solidFill>
              <a:srgbClr val="5B9BD5"/>
            </a:solidFill>
            <a:ln w="12700" cap="flat" cmpd="sng" algn="ctr">
              <a:noFill/>
              <a:prstDash val="solid"/>
              <a:miter lim="800000"/>
            </a:ln>
            <a:effectLst/>
          </p:spPr>
          <p:txBody>
            <a:bodyPr rtlCol="0" anchor="ctr"/>
            <a:lstStyle/>
            <a:p>
              <a:pPr algn="ctr" defTabSz="914133">
                <a:defRPr/>
              </a:pPr>
              <a:endParaRPr lang="en-US" kern="0">
                <a:solidFill>
                  <a:srgbClr val="FFFFFF"/>
                </a:solidFill>
                <a:latin typeface="Calibri" panose="020F0502020204030204"/>
              </a:endParaRPr>
            </a:p>
          </p:txBody>
        </p:sp>
        <p:cxnSp>
          <p:nvCxnSpPr>
            <p:cNvPr id="669" name="Straight Connector 668"/>
            <p:cNvCxnSpPr/>
            <p:nvPr/>
          </p:nvCxnSpPr>
          <p:spPr>
            <a:xfrm>
              <a:off x="11251717" y="2248636"/>
              <a:ext cx="230937" cy="135637"/>
            </a:xfrm>
            <a:prstGeom prst="line">
              <a:avLst/>
            </a:prstGeom>
            <a:noFill/>
            <a:ln w="6350" cap="flat" cmpd="sng" algn="ctr">
              <a:solidFill>
                <a:srgbClr val="5B9BD5"/>
              </a:solidFill>
              <a:prstDash val="solid"/>
              <a:miter lim="800000"/>
            </a:ln>
            <a:effectLst/>
          </p:spPr>
        </p:cxnSp>
        <p:cxnSp>
          <p:nvCxnSpPr>
            <p:cNvPr id="670" name="Straight Connector 669"/>
            <p:cNvCxnSpPr/>
            <p:nvPr/>
          </p:nvCxnSpPr>
          <p:spPr>
            <a:xfrm>
              <a:off x="11251717" y="1977361"/>
              <a:ext cx="230937" cy="135637"/>
            </a:xfrm>
            <a:prstGeom prst="line">
              <a:avLst/>
            </a:prstGeom>
            <a:noFill/>
            <a:ln w="6350" cap="flat" cmpd="sng" algn="ctr">
              <a:solidFill>
                <a:srgbClr val="5B9BD5"/>
              </a:solidFill>
              <a:prstDash val="solid"/>
              <a:miter lim="800000"/>
            </a:ln>
            <a:effectLst/>
          </p:spPr>
        </p:cxnSp>
        <p:cxnSp>
          <p:nvCxnSpPr>
            <p:cNvPr id="671" name="Straight Connector 670"/>
            <p:cNvCxnSpPr/>
            <p:nvPr/>
          </p:nvCxnSpPr>
          <p:spPr>
            <a:xfrm>
              <a:off x="11478898" y="2118819"/>
              <a:ext cx="33" cy="268599"/>
            </a:xfrm>
            <a:prstGeom prst="line">
              <a:avLst/>
            </a:prstGeom>
            <a:noFill/>
            <a:ln w="6350" cap="flat" cmpd="sng" algn="ctr">
              <a:solidFill>
                <a:srgbClr val="5B9BD5"/>
              </a:solidFill>
              <a:prstDash val="solid"/>
              <a:miter lim="800000"/>
            </a:ln>
            <a:effectLst/>
          </p:spPr>
        </p:cxnSp>
        <p:cxnSp>
          <p:nvCxnSpPr>
            <p:cNvPr id="672" name="Straight Connector 671"/>
            <p:cNvCxnSpPr/>
            <p:nvPr/>
          </p:nvCxnSpPr>
          <p:spPr>
            <a:xfrm flipV="1">
              <a:off x="11247994" y="2112998"/>
              <a:ext cx="230903" cy="129817"/>
            </a:xfrm>
            <a:prstGeom prst="line">
              <a:avLst/>
            </a:prstGeom>
            <a:noFill/>
            <a:ln w="6350" cap="flat" cmpd="sng" algn="ctr">
              <a:solidFill>
                <a:srgbClr val="5B9BD5"/>
              </a:solidFill>
              <a:prstDash val="solid"/>
              <a:miter lim="800000"/>
            </a:ln>
            <a:effectLst/>
          </p:spPr>
        </p:cxnSp>
        <p:cxnSp>
          <p:nvCxnSpPr>
            <p:cNvPr id="673" name="Straight Connector 672"/>
            <p:cNvCxnSpPr/>
            <p:nvPr/>
          </p:nvCxnSpPr>
          <p:spPr>
            <a:xfrm>
              <a:off x="11251700" y="2001981"/>
              <a:ext cx="33" cy="268599"/>
            </a:xfrm>
            <a:prstGeom prst="line">
              <a:avLst/>
            </a:prstGeom>
            <a:noFill/>
            <a:ln w="6350" cap="flat" cmpd="sng" algn="ctr">
              <a:solidFill>
                <a:srgbClr val="5B9BD5"/>
              </a:solidFill>
              <a:prstDash val="solid"/>
              <a:miter lim="800000"/>
            </a:ln>
            <a:effectLst/>
          </p:spPr>
        </p:cxnSp>
        <p:sp>
          <p:nvSpPr>
            <p:cNvPr id="674" name="TextBox 673"/>
            <p:cNvSpPr txBox="1"/>
            <p:nvPr/>
          </p:nvSpPr>
          <p:spPr>
            <a:xfrm>
              <a:off x="5018187" y="1896192"/>
              <a:ext cx="2784226" cy="533712"/>
            </a:xfrm>
            <a:prstGeom prst="rect">
              <a:avLst/>
            </a:prstGeom>
            <a:noFill/>
          </p:spPr>
          <p:txBody>
            <a:bodyPr wrap="square" rtlCol="0">
              <a:spAutoFit/>
            </a:bodyPr>
            <a:lstStyle/>
            <a:p>
              <a:pPr defTabSz="914133"/>
              <a:r>
                <a:rPr lang="en-US" sz="2800" dirty="0" err="1">
                  <a:solidFill>
                    <a:schemeClr val="bg1"/>
                  </a:solidFill>
                  <a:latin typeface="Segoe UI Semibold" panose="020B0702040204020203" pitchFamily="34" charset="0"/>
                  <a:ea typeface="Segoe UI Black" panose="020B0A02040204020203" pitchFamily="34" charset="0"/>
                  <a:cs typeface="Segoe UI Semibold" panose="020B0702040204020203" pitchFamily="34" charset="0"/>
                </a:rPr>
                <a:t>Microservices</a:t>
              </a:r>
              <a:endParaRPr lang="en-US" sz="2800" dirty="0">
                <a:solidFill>
                  <a:schemeClr val="bg1"/>
                </a:solidFill>
                <a:latin typeface="Segoe UI Semibold" panose="020B0702040204020203" pitchFamily="34" charset="0"/>
                <a:ea typeface="Segoe UI Black" panose="020B0A02040204020203" pitchFamily="34" charset="0"/>
                <a:cs typeface="Segoe UI Semibold" panose="020B0702040204020203" pitchFamily="34" charset="0"/>
              </a:endParaRPr>
            </a:p>
          </p:txBody>
        </p:sp>
      </p:grpSp>
      <p:sp>
        <p:nvSpPr>
          <p:cNvPr id="675" name="TextBox 674"/>
          <p:cNvSpPr txBox="1"/>
          <p:nvPr/>
        </p:nvSpPr>
        <p:spPr>
          <a:xfrm>
            <a:off x="7925247" y="3039374"/>
            <a:ext cx="1338872" cy="470533"/>
          </a:xfrm>
          <a:prstGeom prst="rect">
            <a:avLst/>
          </a:prstGeom>
          <a:noFill/>
        </p:spPr>
        <p:txBody>
          <a:bodyPr wrap="square" rtlCol="0">
            <a:spAutoFit/>
          </a:bodyPr>
          <a:lstStyle/>
          <a:p>
            <a:pPr algn="ctr" defTabSz="914133"/>
            <a:r>
              <a:rPr lang="en-US" sz="1199" b="1" dirty="0">
                <a:solidFill>
                  <a:srgbClr val="FFFFFF"/>
                </a:solidFill>
                <a:latin typeface="Segoe UI Light"/>
              </a:rPr>
              <a:t>Container hosts as cattle</a:t>
            </a:r>
          </a:p>
        </p:txBody>
      </p:sp>
      <p:sp>
        <p:nvSpPr>
          <p:cNvPr id="676" name="TextBox 675"/>
          <p:cNvSpPr txBox="1"/>
          <p:nvPr/>
        </p:nvSpPr>
        <p:spPr>
          <a:xfrm>
            <a:off x="744359" y="2901469"/>
            <a:ext cx="1183042" cy="658721"/>
          </a:xfrm>
          <a:prstGeom prst="rect">
            <a:avLst/>
          </a:prstGeom>
          <a:noFill/>
        </p:spPr>
        <p:txBody>
          <a:bodyPr wrap="square" rtlCol="0">
            <a:spAutoFit/>
          </a:bodyPr>
          <a:lstStyle/>
          <a:p>
            <a:pPr algn="ctr" defTabSz="914133"/>
            <a:r>
              <a:rPr lang="en-US" sz="1199" b="1" dirty="0">
                <a:solidFill>
                  <a:srgbClr val="FFFFFF"/>
                </a:solidFill>
                <a:latin typeface="Segoe UI Light"/>
              </a:rPr>
              <a:t>Flexible programming models</a:t>
            </a:r>
          </a:p>
        </p:txBody>
      </p:sp>
      <p:grpSp>
        <p:nvGrpSpPr>
          <p:cNvPr id="677" name="Group 676"/>
          <p:cNvGrpSpPr/>
          <p:nvPr/>
        </p:nvGrpSpPr>
        <p:grpSpPr>
          <a:xfrm>
            <a:off x="896726" y="4607459"/>
            <a:ext cx="2302842" cy="1843708"/>
            <a:chOff x="896085" y="4299331"/>
            <a:chExt cx="2303462" cy="1844204"/>
          </a:xfrm>
        </p:grpSpPr>
        <p:sp>
          <p:nvSpPr>
            <p:cNvPr id="678" name="TextBox 677"/>
            <p:cNvSpPr txBox="1"/>
            <p:nvPr/>
          </p:nvSpPr>
          <p:spPr bwMode="auto">
            <a:xfrm>
              <a:off x="1405672" y="5509006"/>
              <a:ext cx="1284288" cy="634529"/>
            </a:xfrm>
            <a:prstGeom prst="rect">
              <a:avLst/>
            </a:prstGeom>
            <a:noFill/>
          </p:spPr>
          <p:txBody>
            <a:bodyPr lIns="182831" tIns="146264" rIns="182831" bIns="146264">
              <a:spAutoFit/>
            </a:bodyPr>
            <a:lstStyle/>
            <a:p>
              <a:pPr defTabSz="932470">
                <a:lnSpc>
                  <a:spcPct val="90000"/>
                </a:lnSpc>
                <a:spcAft>
                  <a:spcPts val="600"/>
                </a:spcAft>
                <a:defRPr/>
              </a:pPr>
              <a:r>
                <a:rPr lang="en-US" sz="2400" kern="0" dirty="0">
                  <a:solidFill>
                    <a:prstClr val="black"/>
                  </a:solidFill>
                  <a:latin typeface="Segoe UI"/>
                  <a:ea typeface="MS PGothic" pitchFamily="34" charset="-128"/>
                </a:rPr>
                <a:t>Azure</a:t>
              </a:r>
            </a:p>
          </p:txBody>
        </p:sp>
        <p:sp>
          <p:nvSpPr>
            <p:cNvPr id="679" name="Freeform 725"/>
            <p:cNvSpPr>
              <a:spLocks/>
            </p:cNvSpPr>
            <p:nvPr/>
          </p:nvSpPr>
          <p:spPr bwMode="auto">
            <a:xfrm>
              <a:off x="896085" y="4299331"/>
              <a:ext cx="2303462" cy="1274762"/>
            </a:xfrm>
            <a:custGeom>
              <a:avLst/>
              <a:gdLst>
                <a:gd name="T0" fmla="*/ 1662 w 2136"/>
                <a:gd name="T1" fmla="*/ 1181 h 1181"/>
                <a:gd name="T2" fmla="*/ 239 w 2136"/>
                <a:gd name="T3" fmla="*/ 1181 h 1181"/>
                <a:gd name="T4" fmla="*/ 0 w 2136"/>
                <a:gd name="T5" fmla="*/ 937 h 1181"/>
                <a:gd name="T6" fmla="*/ 181 w 2136"/>
                <a:gd name="T7" fmla="*/ 706 h 1181"/>
                <a:gd name="T8" fmla="*/ 462 w 2136"/>
                <a:gd name="T9" fmla="*/ 487 h 1181"/>
                <a:gd name="T10" fmla="*/ 974 w 2136"/>
                <a:gd name="T11" fmla="*/ 0 h 1181"/>
                <a:gd name="T12" fmla="*/ 1440 w 2136"/>
                <a:gd name="T13" fmla="*/ 294 h 1181"/>
                <a:gd name="T14" fmla="*/ 1662 w 2136"/>
                <a:gd name="T15" fmla="*/ 235 h 1181"/>
                <a:gd name="T16" fmla="*/ 2136 w 2136"/>
                <a:gd name="T17" fmla="*/ 710 h 1181"/>
                <a:gd name="T18" fmla="*/ 1662 w 2136"/>
                <a:gd name="T19" fmla="*/ 1181 h 1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36" h="1181">
                  <a:moveTo>
                    <a:pt x="1662" y="1181"/>
                  </a:moveTo>
                  <a:cubicBezTo>
                    <a:pt x="239" y="1181"/>
                    <a:pt x="239" y="1181"/>
                    <a:pt x="239" y="1181"/>
                  </a:cubicBezTo>
                  <a:cubicBezTo>
                    <a:pt x="109" y="1181"/>
                    <a:pt x="0" y="1071"/>
                    <a:pt x="0" y="937"/>
                  </a:cubicBezTo>
                  <a:cubicBezTo>
                    <a:pt x="0" y="823"/>
                    <a:pt x="76" y="731"/>
                    <a:pt x="181" y="706"/>
                  </a:cubicBezTo>
                  <a:cubicBezTo>
                    <a:pt x="231" y="588"/>
                    <a:pt x="336" y="504"/>
                    <a:pt x="462" y="487"/>
                  </a:cubicBezTo>
                  <a:cubicBezTo>
                    <a:pt x="474" y="218"/>
                    <a:pt x="701" y="0"/>
                    <a:pt x="974" y="0"/>
                  </a:cubicBezTo>
                  <a:cubicBezTo>
                    <a:pt x="1175" y="0"/>
                    <a:pt x="1356" y="118"/>
                    <a:pt x="1440" y="294"/>
                  </a:cubicBezTo>
                  <a:cubicBezTo>
                    <a:pt x="1507" y="256"/>
                    <a:pt x="1582" y="235"/>
                    <a:pt x="1662" y="235"/>
                  </a:cubicBezTo>
                  <a:cubicBezTo>
                    <a:pt x="1922" y="235"/>
                    <a:pt x="2136" y="449"/>
                    <a:pt x="2136" y="710"/>
                  </a:cubicBezTo>
                  <a:cubicBezTo>
                    <a:pt x="2136" y="966"/>
                    <a:pt x="1922" y="1181"/>
                    <a:pt x="1662" y="1181"/>
                  </a:cubicBezTo>
                  <a:close/>
                </a:path>
              </a:pathLst>
            </a:custGeom>
            <a:solidFill>
              <a:srgbClr val="ED7D31">
                <a:lumMod val="50000"/>
                <a:lumOff val="50000"/>
              </a:srgbClr>
            </a:solidFill>
            <a:ln>
              <a:noFill/>
            </a:ln>
          </p:spPr>
          <p:txBody>
            <a:bodyPr/>
            <a:lstStyle/>
            <a:p>
              <a:pPr defTabSz="932470">
                <a:defRPr/>
              </a:pPr>
              <a:endParaRPr lang="en-US" kern="0">
                <a:solidFill>
                  <a:prstClr val="black"/>
                </a:solidFill>
                <a:latin typeface="Segoe UI"/>
                <a:ea typeface="MS PGothic" pitchFamily="34" charset="-128"/>
              </a:endParaRPr>
            </a:p>
          </p:txBody>
        </p:sp>
      </p:grpSp>
      <p:grpSp>
        <p:nvGrpSpPr>
          <p:cNvPr id="680" name="Group 679"/>
          <p:cNvGrpSpPr>
            <a:grpSpLocks/>
          </p:cNvGrpSpPr>
          <p:nvPr/>
        </p:nvGrpSpPr>
        <p:grpSpPr bwMode="auto">
          <a:xfrm>
            <a:off x="4898382" y="4471625"/>
            <a:ext cx="2564710" cy="2051966"/>
            <a:chOff x="4935683" y="4831160"/>
            <a:chExt cx="2564826" cy="2053167"/>
          </a:xfrm>
        </p:grpSpPr>
        <p:sp>
          <p:nvSpPr>
            <p:cNvPr id="681" name="TextBox 680"/>
            <p:cNvSpPr txBox="1"/>
            <p:nvPr/>
          </p:nvSpPr>
          <p:spPr>
            <a:xfrm>
              <a:off x="4935683" y="6249597"/>
              <a:ext cx="2564826" cy="634730"/>
            </a:xfrm>
            <a:prstGeom prst="rect">
              <a:avLst/>
            </a:prstGeom>
            <a:noFill/>
          </p:spPr>
          <p:txBody>
            <a:bodyPr lIns="182831" tIns="146264" rIns="182831" bIns="146264">
              <a:spAutoFit/>
            </a:bodyPr>
            <a:lstStyle/>
            <a:p>
              <a:pPr algn="ctr" defTabSz="932470">
                <a:lnSpc>
                  <a:spcPct val="90000"/>
                </a:lnSpc>
                <a:spcAft>
                  <a:spcPts val="600"/>
                </a:spcAft>
                <a:defRPr/>
              </a:pPr>
              <a:r>
                <a:rPr lang="en-US" sz="2400" kern="0" dirty="0">
                  <a:solidFill>
                    <a:prstClr val="black"/>
                  </a:solidFill>
                  <a:latin typeface="Segoe UI"/>
                  <a:ea typeface="MS PGothic" pitchFamily="34" charset="-128"/>
                </a:rPr>
                <a:t>Private cloud</a:t>
              </a:r>
            </a:p>
          </p:txBody>
        </p:sp>
        <p:grpSp>
          <p:nvGrpSpPr>
            <p:cNvPr id="682" name="Group 8"/>
            <p:cNvGrpSpPr>
              <a:grpSpLocks noChangeAspect="1"/>
            </p:cNvGrpSpPr>
            <p:nvPr/>
          </p:nvGrpSpPr>
          <p:grpSpPr bwMode="auto">
            <a:xfrm>
              <a:off x="5313388" y="4831160"/>
              <a:ext cx="1809416" cy="1808295"/>
              <a:chOff x="4385" y="3099"/>
              <a:chExt cx="1613" cy="1612"/>
            </a:xfrm>
          </p:grpSpPr>
          <p:sp>
            <p:nvSpPr>
              <p:cNvPr id="683" name="AutoShape 7"/>
              <p:cNvSpPr>
                <a:spLocks noChangeAspect="1" noChangeArrowheads="1" noTextEdit="1"/>
              </p:cNvSpPr>
              <p:nvPr/>
            </p:nvSpPr>
            <p:spPr bwMode="auto">
              <a:xfrm>
                <a:off x="4385" y="3099"/>
                <a:ext cx="1613" cy="1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defTabSz="932470">
                  <a:defRPr/>
                </a:pPr>
                <a:endParaRPr lang="en-US" kern="0">
                  <a:solidFill>
                    <a:prstClr val="black"/>
                  </a:solidFill>
                  <a:latin typeface="Segoe UI"/>
                  <a:ea typeface="MS PGothic" pitchFamily="34" charset="-128"/>
                </a:endParaRPr>
              </a:p>
            </p:txBody>
          </p:sp>
          <p:sp>
            <p:nvSpPr>
              <p:cNvPr id="684" name="Rectangle 9"/>
              <p:cNvSpPr>
                <a:spLocks noChangeArrowheads="1"/>
              </p:cNvSpPr>
              <p:nvPr/>
            </p:nvSpPr>
            <p:spPr bwMode="auto">
              <a:xfrm>
                <a:off x="5494" y="3463"/>
                <a:ext cx="253" cy="892"/>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defTabSz="932470">
                  <a:defRPr/>
                </a:pPr>
                <a:endParaRPr lang="en-US" kern="0">
                  <a:solidFill>
                    <a:prstClr val="black"/>
                  </a:solidFill>
                  <a:latin typeface="Segoe UI"/>
                  <a:ea typeface="MS PGothic" pitchFamily="34" charset="-128"/>
                </a:endParaRPr>
              </a:p>
            </p:txBody>
          </p:sp>
          <p:sp>
            <p:nvSpPr>
              <p:cNvPr id="685" name="Rectangle 10"/>
              <p:cNvSpPr>
                <a:spLocks noChangeArrowheads="1"/>
              </p:cNvSpPr>
              <p:nvPr/>
            </p:nvSpPr>
            <p:spPr bwMode="auto">
              <a:xfrm>
                <a:off x="4638" y="3463"/>
                <a:ext cx="253" cy="892"/>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defTabSz="932470">
                  <a:defRPr/>
                </a:pPr>
                <a:endParaRPr lang="en-US" kern="0">
                  <a:solidFill>
                    <a:prstClr val="black"/>
                  </a:solidFill>
                  <a:latin typeface="Segoe UI"/>
                  <a:ea typeface="MS PGothic" pitchFamily="34" charset="-128"/>
                </a:endParaRPr>
              </a:p>
            </p:txBody>
          </p:sp>
          <p:sp>
            <p:nvSpPr>
              <p:cNvPr id="686" name="Rectangle 11"/>
              <p:cNvSpPr>
                <a:spLocks noChangeArrowheads="1"/>
              </p:cNvSpPr>
              <p:nvPr/>
            </p:nvSpPr>
            <p:spPr bwMode="auto">
              <a:xfrm>
                <a:off x="4703" y="3531"/>
                <a:ext cx="314" cy="82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defTabSz="932470">
                  <a:defRPr/>
                </a:pPr>
                <a:endParaRPr lang="en-US" kern="0">
                  <a:solidFill>
                    <a:prstClr val="black"/>
                  </a:solidFill>
                  <a:latin typeface="Segoe UI"/>
                  <a:ea typeface="MS PGothic" pitchFamily="34" charset="-128"/>
                </a:endParaRPr>
              </a:p>
            </p:txBody>
          </p:sp>
          <p:sp>
            <p:nvSpPr>
              <p:cNvPr id="687" name="Rectangle 686"/>
              <p:cNvSpPr>
                <a:spLocks noChangeArrowheads="1"/>
              </p:cNvSpPr>
              <p:nvPr/>
            </p:nvSpPr>
            <p:spPr bwMode="auto">
              <a:xfrm>
                <a:off x="5367" y="3653"/>
                <a:ext cx="313" cy="702"/>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defTabSz="932470">
                  <a:defRPr/>
                </a:pPr>
                <a:endParaRPr lang="en-US" kern="0">
                  <a:solidFill>
                    <a:prstClr val="black"/>
                  </a:solidFill>
                  <a:latin typeface="Segoe UI"/>
                  <a:ea typeface="MS PGothic" pitchFamily="34" charset="-128"/>
                </a:endParaRPr>
              </a:p>
            </p:txBody>
          </p:sp>
          <p:sp>
            <p:nvSpPr>
              <p:cNvPr id="688" name="Rectangle 13"/>
              <p:cNvSpPr>
                <a:spLocks noChangeArrowheads="1"/>
              </p:cNvSpPr>
              <p:nvPr/>
            </p:nvSpPr>
            <p:spPr bwMode="auto">
              <a:xfrm>
                <a:off x="4968" y="3779"/>
                <a:ext cx="463" cy="576"/>
              </a:xfrm>
              <a:prstGeom prst="rect">
                <a:avLst/>
              </a:prstGeom>
              <a:solidFill>
                <a:srgbClr val="44546A"/>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defTabSz="932470">
                  <a:defRPr/>
                </a:pPr>
                <a:endParaRPr lang="en-US" kern="0">
                  <a:solidFill>
                    <a:prstClr val="black"/>
                  </a:solidFill>
                  <a:latin typeface="Segoe UI"/>
                  <a:ea typeface="MS PGothic" pitchFamily="34" charset="-128"/>
                </a:endParaRPr>
              </a:p>
            </p:txBody>
          </p:sp>
          <p:sp>
            <p:nvSpPr>
              <p:cNvPr id="689" name="Rectangle 14"/>
              <p:cNvSpPr>
                <a:spLocks noChangeArrowheads="1"/>
              </p:cNvSpPr>
              <p:nvPr/>
            </p:nvSpPr>
            <p:spPr bwMode="auto">
              <a:xfrm>
                <a:off x="4945" y="3762"/>
                <a:ext cx="508" cy="17"/>
              </a:xfrm>
              <a:prstGeom prst="rect">
                <a:avLst/>
              </a:prstGeom>
              <a:solidFill>
                <a:srgbClr val="ED7D31"/>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defTabSz="932470">
                  <a:defRPr/>
                </a:pPr>
                <a:endParaRPr lang="en-US" kern="0">
                  <a:solidFill>
                    <a:prstClr val="black"/>
                  </a:solidFill>
                  <a:latin typeface="Segoe UI"/>
                  <a:ea typeface="MS PGothic" pitchFamily="34" charset="-128"/>
                </a:endParaRPr>
              </a:p>
            </p:txBody>
          </p:sp>
          <p:sp>
            <p:nvSpPr>
              <p:cNvPr id="690" name="Rectangle 15"/>
              <p:cNvSpPr>
                <a:spLocks noChangeArrowheads="1"/>
              </p:cNvSpPr>
              <p:nvPr/>
            </p:nvSpPr>
            <p:spPr bwMode="auto">
              <a:xfrm>
                <a:off x="5223" y="4239"/>
                <a:ext cx="61" cy="116"/>
              </a:xfrm>
              <a:prstGeom prst="rect">
                <a:avLst/>
              </a:prstGeom>
              <a:solidFill>
                <a:srgbClr val="ED7D31"/>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defTabSz="932470">
                  <a:defRPr/>
                </a:pPr>
                <a:endParaRPr lang="en-US" kern="0">
                  <a:solidFill>
                    <a:prstClr val="black"/>
                  </a:solidFill>
                  <a:latin typeface="Segoe UI"/>
                  <a:ea typeface="MS PGothic" pitchFamily="34" charset="-128"/>
                </a:endParaRPr>
              </a:p>
            </p:txBody>
          </p:sp>
          <p:sp>
            <p:nvSpPr>
              <p:cNvPr id="691" name="Rectangle 16"/>
              <p:cNvSpPr>
                <a:spLocks noChangeArrowheads="1"/>
              </p:cNvSpPr>
              <p:nvPr/>
            </p:nvSpPr>
            <p:spPr bwMode="auto">
              <a:xfrm>
                <a:off x="5117" y="4239"/>
                <a:ext cx="61" cy="116"/>
              </a:xfrm>
              <a:prstGeom prst="rect">
                <a:avLst/>
              </a:prstGeom>
              <a:solidFill>
                <a:srgbClr val="ED7D31"/>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defTabSz="932470">
                  <a:defRPr/>
                </a:pPr>
                <a:endParaRPr lang="en-US" kern="0">
                  <a:solidFill>
                    <a:prstClr val="black"/>
                  </a:solidFill>
                  <a:latin typeface="Segoe UI"/>
                  <a:ea typeface="MS PGothic" pitchFamily="34" charset="-128"/>
                </a:endParaRPr>
              </a:p>
            </p:txBody>
          </p:sp>
          <p:sp>
            <p:nvSpPr>
              <p:cNvPr id="692" name="Rectangle 17"/>
              <p:cNvSpPr>
                <a:spLocks noChangeArrowheads="1"/>
              </p:cNvSpPr>
              <p:nvPr/>
            </p:nvSpPr>
            <p:spPr bwMode="auto">
              <a:xfrm>
                <a:off x="5015" y="3831"/>
                <a:ext cx="371" cy="59"/>
              </a:xfrm>
              <a:prstGeom prst="rect">
                <a:avLst/>
              </a:prstGeom>
              <a:solidFill>
                <a:srgbClr val="ED7D31"/>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defTabSz="932470">
                  <a:defRPr/>
                </a:pPr>
                <a:endParaRPr lang="en-US" kern="0">
                  <a:solidFill>
                    <a:prstClr val="black"/>
                  </a:solidFill>
                  <a:latin typeface="Segoe UI"/>
                  <a:ea typeface="MS PGothic" pitchFamily="34" charset="-128"/>
                </a:endParaRPr>
              </a:p>
            </p:txBody>
          </p:sp>
          <p:sp>
            <p:nvSpPr>
              <p:cNvPr id="693" name="Rectangle 18"/>
              <p:cNvSpPr>
                <a:spLocks noChangeArrowheads="1"/>
              </p:cNvSpPr>
              <p:nvPr/>
            </p:nvSpPr>
            <p:spPr bwMode="auto">
              <a:xfrm>
                <a:off x="5015" y="3935"/>
                <a:ext cx="371" cy="59"/>
              </a:xfrm>
              <a:prstGeom prst="rect">
                <a:avLst/>
              </a:prstGeom>
              <a:solidFill>
                <a:srgbClr val="ED7D31"/>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defTabSz="932470">
                  <a:defRPr/>
                </a:pPr>
                <a:endParaRPr lang="en-US" kern="0">
                  <a:solidFill>
                    <a:prstClr val="black"/>
                  </a:solidFill>
                  <a:latin typeface="Segoe UI"/>
                  <a:ea typeface="MS PGothic" pitchFamily="34" charset="-128"/>
                </a:endParaRPr>
              </a:p>
            </p:txBody>
          </p:sp>
          <p:sp>
            <p:nvSpPr>
              <p:cNvPr id="694" name="Rectangle 19"/>
              <p:cNvSpPr>
                <a:spLocks noChangeArrowheads="1"/>
              </p:cNvSpPr>
              <p:nvPr/>
            </p:nvSpPr>
            <p:spPr bwMode="auto">
              <a:xfrm>
                <a:off x="5015" y="4038"/>
                <a:ext cx="371" cy="61"/>
              </a:xfrm>
              <a:prstGeom prst="rect">
                <a:avLst/>
              </a:prstGeom>
              <a:solidFill>
                <a:srgbClr val="ED7D31"/>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defTabSz="932470">
                  <a:defRPr/>
                </a:pPr>
                <a:endParaRPr lang="en-US" kern="0">
                  <a:solidFill>
                    <a:prstClr val="black"/>
                  </a:solidFill>
                  <a:latin typeface="Segoe UI"/>
                  <a:ea typeface="MS PGothic" pitchFamily="34" charset="-128"/>
                </a:endParaRPr>
              </a:p>
            </p:txBody>
          </p:sp>
          <p:sp>
            <p:nvSpPr>
              <p:cNvPr id="695" name="Rectangle 20"/>
              <p:cNvSpPr>
                <a:spLocks noChangeArrowheads="1"/>
              </p:cNvSpPr>
              <p:nvPr/>
            </p:nvSpPr>
            <p:spPr bwMode="auto">
              <a:xfrm>
                <a:off x="5015" y="4141"/>
                <a:ext cx="371" cy="61"/>
              </a:xfrm>
              <a:prstGeom prst="rect">
                <a:avLst/>
              </a:prstGeom>
              <a:solidFill>
                <a:srgbClr val="ED7D31"/>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defTabSz="932470">
                  <a:defRPr/>
                </a:pPr>
                <a:endParaRPr lang="en-US" kern="0">
                  <a:solidFill>
                    <a:prstClr val="black"/>
                  </a:solidFill>
                  <a:latin typeface="Segoe UI"/>
                  <a:ea typeface="MS PGothic" pitchFamily="34" charset="-128"/>
                </a:endParaRPr>
              </a:p>
            </p:txBody>
          </p:sp>
          <p:sp>
            <p:nvSpPr>
              <p:cNvPr id="696" name="Rectangle 21"/>
              <p:cNvSpPr>
                <a:spLocks noChangeArrowheads="1"/>
              </p:cNvSpPr>
              <p:nvPr/>
            </p:nvSpPr>
            <p:spPr bwMode="auto">
              <a:xfrm>
                <a:off x="5043" y="3690"/>
                <a:ext cx="180" cy="72"/>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defTabSz="932470">
                  <a:defRPr/>
                </a:pPr>
                <a:endParaRPr lang="en-US" kern="0">
                  <a:solidFill>
                    <a:prstClr val="black"/>
                  </a:solidFill>
                  <a:latin typeface="Segoe UI"/>
                  <a:ea typeface="MS PGothic" pitchFamily="34" charset="-128"/>
                </a:endParaRPr>
              </a:p>
            </p:txBody>
          </p:sp>
        </p:grpSp>
      </p:grpSp>
      <p:grpSp>
        <p:nvGrpSpPr>
          <p:cNvPr id="697" name="Group 696"/>
          <p:cNvGrpSpPr/>
          <p:nvPr/>
        </p:nvGrpSpPr>
        <p:grpSpPr>
          <a:xfrm>
            <a:off x="9040450" y="4721216"/>
            <a:ext cx="2302842" cy="1829424"/>
            <a:chOff x="9042003" y="4413119"/>
            <a:chExt cx="2303462" cy="1829918"/>
          </a:xfrm>
        </p:grpSpPr>
        <p:sp>
          <p:nvSpPr>
            <p:cNvPr id="698" name="TextBox 697"/>
            <p:cNvSpPr txBox="1"/>
            <p:nvPr/>
          </p:nvSpPr>
          <p:spPr bwMode="auto">
            <a:xfrm>
              <a:off x="9118203" y="5608507"/>
              <a:ext cx="2151062" cy="634530"/>
            </a:xfrm>
            <a:prstGeom prst="rect">
              <a:avLst/>
            </a:prstGeom>
            <a:noFill/>
          </p:spPr>
          <p:txBody>
            <a:bodyPr lIns="182831" tIns="146264" rIns="182831" bIns="146264">
              <a:spAutoFit/>
            </a:bodyPr>
            <a:lstStyle/>
            <a:p>
              <a:pPr defTabSz="932470">
                <a:lnSpc>
                  <a:spcPct val="90000"/>
                </a:lnSpc>
                <a:spcAft>
                  <a:spcPts val="600"/>
                </a:spcAft>
                <a:defRPr/>
              </a:pPr>
              <a:r>
                <a:rPr lang="en-US" sz="2400" kern="0" dirty="0">
                  <a:solidFill>
                    <a:prstClr val="black"/>
                  </a:solidFill>
                  <a:latin typeface="Segoe UI"/>
                  <a:ea typeface="MS PGothic" pitchFamily="34" charset="-128"/>
                </a:rPr>
                <a:t>Other clouds</a:t>
              </a:r>
            </a:p>
          </p:txBody>
        </p:sp>
        <p:sp>
          <p:nvSpPr>
            <p:cNvPr id="699" name="Freeform 747"/>
            <p:cNvSpPr>
              <a:spLocks/>
            </p:cNvSpPr>
            <p:nvPr/>
          </p:nvSpPr>
          <p:spPr bwMode="auto">
            <a:xfrm>
              <a:off x="9042003" y="4413119"/>
              <a:ext cx="2303462" cy="1274763"/>
            </a:xfrm>
            <a:custGeom>
              <a:avLst/>
              <a:gdLst>
                <a:gd name="T0" fmla="*/ 1662 w 2136"/>
                <a:gd name="T1" fmla="*/ 1181 h 1181"/>
                <a:gd name="T2" fmla="*/ 239 w 2136"/>
                <a:gd name="T3" fmla="*/ 1181 h 1181"/>
                <a:gd name="T4" fmla="*/ 0 w 2136"/>
                <a:gd name="T5" fmla="*/ 937 h 1181"/>
                <a:gd name="T6" fmla="*/ 181 w 2136"/>
                <a:gd name="T7" fmla="*/ 706 h 1181"/>
                <a:gd name="T8" fmla="*/ 462 w 2136"/>
                <a:gd name="T9" fmla="*/ 487 h 1181"/>
                <a:gd name="T10" fmla="*/ 974 w 2136"/>
                <a:gd name="T11" fmla="*/ 0 h 1181"/>
                <a:gd name="T12" fmla="*/ 1440 w 2136"/>
                <a:gd name="T13" fmla="*/ 294 h 1181"/>
                <a:gd name="T14" fmla="*/ 1662 w 2136"/>
                <a:gd name="T15" fmla="*/ 235 h 1181"/>
                <a:gd name="T16" fmla="*/ 2136 w 2136"/>
                <a:gd name="T17" fmla="*/ 710 h 1181"/>
                <a:gd name="T18" fmla="*/ 1662 w 2136"/>
                <a:gd name="T19" fmla="*/ 1181 h 1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36" h="1181">
                  <a:moveTo>
                    <a:pt x="1662" y="1181"/>
                  </a:moveTo>
                  <a:cubicBezTo>
                    <a:pt x="239" y="1181"/>
                    <a:pt x="239" y="1181"/>
                    <a:pt x="239" y="1181"/>
                  </a:cubicBezTo>
                  <a:cubicBezTo>
                    <a:pt x="109" y="1181"/>
                    <a:pt x="0" y="1071"/>
                    <a:pt x="0" y="937"/>
                  </a:cubicBezTo>
                  <a:cubicBezTo>
                    <a:pt x="0" y="823"/>
                    <a:pt x="76" y="731"/>
                    <a:pt x="181" y="706"/>
                  </a:cubicBezTo>
                  <a:cubicBezTo>
                    <a:pt x="231" y="588"/>
                    <a:pt x="336" y="504"/>
                    <a:pt x="462" y="487"/>
                  </a:cubicBezTo>
                  <a:cubicBezTo>
                    <a:pt x="474" y="218"/>
                    <a:pt x="701" y="0"/>
                    <a:pt x="974" y="0"/>
                  </a:cubicBezTo>
                  <a:cubicBezTo>
                    <a:pt x="1175" y="0"/>
                    <a:pt x="1356" y="118"/>
                    <a:pt x="1440" y="294"/>
                  </a:cubicBezTo>
                  <a:cubicBezTo>
                    <a:pt x="1507" y="256"/>
                    <a:pt x="1582" y="235"/>
                    <a:pt x="1662" y="235"/>
                  </a:cubicBezTo>
                  <a:cubicBezTo>
                    <a:pt x="1922" y="235"/>
                    <a:pt x="2136" y="449"/>
                    <a:pt x="2136" y="710"/>
                  </a:cubicBezTo>
                  <a:cubicBezTo>
                    <a:pt x="2136" y="966"/>
                    <a:pt x="1922" y="1181"/>
                    <a:pt x="1662" y="1181"/>
                  </a:cubicBezTo>
                  <a:close/>
                </a:path>
              </a:pathLst>
            </a:custGeom>
            <a:solidFill>
              <a:srgbClr val="FFC000">
                <a:lumMod val="40000"/>
                <a:lumOff val="60000"/>
              </a:srgbClr>
            </a:solidFill>
            <a:ln>
              <a:noFill/>
            </a:ln>
          </p:spPr>
          <p:txBody>
            <a:bodyPr/>
            <a:lstStyle/>
            <a:p>
              <a:pPr defTabSz="932470">
                <a:defRPr/>
              </a:pPr>
              <a:endParaRPr lang="en-US" kern="0">
                <a:solidFill>
                  <a:prstClr val="black"/>
                </a:solidFill>
                <a:latin typeface="Segoe UI"/>
                <a:ea typeface="MS PGothic" pitchFamily="34" charset="-128"/>
              </a:endParaRPr>
            </a:p>
          </p:txBody>
        </p:sp>
      </p:grpSp>
      <p:sp>
        <p:nvSpPr>
          <p:cNvPr id="700" name="TextBox 699"/>
          <p:cNvSpPr txBox="1"/>
          <p:nvPr/>
        </p:nvSpPr>
        <p:spPr>
          <a:xfrm>
            <a:off x="2267985" y="2908436"/>
            <a:ext cx="1183042" cy="470533"/>
          </a:xfrm>
          <a:prstGeom prst="rect">
            <a:avLst/>
          </a:prstGeom>
          <a:noFill/>
        </p:spPr>
        <p:txBody>
          <a:bodyPr wrap="square" rtlCol="0">
            <a:spAutoFit/>
          </a:bodyPr>
          <a:lstStyle/>
          <a:p>
            <a:pPr defTabSz="914133"/>
            <a:r>
              <a:rPr lang="en-US" sz="1199" b="1" dirty="0">
                <a:solidFill>
                  <a:srgbClr val="FFFFFF"/>
                </a:solidFill>
                <a:latin typeface="Segoe UI Light"/>
              </a:rPr>
              <a:t>Open Source Orchestration</a:t>
            </a:r>
          </a:p>
        </p:txBody>
      </p:sp>
      <p:sp>
        <p:nvSpPr>
          <p:cNvPr id="701" name="TextBox 700"/>
          <p:cNvSpPr txBox="1"/>
          <p:nvPr/>
        </p:nvSpPr>
        <p:spPr>
          <a:xfrm>
            <a:off x="9224660" y="2867741"/>
            <a:ext cx="1227919" cy="470533"/>
          </a:xfrm>
          <a:prstGeom prst="rect">
            <a:avLst/>
          </a:prstGeom>
          <a:noFill/>
        </p:spPr>
        <p:txBody>
          <a:bodyPr wrap="square" rtlCol="0">
            <a:spAutoFit/>
          </a:bodyPr>
          <a:lstStyle/>
          <a:p>
            <a:pPr defTabSz="914133"/>
            <a:r>
              <a:rPr lang="en-US" sz="1199" b="1" dirty="0">
                <a:solidFill>
                  <a:srgbClr val="FFFFFF"/>
                </a:solidFill>
                <a:latin typeface="Segoe UI Light"/>
              </a:rPr>
              <a:t>Host cluster management</a:t>
            </a:r>
          </a:p>
        </p:txBody>
      </p:sp>
      <p:sp>
        <p:nvSpPr>
          <p:cNvPr id="702" name="Rectangle 701"/>
          <p:cNvSpPr/>
          <p:nvPr/>
        </p:nvSpPr>
        <p:spPr>
          <a:xfrm>
            <a:off x="766150" y="3522838"/>
            <a:ext cx="10576874" cy="340513"/>
          </a:xfrm>
          <a:prstGeom prst="rect">
            <a:avLst/>
          </a:prstGeom>
          <a:solidFill>
            <a:schemeClr val="accent1">
              <a:lumMod val="60000"/>
              <a:lumOff val="40000"/>
            </a:schemeClr>
          </a:solidFill>
          <a:ln w="12700" cap="flat" cmpd="sng" algn="ctr">
            <a:noFill/>
            <a:prstDash val="solid"/>
            <a:miter lim="800000"/>
          </a:ln>
          <a:effectLst/>
        </p:spPr>
        <p:txBody>
          <a:bodyPr rtlCol="0" anchor="ctr"/>
          <a:lstStyle/>
          <a:p>
            <a:pPr algn="ctr" defTabSz="914133">
              <a:defRPr/>
            </a:pPr>
            <a:endParaRPr lang="en-US" b="1" kern="0" dirty="0">
              <a:solidFill>
                <a:srgbClr val="FFFFFF"/>
              </a:solidFill>
              <a:latin typeface="Calibri" panose="020F0502020204030204"/>
            </a:endParaRPr>
          </a:p>
        </p:txBody>
      </p:sp>
      <p:sp>
        <p:nvSpPr>
          <p:cNvPr id="703" name="TextBox 702"/>
          <p:cNvSpPr txBox="1"/>
          <p:nvPr/>
        </p:nvSpPr>
        <p:spPr>
          <a:xfrm>
            <a:off x="4062885" y="3473266"/>
            <a:ext cx="4306370" cy="406213"/>
          </a:xfrm>
          <a:prstGeom prst="rect">
            <a:avLst/>
          </a:prstGeom>
          <a:noFill/>
        </p:spPr>
        <p:txBody>
          <a:bodyPr wrap="square" rtlCol="0">
            <a:spAutoFit/>
          </a:bodyPr>
          <a:lstStyle/>
          <a:p>
            <a:pPr defTabSz="914133"/>
            <a:r>
              <a:rPr lang="en-US" sz="2040" b="1" dirty="0">
                <a:solidFill>
                  <a:srgbClr val="FFFFFF"/>
                </a:solidFill>
                <a:latin typeface="Segoe UI Light"/>
              </a:rPr>
              <a:t>Open Source Container Management</a:t>
            </a:r>
          </a:p>
        </p:txBody>
      </p:sp>
      <p:sp>
        <p:nvSpPr>
          <p:cNvPr id="704" name="TextBox 703"/>
          <p:cNvSpPr txBox="1"/>
          <p:nvPr/>
        </p:nvSpPr>
        <p:spPr>
          <a:xfrm>
            <a:off x="805475" y="3549205"/>
            <a:ext cx="1252541" cy="286269"/>
          </a:xfrm>
          <a:prstGeom prst="rect">
            <a:avLst/>
          </a:prstGeom>
          <a:noFill/>
        </p:spPr>
        <p:txBody>
          <a:bodyPr wrap="square" rtlCol="0">
            <a:spAutoFit/>
          </a:bodyPr>
          <a:lstStyle/>
          <a:p>
            <a:pPr defTabSz="932504"/>
            <a:r>
              <a:rPr lang="en-US" sz="1224" b="1" dirty="0">
                <a:solidFill>
                  <a:srgbClr val="FFFFFF"/>
                </a:solidFill>
                <a:latin typeface="Segoe UI Light"/>
              </a:rPr>
              <a:t>High Availability</a:t>
            </a:r>
          </a:p>
        </p:txBody>
      </p:sp>
      <p:sp>
        <p:nvSpPr>
          <p:cNvPr id="705" name="TextBox 704"/>
          <p:cNvSpPr txBox="1"/>
          <p:nvPr/>
        </p:nvSpPr>
        <p:spPr>
          <a:xfrm>
            <a:off x="2212778" y="3562681"/>
            <a:ext cx="1096040" cy="286269"/>
          </a:xfrm>
          <a:prstGeom prst="rect">
            <a:avLst/>
          </a:prstGeom>
          <a:noFill/>
        </p:spPr>
        <p:txBody>
          <a:bodyPr wrap="square" rtlCol="0">
            <a:spAutoFit/>
          </a:bodyPr>
          <a:lstStyle/>
          <a:p>
            <a:pPr defTabSz="932504"/>
            <a:r>
              <a:rPr lang="en-US" sz="1224" b="1" dirty="0">
                <a:solidFill>
                  <a:srgbClr val="FFFFFF"/>
                </a:solidFill>
                <a:latin typeface="Segoe UI Light"/>
              </a:rPr>
              <a:t>High Density</a:t>
            </a:r>
          </a:p>
        </p:txBody>
      </p:sp>
      <p:sp>
        <p:nvSpPr>
          <p:cNvPr id="706" name="TextBox 705"/>
          <p:cNvSpPr txBox="1"/>
          <p:nvPr/>
        </p:nvSpPr>
        <p:spPr>
          <a:xfrm>
            <a:off x="8349288" y="3469326"/>
            <a:ext cx="1386569" cy="446340"/>
          </a:xfrm>
          <a:prstGeom prst="rect">
            <a:avLst/>
          </a:prstGeom>
          <a:noFill/>
        </p:spPr>
        <p:txBody>
          <a:bodyPr wrap="square" rtlCol="0">
            <a:spAutoFit/>
          </a:bodyPr>
          <a:lstStyle/>
          <a:p>
            <a:pPr defTabSz="932504"/>
            <a:r>
              <a:rPr lang="en-US" sz="1122" b="1" dirty="0">
                <a:solidFill>
                  <a:srgbClr val="FFFFFF"/>
                </a:solidFill>
                <a:latin typeface="Segoe UI Light"/>
              </a:rPr>
              <a:t>Placement Constraints</a:t>
            </a:r>
          </a:p>
        </p:txBody>
      </p:sp>
      <p:sp>
        <p:nvSpPr>
          <p:cNvPr id="707" name="TextBox 706"/>
          <p:cNvSpPr txBox="1"/>
          <p:nvPr/>
        </p:nvSpPr>
        <p:spPr>
          <a:xfrm>
            <a:off x="9157808" y="3487270"/>
            <a:ext cx="1365720" cy="446340"/>
          </a:xfrm>
          <a:prstGeom prst="rect">
            <a:avLst/>
          </a:prstGeom>
          <a:noFill/>
        </p:spPr>
        <p:txBody>
          <a:bodyPr wrap="square" rtlCol="0">
            <a:spAutoFit/>
          </a:bodyPr>
          <a:lstStyle/>
          <a:p>
            <a:pPr algn="ctr" defTabSz="932504"/>
            <a:r>
              <a:rPr lang="en-US" sz="1122" b="1" dirty="0">
                <a:solidFill>
                  <a:srgbClr val="FFFFFF"/>
                </a:solidFill>
                <a:latin typeface="Segoe UI Light"/>
              </a:rPr>
              <a:t>Fast startup &amp; shutdown</a:t>
            </a:r>
          </a:p>
        </p:txBody>
      </p:sp>
      <p:sp>
        <p:nvSpPr>
          <p:cNvPr id="708" name="TextBox 707"/>
          <p:cNvSpPr txBox="1"/>
          <p:nvPr/>
        </p:nvSpPr>
        <p:spPr>
          <a:xfrm>
            <a:off x="10345138" y="3549204"/>
            <a:ext cx="1431657" cy="286269"/>
          </a:xfrm>
          <a:prstGeom prst="rect">
            <a:avLst/>
          </a:prstGeom>
          <a:noFill/>
        </p:spPr>
        <p:txBody>
          <a:bodyPr wrap="square" rtlCol="0">
            <a:spAutoFit/>
          </a:bodyPr>
          <a:lstStyle/>
          <a:p>
            <a:pPr defTabSz="932504"/>
            <a:r>
              <a:rPr lang="en-US" sz="1224" b="1" dirty="0">
                <a:solidFill>
                  <a:srgbClr val="FFFFFF"/>
                </a:solidFill>
                <a:latin typeface="Segoe UI Light"/>
              </a:rPr>
              <a:t>Self-healing</a:t>
            </a:r>
          </a:p>
        </p:txBody>
      </p:sp>
    </p:spTree>
    <p:extLst>
      <p:ext uri="{BB962C8B-B14F-4D97-AF65-F5344CB8AC3E}">
        <p14:creationId xmlns:p14="http://schemas.microsoft.com/office/powerpoint/2010/main" val="194322303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66168" y="1212851"/>
            <a:ext cx="11702553" cy="4118050"/>
          </a:xfrm>
        </p:spPr>
        <p:txBody>
          <a:bodyPr/>
          <a:lstStyle/>
          <a:p>
            <a:r>
              <a:rPr lang="en-US" dirty="0"/>
              <a:t>Encapsulates a scenario</a:t>
            </a:r>
          </a:p>
          <a:p>
            <a:r>
              <a:rPr lang="en-US" dirty="0"/>
              <a:t>Are developed by a small engineering team </a:t>
            </a:r>
          </a:p>
          <a:p>
            <a:r>
              <a:rPr lang="en-US" dirty="0"/>
              <a:t>Can be written in any language and framework </a:t>
            </a:r>
          </a:p>
          <a:p>
            <a:r>
              <a:rPr lang="en-US" dirty="0"/>
              <a:t>Contain code plus state that is independently versioned, deployed, and scaled</a:t>
            </a:r>
          </a:p>
          <a:p>
            <a:r>
              <a:rPr lang="en-US" dirty="0"/>
              <a:t>Interact with other microservices over well-defined interfaces and protocols such as http</a:t>
            </a:r>
          </a:p>
        </p:txBody>
      </p:sp>
      <p:sp>
        <p:nvSpPr>
          <p:cNvPr id="2" name="Title 1"/>
          <p:cNvSpPr>
            <a:spLocks noGrp="1"/>
          </p:cNvSpPr>
          <p:nvPr>
            <p:ph type="title"/>
          </p:nvPr>
        </p:nvSpPr>
        <p:spPr/>
        <p:txBody>
          <a:bodyPr/>
          <a:lstStyle/>
          <a:p>
            <a:r>
              <a:rPr lang="en-US" dirty="0"/>
              <a:t>What is a container?</a:t>
            </a:r>
          </a:p>
        </p:txBody>
      </p:sp>
    </p:spTree>
    <p:extLst>
      <p:ext uri="{BB962C8B-B14F-4D97-AF65-F5344CB8AC3E}">
        <p14:creationId xmlns:p14="http://schemas.microsoft.com/office/powerpoint/2010/main" val="99795900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578477" y="6335169"/>
            <a:ext cx="4902057" cy="490205"/>
          </a:xfrm>
          <a:prstGeom prst="rect">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836" dirty="0">
                <a:solidFill>
                  <a:schemeClr val="bg1"/>
                </a:solidFill>
              </a:rPr>
              <a:t>Server</a:t>
            </a:r>
          </a:p>
        </p:txBody>
      </p:sp>
      <p:sp>
        <p:nvSpPr>
          <p:cNvPr id="7" name="Rectangle 6"/>
          <p:cNvSpPr/>
          <p:nvPr/>
        </p:nvSpPr>
        <p:spPr>
          <a:xfrm>
            <a:off x="578477" y="5844963"/>
            <a:ext cx="4902057" cy="490205"/>
          </a:xfrm>
          <a:prstGeom prst="rect">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836" dirty="0"/>
              <a:t>Host OS</a:t>
            </a:r>
          </a:p>
        </p:txBody>
      </p:sp>
      <p:sp>
        <p:nvSpPr>
          <p:cNvPr id="8" name="Rectangle 7"/>
          <p:cNvSpPr/>
          <p:nvPr/>
        </p:nvSpPr>
        <p:spPr>
          <a:xfrm>
            <a:off x="578477" y="5354758"/>
            <a:ext cx="4902057" cy="490205"/>
          </a:xfrm>
          <a:prstGeom prst="rect">
            <a:avLst/>
          </a:prstGeom>
          <a:solidFill>
            <a:schemeClr val="accent4"/>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836" dirty="0"/>
              <a:t>Hypervisor</a:t>
            </a:r>
          </a:p>
        </p:txBody>
      </p:sp>
      <p:sp>
        <p:nvSpPr>
          <p:cNvPr id="10" name="Rectangle 9"/>
          <p:cNvSpPr/>
          <p:nvPr/>
        </p:nvSpPr>
        <p:spPr>
          <a:xfrm>
            <a:off x="6616338" y="6335169"/>
            <a:ext cx="4902057" cy="490205"/>
          </a:xfrm>
          <a:prstGeom prst="rect">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836" dirty="0">
                <a:solidFill>
                  <a:schemeClr val="bg1"/>
                </a:solidFill>
              </a:rPr>
              <a:t>Server</a:t>
            </a:r>
          </a:p>
        </p:txBody>
      </p:sp>
      <p:sp>
        <p:nvSpPr>
          <p:cNvPr id="11" name="Rectangle 10"/>
          <p:cNvSpPr/>
          <p:nvPr/>
        </p:nvSpPr>
        <p:spPr>
          <a:xfrm>
            <a:off x="6616338" y="5844963"/>
            <a:ext cx="4902057" cy="490205"/>
          </a:xfrm>
          <a:prstGeom prst="rect">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836" dirty="0"/>
              <a:t>Host OS</a:t>
            </a:r>
          </a:p>
        </p:txBody>
      </p:sp>
      <p:sp>
        <p:nvSpPr>
          <p:cNvPr id="12" name="Rectangle 11"/>
          <p:cNvSpPr/>
          <p:nvPr/>
        </p:nvSpPr>
        <p:spPr>
          <a:xfrm>
            <a:off x="6616338" y="5354758"/>
            <a:ext cx="4902057" cy="490205"/>
          </a:xfrm>
          <a:prstGeom prst="rect">
            <a:avLst/>
          </a:prstGeom>
          <a:solidFill>
            <a:schemeClr val="accent5"/>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836" dirty="0"/>
              <a:t>Docker Engine</a:t>
            </a:r>
          </a:p>
        </p:txBody>
      </p:sp>
      <p:sp>
        <p:nvSpPr>
          <p:cNvPr id="13" name="Rectangle 12"/>
          <p:cNvSpPr/>
          <p:nvPr/>
        </p:nvSpPr>
        <p:spPr>
          <a:xfrm>
            <a:off x="578479" y="2644209"/>
            <a:ext cx="1095754" cy="271054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836" dirty="0"/>
              <a:t>Guest OS</a:t>
            </a:r>
          </a:p>
        </p:txBody>
      </p:sp>
      <p:sp>
        <p:nvSpPr>
          <p:cNvPr id="14" name="Rectangle 13"/>
          <p:cNvSpPr/>
          <p:nvPr/>
        </p:nvSpPr>
        <p:spPr>
          <a:xfrm>
            <a:off x="2481630" y="2644209"/>
            <a:ext cx="1095754" cy="271054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836" dirty="0"/>
              <a:t>Guest OS</a:t>
            </a:r>
          </a:p>
        </p:txBody>
      </p:sp>
      <p:sp>
        <p:nvSpPr>
          <p:cNvPr id="15" name="Rectangle 14"/>
          <p:cNvSpPr/>
          <p:nvPr/>
        </p:nvSpPr>
        <p:spPr>
          <a:xfrm>
            <a:off x="4384781" y="2644209"/>
            <a:ext cx="1095754" cy="271054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836" dirty="0"/>
              <a:t>Guest OS</a:t>
            </a:r>
          </a:p>
        </p:txBody>
      </p:sp>
      <p:sp>
        <p:nvSpPr>
          <p:cNvPr id="16" name="Rectangle 15"/>
          <p:cNvSpPr/>
          <p:nvPr/>
        </p:nvSpPr>
        <p:spPr>
          <a:xfrm>
            <a:off x="578479" y="1836812"/>
            <a:ext cx="1097357" cy="807397"/>
          </a:xfrm>
          <a:prstGeom prst="rect">
            <a:avLst/>
          </a:prstGeom>
          <a:solidFill>
            <a:schemeClr val="accent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32" dirty="0"/>
              <a:t>Bins/Libs</a:t>
            </a:r>
            <a:endParaRPr lang="en-US" sz="1836" dirty="0"/>
          </a:p>
        </p:txBody>
      </p:sp>
      <p:sp>
        <p:nvSpPr>
          <p:cNvPr id="18" name="Rectangle 17"/>
          <p:cNvSpPr/>
          <p:nvPr/>
        </p:nvSpPr>
        <p:spPr>
          <a:xfrm>
            <a:off x="2479224" y="1836808"/>
            <a:ext cx="1097357" cy="807397"/>
          </a:xfrm>
          <a:prstGeom prst="rect">
            <a:avLst/>
          </a:prstGeom>
          <a:solidFill>
            <a:schemeClr val="accent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32" dirty="0"/>
              <a:t>Bins/Libs</a:t>
            </a:r>
          </a:p>
        </p:txBody>
      </p:sp>
      <p:sp>
        <p:nvSpPr>
          <p:cNvPr id="19" name="Rectangle 18"/>
          <p:cNvSpPr/>
          <p:nvPr/>
        </p:nvSpPr>
        <p:spPr>
          <a:xfrm>
            <a:off x="4383179" y="1836811"/>
            <a:ext cx="1097357" cy="807397"/>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32" dirty="0"/>
              <a:t>Bins/Libs</a:t>
            </a:r>
          </a:p>
        </p:txBody>
      </p:sp>
      <p:sp>
        <p:nvSpPr>
          <p:cNvPr id="20" name="Rectangle 19"/>
          <p:cNvSpPr/>
          <p:nvPr/>
        </p:nvSpPr>
        <p:spPr>
          <a:xfrm>
            <a:off x="573665" y="250851"/>
            <a:ext cx="1097357" cy="1585958"/>
          </a:xfrm>
          <a:prstGeom prst="rect">
            <a:avLst/>
          </a:prstGeom>
          <a:solidFill>
            <a:schemeClr val="accent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836" dirty="0"/>
              <a:t>App A</a:t>
            </a:r>
          </a:p>
        </p:txBody>
      </p:sp>
      <p:sp>
        <p:nvSpPr>
          <p:cNvPr id="21" name="Rectangle 20"/>
          <p:cNvSpPr/>
          <p:nvPr/>
        </p:nvSpPr>
        <p:spPr>
          <a:xfrm>
            <a:off x="2472805" y="265270"/>
            <a:ext cx="1097357" cy="1585958"/>
          </a:xfrm>
          <a:prstGeom prst="rect">
            <a:avLst/>
          </a:prstGeom>
          <a:solidFill>
            <a:schemeClr val="accent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836" dirty="0"/>
              <a:t>App A’</a:t>
            </a:r>
          </a:p>
        </p:txBody>
      </p:sp>
      <p:sp>
        <p:nvSpPr>
          <p:cNvPr id="22" name="Rectangle 21"/>
          <p:cNvSpPr/>
          <p:nvPr/>
        </p:nvSpPr>
        <p:spPr>
          <a:xfrm>
            <a:off x="4383179" y="265270"/>
            <a:ext cx="1097357" cy="1585958"/>
          </a:xfrm>
          <a:prstGeom prst="rect">
            <a:avLst/>
          </a:prstGeom>
          <a:solidFill>
            <a:schemeClr val="accent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836" dirty="0"/>
              <a:t>App B</a:t>
            </a:r>
          </a:p>
        </p:txBody>
      </p:sp>
      <p:sp>
        <p:nvSpPr>
          <p:cNvPr id="24" name="Rectangle 23"/>
          <p:cNvSpPr/>
          <p:nvPr/>
        </p:nvSpPr>
        <p:spPr>
          <a:xfrm>
            <a:off x="6616340" y="5037566"/>
            <a:ext cx="1171045" cy="307579"/>
          </a:xfrm>
          <a:prstGeom prst="rect">
            <a:avLst/>
          </a:prstGeom>
          <a:solidFill>
            <a:schemeClr val="accent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836" dirty="0"/>
              <a:t>Bins/Libs</a:t>
            </a:r>
          </a:p>
        </p:txBody>
      </p:sp>
      <p:sp>
        <p:nvSpPr>
          <p:cNvPr id="25" name="Rectangle 24"/>
          <p:cNvSpPr/>
          <p:nvPr/>
        </p:nvSpPr>
        <p:spPr>
          <a:xfrm>
            <a:off x="7931562" y="5037566"/>
            <a:ext cx="3586833" cy="317192"/>
          </a:xfrm>
          <a:prstGeom prst="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836" dirty="0"/>
              <a:t>Bins/Libs</a:t>
            </a:r>
          </a:p>
        </p:txBody>
      </p:sp>
      <p:sp>
        <p:nvSpPr>
          <p:cNvPr id="26" name="Rectangle 25"/>
          <p:cNvSpPr/>
          <p:nvPr/>
        </p:nvSpPr>
        <p:spPr>
          <a:xfrm>
            <a:off x="6616338" y="3576561"/>
            <a:ext cx="450156" cy="1456199"/>
          </a:xfrm>
          <a:prstGeom prst="rect">
            <a:avLst/>
          </a:prstGeom>
          <a:solidFill>
            <a:schemeClr val="accent6"/>
          </a:solidFill>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algn="ctr"/>
            <a:r>
              <a:rPr lang="en-US" sz="1836" dirty="0"/>
              <a:t>App A</a:t>
            </a:r>
          </a:p>
        </p:txBody>
      </p:sp>
      <p:sp>
        <p:nvSpPr>
          <p:cNvPr id="28" name="Rectangle 27"/>
          <p:cNvSpPr/>
          <p:nvPr/>
        </p:nvSpPr>
        <p:spPr>
          <a:xfrm>
            <a:off x="7338030" y="3581366"/>
            <a:ext cx="450156" cy="1456199"/>
          </a:xfrm>
          <a:prstGeom prst="rect">
            <a:avLst/>
          </a:prstGeom>
          <a:solidFill>
            <a:schemeClr val="accent6"/>
          </a:solidFill>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algn="ctr"/>
            <a:r>
              <a:rPr lang="en-US" sz="1836" dirty="0"/>
              <a:t>App A’</a:t>
            </a:r>
          </a:p>
        </p:txBody>
      </p:sp>
      <p:sp>
        <p:nvSpPr>
          <p:cNvPr id="29" name="Rectangle 28"/>
          <p:cNvSpPr/>
          <p:nvPr/>
        </p:nvSpPr>
        <p:spPr>
          <a:xfrm>
            <a:off x="7931563" y="3576560"/>
            <a:ext cx="450156" cy="1456199"/>
          </a:xfrm>
          <a:prstGeom prst="rect">
            <a:avLst/>
          </a:prstGeom>
          <a:solidFill>
            <a:schemeClr val="accent6"/>
          </a:solidFill>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algn="ctr"/>
            <a:r>
              <a:rPr lang="en-US" sz="1836" dirty="0"/>
              <a:t>App B</a:t>
            </a:r>
          </a:p>
        </p:txBody>
      </p:sp>
      <p:sp>
        <p:nvSpPr>
          <p:cNvPr id="30" name="Rectangle 29"/>
          <p:cNvSpPr/>
          <p:nvPr/>
        </p:nvSpPr>
        <p:spPr>
          <a:xfrm>
            <a:off x="8525096" y="3576559"/>
            <a:ext cx="450156" cy="1456199"/>
          </a:xfrm>
          <a:prstGeom prst="rect">
            <a:avLst/>
          </a:prstGeom>
          <a:solidFill>
            <a:schemeClr val="accent6"/>
          </a:solidFill>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algn="ctr"/>
            <a:r>
              <a:rPr lang="en-US" sz="1836" dirty="0"/>
              <a:t>App B’</a:t>
            </a:r>
          </a:p>
        </p:txBody>
      </p:sp>
      <p:sp>
        <p:nvSpPr>
          <p:cNvPr id="31" name="Rectangle 30"/>
          <p:cNvSpPr/>
          <p:nvPr/>
        </p:nvSpPr>
        <p:spPr>
          <a:xfrm>
            <a:off x="9209945" y="3576558"/>
            <a:ext cx="450156" cy="1456199"/>
          </a:xfrm>
          <a:prstGeom prst="rect">
            <a:avLst/>
          </a:prstGeom>
          <a:solidFill>
            <a:schemeClr val="accent6"/>
          </a:solidFill>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algn="ctr"/>
            <a:r>
              <a:rPr lang="en-US" sz="1836" dirty="0"/>
              <a:t>App B</a:t>
            </a:r>
          </a:p>
        </p:txBody>
      </p:sp>
      <p:sp>
        <p:nvSpPr>
          <p:cNvPr id="32" name="Rectangle 31"/>
          <p:cNvSpPr/>
          <p:nvPr/>
        </p:nvSpPr>
        <p:spPr>
          <a:xfrm>
            <a:off x="9803476" y="3576557"/>
            <a:ext cx="450156" cy="1456199"/>
          </a:xfrm>
          <a:prstGeom prst="rect">
            <a:avLst/>
          </a:prstGeom>
          <a:solidFill>
            <a:schemeClr val="accent6"/>
          </a:solidFill>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algn="ctr"/>
            <a:r>
              <a:rPr lang="en-US" sz="1836" dirty="0"/>
              <a:t>App B’</a:t>
            </a:r>
          </a:p>
        </p:txBody>
      </p:sp>
      <p:sp>
        <p:nvSpPr>
          <p:cNvPr id="33" name="Rectangle 32"/>
          <p:cNvSpPr/>
          <p:nvPr/>
        </p:nvSpPr>
        <p:spPr>
          <a:xfrm>
            <a:off x="10465092" y="3576557"/>
            <a:ext cx="450156" cy="1456199"/>
          </a:xfrm>
          <a:prstGeom prst="rect">
            <a:avLst/>
          </a:prstGeom>
          <a:solidFill>
            <a:schemeClr val="accent6"/>
          </a:solidFill>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algn="ctr"/>
            <a:r>
              <a:rPr lang="en-US" sz="1836" dirty="0"/>
              <a:t>App B</a:t>
            </a:r>
          </a:p>
        </p:txBody>
      </p:sp>
      <p:sp>
        <p:nvSpPr>
          <p:cNvPr id="34" name="Rectangle 33"/>
          <p:cNvSpPr/>
          <p:nvPr/>
        </p:nvSpPr>
        <p:spPr>
          <a:xfrm>
            <a:off x="11058626" y="3576556"/>
            <a:ext cx="450156" cy="1456199"/>
          </a:xfrm>
          <a:prstGeom prst="rect">
            <a:avLst/>
          </a:prstGeom>
          <a:solidFill>
            <a:schemeClr val="accent6"/>
          </a:solidFill>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algn="ctr"/>
            <a:r>
              <a:rPr lang="en-US" sz="1836" dirty="0"/>
              <a:t>App B’</a:t>
            </a:r>
          </a:p>
        </p:txBody>
      </p:sp>
      <p:sp>
        <p:nvSpPr>
          <p:cNvPr id="35" name="TextBox 34"/>
          <p:cNvSpPr txBox="1"/>
          <p:nvPr/>
        </p:nvSpPr>
        <p:spPr>
          <a:xfrm>
            <a:off x="6518616" y="683387"/>
            <a:ext cx="5305756" cy="1754326"/>
          </a:xfrm>
          <a:prstGeom prst="rect">
            <a:avLst/>
          </a:prstGeom>
          <a:noFill/>
        </p:spPr>
        <p:txBody>
          <a:bodyPr wrap="square" rtlCol="0">
            <a:spAutoFit/>
          </a:bodyPr>
          <a:lstStyle/>
          <a:p>
            <a:r>
              <a:rPr lang="en-US" sz="3600" dirty="0">
                <a:latin typeface="+mj-lt"/>
              </a:rPr>
              <a:t>Containers are isolated, but share OS and, where appropriate, bins/libraries</a:t>
            </a:r>
          </a:p>
        </p:txBody>
      </p:sp>
    </p:spTree>
    <p:extLst>
      <p:ext uri="{BB962C8B-B14F-4D97-AF65-F5344CB8AC3E}">
        <p14:creationId xmlns:p14="http://schemas.microsoft.com/office/powerpoint/2010/main" val="2709035881"/>
      </p:ext>
    </p:extLst>
  </p:cSld>
  <p:clrMapOvr>
    <a:masterClrMapping/>
  </p:clrMapOvr>
  <p:transition>
    <p:fade/>
  </p:transition>
</p:sld>
</file>

<file path=ppt/slides/slide35.xml><?xml version="1.0" encoding="utf-8"?>
<p:sld xmlns:a="http://schemas.openxmlformats.org/drawingml/2006/main" xmlns:r="http://schemas.openxmlformats.org/officeDocument/2006/relationships" xmlns:p="http://schemas.openxmlformats.org/presentationml/2006/main">
  <p:cSld>
    <p:bg>
      <p:bgPr>
        <a:solidFill>
          <a:srgbClr val="6F6F6F"/>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Notification Hubs</a:t>
            </a:r>
          </a:p>
        </p:txBody>
      </p:sp>
    </p:spTree>
    <p:extLst>
      <p:ext uri="{BB962C8B-B14F-4D97-AF65-F5344CB8AC3E}">
        <p14:creationId xmlns:p14="http://schemas.microsoft.com/office/powerpoint/2010/main" val="337687264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Notification Hubs</a:t>
            </a:r>
          </a:p>
        </p:txBody>
      </p:sp>
      <p:sp>
        <p:nvSpPr>
          <p:cNvPr id="4" name="Text Placeholder 3"/>
          <p:cNvSpPr>
            <a:spLocks noGrp="1"/>
          </p:cNvSpPr>
          <p:nvPr>
            <p:ph type="body" sz="quarter" idx="10"/>
          </p:nvPr>
        </p:nvSpPr>
        <p:spPr>
          <a:xfrm>
            <a:off x="366169" y="1212849"/>
            <a:ext cx="5608081" cy="4955203"/>
          </a:xfrm>
        </p:spPr>
        <p:txBody>
          <a:bodyPr/>
          <a:lstStyle/>
          <a:p>
            <a:r>
              <a:rPr lang="en-US" sz="2000" dirty="0"/>
              <a:t>At a high level, all platform notification systems follow the same pattern:</a:t>
            </a:r>
          </a:p>
          <a:p>
            <a:pPr marL="457200" indent="-457200">
              <a:buFont typeface="+mj-lt"/>
              <a:buAutoNum type="arabicPeriod"/>
            </a:pPr>
            <a:r>
              <a:rPr lang="en-US" sz="2000" dirty="0">
                <a:solidFill>
                  <a:schemeClr val="tx1"/>
                </a:solidFill>
              </a:rPr>
              <a:t>The client app contacts the PNS to retrieve its </a:t>
            </a:r>
            <a:r>
              <a:rPr lang="en-US" sz="2000" i="1" dirty="0">
                <a:solidFill>
                  <a:schemeClr val="tx1"/>
                </a:solidFill>
              </a:rPr>
              <a:t>handle</a:t>
            </a:r>
            <a:r>
              <a:rPr lang="en-US" sz="2000" dirty="0">
                <a:solidFill>
                  <a:schemeClr val="tx1"/>
                </a:solidFill>
              </a:rPr>
              <a:t>. The handle type depends on the system. For WNS, it is a URI or "notification channel." For APNS, it is a token.</a:t>
            </a:r>
          </a:p>
          <a:p>
            <a:pPr marL="457200" indent="-457200">
              <a:buFont typeface="+mj-lt"/>
              <a:buAutoNum type="arabicPeriod"/>
            </a:pPr>
            <a:r>
              <a:rPr lang="en-US" sz="2000" dirty="0">
                <a:solidFill>
                  <a:schemeClr val="tx1"/>
                </a:solidFill>
              </a:rPr>
              <a:t>The client app stores this handle in the app </a:t>
            </a:r>
            <a:r>
              <a:rPr lang="en-US" sz="2000" i="1" dirty="0">
                <a:solidFill>
                  <a:schemeClr val="tx1"/>
                </a:solidFill>
              </a:rPr>
              <a:t>back-end</a:t>
            </a:r>
            <a:r>
              <a:rPr lang="en-US" sz="2000" dirty="0">
                <a:solidFill>
                  <a:schemeClr val="tx1"/>
                </a:solidFill>
              </a:rPr>
              <a:t> for later usage. For WNS, the back-end is typically a cloud service. For Apple, the system is called a </a:t>
            </a:r>
            <a:r>
              <a:rPr lang="en-US" sz="2000" i="1" dirty="0">
                <a:solidFill>
                  <a:schemeClr val="tx1"/>
                </a:solidFill>
              </a:rPr>
              <a:t>provider</a:t>
            </a:r>
            <a:r>
              <a:rPr lang="en-US" sz="2000" dirty="0">
                <a:solidFill>
                  <a:schemeClr val="tx1"/>
                </a:solidFill>
              </a:rPr>
              <a:t>.</a:t>
            </a:r>
          </a:p>
          <a:p>
            <a:pPr marL="457200" indent="-457200">
              <a:buFont typeface="+mj-lt"/>
              <a:buAutoNum type="arabicPeriod"/>
            </a:pPr>
            <a:r>
              <a:rPr lang="en-US" sz="2000" dirty="0">
                <a:solidFill>
                  <a:schemeClr val="tx1"/>
                </a:solidFill>
              </a:rPr>
              <a:t>To send a push notification, the app back-end contacts the PNS using the handle to target a specific client app instance.</a:t>
            </a:r>
          </a:p>
          <a:p>
            <a:pPr marL="457200" indent="-457200">
              <a:buFont typeface="+mj-lt"/>
              <a:buAutoNum type="arabicPeriod"/>
            </a:pPr>
            <a:r>
              <a:rPr lang="en-US" sz="2000" dirty="0">
                <a:solidFill>
                  <a:schemeClr val="tx1"/>
                </a:solidFill>
              </a:rPr>
              <a:t>The PNS forwards the notification to the device specified by the handle.</a:t>
            </a:r>
          </a:p>
        </p:txBody>
      </p:sp>
      <p:pic>
        <p:nvPicPr>
          <p:cNvPr id="6" name="Picture 5"/>
          <p:cNvPicPr>
            <a:picLocks noChangeAspect="1"/>
          </p:cNvPicPr>
          <p:nvPr/>
        </p:nvPicPr>
        <p:blipFill>
          <a:blip r:embed="rId3"/>
          <a:stretch>
            <a:fillRect/>
          </a:stretch>
        </p:blipFill>
        <p:spPr>
          <a:xfrm>
            <a:off x="6132383" y="1998770"/>
            <a:ext cx="7086600" cy="3383359"/>
          </a:xfrm>
          <a:prstGeom prst="rect">
            <a:avLst/>
          </a:prstGeom>
        </p:spPr>
      </p:pic>
    </p:spTree>
    <p:extLst>
      <p:ext uri="{BB962C8B-B14F-4D97-AF65-F5344CB8AC3E}">
        <p14:creationId xmlns:p14="http://schemas.microsoft.com/office/powerpoint/2010/main" val="768019466"/>
      </p:ext>
    </p:extLst>
  </p:cSld>
  <p:clrMapOvr>
    <a:masterClrMapping/>
  </p:clrMapOvr>
  <p:transition>
    <p:fade/>
  </p:transition>
</p:sld>
</file>

<file path=ppt/slides/slide37.xml><?xml version="1.0" encoding="utf-8"?>
<p:sld xmlns:a="http://schemas.openxmlformats.org/drawingml/2006/main" xmlns:r="http://schemas.openxmlformats.org/officeDocument/2006/relationships" xmlns:p="http://schemas.openxmlformats.org/presentationml/2006/main">
  <p:cSld>
    <p:bg>
      <p:bgPr>
        <a:solidFill>
          <a:srgbClr val="6F6F6F"/>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Batch</a:t>
            </a:r>
          </a:p>
        </p:txBody>
      </p:sp>
    </p:spTree>
    <p:extLst>
      <p:ext uri="{BB962C8B-B14F-4D97-AF65-F5344CB8AC3E}">
        <p14:creationId xmlns:p14="http://schemas.microsoft.com/office/powerpoint/2010/main" val="72377783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zure Batch</a:t>
            </a:r>
          </a:p>
        </p:txBody>
      </p:sp>
      <p:sp>
        <p:nvSpPr>
          <p:cNvPr id="29" name="TextBox 28"/>
          <p:cNvSpPr txBox="1"/>
          <p:nvPr/>
        </p:nvSpPr>
        <p:spPr>
          <a:xfrm>
            <a:off x="378868" y="1375914"/>
            <a:ext cx="7506487" cy="5315342"/>
          </a:xfrm>
          <a:prstGeom prst="rect">
            <a:avLst/>
          </a:prstGeom>
          <a:noFill/>
        </p:spPr>
        <p:txBody>
          <a:bodyPr wrap="square" lIns="182828" tIns="146262" rIns="182828" bIns="146262" rtlCol="0">
            <a:noAutofit/>
          </a:bodyPr>
          <a:lstStyle/>
          <a:p>
            <a:pPr defTabSz="932324">
              <a:spcBef>
                <a:spcPct val="20000"/>
              </a:spcBef>
              <a:spcAft>
                <a:spcPts val="1198"/>
              </a:spcAft>
              <a:buSzPct val="80000"/>
            </a:pPr>
            <a:r>
              <a:rPr lang="en-US" sz="3199" spc="-50" dirty="0">
                <a:solidFill>
                  <a:schemeClr val="tx2"/>
                </a:solidFill>
                <a:latin typeface="Segoe UI Light"/>
              </a:rPr>
              <a:t>Azure Batch is a service offering that came later in the platform evolution and offers a similar type service, but with a unique twist.  </a:t>
            </a:r>
          </a:p>
          <a:p>
            <a:pPr defTabSz="932324">
              <a:spcBef>
                <a:spcPct val="20000"/>
              </a:spcBef>
              <a:spcAft>
                <a:spcPts val="1198"/>
              </a:spcAft>
              <a:buSzPct val="80000"/>
            </a:pPr>
            <a:r>
              <a:rPr lang="en-US" sz="3199" spc="-50" dirty="0">
                <a:solidFill>
                  <a:schemeClr val="tx2"/>
                </a:solidFill>
                <a:latin typeface="Segoe UI Light"/>
              </a:rPr>
              <a:t>It has been designed to run background processes but more centered around Big Data and high performance data. </a:t>
            </a:r>
          </a:p>
          <a:p>
            <a:pPr marL="342900" lvl="1" indent="-342900" defTabSz="932594">
              <a:lnSpc>
                <a:spcPct val="90000"/>
              </a:lnSpc>
              <a:spcBef>
                <a:spcPct val="20000"/>
              </a:spcBef>
              <a:buSzPct val="90000"/>
              <a:buFont typeface="Arial" panose="020B0604020202020204" pitchFamily="34" charset="0"/>
              <a:buChar char="•"/>
            </a:pPr>
            <a:r>
              <a:rPr lang="en-US" sz="2000" dirty="0">
                <a:gradFill>
                  <a:gsLst>
                    <a:gs pos="1250">
                      <a:schemeClr val="tx1"/>
                    </a:gs>
                    <a:gs pos="100000">
                      <a:schemeClr val="tx1"/>
                    </a:gs>
                  </a:gsLst>
                  <a:lin ang="5400000" scaled="0"/>
                </a:gradFill>
              </a:rPr>
              <a:t>Azure Batch is comprised of two primary components</a:t>
            </a:r>
          </a:p>
          <a:p>
            <a:pPr marL="809271" lvl="2" indent="-342900" defTabSz="932594">
              <a:lnSpc>
                <a:spcPct val="90000"/>
              </a:lnSpc>
              <a:spcBef>
                <a:spcPct val="20000"/>
              </a:spcBef>
              <a:buSzPct val="90000"/>
              <a:buFont typeface="Arial" panose="020B0604020202020204" pitchFamily="34" charset="0"/>
              <a:buChar char="•"/>
            </a:pPr>
            <a:r>
              <a:rPr lang="en-US" dirty="0">
                <a:gradFill>
                  <a:gsLst>
                    <a:gs pos="1250">
                      <a:schemeClr val="tx1"/>
                    </a:gs>
                    <a:gs pos="100000">
                      <a:schemeClr val="tx1"/>
                    </a:gs>
                  </a:gsLst>
                  <a:lin ang="5400000" scaled="0"/>
                </a:gradFill>
              </a:rPr>
              <a:t>Azure Batch and Azure Batch Apps</a:t>
            </a:r>
          </a:p>
          <a:p>
            <a:pPr marL="342900" lvl="1" indent="-342900" defTabSz="932594">
              <a:lnSpc>
                <a:spcPct val="90000"/>
              </a:lnSpc>
              <a:spcBef>
                <a:spcPct val="20000"/>
              </a:spcBef>
              <a:buSzPct val="90000"/>
              <a:buFont typeface="Arial" panose="020B0604020202020204" pitchFamily="34" charset="0"/>
              <a:buChar char="•"/>
            </a:pPr>
            <a:r>
              <a:rPr lang="en-US" sz="2000" dirty="0">
                <a:gradFill>
                  <a:gsLst>
                    <a:gs pos="1250">
                      <a:schemeClr val="tx1"/>
                    </a:gs>
                    <a:gs pos="100000">
                      <a:schemeClr val="tx1"/>
                    </a:gs>
                  </a:gsLst>
                  <a:lin ang="5400000" scaled="0"/>
                </a:gradFill>
              </a:rPr>
              <a:t>Azure batch APIs focus on the ability to create pools of Virtual Machines and define work artifacts (work items) that will be scheduled for processing</a:t>
            </a:r>
          </a:p>
          <a:p>
            <a:pPr marL="342900" indent="-342900" defTabSz="932324">
              <a:spcAft>
                <a:spcPts val="600"/>
              </a:spcAft>
              <a:buFont typeface="Arial" panose="020B0604020202020204" pitchFamily="34" charset="0"/>
              <a:buChar char="•"/>
            </a:pPr>
            <a:endParaRPr lang="en-US" sz="2000" spc="-50" dirty="0"/>
          </a:p>
        </p:txBody>
      </p:sp>
      <p:pic>
        <p:nvPicPr>
          <p:cNvPr id="4" name="Picture 3"/>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7882132" y="2298540"/>
            <a:ext cx="4001354" cy="2725281"/>
          </a:xfrm>
          <a:prstGeom prst="rect">
            <a:avLst/>
          </a:prstGeom>
        </p:spPr>
      </p:pic>
    </p:spTree>
    <p:extLst>
      <p:ext uri="{BB962C8B-B14F-4D97-AF65-F5344CB8AC3E}">
        <p14:creationId xmlns:p14="http://schemas.microsoft.com/office/powerpoint/2010/main" val="283286599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366168" y="1212851"/>
            <a:ext cx="10729724" cy="1822037"/>
          </a:xfrm>
        </p:spPr>
        <p:txBody>
          <a:bodyPr/>
          <a:lstStyle/>
          <a:p>
            <a:r>
              <a:rPr lang="en-US" sz="2800" dirty="0"/>
              <a:t>Consider Azure batch for workloads in which an existing process or executable is used to process the data</a:t>
            </a:r>
          </a:p>
          <a:p>
            <a:r>
              <a:rPr lang="en-US" sz="2800" dirty="0"/>
              <a:t>To maximize effectiveness, the data should be in a format that can allow parallelization (cut the data in several chunks)</a:t>
            </a:r>
          </a:p>
        </p:txBody>
      </p:sp>
      <p:sp>
        <p:nvSpPr>
          <p:cNvPr id="3" name="Title 2"/>
          <p:cNvSpPr>
            <a:spLocks noGrp="1"/>
          </p:cNvSpPr>
          <p:nvPr>
            <p:ph type="title"/>
          </p:nvPr>
        </p:nvSpPr>
        <p:spPr/>
        <p:txBody>
          <a:bodyPr/>
          <a:lstStyle/>
          <a:p>
            <a:r>
              <a:rPr lang="en-US" dirty="0"/>
              <a:t>Azure Batch models</a:t>
            </a:r>
          </a:p>
        </p:txBody>
      </p:sp>
      <p:graphicFrame>
        <p:nvGraphicFramePr>
          <p:cNvPr id="4" name="Diagram 3"/>
          <p:cNvGraphicFramePr/>
          <p:nvPr>
            <p:extLst>
              <p:ext uri="{D42A27DB-BD31-4B8C-83A1-F6EECF244321}">
                <p14:modId xmlns:p14="http://schemas.microsoft.com/office/powerpoint/2010/main" val="2100373532"/>
              </p:ext>
            </p:extLst>
          </p:nvPr>
        </p:nvGraphicFramePr>
        <p:xfrm>
          <a:off x="1645444" y="3132484"/>
          <a:ext cx="2616607" cy="371757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5" name="Picture 4"/>
          <p:cNvPicPr/>
          <p:nvPr/>
        </p:nvPicPr>
        <p:blipFill rotWithShape="1">
          <a:blip r:embed="rId8" cstate="screen">
            <a:extLst>
              <a:ext uri="{28A0092B-C50C-407E-A947-70E740481C1C}">
                <a14:useLocalDpi xmlns:a14="http://schemas.microsoft.com/office/drawing/2010/main"/>
              </a:ext>
            </a:extLst>
          </a:blip>
          <a:srcRect/>
          <a:stretch/>
        </p:blipFill>
        <p:spPr>
          <a:xfrm>
            <a:off x="4262051" y="3129622"/>
            <a:ext cx="5269224" cy="2729839"/>
          </a:xfrm>
          <a:prstGeom prst="rect">
            <a:avLst/>
          </a:prstGeom>
          <a:ln>
            <a:noFill/>
          </a:ln>
          <a:effectLst/>
        </p:spPr>
      </p:pic>
    </p:spTree>
    <p:extLst>
      <p:ext uri="{BB962C8B-B14F-4D97-AF65-F5344CB8AC3E}">
        <p14:creationId xmlns:p14="http://schemas.microsoft.com/office/powerpoint/2010/main" val="404638898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Freeform 95"/>
          <p:cNvSpPr>
            <a:spLocks/>
          </p:cNvSpPr>
          <p:nvPr/>
        </p:nvSpPr>
        <p:spPr bwMode="auto">
          <a:xfrm flipH="1">
            <a:off x="7691572" y="4186167"/>
            <a:ext cx="4732100" cy="3073125"/>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FFFFFF">
              <a:alpha val="18039"/>
            </a:srgbClr>
          </a:solidFill>
          <a:ln>
            <a:noFill/>
          </a:ln>
          <a:extLst/>
        </p:spPr>
        <p:txBody>
          <a:bodyPr vert="horz" wrap="square" lIns="91387" tIns="45695" rIns="91387" bIns="45695" numCol="1" anchor="t" anchorCtr="0" compatLnSpc="1">
            <a:prstTxWarp prst="textNoShape">
              <a:avLst/>
            </a:prstTxWarp>
          </a:bodyPr>
          <a:lstStyle/>
          <a:p>
            <a:pPr defTabSz="913814">
              <a:defRPr/>
            </a:pPr>
            <a:endParaRPr lang="en-US" sz="1568" kern="0" dirty="0">
              <a:solidFill>
                <a:srgbClr val="000000"/>
              </a:solidFill>
              <a:latin typeface="Segoe UI"/>
            </a:endParaRPr>
          </a:p>
        </p:txBody>
      </p:sp>
      <p:sp>
        <p:nvSpPr>
          <p:cNvPr id="21" name="TextBox 20"/>
          <p:cNvSpPr txBox="1"/>
          <p:nvPr/>
        </p:nvSpPr>
        <p:spPr>
          <a:xfrm>
            <a:off x="7198" y="5219823"/>
            <a:ext cx="4141644" cy="1118944"/>
          </a:xfrm>
          <a:prstGeom prst="rect">
            <a:avLst/>
          </a:prstGeom>
        </p:spPr>
        <p:txBody>
          <a:bodyPr vert="horz" wrap="square" lIns="457135" tIns="274281" rIns="457135" bIns="274281" rtlCol="0" anchor="t">
            <a:spAutoFit/>
          </a:bodyPr>
          <a:lstStyle>
            <a:defPPr>
              <a:defRPr lang="en-US"/>
            </a:defPPr>
            <a:lvl1pPr defTabSz="932563">
              <a:lnSpc>
                <a:spcPct val="90000"/>
              </a:lnSpc>
              <a:spcBef>
                <a:spcPts val="1200"/>
              </a:spcBef>
              <a:defRPr sz="1600">
                <a:gradFill>
                  <a:gsLst>
                    <a:gs pos="16832">
                      <a:srgbClr val="282828"/>
                    </a:gs>
                    <a:gs pos="63366">
                      <a:srgbClr val="282828"/>
                    </a:gs>
                  </a:gsLst>
                  <a:lin ang="5400000" scaled="0"/>
                </a:gradFill>
                <a:ea typeface="Segoe UI" pitchFamily="34" charset="0"/>
                <a:cs typeface="Segoe UI Semibold" panose="020B0702040204020203" pitchFamily="34" charset="0"/>
              </a:defRPr>
            </a:lvl1pPr>
          </a:lstStyle>
          <a:p>
            <a:pPr defTabSz="932384">
              <a:spcBef>
                <a:spcPts val="1199"/>
              </a:spcBef>
              <a:defRPr/>
            </a:pPr>
            <a:r>
              <a:rPr lang="en-US" sz="2000" kern="0" dirty="0">
                <a:gradFill>
                  <a:gsLst>
                    <a:gs pos="16832">
                      <a:srgbClr val="161616"/>
                    </a:gs>
                    <a:gs pos="100000">
                      <a:srgbClr val="161616"/>
                    </a:gs>
                  </a:gsLst>
                  <a:lin ang="5400000" scaled="0"/>
                </a:gradFill>
                <a:latin typeface="Segoe UI"/>
              </a:rPr>
              <a:t>…you can own and operate your own car</a:t>
            </a:r>
          </a:p>
        </p:txBody>
      </p:sp>
      <p:sp>
        <p:nvSpPr>
          <p:cNvPr id="26" name="TextBox 25"/>
          <p:cNvSpPr txBox="1"/>
          <p:nvPr/>
        </p:nvSpPr>
        <p:spPr>
          <a:xfrm>
            <a:off x="4144993" y="5229020"/>
            <a:ext cx="4141644" cy="830879"/>
          </a:xfrm>
          <a:prstGeom prst="rect">
            <a:avLst/>
          </a:prstGeom>
        </p:spPr>
        <p:txBody>
          <a:bodyPr vert="horz" wrap="square" lIns="457135" tIns="274281" rIns="457135" bIns="274281" rtlCol="0" anchor="t">
            <a:spAutoFit/>
          </a:bodyPr>
          <a:lstStyle>
            <a:defPPr>
              <a:defRPr lang="en-US"/>
            </a:defPPr>
            <a:lvl1pPr defTabSz="932563">
              <a:lnSpc>
                <a:spcPct val="90000"/>
              </a:lnSpc>
              <a:spcBef>
                <a:spcPts val="1200"/>
              </a:spcBef>
              <a:defRPr sz="1600">
                <a:gradFill>
                  <a:gsLst>
                    <a:gs pos="16832">
                      <a:srgbClr val="282828"/>
                    </a:gs>
                    <a:gs pos="63366">
                      <a:srgbClr val="282828"/>
                    </a:gs>
                  </a:gsLst>
                  <a:lin ang="5400000" scaled="0"/>
                </a:gradFill>
                <a:ea typeface="Segoe UI" pitchFamily="34" charset="0"/>
                <a:cs typeface="Segoe UI Semibold" panose="020B0702040204020203" pitchFamily="34" charset="0"/>
              </a:defRPr>
            </a:lvl1pPr>
          </a:lstStyle>
          <a:p>
            <a:pPr defTabSz="932384">
              <a:spcBef>
                <a:spcPts val="1199"/>
              </a:spcBef>
              <a:defRPr/>
            </a:pPr>
            <a:r>
              <a:rPr lang="en-US" sz="2000" kern="0" dirty="0">
                <a:gradFill>
                  <a:gsLst>
                    <a:gs pos="16832">
                      <a:srgbClr val="161616"/>
                    </a:gs>
                    <a:gs pos="100000">
                      <a:srgbClr val="161616"/>
                    </a:gs>
                  </a:gsLst>
                  <a:lin ang="5400000" scaled="0"/>
                </a:gradFill>
                <a:latin typeface="Segoe UI"/>
              </a:rPr>
              <a:t>…you can rent a car</a:t>
            </a:r>
          </a:p>
        </p:txBody>
      </p:sp>
      <p:sp>
        <p:nvSpPr>
          <p:cNvPr id="34" name="TextBox 33"/>
          <p:cNvSpPr txBox="1"/>
          <p:nvPr/>
        </p:nvSpPr>
        <p:spPr>
          <a:xfrm>
            <a:off x="8293156" y="5229019"/>
            <a:ext cx="4141644" cy="1275897"/>
          </a:xfrm>
          <a:prstGeom prst="rect">
            <a:avLst/>
          </a:prstGeom>
        </p:spPr>
        <p:txBody>
          <a:bodyPr vert="horz" wrap="square" lIns="457135" tIns="274281" rIns="457135" bIns="274281" rtlCol="0" anchor="t">
            <a:spAutoFit/>
          </a:bodyPr>
          <a:lstStyle>
            <a:defPPr>
              <a:defRPr lang="en-US"/>
            </a:defPPr>
            <a:lvl1pPr defTabSz="932563">
              <a:lnSpc>
                <a:spcPct val="90000"/>
              </a:lnSpc>
              <a:spcBef>
                <a:spcPts val="1200"/>
              </a:spcBef>
              <a:defRPr sz="1600">
                <a:gradFill>
                  <a:gsLst>
                    <a:gs pos="16832">
                      <a:srgbClr val="282828"/>
                    </a:gs>
                    <a:gs pos="63366">
                      <a:srgbClr val="282828"/>
                    </a:gs>
                  </a:gsLst>
                  <a:lin ang="5400000" scaled="0"/>
                </a:gradFill>
                <a:ea typeface="Segoe UI" pitchFamily="34" charset="0"/>
                <a:cs typeface="Segoe UI Semibold" panose="020B0702040204020203" pitchFamily="34" charset="0"/>
              </a:defRPr>
            </a:lvl1pPr>
          </a:lstStyle>
          <a:p>
            <a:pPr defTabSz="932384">
              <a:spcBef>
                <a:spcPts val="1199"/>
              </a:spcBef>
              <a:defRPr/>
            </a:pPr>
            <a:r>
              <a:rPr lang="en-US" sz="2000" kern="0" dirty="0">
                <a:gradFill>
                  <a:gsLst>
                    <a:gs pos="16832">
                      <a:srgbClr val="161616"/>
                    </a:gs>
                    <a:gs pos="100000">
                      <a:srgbClr val="161616"/>
                    </a:gs>
                  </a:gsLst>
                  <a:lin ang="5400000" scaled="0"/>
                </a:gradFill>
                <a:latin typeface="Segoe UI"/>
              </a:rPr>
              <a:t>…you can take a taxi</a:t>
            </a:r>
          </a:p>
          <a:p>
            <a:pPr defTabSz="932384">
              <a:spcBef>
                <a:spcPts val="1199"/>
              </a:spcBef>
              <a:defRPr/>
            </a:pPr>
            <a:endParaRPr lang="en-US" sz="2000" kern="0" dirty="0">
              <a:gradFill>
                <a:gsLst>
                  <a:gs pos="16832">
                    <a:srgbClr val="161616"/>
                  </a:gs>
                  <a:gs pos="100000">
                    <a:srgbClr val="161616"/>
                  </a:gs>
                </a:gsLst>
                <a:lin ang="5400000" scaled="0"/>
              </a:gradFill>
              <a:latin typeface="Segoe UI"/>
            </a:endParaRPr>
          </a:p>
        </p:txBody>
      </p:sp>
      <p:grpSp>
        <p:nvGrpSpPr>
          <p:cNvPr id="13" name="SaaS"/>
          <p:cNvGrpSpPr/>
          <p:nvPr/>
        </p:nvGrpSpPr>
        <p:grpSpPr>
          <a:xfrm>
            <a:off x="8293157" y="1216349"/>
            <a:ext cx="4154721" cy="4003730"/>
            <a:chOff x="8294243" y="1216026"/>
            <a:chExt cx="4155311" cy="4004298"/>
          </a:xfrm>
        </p:grpSpPr>
        <p:pic>
          <p:nvPicPr>
            <p:cNvPr id="40" name="Picture 39"/>
            <p:cNvPicPr>
              <a:picLocks noChangeAspect="1"/>
            </p:cNvPicPr>
            <p:nvPr/>
          </p:nvPicPr>
          <p:blipFill rotWithShape="1">
            <a:blip r:embed="rId3" cstate="print">
              <a:extLst>
                <a:ext uri="{28A0092B-C50C-407E-A947-70E740481C1C}">
                  <a14:useLocalDpi xmlns:a14="http://schemas.microsoft.com/office/drawing/2010/main" val="0"/>
                </a:ext>
              </a:extLst>
            </a:blip>
            <a:srcRect r="4647"/>
            <a:stretch/>
          </p:blipFill>
          <p:spPr>
            <a:xfrm>
              <a:off x="8303635" y="1216026"/>
              <a:ext cx="4145919" cy="2898648"/>
            </a:xfrm>
            <a:prstGeom prst="rect">
              <a:avLst/>
            </a:prstGeom>
          </p:spPr>
        </p:pic>
        <p:sp>
          <p:nvSpPr>
            <p:cNvPr id="32" name="TextBox 31"/>
            <p:cNvSpPr txBox="1"/>
            <p:nvPr/>
          </p:nvSpPr>
          <p:spPr>
            <a:xfrm>
              <a:off x="8294243" y="4112328"/>
              <a:ext cx="4142232" cy="1107996"/>
            </a:xfrm>
            <a:prstGeom prst="rect">
              <a:avLst/>
            </a:prstGeom>
            <a:solidFill>
              <a:schemeClr val="bg2">
                <a:lumMod val="50000"/>
                <a:alpha val="80000"/>
              </a:schemeClr>
            </a:solidFill>
          </p:spPr>
          <p:txBody>
            <a:bodyPr vert="horz" wrap="square" lIns="457135" tIns="274281" rIns="365708" bIns="274281" rtlCol="0" anchor="ctr" anchorCtr="0">
              <a:noAutofit/>
            </a:bodyPr>
            <a:lstStyle>
              <a:defPPr>
                <a:defRPr lang="en-US"/>
              </a:defPPr>
              <a:lvl1pPr defTabSz="951026">
                <a:lnSpc>
                  <a:spcPct val="90000"/>
                </a:lnSpc>
                <a:spcAft>
                  <a:spcPts val="400"/>
                </a:spcAft>
                <a:defRPr sz="2000" b="1">
                  <a:gradFill>
                    <a:gsLst>
                      <a:gs pos="69912">
                        <a:srgbClr val="FFFFFF"/>
                      </a:gs>
                      <a:gs pos="43000">
                        <a:srgbClr val="FFFFFF"/>
                      </a:gs>
                    </a:gsLst>
                    <a:lin ang="5400000" scaled="0"/>
                  </a:gradFill>
                  <a:ea typeface="Segoe UI" pitchFamily="34" charset="0"/>
                  <a:cs typeface="Segoe UI Semibold" panose="020B0702040204020203" pitchFamily="34" charset="0"/>
                </a:defRPr>
              </a:lvl1pPr>
            </a:lstStyle>
            <a:p>
              <a:pPr defTabSz="950844">
                <a:defRPr/>
              </a:pPr>
              <a:r>
                <a:rPr lang="en-US" sz="2800" b="0" kern="0" dirty="0">
                  <a:latin typeface="Segoe UI Semibold" panose="020B0702040204020203" pitchFamily="34" charset="0"/>
                </a:rPr>
                <a:t>SaaS</a:t>
              </a:r>
            </a:p>
          </p:txBody>
        </p:sp>
      </p:grpSp>
      <p:grpSp>
        <p:nvGrpSpPr>
          <p:cNvPr id="8" name="PaaS"/>
          <p:cNvGrpSpPr/>
          <p:nvPr/>
        </p:nvGrpSpPr>
        <p:grpSpPr>
          <a:xfrm>
            <a:off x="4146623" y="1216224"/>
            <a:ext cx="4141644" cy="4003857"/>
            <a:chOff x="4147122" y="1215899"/>
            <a:chExt cx="4142232" cy="4004425"/>
          </a:xfrm>
        </p:grpSpPr>
        <p:sp>
          <p:nvSpPr>
            <p:cNvPr id="24" name="TextBox 23"/>
            <p:cNvSpPr txBox="1"/>
            <p:nvPr/>
          </p:nvSpPr>
          <p:spPr>
            <a:xfrm>
              <a:off x="4147122" y="4112328"/>
              <a:ext cx="4142232" cy="1107996"/>
            </a:xfrm>
            <a:prstGeom prst="rect">
              <a:avLst/>
            </a:prstGeom>
            <a:solidFill>
              <a:schemeClr val="bg2">
                <a:lumMod val="50000"/>
                <a:alpha val="80000"/>
              </a:schemeClr>
            </a:solidFill>
          </p:spPr>
          <p:txBody>
            <a:bodyPr vert="horz" wrap="square" lIns="457135" tIns="274281" rIns="365708" bIns="274281" rtlCol="0" anchor="ctr" anchorCtr="0">
              <a:noAutofit/>
            </a:bodyPr>
            <a:lstStyle>
              <a:defPPr>
                <a:defRPr lang="en-US"/>
              </a:defPPr>
              <a:lvl1pPr defTabSz="951026">
                <a:lnSpc>
                  <a:spcPct val="90000"/>
                </a:lnSpc>
                <a:spcAft>
                  <a:spcPts val="400"/>
                </a:spcAft>
                <a:defRPr sz="2000" b="1">
                  <a:gradFill>
                    <a:gsLst>
                      <a:gs pos="69912">
                        <a:srgbClr val="FFFFFF"/>
                      </a:gs>
                      <a:gs pos="43000">
                        <a:srgbClr val="FFFFFF"/>
                      </a:gs>
                    </a:gsLst>
                    <a:lin ang="5400000" scaled="0"/>
                  </a:gradFill>
                  <a:ea typeface="Segoe UI" pitchFamily="34" charset="0"/>
                  <a:cs typeface="Segoe UI Semibold" panose="020B0702040204020203" pitchFamily="34" charset="0"/>
                </a:defRPr>
              </a:lvl1pPr>
            </a:lstStyle>
            <a:p>
              <a:pPr defTabSz="950844">
                <a:defRPr/>
              </a:pPr>
              <a:r>
                <a:rPr lang="en-US" sz="2800" b="0" kern="0" dirty="0">
                  <a:latin typeface="Segoe UI Semibold" panose="020B0702040204020203" pitchFamily="34" charset="0"/>
                </a:rPr>
                <a:t>PaaS</a:t>
              </a:r>
            </a:p>
          </p:txBody>
        </p:sp>
        <p:pic>
          <p:nvPicPr>
            <p:cNvPr id="31" name="Picture 30"/>
            <p:cNvPicPr>
              <a:picLocks noChangeAspect="1"/>
            </p:cNvPicPr>
            <p:nvPr/>
          </p:nvPicPr>
          <p:blipFill rotWithShape="1">
            <a:blip r:embed="rId4" cstate="print">
              <a:extLst>
                <a:ext uri="{28A0092B-C50C-407E-A947-70E740481C1C}">
                  <a14:useLocalDpi xmlns:a14="http://schemas.microsoft.com/office/drawing/2010/main" val="0"/>
                </a:ext>
              </a:extLst>
            </a:blip>
            <a:srcRect t="-1" r="5808" b="-1"/>
            <a:stretch/>
          </p:blipFill>
          <p:spPr>
            <a:xfrm>
              <a:off x="4158144" y="1215899"/>
              <a:ext cx="4122458" cy="2898648"/>
            </a:xfrm>
            <a:prstGeom prst="rect">
              <a:avLst/>
            </a:prstGeom>
          </p:spPr>
        </p:pic>
      </p:grpSp>
      <p:grpSp>
        <p:nvGrpSpPr>
          <p:cNvPr id="5" name="IaaS"/>
          <p:cNvGrpSpPr/>
          <p:nvPr/>
        </p:nvGrpSpPr>
        <p:grpSpPr>
          <a:xfrm>
            <a:off x="90" y="1216238"/>
            <a:ext cx="4141644" cy="4003843"/>
            <a:chOff x="0" y="1215913"/>
            <a:chExt cx="4142232" cy="4004411"/>
          </a:xfrm>
        </p:grpSpPr>
        <p:pic>
          <p:nvPicPr>
            <p:cNvPr id="30" name="Picture 29"/>
            <p:cNvPicPr>
              <a:picLocks noChangeAspect="1"/>
            </p:cNvPicPr>
            <p:nvPr/>
          </p:nvPicPr>
          <p:blipFill rotWithShape="1">
            <a:blip r:embed="rId5" cstate="print">
              <a:extLst>
                <a:ext uri="{28A0092B-C50C-407E-A947-70E740481C1C}">
                  <a14:useLocalDpi xmlns:a14="http://schemas.microsoft.com/office/drawing/2010/main" val="0"/>
                </a:ext>
              </a:extLst>
            </a:blip>
            <a:srcRect t="19802" r="311" b="33939"/>
            <a:stretch/>
          </p:blipFill>
          <p:spPr>
            <a:xfrm>
              <a:off x="1751" y="1215913"/>
              <a:ext cx="4133278" cy="2898648"/>
            </a:xfrm>
            <a:prstGeom prst="rect">
              <a:avLst/>
            </a:prstGeom>
          </p:spPr>
        </p:pic>
        <p:sp>
          <p:nvSpPr>
            <p:cNvPr id="18" name="TextBox 17"/>
            <p:cNvSpPr txBox="1"/>
            <p:nvPr/>
          </p:nvSpPr>
          <p:spPr>
            <a:xfrm>
              <a:off x="0" y="4112328"/>
              <a:ext cx="4142232" cy="1107996"/>
            </a:xfrm>
            <a:prstGeom prst="rect">
              <a:avLst/>
            </a:prstGeom>
            <a:solidFill>
              <a:schemeClr val="bg2">
                <a:lumMod val="50000"/>
                <a:alpha val="80000"/>
              </a:schemeClr>
            </a:solidFill>
          </p:spPr>
          <p:txBody>
            <a:bodyPr vert="horz" wrap="square" lIns="457135" tIns="274281" rIns="365708" bIns="274281" rtlCol="0" anchor="ctr" anchorCtr="0">
              <a:noAutofit/>
            </a:bodyPr>
            <a:lstStyle>
              <a:defPPr>
                <a:defRPr lang="en-US"/>
              </a:defPPr>
              <a:lvl1pPr defTabSz="951026">
                <a:lnSpc>
                  <a:spcPct val="90000"/>
                </a:lnSpc>
                <a:spcAft>
                  <a:spcPts val="400"/>
                </a:spcAft>
                <a:defRPr sz="2000" b="1">
                  <a:gradFill>
                    <a:gsLst>
                      <a:gs pos="69912">
                        <a:srgbClr val="FFFFFF"/>
                      </a:gs>
                      <a:gs pos="43000">
                        <a:srgbClr val="FFFFFF"/>
                      </a:gs>
                    </a:gsLst>
                    <a:lin ang="5400000" scaled="0"/>
                  </a:gradFill>
                  <a:ea typeface="Segoe UI" pitchFamily="34" charset="0"/>
                  <a:cs typeface="Segoe UI Semibold" panose="020B0702040204020203" pitchFamily="34" charset="0"/>
                </a:defRPr>
              </a:lvl1pPr>
            </a:lstStyle>
            <a:p>
              <a:pPr defTabSz="950844">
                <a:defRPr/>
              </a:pPr>
              <a:r>
                <a:rPr lang="en-US" sz="2800" b="0" kern="0" dirty="0">
                  <a:latin typeface="Segoe UI Semibold" panose="020B0702040204020203" pitchFamily="34" charset="0"/>
                </a:rPr>
                <a:t>IaaS</a:t>
              </a:r>
            </a:p>
          </p:txBody>
        </p:sp>
      </p:grpSp>
      <p:cxnSp>
        <p:nvCxnSpPr>
          <p:cNvPr id="35" name="Straight Connector 34"/>
          <p:cNvCxnSpPr/>
          <p:nvPr/>
        </p:nvCxnSpPr>
        <p:spPr>
          <a:xfrm>
            <a:off x="8289897" y="1214270"/>
            <a:ext cx="0" cy="4195659"/>
          </a:xfrm>
          <a:prstGeom prst="line">
            <a:avLst/>
          </a:prstGeom>
          <a:ln w="28575">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6" name="Straight Connector 35"/>
          <p:cNvCxnSpPr/>
          <p:nvPr/>
        </p:nvCxnSpPr>
        <p:spPr>
          <a:xfrm>
            <a:off x="4144993" y="1211588"/>
            <a:ext cx="0" cy="4017433"/>
          </a:xfrm>
          <a:prstGeom prst="line">
            <a:avLst/>
          </a:prstGeom>
          <a:ln w="28575">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3" name="Mask top"/>
          <p:cNvSpPr/>
          <p:nvPr/>
        </p:nvSpPr>
        <p:spPr bwMode="auto">
          <a:xfrm>
            <a:off x="88" y="496"/>
            <a:ext cx="12423582" cy="1211091"/>
          </a:xfrm>
          <a:prstGeom prst="rect">
            <a:avLst/>
          </a:prstGeom>
          <a:solidFill>
            <a:schemeClr val="bg2"/>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dirty="0">
              <a:gradFill>
                <a:gsLst>
                  <a:gs pos="0">
                    <a:srgbClr val="FFFFFF"/>
                  </a:gs>
                  <a:gs pos="100000">
                    <a:srgbClr val="FFFFFF"/>
                  </a:gs>
                </a:gsLst>
                <a:lin ang="5400000" scaled="0"/>
              </a:gradFill>
              <a:latin typeface="Segoe UI"/>
            </a:endParaRPr>
          </a:p>
        </p:txBody>
      </p:sp>
      <p:sp>
        <p:nvSpPr>
          <p:cNvPr id="2" name="Title 1"/>
          <p:cNvSpPr>
            <a:spLocks noGrp="1"/>
          </p:cNvSpPr>
          <p:nvPr>
            <p:ph type="title"/>
          </p:nvPr>
        </p:nvSpPr>
        <p:spPr/>
        <p:txBody>
          <a:bodyPr/>
          <a:lstStyle/>
          <a:p>
            <a:r>
              <a:rPr lang="en-US" dirty="0"/>
              <a:t>Let’s say your app is a car…</a:t>
            </a:r>
          </a:p>
        </p:txBody>
      </p:sp>
      <p:sp>
        <p:nvSpPr>
          <p:cNvPr id="3" name="Mask left"/>
          <p:cNvSpPr/>
          <p:nvPr/>
        </p:nvSpPr>
        <p:spPr bwMode="auto">
          <a:xfrm>
            <a:off x="90" y="1211588"/>
            <a:ext cx="4143272" cy="4008235"/>
          </a:xfrm>
          <a:prstGeom prst="rect">
            <a:avLst/>
          </a:prstGeom>
          <a:solidFill>
            <a:schemeClr val="bg2">
              <a:alpha val="74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dirty="0">
              <a:gradFill>
                <a:gsLst>
                  <a:gs pos="0">
                    <a:srgbClr val="FFFFFF"/>
                  </a:gs>
                  <a:gs pos="100000">
                    <a:srgbClr val="FFFFFF"/>
                  </a:gs>
                </a:gsLst>
                <a:lin ang="5400000" scaled="0"/>
              </a:gradFill>
              <a:latin typeface="Segoe UI"/>
            </a:endParaRPr>
          </a:p>
        </p:txBody>
      </p:sp>
      <p:sp>
        <p:nvSpPr>
          <p:cNvPr id="28" name="Mask right"/>
          <p:cNvSpPr/>
          <p:nvPr/>
        </p:nvSpPr>
        <p:spPr bwMode="auto">
          <a:xfrm>
            <a:off x="8305739" y="1210170"/>
            <a:ext cx="4143272" cy="4008235"/>
          </a:xfrm>
          <a:prstGeom prst="rect">
            <a:avLst/>
          </a:prstGeom>
          <a:solidFill>
            <a:schemeClr val="bg2">
              <a:alpha val="74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dirty="0">
              <a:gradFill>
                <a:gsLst>
                  <a:gs pos="0">
                    <a:srgbClr val="FFFFFF"/>
                  </a:gs>
                  <a:gs pos="100000">
                    <a:srgbClr val="FFFFFF"/>
                  </a:gs>
                </a:gsLst>
                <a:lin ang="5400000" scaled="0"/>
              </a:gradFill>
              <a:latin typeface="Segoe UI"/>
            </a:endParaRPr>
          </a:p>
        </p:txBody>
      </p:sp>
      <p:sp>
        <p:nvSpPr>
          <p:cNvPr id="41" name="TextBox 40"/>
          <p:cNvSpPr txBox="1"/>
          <p:nvPr/>
        </p:nvSpPr>
        <p:spPr>
          <a:xfrm>
            <a:off x="4144993" y="5229020"/>
            <a:ext cx="4141644" cy="1401458"/>
          </a:xfrm>
          <a:prstGeom prst="rect">
            <a:avLst/>
          </a:prstGeom>
        </p:spPr>
        <p:txBody>
          <a:bodyPr vert="horz" wrap="square" lIns="457135" tIns="274281" rIns="457135" bIns="274281" rtlCol="0" anchor="t">
            <a:spAutoFit/>
          </a:bodyPr>
          <a:lstStyle>
            <a:defPPr>
              <a:defRPr lang="en-US"/>
            </a:defPPr>
            <a:lvl1pPr defTabSz="932563">
              <a:lnSpc>
                <a:spcPct val="90000"/>
              </a:lnSpc>
              <a:spcBef>
                <a:spcPts val="1200"/>
              </a:spcBef>
              <a:defRPr sz="1600">
                <a:gradFill>
                  <a:gsLst>
                    <a:gs pos="16832">
                      <a:srgbClr val="282828"/>
                    </a:gs>
                    <a:gs pos="63366">
                      <a:srgbClr val="282828"/>
                    </a:gs>
                  </a:gsLst>
                  <a:lin ang="5400000" scaled="0"/>
                </a:gradFill>
                <a:ea typeface="Segoe UI" pitchFamily="34" charset="0"/>
                <a:cs typeface="Segoe UI Semibold" panose="020B0702040204020203" pitchFamily="34" charset="0"/>
              </a:defRPr>
            </a:lvl1pPr>
          </a:lstStyle>
          <a:p>
            <a:pPr defTabSz="932384">
              <a:spcBef>
                <a:spcPts val="1199"/>
              </a:spcBef>
              <a:defRPr/>
            </a:pPr>
            <a:r>
              <a:rPr lang="en-US" sz="2000" kern="0" dirty="0">
                <a:gradFill>
                  <a:gsLst>
                    <a:gs pos="16832">
                      <a:srgbClr val="161616"/>
                    </a:gs>
                    <a:gs pos="100000">
                      <a:srgbClr val="161616"/>
                    </a:gs>
                  </a:gsLst>
                  <a:lin ang="5400000" scaled="0"/>
                </a:gradFill>
                <a:latin typeface="Segoe UI"/>
              </a:rPr>
              <a:t>Cut to the code - create innovative apps using an application platform  </a:t>
            </a:r>
          </a:p>
        </p:txBody>
      </p:sp>
    </p:spTree>
    <p:extLst>
      <p:ext uri="{BB962C8B-B14F-4D97-AF65-F5344CB8AC3E}">
        <p14:creationId xmlns:p14="http://schemas.microsoft.com/office/powerpoint/2010/main" val="82333396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00"/>
                                  </p:stCondLst>
                                  <p:childTnLst>
                                    <p:set>
                                      <p:cBhvr>
                                        <p:cTn id="6" dur="1" fill="hold">
                                          <p:stCondLst>
                                            <p:cond delay="0"/>
                                          </p:stCondLst>
                                        </p:cTn>
                                        <p:tgtEl>
                                          <p:spTgt spid="20"/>
                                        </p:tgtEl>
                                        <p:attrNameLst>
                                          <p:attrName>style.visibility</p:attrName>
                                        </p:attrNameLst>
                                      </p:cBhvr>
                                      <p:to>
                                        <p:strVal val="visible"/>
                                      </p:to>
                                    </p:set>
                                    <p:animEffect transition="in" filter="fade">
                                      <p:cBhvr>
                                        <p:cTn id="7" dur="500"/>
                                        <p:tgtEl>
                                          <p:spTgt spid="20"/>
                                        </p:tgtEl>
                                      </p:cBhvr>
                                    </p:animEffect>
                                  </p:childTnLst>
                                </p:cTn>
                              </p:par>
                              <p:par>
                                <p:cTn id="8" presetID="63" presetClass="path" presetSubtype="0" decel="100000" fill="hold" grpId="1" nodeType="withEffect">
                                  <p:stCondLst>
                                    <p:cond delay="100"/>
                                  </p:stCondLst>
                                  <p:childTnLst>
                                    <p:animMotion origin="layout" path="M 2.65509E-7 -2.16069E-6 L 0.06433 -2.16069E-6 " pathEditMode="relative" rAng="0" ptsTypes="AA">
                                      <p:cBhvr>
                                        <p:cTn id="9" dur="1000" spd="-100000" fill="hold"/>
                                        <p:tgtEl>
                                          <p:spTgt spid="20"/>
                                        </p:tgtEl>
                                        <p:attrNameLst>
                                          <p:attrName>ppt_x</p:attrName>
                                          <p:attrName>ppt_y</p:attrName>
                                        </p:attrNameLst>
                                      </p:cBhvr>
                                      <p:rCtr x="3217" y="0"/>
                                    </p:animMotion>
                                  </p:childTnLst>
                                </p:cTn>
                              </p:par>
                              <p:par>
                                <p:cTn id="10" presetID="2" presetClass="entr" presetSubtype="1" decel="100000" fill="hold" nodeType="withEffect">
                                  <p:stCondLst>
                                    <p:cond delay="800"/>
                                  </p:stCondLst>
                                  <p:childTnLst>
                                    <p:set>
                                      <p:cBhvr>
                                        <p:cTn id="11" dur="1" fill="hold">
                                          <p:stCondLst>
                                            <p:cond delay="0"/>
                                          </p:stCondLst>
                                        </p:cTn>
                                        <p:tgtEl>
                                          <p:spTgt spid="5"/>
                                        </p:tgtEl>
                                        <p:attrNameLst>
                                          <p:attrName>style.visibility</p:attrName>
                                        </p:attrNameLst>
                                      </p:cBhvr>
                                      <p:to>
                                        <p:strVal val="visible"/>
                                      </p:to>
                                    </p:set>
                                    <p:anim calcmode="lin" valueType="num">
                                      <p:cBhvr additive="base">
                                        <p:cTn id="12" dur="750" fill="hold"/>
                                        <p:tgtEl>
                                          <p:spTgt spid="5"/>
                                        </p:tgtEl>
                                        <p:attrNameLst>
                                          <p:attrName>ppt_x</p:attrName>
                                        </p:attrNameLst>
                                      </p:cBhvr>
                                      <p:tavLst>
                                        <p:tav tm="0">
                                          <p:val>
                                            <p:strVal val="#ppt_x"/>
                                          </p:val>
                                        </p:tav>
                                        <p:tav tm="100000">
                                          <p:val>
                                            <p:strVal val="#ppt_x"/>
                                          </p:val>
                                        </p:tav>
                                      </p:tavLst>
                                    </p:anim>
                                    <p:anim calcmode="lin" valueType="num">
                                      <p:cBhvr additive="base">
                                        <p:cTn id="13" dur="750" fill="hold"/>
                                        <p:tgtEl>
                                          <p:spTgt spid="5"/>
                                        </p:tgtEl>
                                        <p:attrNameLst>
                                          <p:attrName>ppt_y</p:attrName>
                                        </p:attrNameLst>
                                      </p:cBhvr>
                                      <p:tavLst>
                                        <p:tav tm="0">
                                          <p:val>
                                            <p:strVal val="0-#ppt_h/2"/>
                                          </p:val>
                                        </p:tav>
                                        <p:tav tm="100000">
                                          <p:val>
                                            <p:strVal val="#ppt_y"/>
                                          </p:val>
                                        </p:tav>
                                      </p:tavLst>
                                    </p:anim>
                                  </p:childTnLst>
                                </p:cTn>
                              </p:par>
                              <p:par>
                                <p:cTn id="14" presetID="10" presetClass="entr" presetSubtype="0" fill="hold" grpId="0" nodeType="withEffect">
                                  <p:stCondLst>
                                    <p:cond delay="800"/>
                                  </p:stCondLst>
                                  <p:childTnLst>
                                    <p:set>
                                      <p:cBhvr>
                                        <p:cTn id="15" dur="1" fill="hold">
                                          <p:stCondLst>
                                            <p:cond delay="0"/>
                                          </p:stCondLst>
                                        </p:cTn>
                                        <p:tgtEl>
                                          <p:spTgt spid="21"/>
                                        </p:tgtEl>
                                        <p:attrNameLst>
                                          <p:attrName>style.visibility</p:attrName>
                                        </p:attrNameLst>
                                      </p:cBhvr>
                                      <p:to>
                                        <p:strVal val="visible"/>
                                      </p:to>
                                    </p:set>
                                    <p:animEffect transition="in" filter="fade">
                                      <p:cBhvr>
                                        <p:cTn id="16" dur="500"/>
                                        <p:tgtEl>
                                          <p:spTgt spid="21"/>
                                        </p:tgtEl>
                                      </p:cBhvr>
                                    </p:animEffect>
                                  </p:childTnLst>
                                </p:cTn>
                              </p:par>
                              <p:par>
                                <p:cTn id="17" presetID="2" presetClass="entr" presetSubtype="1" decel="100000" fill="hold" nodeType="withEffect">
                                  <p:stCondLst>
                                    <p:cond delay="950"/>
                                  </p:stCondLst>
                                  <p:childTnLst>
                                    <p:set>
                                      <p:cBhvr>
                                        <p:cTn id="18" dur="1" fill="hold">
                                          <p:stCondLst>
                                            <p:cond delay="0"/>
                                          </p:stCondLst>
                                        </p:cTn>
                                        <p:tgtEl>
                                          <p:spTgt spid="8"/>
                                        </p:tgtEl>
                                        <p:attrNameLst>
                                          <p:attrName>style.visibility</p:attrName>
                                        </p:attrNameLst>
                                      </p:cBhvr>
                                      <p:to>
                                        <p:strVal val="visible"/>
                                      </p:to>
                                    </p:set>
                                    <p:anim calcmode="lin" valueType="num">
                                      <p:cBhvr additive="base">
                                        <p:cTn id="19" dur="750" fill="hold"/>
                                        <p:tgtEl>
                                          <p:spTgt spid="8"/>
                                        </p:tgtEl>
                                        <p:attrNameLst>
                                          <p:attrName>ppt_x</p:attrName>
                                        </p:attrNameLst>
                                      </p:cBhvr>
                                      <p:tavLst>
                                        <p:tav tm="0">
                                          <p:val>
                                            <p:strVal val="#ppt_x"/>
                                          </p:val>
                                        </p:tav>
                                        <p:tav tm="100000">
                                          <p:val>
                                            <p:strVal val="#ppt_x"/>
                                          </p:val>
                                        </p:tav>
                                      </p:tavLst>
                                    </p:anim>
                                    <p:anim calcmode="lin" valueType="num">
                                      <p:cBhvr additive="base">
                                        <p:cTn id="20" dur="750" fill="hold"/>
                                        <p:tgtEl>
                                          <p:spTgt spid="8"/>
                                        </p:tgtEl>
                                        <p:attrNameLst>
                                          <p:attrName>ppt_y</p:attrName>
                                        </p:attrNameLst>
                                      </p:cBhvr>
                                      <p:tavLst>
                                        <p:tav tm="0">
                                          <p:val>
                                            <p:strVal val="0-#ppt_h/2"/>
                                          </p:val>
                                        </p:tav>
                                        <p:tav tm="100000">
                                          <p:val>
                                            <p:strVal val="#ppt_y"/>
                                          </p:val>
                                        </p:tav>
                                      </p:tavLst>
                                    </p:anim>
                                  </p:childTnLst>
                                </p:cTn>
                              </p:par>
                              <p:par>
                                <p:cTn id="21" presetID="10" presetClass="entr" presetSubtype="0" fill="hold" grpId="0" nodeType="withEffect">
                                  <p:stCondLst>
                                    <p:cond delay="950"/>
                                  </p:stCondLst>
                                  <p:childTnLst>
                                    <p:set>
                                      <p:cBhvr>
                                        <p:cTn id="22" dur="1" fill="hold">
                                          <p:stCondLst>
                                            <p:cond delay="0"/>
                                          </p:stCondLst>
                                        </p:cTn>
                                        <p:tgtEl>
                                          <p:spTgt spid="26"/>
                                        </p:tgtEl>
                                        <p:attrNameLst>
                                          <p:attrName>style.visibility</p:attrName>
                                        </p:attrNameLst>
                                      </p:cBhvr>
                                      <p:to>
                                        <p:strVal val="visible"/>
                                      </p:to>
                                    </p:set>
                                    <p:animEffect transition="in" filter="fade">
                                      <p:cBhvr>
                                        <p:cTn id="23" dur="500"/>
                                        <p:tgtEl>
                                          <p:spTgt spid="26"/>
                                        </p:tgtEl>
                                      </p:cBhvr>
                                    </p:animEffect>
                                  </p:childTnLst>
                                </p:cTn>
                              </p:par>
                              <p:par>
                                <p:cTn id="24" presetID="2" presetClass="entr" presetSubtype="1" decel="100000" fill="hold" nodeType="withEffect">
                                  <p:stCondLst>
                                    <p:cond delay="1100"/>
                                  </p:stCondLst>
                                  <p:childTnLst>
                                    <p:set>
                                      <p:cBhvr>
                                        <p:cTn id="25" dur="1" fill="hold">
                                          <p:stCondLst>
                                            <p:cond delay="0"/>
                                          </p:stCondLst>
                                        </p:cTn>
                                        <p:tgtEl>
                                          <p:spTgt spid="13"/>
                                        </p:tgtEl>
                                        <p:attrNameLst>
                                          <p:attrName>style.visibility</p:attrName>
                                        </p:attrNameLst>
                                      </p:cBhvr>
                                      <p:to>
                                        <p:strVal val="visible"/>
                                      </p:to>
                                    </p:set>
                                    <p:anim calcmode="lin" valueType="num">
                                      <p:cBhvr additive="base">
                                        <p:cTn id="26" dur="750" fill="hold"/>
                                        <p:tgtEl>
                                          <p:spTgt spid="13"/>
                                        </p:tgtEl>
                                        <p:attrNameLst>
                                          <p:attrName>ppt_x</p:attrName>
                                        </p:attrNameLst>
                                      </p:cBhvr>
                                      <p:tavLst>
                                        <p:tav tm="0">
                                          <p:val>
                                            <p:strVal val="#ppt_x"/>
                                          </p:val>
                                        </p:tav>
                                        <p:tav tm="100000">
                                          <p:val>
                                            <p:strVal val="#ppt_x"/>
                                          </p:val>
                                        </p:tav>
                                      </p:tavLst>
                                    </p:anim>
                                    <p:anim calcmode="lin" valueType="num">
                                      <p:cBhvr additive="base">
                                        <p:cTn id="27" dur="750" fill="hold"/>
                                        <p:tgtEl>
                                          <p:spTgt spid="13"/>
                                        </p:tgtEl>
                                        <p:attrNameLst>
                                          <p:attrName>ppt_y</p:attrName>
                                        </p:attrNameLst>
                                      </p:cBhvr>
                                      <p:tavLst>
                                        <p:tav tm="0">
                                          <p:val>
                                            <p:strVal val="0-#ppt_h/2"/>
                                          </p:val>
                                        </p:tav>
                                        <p:tav tm="100000">
                                          <p:val>
                                            <p:strVal val="#ppt_y"/>
                                          </p:val>
                                        </p:tav>
                                      </p:tavLst>
                                    </p:anim>
                                  </p:childTnLst>
                                </p:cTn>
                              </p:par>
                              <p:par>
                                <p:cTn id="28" presetID="10" presetClass="entr" presetSubtype="0" fill="hold" grpId="0" nodeType="withEffect">
                                  <p:stCondLst>
                                    <p:cond delay="1100"/>
                                  </p:stCondLst>
                                  <p:childTnLst>
                                    <p:set>
                                      <p:cBhvr>
                                        <p:cTn id="29" dur="1" fill="hold">
                                          <p:stCondLst>
                                            <p:cond delay="0"/>
                                          </p:stCondLst>
                                        </p:cTn>
                                        <p:tgtEl>
                                          <p:spTgt spid="34"/>
                                        </p:tgtEl>
                                        <p:attrNameLst>
                                          <p:attrName>style.visibility</p:attrName>
                                        </p:attrNameLst>
                                      </p:cBhvr>
                                      <p:to>
                                        <p:strVal val="visible"/>
                                      </p:to>
                                    </p:set>
                                    <p:animEffect transition="in" filter="fade">
                                      <p:cBhvr>
                                        <p:cTn id="30" dur="500"/>
                                        <p:tgtEl>
                                          <p:spTgt spid="34"/>
                                        </p:tgtEl>
                                      </p:cBhvr>
                                    </p:animEffect>
                                  </p:childTnLst>
                                </p:cTn>
                              </p:par>
                            </p:childTnLst>
                          </p:cTn>
                        </p:par>
                      </p:childTnLst>
                    </p:cTn>
                  </p:par>
                  <p:par>
                    <p:cTn id="31" fill="hold">
                      <p:stCondLst>
                        <p:cond delay="indefinite"/>
                      </p:stCondLst>
                      <p:childTnLst>
                        <p:par>
                          <p:cTn id="32" fill="hold">
                            <p:stCondLst>
                              <p:cond delay="0"/>
                            </p:stCondLst>
                            <p:childTnLst>
                              <p:par>
                                <p:cTn id="33" presetID="10" presetClass="entr" presetSubtype="0" fill="hold" grpId="0" nodeType="clickEffect">
                                  <p:stCondLst>
                                    <p:cond delay="0"/>
                                  </p:stCondLst>
                                  <p:childTnLst>
                                    <p:set>
                                      <p:cBhvr>
                                        <p:cTn id="34" dur="1" fill="hold">
                                          <p:stCondLst>
                                            <p:cond delay="0"/>
                                          </p:stCondLst>
                                        </p:cTn>
                                        <p:tgtEl>
                                          <p:spTgt spid="3"/>
                                        </p:tgtEl>
                                        <p:attrNameLst>
                                          <p:attrName>style.visibility</p:attrName>
                                        </p:attrNameLst>
                                      </p:cBhvr>
                                      <p:to>
                                        <p:strVal val="visible"/>
                                      </p:to>
                                    </p:set>
                                    <p:animEffect transition="in" filter="fade">
                                      <p:cBhvr>
                                        <p:cTn id="35" dur="500"/>
                                        <p:tgtEl>
                                          <p:spTgt spid="3"/>
                                        </p:tgtEl>
                                      </p:cBhvr>
                                    </p:animEffect>
                                  </p:childTnLst>
                                </p:cTn>
                              </p:par>
                              <p:par>
                                <p:cTn id="36" presetID="10" presetClass="entr" presetSubtype="0" fill="hold" grpId="0" nodeType="withEffect">
                                  <p:stCondLst>
                                    <p:cond delay="0"/>
                                  </p:stCondLst>
                                  <p:childTnLst>
                                    <p:set>
                                      <p:cBhvr>
                                        <p:cTn id="37" dur="1" fill="hold">
                                          <p:stCondLst>
                                            <p:cond delay="0"/>
                                          </p:stCondLst>
                                        </p:cTn>
                                        <p:tgtEl>
                                          <p:spTgt spid="28"/>
                                        </p:tgtEl>
                                        <p:attrNameLst>
                                          <p:attrName>style.visibility</p:attrName>
                                        </p:attrNameLst>
                                      </p:cBhvr>
                                      <p:to>
                                        <p:strVal val="visible"/>
                                      </p:to>
                                    </p:set>
                                    <p:animEffect transition="in" filter="fade">
                                      <p:cBhvr>
                                        <p:cTn id="38" dur="500"/>
                                        <p:tgtEl>
                                          <p:spTgt spid="28"/>
                                        </p:tgtEl>
                                      </p:cBhvr>
                                    </p:animEffect>
                                  </p:childTnLst>
                                </p:cTn>
                              </p:par>
                              <p:par>
                                <p:cTn id="39" presetID="3" presetClass="emph" presetSubtype="2" fill="hold" grpId="1" nodeType="withEffect">
                                  <p:stCondLst>
                                    <p:cond delay="0"/>
                                  </p:stCondLst>
                                  <p:childTnLst>
                                    <p:animClr clrSpc="rgb" dir="cw">
                                      <p:cBhvr override="childStyle">
                                        <p:cTn id="40" dur="500" fill="hold"/>
                                        <p:tgtEl>
                                          <p:spTgt spid="21"/>
                                        </p:tgtEl>
                                        <p:attrNameLst>
                                          <p:attrName>style.color</p:attrName>
                                        </p:attrNameLst>
                                      </p:cBhvr>
                                      <p:to>
                                        <a:srgbClr val="8A8A8A"/>
                                      </p:to>
                                    </p:animClr>
                                  </p:childTnLst>
                                </p:cTn>
                              </p:par>
                              <p:par>
                                <p:cTn id="41" presetID="3" presetClass="emph" presetSubtype="2" fill="hold" grpId="1" nodeType="withEffect">
                                  <p:stCondLst>
                                    <p:cond delay="0"/>
                                  </p:stCondLst>
                                  <p:childTnLst>
                                    <p:animClr clrSpc="rgb" dir="cw">
                                      <p:cBhvr override="childStyle">
                                        <p:cTn id="42" dur="500" fill="hold"/>
                                        <p:tgtEl>
                                          <p:spTgt spid="34"/>
                                        </p:tgtEl>
                                        <p:attrNameLst>
                                          <p:attrName>style.color</p:attrName>
                                        </p:attrNameLst>
                                      </p:cBhvr>
                                      <p:to>
                                        <a:srgbClr val="8A8A8A"/>
                                      </p:to>
                                    </p:animClr>
                                  </p:childTnLst>
                                </p:cTn>
                              </p:par>
                              <p:par>
                                <p:cTn id="43" presetID="10" presetClass="exit" presetSubtype="0" fill="hold" grpId="1" nodeType="withEffect">
                                  <p:stCondLst>
                                    <p:cond delay="0"/>
                                  </p:stCondLst>
                                  <p:childTnLst>
                                    <p:animEffect transition="out" filter="fade">
                                      <p:cBhvr>
                                        <p:cTn id="44" dur="500"/>
                                        <p:tgtEl>
                                          <p:spTgt spid="26"/>
                                        </p:tgtEl>
                                      </p:cBhvr>
                                    </p:animEffect>
                                    <p:set>
                                      <p:cBhvr>
                                        <p:cTn id="45" dur="1" fill="hold">
                                          <p:stCondLst>
                                            <p:cond delay="499"/>
                                          </p:stCondLst>
                                        </p:cTn>
                                        <p:tgtEl>
                                          <p:spTgt spid="26"/>
                                        </p:tgtEl>
                                        <p:attrNameLst>
                                          <p:attrName>style.visibility</p:attrName>
                                        </p:attrNameLst>
                                      </p:cBhvr>
                                      <p:to>
                                        <p:strVal val="hidden"/>
                                      </p:to>
                                    </p:set>
                                  </p:childTnLst>
                                </p:cTn>
                              </p:par>
                              <p:par>
                                <p:cTn id="46" presetID="10" presetClass="entr" presetSubtype="0" fill="hold" grpId="0" nodeType="withEffect">
                                  <p:stCondLst>
                                    <p:cond delay="650"/>
                                  </p:stCondLst>
                                  <p:childTnLst>
                                    <p:set>
                                      <p:cBhvr>
                                        <p:cTn id="47" dur="1" fill="hold">
                                          <p:stCondLst>
                                            <p:cond delay="0"/>
                                          </p:stCondLst>
                                        </p:cTn>
                                        <p:tgtEl>
                                          <p:spTgt spid="41"/>
                                        </p:tgtEl>
                                        <p:attrNameLst>
                                          <p:attrName>style.visibility</p:attrName>
                                        </p:attrNameLst>
                                      </p:cBhvr>
                                      <p:to>
                                        <p:strVal val="visible"/>
                                      </p:to>
                                    </p:set>
                                    <p:animEffect transition="in" filter="fade">
                                      <p:cBhvr>
                                        <p:cTn id="48" dur="500"/>
                                        <p:tgtEl>
                                          <p:spTgt spid="4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animBg="1"/>
      <p:bldP spid="20" grpId="1" animBg="1"/>
      <p:bldP spid="21" grpId="0"/>
      <p:bldP spid="21" grpId="1"/>
      <p:bldP spid="26" grpId="0"/>
      <p:bldP spid="26" grpId="1"/>
      <p:bldP spid="34" grpId="0"/>
      <p:bldP spid="34" grpId="1"/>
      <p:bldP spid="3" grpId="0" animBg="1"/>
      <p:bldP spid="28" grpId="0" animBg="1"/>
      <p:bldP spid="41" grpId="0"/>
    </p:bldLst>
  </p:timing>
</p:sld>
</file>

<file path=ppt/slides/slide40.xml><?xml version="1.0" encoding="utf-8"?>
<p:sld xmlns:a="http://schemas.openxmlformats.org/drawingml/2006/main" xmlns:r="http://schemas.openxmlformats.org/officeDocument/2006/relationships" xmlns:p="http://schemas.openxmlformats.org/presentationml/2006/main">
  <p:cSld>
    <p:bg>
      <p:bgPr>
        <a:solidFill>
          <a:srgbClr val="6F6F6F"/>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edis Cache</a:t>
            </a:r>
          </a:p>
        </p:txBody>
      </p:sp>
    </p:spTree>
    <p:extLst>
      <p:ext uri="{BB962C8B-B14F-4D97-AF65-F5344CB8AC3E}">
        <p14:creationId xmlns:p14="http://schemas.microsoft.com/office/powerpoint/2010/main" val="160833092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366168" y="1212851"/>
            <a:ext cx="11702553" cy="5363776"/>
          </a:xfrm>
        </p:spPr>
        <p:txBody>
          <a:bodyPr/>
          <a:lstStyle/>
          <a:p>
            <a:pPr marL="0" indent="0">
              <a:buNone/>
            </a:pPr>
            <a:r>
              <a:rPr lang="en-US" dirty="0"/>
              <a:t>Low latency, high throughput key-value store</a:t>
            </a:r>
          </a:p>
          <a:p>
            <a:endParaRPr lang="en-US" sz="1050" dirty="0">
              <a:solidFill>
                <a:schemeClr val="tx1"/>
              </a:solidFill>
            </a:endParaRPr>
          </a:p>
          <a:p>
            <a:r>
              <a:rPr lang="en-US" sz="2000" dirty="0">
                <a:gradFill>
                  <a:gsLst>
                    <a:gs pos="1250">
                      <a:schemeClr val="tx1"/>
                    </a:gs>
                    <a:gs pos="100000">
                      <a:schemeClr val="tx1"/>
                    </a:gs>
                  </a:gsLst>
                  <a:lin ang="5400000" scaled="0"/>
                </a:gradFill>
                <a:latin typeface="+mn-lt"/>
              </a:rPr>
              <a:t>Per Key expiry, choice of eviction policies</a:t>
            </a:r>
          </a:p>
          <a:p>
            <a:pPr marL="0" indent="0">
              <a:buNone/>
            </a:pPr>
            <a:r>
              <a:rPr lang="en-US" dirty="0"/>
              <a:t>Atomic operations on data types</a:t>
            </a:r>
          </a:p>
          <a:p>
            <a:endParaRPr lang="en-US" sz="1000" dirty="0">
              <a:solidFill>
                <a:schemeClr val="tx1"/>
              </a:solidFill>
            </a:endParaRPr>
          </a:p>
          <a:p>
            <a:pPr marL="342900" lvl="1" indent="-342900"/>
            <a:r>
              <a:rPr lang="en-US" dirty="0"/>
              <a:t>Strings, hashes, lists, sets, sorted sets, bitmaps and </a:t>
            </a:r>
            <a:r>
              <a:rPr lang="en-US" dirty="0" err="1"/>
              <a:t>hyperloglogs</a:t>
            </a:r>
            <a:endParaRPr lang="en-US" dirty="0"/>
          </a:p>
          <a:p>
            <a:pPr marL="0" indent="0">
              <a:buNone/>
            </a:pPr>
            <a:r>
              <a:rPr lang="en-US" dirty="0"/>
              <a:t>Transactions</a:t>
            </a:r>
          </a:p>
          <a:p>
            <a:pPr marL="0" indent="0">
              <a:buNone/>
            </a:pPr>
            <a:r>
              <a:rPr lang="en-US" dirty="0"/>
              <a:t>Publisher-subscriber pattern</a:t>
            </a:r>
          </a:p>
          <a:p>
            <a:pPr marL="0" indent="0">
              <a:buNone/>
            </a:pPr>
            <a:r>
              <a:rPr lang="en-US" dirty="0"/>
              <a:t>LUA scripting</a:t>
            </a:r>
          </a:p>
          <a:p>
            <a:pPr marL="0" indent="0">
              <a:buNone/>
            </a:pPr>
            <a:r>
              <a:rPr lang="en-US" dirty="0"/>
              <a:t>Pipelining</a:t>
            </a:r>
          </a:p>
          <a:p>
            <a:pPr marL="0" indent="0">
              <a:buNone/>
            </a:pPr>
            <a:r>
              <a:rPr lang="en-US" dirty="0"/>
              <a:t>Client libraries in multiple languages</a:t>
            </a:r>
            <a:endParaRPr lang="en-US" sz="3200" dirty="0"/>
          </a:p>
        </p:txBody>
      </p:sp>
      <p:sp>
        <p:nvSpPr>
          <p:cNvPr id="2" name="Title 1"/>
          <p:cNvSpPr>
            <a:spLocks noGrp="1"/>
          </p:cNvSpPr>
          <p:nvPr>
            <p:ph type="title"/>
          </p:nvPr>
        </p:nvSpPr>
        <p:spPr/>
        <p:txBody>
          <a:bodyPr/>
          <a:lstStyle/>
          <a:p>
            <a:r>
              <a:rPr lang="en-US" altLang="en-US" dirty="0"/>
              <a:t>Redis Cache features</a:t>
            </a:r>
            <a:endParaRPr lang="en-US" dirty="0"/>
          </a:p>
        </p:txBody>
      </p:sp>
    </p:spTree>
    <p:extLst>
      <p:ext uri="{BB962C8B-B14F-4D97-AF65-F5344CB8AC3E}">
        <p14:creationId xmlns:p14="http://schemas.microsoft.com/office/powerpoint/2010/main" val="40169048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66168" y="1212851"/>
            <a:ext cx="11702553" cy="6666440"/>
          </a:xfrm>
        </p:spPr>
        <p:txBody>
          <a:bodyPr/>
          <a:lstStyle/>
          <a:p>
            <a:r>
              <a:rPr lang="en-US" dirty="0"/>
              <a:t>Open source </a:t>
            </a:r>
            <a:r>
              <a:rPr lang="en-US" dirty="0" err="1"/>
              <a:t>Redis</a:t>
            </a:r>
            <a:r>
              <a:rPr lang="en-US" dirty="0"/>
              <a:t> hosted and managed by Microsoft</a:t>
            </a:r>
          </a:p>
          <a:p>
            <a:r>
              <a:rPr lang="en-US" dirty="0"/>
              <a:t>Dedicated Virtual Machine per cache</a:t>
            </a:r>
          </a:p>
          <a:p>
            <a:r>
              <a:rPr lang="en-US" dirty="0"/>
              <a:t>Sizes – 256 MB-530 GB (contact us for more)</a:t>
            </a:r>
          </a:p>
          <a:p>
            <a:r>
              <a:rPr lang="en-US" dirty="0"/>
              <a:t>Available in all Azure Regions – China and US Govt.</a:t>
            </a:r>
          </a:p>
          <a:p>
            <a:r>
              <a:rPr lang="en-US" dirty="0"/>
              <a:t>SSL</a:t>
            </a:r>
          </a:p>
          <a:p>
            <a:r>
              <a:rPr lang="en-US" dirty="0"/>
              <a:t>Basic SKU – Single cache node</a:t>
            </a:r>
          </a:p>
          <a:p>
            <a:r>
              <a:rPr lang="en-US" dirty="0"/>
              <a:t>Standard SKU – Cache node + one replica (SLA 99.9%)</a:t>
            </a:r>
          </a:p>
          <a:p>
            <a:r>
              <a:rPr lang="en-US" dirty="0"/>
              <a:t>Premium tier – Highest performance, </a:t>
            </a:r>
            <a:r>
              <a:rPr lang="en-US" dirty="0" err="1"/>
              <a:t>Redis</a:t>
            </a:r>
            <a:r>
              <a:rPr lang="en-US" dirty="0"/>
              <a:t> data persistence, </a:t>
            </a:r>
            <a:r>
              <a:rPr lang="en-US" dirty="0" err="1"/>
              <a:t>Redis</a:t>
            </a:r>
            <a:r>
              <a:rPr lang="en-US" dirty="0"/>
              <a:t> cluster, Azure Virtual Network support</a:t>
            </a:r>
          </a:p>
          <a:p>
            <a:endParaRPr lang="en-US" dirty="0"/>
          </a:p>
          <a:p>
            <a:endParaRPr lang="en-US" dirty="0"/>
          </a:p>
        </p:txBody>
      </p:sp>
      <p:sp>
        <p:nvSpPr>
          <p:cNvPr id="2" name="Title 1"/>
          <p:cNvSpPr>
            <a:spLocks noGrp="1"/>
          </p:cNvSpPr>
          <p:nvPr>
            <p:ph type="title"/>
          </p:nvPr>
        </p:nvSpPr>
        <p:spPr/>
        <p:txBody>
          <a:bodyPr/>
          <a:lstStyle/>
          <a:p>
            <a:r>
              <a:rPr lang="en-US" altLang="en-US" dirty="0"/>
              <a:t>Azure Redis Cache</a:t>
            </a:r>
            <a:endParaRPr lang="en-US" dirty="0"/>
          </a:p>
        </p:txBody>
      </p:sp>
    </p:spTree>
    <p:extLst>
      <p:ext uri="{BB962C8B-B14F-4D97-AF65-F5344CB8AC3E}">
        <p14:creationId xmlns:p14="http://schemas.microsoft.com/office/powerpoint/2010/main" val="368971865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ext Placeholder 7"/>
          <p:cNvSpPr txBox="1">
            <a:spLocks/>
          </p:cNvSpPr>
          <p:nvPr/>
        </p:nvSpPr>
        <p:spPr>
          <a:xfrm>
            <a:off x="6461209" y="1211287"/>
            <a:ext cx="4617917" cy="2960811"/>
          </a:xfrm>
          <a:prstGeom prst="rect">
            <a:avLst/>
          </a:prstGeom>
        </p:spPr>
        <p:txBody>
          <a:bodyPr vert="horz" wrap="square" lIns="146304" tIns="91440" rIns="146304" bIns="91440" rtlCol="0">
            <a:spAutoFit/>
          </a:bodyPr>
          <a:lstStyle>
            <a:lvl1pPr marL="287293" marR="0" indent="-287293" algn="l" defTabSz="932594" rtl="0" eaLnBrk="1" fontAlgn="auto" latinLnBrk="0" hangingPunct="1">
              <a:lnSpc>
                <a:spcPct val="90000"/>
              </a:lnSpc>
              <a:spcBef>
                <a:spcPts val="1224"/>
              </a:spcBef>
              <a:spcAft>
                <a:spcPts val="0"/>
              </a:spcAft>
              <a:buClr>
                <a:schemeClr val="tx2"/>
              </a:buClr>
              <a:buSzPct val="90000"/>
              <a:buFont typeface="Arial" pitchFamily="34" charset="0"/>
              <a:buChar char="•"/>
              <a:tabLst/>
              <a:defRPr sz="3200" kern="1200" spc="0" baseline="0">
                <a:gradFill>
                  <a:gsLst>
                    <a:gs pos="1250">
                      <a:schemeClr val="tx2"/>
                    </a:gs>
                    <a:gs pos="99000">
                      <a:schemeClr val="tx2"/>
                    </a:gs>
                  </a:gsLst>
                  <a:lin ang="5400000" scaled="0"/>
                </a:gradFill>
                <a:latin typeface="+mj-lt"/>
                <a:ea typeface="+mn-ea"/>
                <a:cs typeface="+mn-cs"/>
              </a:defRPr>
            </a:lvl1pPr>
            <a:lvl2pPr marL="531081" marR="0" indent="-233158" algn="l" defTabSz="932594"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2pPr>
            <a:lvl3pPr marL="699475" marR="0" indent="-168392" algn="l" defTabSz="932594"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3pPr>
            <a:lvl4pPr marL="880818" marR="0" indent="-181345" algn="l" defTabSz="932594" rtl="0" eaLnBrk="1" fontAlgn="auto" latinLnBrk="0" hangingPunct="1">
              <a:lnSpc>
                <a:spcPct val="90000"/>
              </a:lnSpc>
              <a:spcBef>
                <a:spcPct val="20000"/>
              </a:spcBef>
              <a:spcAft>
                <a:spcPts val="0"/>
              </a:spcAft>
              <a:buClrTx/>
              <a:buSzPct val="90000"/>
              <a:buFont typeface="Arial" pitchFamily="34" charset="0"/>
              <a:buChar char="•"/>
              <a:tabLst/>
              <a:defRPr sz="1600" kern="1200" spc="0" baseline="0">
                <a:gradFill>
                  <a:gsLst>
                    <a:gs pos="1250">
                      <a:schemeClr val="tx1"/>
                    </a:gs>
                    <a:gs pos="100000">
                      <a:schemeClr val="tx1"/>
                    </a:gs>
                  </a:gsLst>
                  <a:lin ang="5400000" scaled="0"/>
                </a:gradFill>
                <a:latin typeface="+mn-lt"/>
                <a:ea typeface="+mn-ea"/>
                <a:cs typeface="+mn-cs"/>
              </a:defRPr>
            </a:lvl4pPr>
            <a:lvl5pPr marL="1049211" marR="0" indent="-168392" algn="l" defTabSz="932594" rtl="0" eaLnBrk="1" fontAlgn="auto" latinLnBrk="0" hangingPunct="1">
              <a:lnSpc>
                <a:spcPct val="90000"/>
              </a:lnSpc>
              <a:spcBef>
                <a:spcPct val="20000"/>
              </a:spcBef>
              <a:spcAft>
                <a:spcPts val="0"/>
              </a:spcAft>
              <a:buClrTx/>
              <a:buSzPct val="90000"/>
              <a:buFont typeface="Arial" pitchFamily="34" charset="0"/>
              <a:buChar char="•"/>
              <a:tabLst/>
              <a:defRPr sz="1600" kern="1200" spc="0" baseline="0">
                <a:gradFill>
                  <a:gsLst>
                    <a:gs pos="1250">
                      <a:schemeClr val="tx1"/>
                    </a:gs>
                    <a:gs pos="100000">
                      <a:schemeClr val="tx1"/>
                    </a:gs>
                  </a:gsLst>
                  <a:lin ang="5400000" scaled="0"/>
                </a:gradFill>
                <a:latin typeface="+mn-lt"/>
                <a:ea typeface="+mn-ea"/>
                <a:cs typeface="+mn-cs"/>
              </a:defRPr>
            </a:lvl5pPr>
            <a:lvl6pPr marL="2564633" indent="-233149" algn="l" defTabSz="93259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932" indent="-233149" algn="l" defTabSz="93259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229" indent="-233149" algn="l" defTabSz="93259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528" indent="-233149" algn="l" defTabSz="932594"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dirty="0">
                <a:gradFill>
                  <a:gsLst>
                    <a:gs pos="2920">
                      <a:schemeClr val="tx2"/>
                    </a:gs>
                    <a:gs pos="39000">
                      <a:schemeClr val="tx2"/>
                    </a:gs>
                  </a:gsLst>
                  <a:lin ang="5400000" scaled="0"/>
                </a:gradFill>
                <a:latin typeface="Segoe UI Light" panose="020B0502040204020203" pitchFamily="34" charset="0"/>
                <a:cs typeface="Segoe UI Light" panose="020B0502040204020203" pitchFamily="34" charset="0"/>
              </a:rPr>
              <a:t>Scale out – AKA horizontal scaling </a:t>
            </a:r>
          </a:p>
          <a:p>
            <a:pPr marL="342900" lvl="1" indent="-342900"/>
            <a:r>
              <a:rPr lang="en-US" sz="2000" dirty="0"/>
              <a:t>Increased Cache size, bandwidth, CPU</a:t>
            </a:r>
          </a:p>
          <a:p>
            <a:pPr marL="342900" lvl="1" indent="-342900"/>
            <a:r>
              <a:rPr lang="en-US" sz="2000" dirty="0"/>
              <a:t>Improved availability</a:t>
            </a:r>
          </a:p>
          <a:p>
            <a:pPr marL="342900" lvl="1" indent="-342900"/>
            <a:r>
              <a:rPr lang="en-US" sz="2000" dirty="0" err="1"/>
              <a:t>Sharding</a:t>
            </a:r>
            <a:r>
              <a:rPr lang="en-US" sz="2000" dirty="0"/>
              <a:t> available in Premium SKU</a:t>
            </a:r>
          </a:p>
          <a:p>
            <a:endParaRPr lang="en-US" dirty="0"/>
          </a:p>
        </p:txBody>
      </p:sp>
      <p:sp>
        <p:nvSpPr>
          <p:cNvPr id="7" name="Title 6"/>
          <p:cNvSpPr>
            <a:spLocks noGrp="1"/>
          </p:cNvSpPr>
          <p:nvPr>
            <p:ph type="title"/>
          </p:nvPr>
        </p:nvSpPr>
        <p:spPr/>
        <p:txBody>
          <a:bodyPr/>
          <a:lstStyle/>
          <a:p>
            <a:r>
              <a:rPr lang="en-US" dirty="0">
                <a:latin typeface="Segoe UI Light" panose="020B0502040204020203" pitchFamily="34" charset="0"/>
                <a:cs typeface="Segoe UI Light" panose="020B0502040204020203" pitchFamily="34" charset="0"/>
              </a:rPr>
              <a:t>Scaling Azure Redis Cache</a:t>
            </a:r>
            <a:endParaRPr lang="en-US" dirty="0"/>
          </a:p>
        </p:txBody>
      </p:sp>
      <p:sp>
        <p:nvSpPr>
          <p:cNvPr id="8" name="Text Placeholder 7"/>
          <p:cNvSpPr>
            <a:spLocks noGrp="1"/>
          </p:cNvSpPr>
          <p:nvPr>
            <p:ph type="body" sz="quarter" idx="10"/>
          </p:nvPr>
        </p:nvSpPr>
        <p:spPr>
          <a:xfrm>
            <a:off x="365597" y="1211287"/>
            <a:ext cx="5687873" cy="2240613"/>
          </a:xfrm>
        </p:spPr>
        <p:txBody>
          <a:bodyPr/>
          <a:lstStyle/>
          <a:p>
            <a:pPr marL="0" indent="0">
              <a:buNone/>
            </a:pPr>
            <a:r>
              <a:rPr lang="en-US" dirty="0">
                <a:gradFill>
                  <a:gsLst>
                    <a:gs pos="2920">
                      <a:schemeClr val="tx2"/>
                    </a:gs>
                    <a:gs pos="39000">
                      <a:schemeClr val="tx2"/>
                    </a:gs>
                  </a:gsLst>
                  <a:lin ang="5400000" scaled="0"/>
                </a:gradFill>
                <a:latin typeface="Segoe UI Light" panose="020B0502040204020203" pitchFamily="34" charset="0"/>
                <a:cs typeface="Segoe UI Light" panose="020B0502040204020203" pitchFamily="34" charset="0"/>
              </a:rPr>
              <a:t>Scale up – AKA vertical scaling</a:t>
            </a:r>
          </a:p>
          <a:p>
            <a:pPr marL="342900" lvl="1" indent="-342900"/>
            <a:r>
              <a:rPr lang="en-US" sz="2000" dirty="0"/>
              <a:t>Increased Cache size (memory)</a:t>
            </a:r>
          </a:p>
          <a:p>
            <a:pPr marL="342900" lvl="1" indent="-342900"/>
            <a:r>
              <a:rPr lang="en-US" sz="2000" dirty="0"/>
              <a:t>Increased bandwidth </a:t>
            </a:r>
          </a:p>
          <a:p>
            <a:pPr marL="342900" lvl="1" indent="-342900"/>
            <a:r>
              <a:rPr lang="en-US" sz="2000" dirty="0"/>
              <a:t>Single CPU </a:t>
            </a:r>
          </a:p>
          <a:p>
            <a:endParaRPr lang="en-US" dirty="0"/>
          </a:p>
        </p:txBody>
      </p:sp>
      <p:sp>
        <p:nvSpPr>
          <p:cNvPr id="13" name="hyperV2"/>
          <p:cNvSpPr>
            <a:spLocks noChangeAspect="1" noEditPoints="1"/>
          </p:cNvSpPr>
          <p:nvPr/>
        </p:nvSpPr>
        <p:spPr bwMode="auto">
          <a:xfrm>
            <a:off x="2815940" y="3137252"/>
            <a:ext cx="1371265" cy="2285979"/>
          </a:xfrm>
          <a:custGeom>
            <a:avLst/>
            <a:gdLst>
              <a:gd name="T0" fmla="*/ 625 w 625"/>
              <a:gd name="T1" fmla="*/ 132 h 1044"/>
              <a:gd name="T2" fmla="*/ 393 w 625"/>
              <a:gd name="T3" fmla="*/ 0 h 1044"/>
              <a:gd name="T4" fmla="*/ 383 w 625"/>
              <a:gd name="T5" fmla="*/ 0 h 1044"/>
              <a:gd name="T6" fmla="*/ 5 w 625"/>
              <a:gd name="T7" fmla="*/ 218 h 1044"/>
              <a:gd name="T8" fmla="*/ 5 w 625"/>
              <a:gd name="T9" fmla="*/ 220 h 1044"/>
              <a:gd name="T10" fmla="*/ 0 w 625"/>
              <a:gd name="T11" fmla="*/ 223 h 1044"/>
              <a:gd name="T12" fmla="*/ 0 w 625"/>
              <a:gd name="T13" fmla="*/ 893 h 1044"/>
              <a:gd name="T14" fmla="*/ 5 w 625"/>
              <a:gd name="T15" fmla="*/ 902 h 1044"/>
              <a:gd name="T16" fmla="*/ 237 w 625"/>
              <a:gd name="T17" fmla="*/ 1044 h 1044"/>
              <a:gd name="T18" fmla="*/ 252 w 625"/>
              <a:gd name="T19" fmla="*/ 1035 h 1044"/>
              <a:gd name="T20" fmla="*/ 252 w 625"/>
              <a:gd name="T21" fmla="*/ 1034 h 1044"/>
              <a:gd name="T22" fmla="*/ 624 w 625"/>
              <a:gd name="T23" fmla="*/ 811 h 1044"/>
              <a:gd name="T24" fmla="*/ 624 w 625"/>
              <a:gd name="T25" fmla="*/ 150 h 1044"/>
              <a:gd name="T26" fmla="*/ 625 w 625"/>
              <a:gd name="T27" fmla="*/ 150 h 1044"/>
              <a:gd name="T28" fmla="*/ 625 w 625"/>
              <a:gd name="T29" fmla="*/ 132 h 1044"/>
              <a:gd name="T30" fmla="*/ 388 w 625"/>
              <a:gd name="T31" fmla="*/ 21 h 1044"/>
              <a:gd name="T32" fmla="*/ 600 w 625"/>
              <a:gd name="T33" fmla="*/ 141 h 1044"/>
              <a:gd name="T34" fmla="*/ 244 w 625"/>
              <a:gd name="T35" fmla="*/ 340 h 1044"/>
              <a:gd name="T36" fmla="*/ 165 w 625"/>
              <a:gd name="T37" fmla="*/ 298 h 1044"/>
              <a:gd name="T38" fmla="*/ 34 w 625"/>
              <a:gd name="T39" fmla="*/ 225 h 1044"/>
              <a:gd name="T40" fmla="*/ 388 w 625"/>
              <a:gd name="T41" fmla="*/ 21 h 1044"/>
              <a:gd name="T42" fmla="*/ 156 w 625"/>
              <a:gd name="T43" fmla="*/ 315 h 1044"/>
              <a:gd name="T44" fmla="*/ 230 w 625"/>
              <a:gd name="T45" fmla="*/ 357 h 1044"/>
              <a:gd name="T46" fmla="*/ 231 w 625"/>
              <a:gd name="T47" fmla="*/ 541 h 1044"/>
              <a:gd name="T48" fmla="*/ 20 w 625"/>
              <a:gd name="T49" fmla="*/ 423 h 1044"/>
              <a:gd name="T50" fmla="*/ 20 w 625"/>
              <a:gd name="T51" fmla="*/ 244 h 1044"/>
              <a:gd name="T52" fmla="*/ 156 w 625"/>
              <a:gd name="T53" fmla="*/ 315 h 1044"/>
              <a:gd name="T54" fmla="*/ 20 w 625"/>
              <a:gd name="T55" fmla="*/ 446 h 1044"/>
              <a:gd name="T56" fmla="*/ 231 w 625"/>
              <a:gd name="T57" fmla="*/ 563 h 1044"/>
              <a:gd name="T58" fmla="*/ 231 w 625"/>
              <a:gd name="T59" fmla="*/ 593 h 1044"/>
              <a:gd name="T60" fmla="*/ 20 w 625"/>
              <a:gd name="T61" fmla="*/ 475 h 1044"/>
              <a:gd name="T62" fmla="*/ 20 w 625"/>
              <a:gd name="T63" fmla="*/ 446 h 1044"/>
              <a:gd name="T64" fmla="*/ 20 w 625"/>
              <a:gd name="T65" fmla="*/ 498 h 1044"/>
              <a:gd name="T66" fmla="*/ 231 w 625"/>
              <a:gd name="T67" fmla="*/ 616 h 1044"/>
              <a:gd name="T68" fmla="*/ 231 w 625"/>
              <a:gd name="T69" fmla="*/ 637 h 1044"/>
              <a:gd name="T70" fmla="*/ 20 w 625"/>
              <a:gd name="T71" fmla="*/ 519 h 1044"/>
              <a:gd name="T72" fmla="*/ 20 w 625"/>
              <a:gd name="T73" fmla="*/ 498 h 1044"/>
              <a:gd name="T74" fmla="*/ 20 w 625"/>
              <a:gd name="T75" fmla="*/ 887 h 1044"/>
              <a:gd name="T76" fmla="*/ 20 w 625"/>
              <a:gd name="T77" fmla="*/ 542 h 1044"/>
              <a:gd name="T78" fmla="*/ 231 w 625"/>
              <a:gd name="T79" fmla="*/ 660 h 1044"/>
              <a:gd name="T80" fmla="*/ 232 w 625"/>
              <a:gd name="T81" fmla="*/ 1017 h 1044"/>
              <a:gd name="T82" fmla="*/ 20 w 625"/>
              <a:gd name="T83" fmla="*/ 887 h 1044"/>
              <a:gd name="T84" fmla="*/ 160 w 625"/>
              <a:gd name="T85" fmla="*/ 746 h 1044"/>
              <a:gd name="T86" fmla="*/ 110 w 625"/>
              <a:gd name="T87" fmla="*/ 770 h 1044"/>
              <a:gd name="T88" fmla="*/ 84 w 625"/>
              <a:gd name="T89" fmla="*/ 712 h 1044"/>
              <a:gd name="T90" fmla="*/ 134 w 625"/>
              <a:gd name="T91" fmla="*/ 688 h 1044"/>
              <a:gd name="T92" fmla="*/ 160 w 625"/>
              <a:gd name="T93" fmla="*/ 746 h 10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625" h="1044">
                <a:moveTo>
                  <a:pt x="625" y="132"/>
                </a:moveTo>
                <a:cubicBezTo>
                  <a:pt x="393" y="0"/>
                  <a:pt x="393" y="0"/>
                  <a:pt x="393" y="0"/>
                </a:cubicBezTo>
                <a:cubicBezTo>
                  <a:pt x="383" y="0"/>
                  <a:pt x="383" y="0"/>
                  <a:pt x="383" y="0"/>
                </a:cubicBezTo>
                <a:cubicBezTo>
                  <a:pt x="5" y="218"/>
                  <a:pt x="5" y="218"/>
                  <a:pt x="5" y="218"/>
                </a:cubicBezTo>
                <a:cubicBezTo>
                  <a:pt x="5" y="220"/>
                  <a:pt x="5" y="220"/>
                  <a:pt x="5" y="220"/>
                </a:cubicBezTo>
                <a:cubicBezTo>
                  <a:pt x="0" y="223"/>
                  <a:pt x="0" y="223"/>
                  <a:pt x="0" y="223"/>
                </a:cubicBezTo>
                <a:cubicBezTo>
                  <a:pt x="0" y="893"/>
                  <a:pt x="0" y="893"/>
                  <a:pt x="0" y="893"/>
                </a:cubicBezTo>
                <a:cubicBezTo>
                  <a:pt x="5" y="902"/>
                  <a:pt x="5" y="902"/>
                  <a:pt x="5" y="902"/>
                </a:cubicBezTo>
                <a:cubicBezTo>
                  <a:pt x="237" y="1044"/>
                  <a:pt x="237" y="1044"/>
                  <a:pt x="237" y="1044"/>
                </a:cubicBezTo>
                <a:cubicBezTo>
                  <a:pt x="252" y="1035"/>
                  <a:pt x="252" y="1035"/>
                  <a:pt x="252" y="1035"/>
                </a:cubicBezTo>
                <a:cubicBezTo>
                  <a:pt x="252" y="1034"/>
                  <a:pt x="252" y="1034"/>
                  <a:pt x="252" y="1034"/>
                </a:cubicBezTo>
                <a:cubicBezTo>
                  <a:pt x="624" y="811"/>
                  <a:pt x="624" y="811"/>
                  <a:pt x="624" y="811"/>
                </a:cubicBezTo>
                <a:cubicBezTo>
                  <a:pt x="624" y="150"/>
                  <a:pt x="624" y="150"/>
                  <a:pt x="624" y="150"/>
                </a:cubicBezTo>
                <a:cubicBezTo>
                  <a:pt x="625" y="150"/>
                  <a:pt x="625" y="150"/>
                  <a:pt x="625" y="150"/>
                </a:cubicBezTo>
                <a:lnTo>
                  <a:pt x="625" y="132"/>
                </a:lnTo>
                <a:close/>
                <a:moveTo>
                  <a:pt x="388" y="21"/>
                </a:moveTo>
                <a:cubicBezTo>
                  <a:pt x="600" y="141"/>
                  <a:pt x="600" y="141"/>
                  <a:pt x="600" y="141"/>
                </a:cubicBezTo>
                <a:cubicBezTo>
                  <a:pt x="244" y="340"/>
                  <a:pt x="244" y="340"/>
                  <a:pt x="244" y="340"/>
                </a:cubicBezTo>
                <a:cubicBezTo>
                  <a:pt x="165" y="298"/>
                  <a:pt x="165" y="298"/>
                  <a:pt x="165" y="298"/>
                </a:cubicBezTo>
                <a:cubicBezTo>
                  <a:pt x="34" y="225"/>
                  <a:pt x="34" y="225"/>
                  <a:pt x="34" y="225"/>
                </a:cubicBezTo>
                <a:lnTo>
                  <a:pt x="388" y="21"/>
                </a:lnTo>
                <a:close/>
                <a:moveTo>
                  <a:pt x="156" y="315"/>
                </a:moveTo>
                <a:cubicBezTo>
                  <a:pt x="230" y="357"/>
                  <a:pt x="230" y="357"/>
                  <a:pt x="230" y="357"/>
                </a:cubicBezTo>
                <a:cubicBezTo>
                  <a:pt x="231" y="541"/>
                  <a:pt x="231" y="541"/>
                  <a:pt x="231" y="541"/>
                </a:cubicBezTo>
                <a:cubicBezTo>
                  <a:pt x="20" y="423"/>
                  <a:pt x="20" y="423"/>
                  <a:pt x="20" y="423"/>
                </a:cubicBezTo>
                <a:cubicBezTo>
                  <a:pt x="20" y="244"/>
                  <a:pt x="20" y="244"/>
                  <a:pt x="20" y="244"/>
                </a:cubicBezTo>
                <a:lnTo>
                  <a:pt x="156" y="315"/>
                </a:lnTo>
                <a:close/>
                <a:moveTo>
                  <a:pt x="20" y="446"/>
                </a:moveTo>
                <a:cubicBezTo>
                  <a:pt x="231" y="563"/>
                  <a:pt x="231" y="563"/>
                  <a:pt x="231" y="563"/>
                </a:cubicBezTo>
                <a:cubicBezTo>
                  <a:pt x="231" y="593"/>
                  <a:pt x="231" y="593"/>
                  <a:pt x="231" y="593"/>
                </a:cubicBezTo>
                <a:cubicBezTo>
                  <a:pt x="20" y="475"/>
                  <a:pt x="20" y="475"/>
                  <a:pt x="20" y="475"/>
                </a:cubicBezTo>
                <a:lnTo>
                  <a:pt x="20" y="446"/>
                </a:lnTo>
                <a:close/>
                <a:moveTo>
                  <a:pt x="20" y="498"/>
                </a:moveTo>
                <a:cubicBezTo>
                  <a:pt x="231" y="616"/>
                  <a:pt x="231" y="616"/>
                  <a:pt x="231" y="616"/>
                </a:cubicBezTo>
                <a:cubicBezTo>
                  <a:pt x="231" y="637"/>
                  <a:pt x="231" y="637"/>
                  <a:pt x="231" y="637"/>
                </a:cubicBezTo>
                <a:cubicBezTo>
                  <a:pt x="20" y="519"/>
                  <a:pt x="20" y="519"/>
                  <a:pt x="20" y="519"/>
                </a:cubicBezTo>
                <a:lnTo>
                  <a:pt x="20" y="498"/>
                </a:lnTo>
                <a:close/>
                <a:moveTo>
                  <a:pt x="20" y="887"/>
                </a:moveTo>
                <a:cubicBezTo>
                  <a:pt x="20" y="542"/>
                  <a:pt x="20" y="542"/>
                  <a:pt x="20" y="542"/>
                </a:cubicBezTo>
                <a:cubicBezTo>
                  <a:pt x="231" y="660"/>
                  <a:pt x="231" y="660"/>
                  <a:pt x="231" y="660"/>
                </a:cubicBezTo>
                <a:cubicBezTo>
                  <a:pt x="232" y="1017"/>
                  <a:pt x="232" y="1017"/>
                  <a:pt x="232" y="1017"/>
                </a:cubicBezTo>
                <a:lnTo>
                  <a:pt x="20" y="887"/>
                </a:lnTo>
                <a:close/>
                <a:moveTo>
                  <a:pt x="160" y="746"/>
                </a:moveTo>
                <a:cubicBezTo>
                  <a:pt x="154" y="769"/>
                  <a:pt x="132" y="779"/>
                  <a:pt x="110" y="770"/>
                </a:cubicBezTo>
                <a:cubicBezTo>
                  <a:pt x="89" y="760"/>
                  <a:pt x="77" y="734"/>
                  <a:pt x="84" y="712"/>
                </a:cubicBezTo>
                <a:cubicBezTo>
                  <a:pt x="90" y="689"/>
                  <a:pt x="112" y="679"/>
                  <a:pt x="134" y="688"/>
                </a:cubicBezTo>
                <a:cubicBezTo>
                  <a:pt x="155" y="698"/>
                  <a:pt x="167" y="724"/>
                  <a:pt x="160" y="746"/>
                </a:cubicBezTo>
                <a:close/>
              </a:path>
            </a:pathLst>
          </a:custGeom>
          <a:solidFill>
            <a:schemeClr val="accent3"/>
          </a:solidFill>
          <a:ln>
            <a:noFill/>
          </a:ln>
          <a:extLst/>
        </p:spPr>
        <p:txBody>
          <a:bodyPr lIns="68564" tIns="34282" rIns="68564" bIns="34282"/>
          <a:lstStyle/>
          <a:p>
            <a:pPr defTabSz="699406">
              <a:defRPr/>
            </a:pPr>
            <a:endParaRPr lang="en-US" sz="1836">
              <a:solidFill>
                <a:srgbClr val="000000"/>
              </a:solidFill>
            </a:endParaRPr>
          </a:p>
        </p:txBody>
      </p:sp>
      <p:sp>
        <p:nvSpPr>
          <p:cNvPr id="14" name="hyperV2"/>
          <p:cNvSpPr>
            <a:spLocks noChangeAspect="1" noEditPoints="1"/>
          </p:cNvSpPr>
          <p:nvPr/>
        </p:nvSpPr>
        <p:spPr bwMode="auto">
          <a:xfrm>
            <a:off x="2271156" y="4490617"/>
            <a:ext cx="969761" cy="1615727"/>
          </a:xfrm>
          <a:custGeom>
            <a:avLst/>
            <a:gdLst>
              <a:gd name="T0" fmla="*/ 625 w 625"/>
              <a:gd name="T1" fmla="*/ 132 h 1044"/>
              <a:gd name="T2" fmla="*/ 393 w 625"/>
              <a:gd name="T3" fmla="*/ 0 h 1044"/>
              <a:gd name="T4" fmla="*/ 383 w 625"/>
              <a:gd name="T5" fmla="*/ 0 h 1044"/>
              <a:gd name="T6" fmla="*/ 5 w 625"/>
              <a:gd name="T7" fmla="*/ 218 h 1044"/>
              <a:gd name="T8" fmla="*/ 5 w 625"/>
              <a:gd name="T9" fmla="*/ 220 h 1044"/>
              <a:gd name="T10" fmla="*/ 0 w 625"/>
              <a:gd name="T11" fmla="*/ 223 h 1044"/>
              <a:gd name="T12" fmla="*/ 0 w 625"/>
              <a:gd name="T13" fmla="*/ 893 h 1044"/>
              <a:gd name="T14" fmla="*/ 5 w 625"/>
              <a:gd name="T15" fmla="*/ 902 h 1044"/>
              <a:gd name="T16" fmla="*/ 237 w 625"/>
              <a:gd name="T17" fmla="*/ 1044 h 1044"/>
              <a:gd name="T18" fmla="*/ 252 w 625"/>
              <a:gd name="T19" fmla="*/ 1035 h 1044"/>
              <a:gd name="T20" fmla="*/ 252 w 625"/>
              <a:gd name="T21" fmla="*/ 1034 h 1044"/>
              <a:gd name="T22" fmla="*/ 624 w 625"/>
              <a:gd name="T23" fmla="*/ 811 h 1044"/>
              <a:gd name="T24" fmla="*/ 624 w 625"/>
              <a:gd name="T25" fmla="*/ 150 h 1044"/>
              <a:gd name="T26" fmla="*/ 625 w 625"/>
              <a:gd name="T27" fmla="*/ 150 h 1044"/>
              <a:gd name="T28" fmla="*/ 625 w 625"/>
              <a:gd name="T29" fmla="*/ 132 h 1044"/>
              <a:gd name="T30" fmla="*/ 388 w 625"/>
              <a:gd name="T31" fmla="*/ 21 h 1044"/>
              <a:gd name="T32" fmla="*/ 600 w 625"/>
              <a:gd name="T33" fmla="*/ 141 h 1044"/>
              <a:gd name="T34" fmla="*/ 244 w 625"/>
              <a:gd name="T35" fmla="*/ 340 h 1044"/>
              <a:gd name="T36" fmla="*/ 165 w 625"/>
              <a:gd name="T37" fmla="*/ 298 h 1044"/>
              <a:gd name="T38" fmla="*/ 34 w 625"/>
              <a:gd name="T39" fmla="*/ 225 h 1044"/>
              <a:gd name="T40" fmla="*/ 388 w 625"/>
              <a:gd name="T41" fmla="*/ 21 h 1044"/>
              <a:gd name="T42" fmla="*/ 156 w 625"/>
              <a:gd name="T43" fmla="*/ 315 h 1044"/>
              <a:gd name="T44" fmla="*/ 230 w 625"/>
              <a:gd name="T45" fmla="*/ 357 h 1044"/>
              <a:gd name="T46" fmla="*/ 231 w 625"/>
              <a:gd name="T47" fmla="*/ 541 h 1044"/>
              <a:gd name="T48" fmla="*/ 20 w 625"/>
              <a:gd name="T49" fmla="*/ 423 h 1044"/>
              <a:gd name="T50" fmla="*/ 20 w 625"/>
              <a:gd name="T51" fmla="*/ 244 h 1044"/>
              <a:gd name="T52" fmla="*/ 156 w 625"/>
              <a:gd name="T53" fmla="*/ 315 h 1044"/>
              <a:gd name="T54" fmla="*/ 20 w 625"/>
              <a:gd name="T55" fmla="*/ 446 h 1044"/>
              <a:gd name="T56" fmla="*/ 231 w 625"/>
              <a:gd name="T57" fmla="*/ 563 h 1044"/>
              <a:gd name="T58" fmla="*/ 231 w 625"/>
              <a:gd name="T59" fmla="*/ 593 h 1044"/>
              <a:gd name="T60" fmla="*/ 20 w 625"/>
              <a:gd name="T61" fmla="*/ 475 h 1044"/>
              <a:gd name="T62" fmla="*/ 20 w 625"/>
              <a:gd name="T63" fmla="*/ 446 h 1044"/>
              <a:gd name="T64" fmla="*/ 20 w 625"/>
              <a:gd name="T65" fmla="*/ 498 h 1044"/>
              <a:gd name="T66" fmla="*/ 231 w 625"/>
              <a:gd name="T67" fmla="*/ 616 h 1044"/>
              <a:gd name="T68" fmla="*/ 231 w 625"/>
              <a:gd name="T69" fmla="*/ 637 h 1044"/>
              <a:gd name="T70" fmla="*/ 20 w 625"/>
              <a:gd name="T71" fmla="*/ 519 h 1044"/>
              <a:gd name="T72" fmla="*/ 20 w 625"/>
              <a:gd name="T73" fmla="*/ 498 h 1044"/>
              <a:gd name="T74" fmla="*/ 20 w 625"/>
              <a:gd name="T75" fmla="*/ 887 h 1044"/>
              <a:gd name="T76" fmla="*/ 20 w 625"/>
              <a:gd name="T77" fmla="*/ 542 h 1044"/>
              <a:gd name="T78" fmla="*/ 231 w 625"/>
              <a:gd name="T79" fmla="*/ 660 h 1044"/>
              <a:gd name="T80" fmla="*/ 232 w 625"/>
              <a:gd name="T81" fmla="*/ 1017 h 1044"/>
              <a:gd name="T82" fmla="*/ 20 w 625"/>
              <a:gd name="T83" fmla="*/ 887 h 1044"/>
              <a:gd name="T84" fmla="*/ 160 w 625"/>
              <a:gd name="T85" fmla="*/ 746 h 1044"/>
              <a:gd name="T86" fmla="*/ 110 w 625"/>
              <a:gd name="T87" fmla="*/ 770 h 1044"/>
              <a:gd name="T88" fmla="*/ 84 w 625"/>
              <a:gd name="T89" fmla="*/ 712 h 1044"/>
              <a:gd name="T90" fmla="*/ 134 w 625"/>
              <a:gd name="T91" fmla="*/ 688 h 1044"/>
              <a:gd name="T92" fmla="*/ 160 w 625"/>
              <a:gd name="T93" fmla="*/ 746 h 10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625" h="1044">
                <a:moveTo>
                  <a:pt x="625" y="132"/>
                </a:moveTo>
                <a:cubicBezTo>
                  <a:pt x="393" y="0"/>
                  <a:pt x="393" y="0"/>
                  <a:pt x="393" y="0"/>
                </a:cubicBezTo>
                <a:cubicBezTo>
                  <a:pt x="383" y="0"/>
                  <a:pt x="383" y="0"/>
                  <a:pt x="383" y="0"/>
                </a:cubicBezTo>
                <a:cubicBezTo>
                  <a:pt x="5" y="218"/>
                  <a:pt x="5" y="218"/>
                  <a:pt x="5" y="218"/>
                </a:cubicBezTo>
                <a:cubicBezTo>
                  <a:pt x="5" y="220"/>
                  <a:pt x="5" y="220"/>
                  <a:pt x="5" y="220"/>
                </a:cubicBezTo>
                <a:cubicBezTo>
                  <a:pt x="0" y="223"/>
                  <a:pt x="0" y="223"/>
                  <a:pt x="0" y="223"/>
                </a:cubicBezTo>
                <a:cubicBezTo>
                  <a:pt x="0" y="893"/>
                  <a:pt x="0" y="893"/>
                  <a:pt x="0" y="893"/>
                </a:cubicBezTo>
                <a:cubicBezTo>
                  <a:pt x="5" y="902"/>
                  <a:pt x="5" y="902"/>
                  <a:pt x="5" y="902"/>
                </a:cubicBezTo>
                <a:cubicBezTo>
                  <a:pt x="237" y="1044"/>
                  <a:pt x="237" y="1044"/>
                  <a:pt x="237" y="1044"/>
                </a:cubicBezTo>
                <a:cubicBezTo>
                  <a:pt x="252" y="1035"/>
                  <a:pt x="252" y="1035"/>
                  <a:pt x="252" y="1035"/>
                </a:cubicBezTo>
                <a:cubicBezTo>
                  <a:pt x="252" y="1034"/>
                  <a:pt x="252" y="1034"/>
                  <a:pt x="252" y="1034"/>
                </a:cubicBezTo>
                <a:cubicBezTo>
                  <a:pt x="624" y="811"/>
                  <a:pt x="624" y="811"/>
                  <a:pt x="624" y="811"/>
                </a:cubicBezTo>
                <a:cubicBezTo>
                  <a:pt x="624" y="150"/>
                  <a:pt x="624" y="150"/>
                  <a:pt x="624" y="150"/>
                </a:cubicBezTo>
                <a:cubicBezTo>
                  <a:pt x="625" y="150"/>
                  <a:pt x="625" y="150"/>
                  <a:pt x="625" y="150"/>
                </a:cubicBezTo>
                <a:lnTo>
                  <a:pt x="625" y="132"/>
                </a:lnTo>
                <a:close/>
                <a:moveTo>
                  <a:pt x="388" y="21"/>
                </a:moveTo>
                <a:cubicBezTo>
                  <a:pt x="600" y="141"/>
                  <a:pt x="600" y="141"/>
                  <a:pt x="600" y="141"/>
                </a:cubicBezTo>
                <a:cubicBezTo>
                  <a:pt x="244" y="340"/>
                  <a:pt x="244" y="340"/>
                  <a:pt x="244" y="340"/>
                </a:cubicBezTo>
                <a:cubicBezTo>
                  <a:pt x="165" y="298"/>
                  <a:pt x="165" y="298"/>
                  <a:pt x="165" y="298"/>
                </a:cubicBezTo>
                <a:cubicBezTo>
                  <a:pt x="34" y="225"/>
                  <a:pt x="34" y="225"/>
                  <a:pt x="34" y="225"/>
                </a:cubicBezTo>
                <a:lnTo>
                  <a:pt x="388" y="21"/>
                </a:lnTo>
                <a:close/>
                <a:moveTo>
                  <a:pt x="156" y="315"/>
                </a:moveTo>
                <a:cubicBezTo>
                  <a:pt x="230" y="357"/>
                  <a:pt x="230" y="357"/>
                  <a:pt x="230" y="357"/>
                </a:cubicBezTo>
                <a:cubicBezTo>
                  <a:pt x="231" y="541"/>
                  <a:pt x="231" y="541"/>
                  <a:pt x="231" y="541"/>
                </a:cubicBezTo>
                <a:cubicBezTo>
                  <a:pt x="20" y="423"/>
                  <a:pt x="20" y="423"/>
                  <a:pt x="20" y="423"/>
                </a:cubicBezTo>
                <a:cubicBezTo>
                  <a:pt x="20" y="244"/>
                  <a:pt x="20" y="244"/>
                  <a:pt x="20" y="244"/>
                </a:cubicBezTo>
                <a:lnTo>
                  <a:pt x="156" y="315"/>
                </a:lnTo>
                <a:close/>
                <a:moveTo>
                  <a:pt x="20" y="446"/>
                </a:moveTo>
                <a:cubicBezTo>
                  <a:pt x="231" y="563"/>
                  <a:pt x="231" y="563"/>
                  <a:pt x="231" y="563"/>
                </a:cubicBezTo>
                <a:cubicBezTo>
                  <a:pt x="231" y="593"/>
                  <a:pt x="231" y="593"/>
                  <a:pt x="231" y="593"/>
                </a:cubicBezTo>
                <a:cubicBezTo>
                  <a:pt x="20" y="475"/>
                  <a:pt x="20" y="475"/>
                  <a:pt x="20" y="475"/>
                </a:cubicBezTo>
                <a:lnTo>
                  <a:pt x="20" y="446"/>
                </a:lnTo>
                <a:close/>
                <a:moveTo>
                  <a:pt x="20" y="498"/>
                </a:moveTo>
                <a:cubicBezTo>
                  <a:pt x="231" y="616"/>
                  <a:pt x="231" y="616"/>
                  <a:pt x="231" y="616"/>
                </a:cubicBezTo>
                <a:cubicBezTo>
                  <a:pt x="231" y="637"/>
                  <a:pt x="231" y="637"/>
                  <a:pt x="231" y="637"/>
                </a:cubicBezTo>
                <a:cubicBezTo>
                  <a:pt x="20" y="519"/>
                  <a:pt x="20" y="519"/>
                  <a:pt x="20" y="519"/>
                </a:cubicBezTo>
                <a:lnTo>
                  <a:pt x="20" y="498"/>
                </a:lnTo>
                <a:close/>
                <a:moveTo>
                  <a:pt x="20" y="887"/>
                </a:moveTo>
                <a:cubicBezTo>
                  <a:pt x="20" y="542"/>
                  <a:pt x="20" y="542"/>
                  <a:pt x="20" y="542"/>
                </a:cubicBezTo>
                <a:cubicBezTo>
                  <a:pt x="231" y="660"/>
                  <a:pt x="231" y="660"/>
                  <a:pt x="231" y="660"/>
                </a:cubicBezTo>
                <a:cubicBezTo>
                  <a:pt x="232" y="1017"/>
                  <a:pt x="232" y="1017"/>
                  <a:pt x="232" y="1017"/>
                </a:cubicBezTo>
                <a:lnTo>
                  <a:pt x="20" y="887"/>
                </a:lnTo>
                <a:close/>
                <a:moveTo>
                  <a:pt x="160" y="746"/>
                </a:moveTo>
                <a:cubicBezTo>
                  <a:pt x="154" y="769"/>
                  <a:pt x="132" y="779"/>
                  <a:pt x="110" y="770"/>
                </a:cubicBezTo>
                <a:cubicBezTo>
                  <a:pt x="89" y="760"/>
                  <a:pt x="77" y="734"/>
                  <a:pt x="84" y="712"/>
                </a:cubicBezTo>
                <a:cubicBezTo>
                  <a:pt x="90" y="689"/>
                  <a:pt x="112" y="679"/>
                  <a:pt x="134" y="688"/>
                </a:cubicBezTo>
                <a:cubicBezTo>
                  <a:pt x="155" y="698"/>
                  <a:pt x="167" y="724"/>
                  <a:pt x="160" y="746"/>
                </a:cubicBezTo>
                <a:close/>
              </a:path>
            </a:pathLst>
          </a:custGeom>
          <a:solidFill>
            <a:schemeClr val="accent1"/>
          </a:solidFill>
          <a:ln>
            <a:noFill/>
          </a:ln>
          <a:extLst/>
        </p:spPr>
        <p:txBody>
          <a:bodyPr lIns="68564" tIns="34282" rIns="68564" bIns="34282"/>
          <a:lstStyle/>
          <a:p>
            <a:pPr defTabSz="699406">
              <a:defRPr/>
            </a:pPr>
            <a:endParaRPr lang="en-US" sz="1836">
              <a:solidFill>
                <a:srgbClr val="000000"/>
              </a:solidFill>
            </a:endParaRPr>
          </a:p>
        </p:txBody>
      </p:sp>
      <p:sp>
        <p:nvSpPr>
          <p:cNvPr id="15" name="hyperV2"/>
          <p:cNvSpPr>
            <a:spLocks noChangeAspect="1" noEditPoints="1"/>
          </p:cNvSpPr>
          <p:nvPr/>
        </p:nvSpPr>
        <p:spPr bwMode="auto">
          <a:xfrm>
            <a:off x="1948982" y="5619034"/>
            <a:ext cx="584447" cy="974617"/>
          </a:xfrm>
          <a:custGeom>
            <a:avLst/>
            <a:gdLst>
              <a:gd name="T0" fmla="*/ 625 w 625"/>
              <a:gd name="T1" fmla="*/ 132 h 1044"/>
              <a:gd name="T2" fmla="*/ 393 w 625"/>
              <a:gd name="T3" fmla="*/ 0 h 1044"/>
              <a:gd name="T4" fmla="*/ 383 w 625"/>
              <a:gd name="T5" fmla="*/ 0 h 1044"/>
              <a:gd name="T6" fmla="*/ 5 w 625"/>
              <a:gd name="T7" fmla="*/ 218 h 1044"/>
              <a:gd name="T8" fmla="*/ 5 w 625"/>
              <a:gd name="T9" fmla="*/ 220 h 1044"/>
              <a:gd name="T10" fmla="*/ 0 w 625"/>
              <a:gd name="T11" fmla="*/ 223 h 1044"/>
              <a:gd name="T12" fmla="*/ 0 w 625"/>
              <a:gd name="T13" fmla="*/ 893 h 1044"/>
              <a:gd name="T14" fmla="*/ 5 w 625"/>
              <a:gd name="T15" fmla="*/ 902 h 1044"/>
              <a:gd name="T16" fmla="*/ 237 w 625"/>
              <a:gd name="T17" fmla="*/ 1044 h 1044"/>
              <a:gd name="T18" fmla="*/ 252 w 625"/>
              <a:gd name="T19" fmla="*/ 1035 h 1044"/>
              <a:gd name="T20" fmla="*/ 252 w 625"/>
              <a:gd name="T21" fmla="*/ 1034 h 1044"/>
              <a:gd name="T22" fmla="*/ 624 w 625"/>
              <a:gd name="T23" fmla="*/ 811 h 1044"/>
              <a:gd name="T24" fmla="*/ 624 w 625"/>
              <a:gd name="T25" fmla="*/ 150 h 1044"/>
              <a:gd name="T26" fmla="*/ 625 w 625"/>
              <a:gd name="T27" fmla="*/ 150 h 1044"/>
              <a:gd name="T28" fmla="*/ 625 w 625"/>
              <a:gd name="T29" fmla="*/ 132 h 1044"/>
              <a:gd name="T30" fmla="*/ 388 w 625"/>
              <a:gd name="T31" fmla="*/ 21 h 1044"/>
              <a:gd name="T32" fmla="*/ 600 w 625"/>
              <a:gd name="T33" fmla="*/ 141 h 1044"/>
              <a:gd name="T34" fmla="*/ 244 w 625"/>
              <a:gd name="T35" fmla="*/ 340 h 1044"/>
              <a:gd name="T36" fmla="*/ 165 w 625"/>
              <a:gd name="T37" fmla="*/ 298 h 1044"/>
              <a:gd name="T38" fmla="*/ 34 w 625"/>
              <a:gd name="T39" fmla="*/ 225 h 1044"/>
              <a:gd name="T40" fmla="*/ 388 w 625"/>
              <a:gd name="T41" fmla="*/ 21 h 1044"/>
              <a:gd name="T42" fmla="*/ 156 w 625"/>
              <a:gd name="T43" fmla="*/ 315 h 1044"/>
              <a:gd name="T44" fmla="*/ 230 w 625"/>
              <a:gd name="T45" fmla="*/ 357 h 1044"/>
              <a:gd name="T46" fmla="*/ 231 w 625"/>
              <a:gd name="T47" fmla="*/ 541 h 1044"/>
              <a:gd name="T48" fmla="*/ 20 w 625"/>
              <a:gd name="T49" fmla="*/ 423 h 1044"/>
              <a:gd name="T50" fmla="*/ 20 w 625"/>
              <a:gd name="T51" fmla="*/ 244 h 1044"/>
              <a:gd name="T52" fmla="*/ 156 w 625"/>
              <a:gd name="T53" fmla="*/ 315 h 1044"/>
              <a:gd name="T54" fmla="*/ 20 w 625"/>
              <a:gd name="T55" fmla="*/ 446 h 1044"/>
              <a:gd name="T56" fmla="*/ 231 w 625"/>
              <a:gd name="T57" fmla="*/ 563 h 1044"/>
              <a:gd name="T58" fmla="*/ 231 w 625"/>
              <a:gd name="T59" fmla="*/ 593 h 1044"/>
              <a:gd name="T60" fmla="*/ 20 w 625"/>
              <a:gd name="T61" fmla="*/ 475 h 1044"/>
              <a:gd name="T62" fmla="*/ 20 w 625"/>
              <a:gd name="T63" fmla="*/ 446 h 1044"/>
              <a:gd name="T64" fmla="*/ 20 w 625"/>
              <a:gd name="T65" fmla="*/ 498 h 1044"/>
              <a:gd name="T66" fmla="*/ 231 w 625"/>
              <a:gd name="T67" fmla="*/ 616 h 1044"/>
              <a:gd name="T68" fmla="*/ 231 w 625"/>
              <a:gd name="T69" fmla="*/ 637 h 1044"/>
              <a:gd name="T70" fmla="*/ 20 w 625"/>
              <a:gd name="T71" fmla="*/ 519 h 1044"/>
              <a:gd name="T72" fmla="*/ 20 w 625"/>
              <a:gd name="T73" fmla="*/ 498 h 1044"/>
              <a:gd name="T74" fmla="*/ 20 w 625"/>
              <a:gd name="T75" fmla="*/ 887 h 1044"/>
              <a:gd name="T76" fmla="*/ 20 w 625"/>
              <a:gd name="T77" fmla="*/ 542 h 1044"/>
              <a:gd name="T78" fmla="*/ 231 w 625"/>
              <a:gd name="T79" fmla="*/ 660 h 1044"/>
              <a:gd name="T80" fmla="*/ 232 w 625"/>
              <a:gd name="T81" fmla="*/ 1017 h 1044"/>
              <a:gd name="T82" fmla="*/ 20 w 625"/>
              <a:gd name="T83" fmla="*/ 887 h 1044"/>
              <a:gd name="T84" fmla="*/ 160 w 625"/>
              <a:gd name="T85" fmla="*/ 746 h 1044"/>
              <a:gd name="T86" fmla="*/ 110 w 625"/>
              <a:gd name="T87" fmla="*/ 770 h 1044"/>
              <a:gd name="T88" fmla="*/ 84 w 625"/>
              <a:gd name="T89" fmla="*/ 712 h 1044"/>
              <a:gd name="T90" fmla="*/ 134 w 625"/>
              <a:gd name="T91" fmla="*/ 688 h 1044"/>
              <a:gd name="T92" fmla="*/ 160 w 625"/>
              <a:gd name="T93" fmla="*/ 746 h 10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625" h="1044">
                <a:moveTo>
                  <a:pt x="625" y="132"/>
                </a:moveTo>
                <a:cubicBezTo>
                  <a:pt x="393" y="0"/>
                  <a:pt x="393" y="0"/>
                  <a:pt x="393" y="0"/>
                </a:cubicBezTo>
                <a:cubicBezTo>
                  <a:pt x="383" y="0"/>
                  <a:pt x="383" y="0"/>
                  <a:pt x="383" y="0"/>
                </a:cubicBezTo>
                <a:cubicBezTo>
                  <a:pt x="5" y="218"/>
                  <a:pt x="5" y="218"/>
                  <a:pt x="5" y="218"/>
                </a:cubicBezTo>
                <a:cubicBezTo>
                  <a:pt x="5" y="220"/>
                  <a:pt x="5" y="220"/>
                  <a:pt x="5" y="220"/>
                </a:cubicBezTo>
                <a:cubicBezTo>
                  <a:pt x="0" y="223"/>
                  <a:pt x="0" y="223"/>
                  <a:pt x="0" y="223"/>
                </a:cubicBezTo>
                <a:cubicBezTo>
                  <a:pt x="0" y="893"/>
                  <a:pt x="0" y="893"/>
                  <a:pt x="0" y="893"/>
                </a:cubicBezTo>
                <a:cubicBezTo>
                  <a:pt x="5" y="902"/>
                  <a:pt x="5" y="902"/>
                  <a:pt x="5" y="902"/>
                </a:cubicBezTo>
                <a:cubicBezTo>
                  <a:pt x="237" y="1044"/>
                  <a:pt x="237" y="1044"/>
                  <a:pt x="237" y="1044"/>
                </a:cubicBezTo>
                <a:cubicBezTo>
                  <a:pt x="252" y="1035"/>
                  <a:pt x="252" y="1035"/>
                  <a:pt x="252" y="1035"/>
                </a:cubicBezTo>
                <a:cubicBezTo>
                  <a:pt x="252" y="1034"/>
                  <a:pt x="252" y="1034"/>
                  <a:pt x="252" y="1034"/>
                </a:cubicBezTo>
                <a:cubicBezTo>
                  <a:pt x="624" y="811"/>
                  <a:pt x="624" y="811"/>
                  <a:pt x="624" y="811"/>
                </a:cubicBezTo>
                <a:cubicBezTo>
                  <a:pt x="624" y="150"/>
                  <a:pt x="624" y="150"/>
                  <a:pt x="624" y="150"/>
                </a:cubicBezTo>
                <a:cubicBezTo>
                  <a:pt x="625" y="150"/>
                  <a:pt x="625" y="150"/>
                  <a:pt x="625" y="150"/>
                </a:cubicBezTo>
                <a:lnTo>
                  <a:pt x="625" y="132"/>
                </a:lnTo>
                <a:close/>
                <a:moveTo>
                  <a:pt x="388" y="21"/>
                </a:moveTo>
                <a:cubicBezTo>
                  <a:pt x="600" y="141"/>
                  <a:pt x="600" y="141"/>
                  <a:pt x="600" y="141"/>
                </a:cubicBezTo>
                <a:cubicBezTo>
                  <a:pt x="244" y="340"/>
                  <a:pt x="244" y="340"/>
                  <a:pt x="244" y="340"/>
                </a:cubicBezTo>
                <a:cubicBezTo>
                  <a:pt x="165" y="298"/>
                  <a:pt x="165" y="298"/>
                  <a:pt x="165" y="298"/>
                </a:cubicBezTo>
                <a:cubicBezTo>
                  <a:pt x="34" y="225"/>
                  <a:pt x="34" y="225"/>
                  <a:pt x="34" y="225"/>
                </a:cubicBezTo>
                <a:lnTo>
                  <a:pt x="388" y="21"/>
                </a:lnTo>
                <a:close/>
                <a:moveTo>
                  <a:pt x="156" y="315"/>
                </a:moveTo>
                <a:cubicBezTo>
                  <a:pt x="230" y="357"/>
                  <a:pt x="230" y="357"/>
                  <a:pt x="230" y="357"/>
                </a:cubicBezTo>
                <a:cubicBezTo>
                  <a:pt x="231" y="541"/>
                  <a:pt x="231" y="541"/>
                  <a:pt x="231" y="541"/>
                </a:cubicBezTo>
                <a:cubicBezTo>
                  <a:pt x="20" y="423"/>
                  <a:pt x="20" y="423"/>
                  <a:pt x="20" y="423"/>
                </a:cubicBezTo>
                <a:cubicBezTo>
                  <a:pt x="20" y="244"/>
                  <a:pt x="20" y="244"/>
                  <a:pt x="20" y="244"/>
                </a:cubicBezTo>
                <a:lnTo>
                  <a:pt x="156" y="315"/>
                </a:lnTo>
                <a:close/>
                <a:moveTo>
                  <a:pt x="20" y="446"/>
                </a:moveTo>
                <a:cubicBezTo>
                  <a:pt x="231" y="563"/>
                  <a:pt x="231" y="563"/>
                  <a:pt x="231" y="563"/>
                </a:cubicBezTo>
                <a:cubicBezTo>
                  <a:pt x="231" y="593"/>
                  <a:pt x="231" y="593"/>
                  <a:pt x="231" y="593"/>
                </a:cubicBezTo>
                <a:cubicBezTo>
                  <a:pt x="20" y="475"/>
                  <a:pt x="20" y="475"/>
                  <a:pt x="20" y="475"/>
                </a:cubicBezTo>
                <a:lnTo>
                  <a:pt x="20" y="446"/>
                </a:lnTo>
                <a:close/>
                <a:moveTo>
                  <a:pt x="20" y="498"/>
                </a:moveTo>
                <a:cubicBezTo>
                  <a:pt x="231" y="616"/>
                  <a:pt x="231" y="616"/>
                  <a:pt x="231" y="616"/>
                </a:cubicBezTo>
                <a:cubicBezTo>
                  <a:pt x="231" y="637"/>
                  <a:pt x="231" y="637"/>
                  <a:pt x="231" y="637"/>
                </a:cubicBezTo>
                <a:cubicBezTo>
                  <a:pt x="20" y="519"/>
                  <a:pt x="20" y="519"/>
                  <a:pt x="20" y="519"/>
                </a:cubicBezTo>
                <a:lnTo>
                  <a:pt x="20" y="498"/>
                </a:lnTo>
                <a:close/>
                <a:moveTo>
                  <a:pt x="20" y="887"/>
                </a:moveTo>
                <a:cubicBezTo>
                  <a:pt x="20" y="542"/>
                  <a:pt x="20" y="542"/>
                  <a:pt x="20" y="542"/>
                </a:cubicBezTo>
                <a:cubicBezTo>
                  <a:pt x="231" y="660"/>
                  <a:pt x="231" y="660"/>
                  <a:pt x="231" y="660"/>
                </a:cubicBezTo>
                <a:cubicBezTo>
                  <a:pt x="232" y="1017"/>
                  <a:pt x="232" y="1017"/>
                  <a:pt x="232" y="1017"/>
                </a:cubicBezTo>
                <a:lnTo>
                  <a:pt x="20" y="887"/>
                </a:lnTo>
                <a:close/>
                <a:moveTo>
                  <a:pt x="160" y="746"/>
                </a:moveTo>
                <a:cubicBezTo>
                  <a:pt x="154" y="769"/>
                  <a:pt x="132" y="779"/>
                  <a:pt x="110" y="770"/>
                </a:cubicBezTo>
                <a:cubicBezTo>
                  <a:pt x="89" y="760"/>
                  <a:pt x="77" y="734"/>
                  <a:pt x="84" y="712"/>
                </a:cubicBezTo>
                <a:cubicBezTo>
                  <a:pt x="90" y="689"/>
                  <a:pt x="112" y="679"/>
                  <a:pt x="134" y="688"/>
                </a:cubicBezTo>
                <a:cubicBezTo>
                  <a:pt x="155" y="698"/>
                  <a:pt x="167" y="724"/>
                  <a:pt x="160" y="746"/>
                </a:cubicBezTo>
                <a:close/>
              </a:path>
            </a:pathLst>
          </a:custGeom>
          <a:solidFill>
            <a:schemeClr val="accent5"/>
          </a:solidFill>
          <a:ln>
            <a:noFill/>
          </a:ln>
          <a:extLst/>
        </p:spPr>
        <p:txBody>
          <a:bodyPr lIns="68564" tIns="34282" rIns="68564" bIns="34282"/>
          <a:lstStyle/>
          <a:p>
            <a:pPr defTabSz="699406">
              <a:defRPr/>
            </a:pPr>
            <a:endParaRPr lang="en-US" sz="1836">
              <a:solidFill>
                <a:srgbClr val="000000"/>
              </a:solidFill>
            </a:endParaRPr>
          </a:p>
        </p:txBody>
      </p:sp>
      <p:sp>
        <p:nvSpPr>
          <p:cNvPr id="16" name="hyperV2"/>
          <p:cNvSpPr>
            <a:spLocks noChangeAspect="1" noEditPoints="1"/>
          </p:cNvSpPr>
          <p:nvPr/>
        </p:nvSpPr>
        <p:spPr bwMode="auto">
          <a:xfrm>
            <a:off x="6688553" y="4984268"/>
            <a:ext cx="969760" cy="1615727"/>
          </a:xfrm>
          <a:custGeom>
            <a:avLst/>
            <a:gdLst>
              <a:gd name="T0" fmla="*/ 625 w 625"/>
              <a:gd name="T1" fmla="*/ 132 h 1044"/>
              <a:gd name="T2" fmla="*/ 393 w 625"/>
              <a:gd name="T3" fmla="*/ 0 h 1044"/>
              <a:gd name="T4" fmla="*/ 383 w 625"/>
              <a:gd name="T5" fmla="*/ 0 h 1044"/>
              <a:gd name="T6" fmla="*/ 5 w 625"/>
              <a:gd name="T7" fmla="*/ 218 h 1044"/>
              <a:gd name="T8" fmla="*/ 5 w 625"/>
              <a:gd name="T9" fmla="*/ 220 h 1044"/>
              <a:gd name="T10" fmla="*/ 0 w 625"/>
              <a:gd name="T11" fmla="*/ 223 h 1044"/>
              <a:gd name="T12" fmla="*/ 0 w 625"/>
              <a:gd name="T13" fmla="*/ 893 h 1044"/>
              <a:gd name="T14" fmla="*/ 5 w 625"/>
              <a:gd name="T15" fmla="*/ 902 h 1044"/>
              <a:gd name="T16" fmla="*/ 237 w 625"/>
              <a:gd name="T17" fmla="*/ 1044 h 1044"/>
              <a:gd name="T18" fmla="*/ 252 w 625"/>
              <a:gd name="T19" fmla="*/ 1035 h 1044"/>
              <a:gd name="T20" fmla="*/ 252 w 625"/>
              <a:gd name="T21" fmla="*/ 1034 h 1044"/>
              <a:gd name="T22" fmla="*/ 624 w 625"/>
              <a:gd name="T23" fmla="*/ 811 h 1044"/>
              <a:gd name="T24" fmla="*/ 624 w 625"/>
              <a:gd name="T25" fmla="*/ 150 h 1044"/>
              <a:gd name="T26" fmla="*/ 625 w 625"/>
              <a:gd name="T27" fmla="*/ 150 h 1044"/>
              <a:gd name="T28" fmla="*/ 625 w 625"/>
              <a:gd name="T29" fmla="*/ 132 h 1044"/>
              <a:gd name="T30" fmla="*/ 388 w 625"/>
              <a:gd name="T31" fmla="*/ 21 h 1044"/>
              <a:gd name="T32" fmla="*/ 600 w 625"/>
              <a:gd name="T33" fmla="*/ 141 h 1044"/>
              <a:gd name="T34" fmla="*/ 244 w 625"/>
              <a:gd name="T35" fmla="*/ 340 h 1044"/>
              <a:gd name="T36" fmla="*/ 165 w 625"/>
              <a:gd name="T37" fmla="*/ 298 h 1044"/>
              <a:gd name="T38" fmla="*/ 34 w 625"/>
              <a:gd name="T39" fmla="*/ 225 h 1044"/>
              <a:gd name="T40" fmla="*/ 388 w 625"/>
              <a:gd name="T41" fmla="*/ 21 h 1044"/>
              <a:gd name="T42" fmla="*/ 156 w 625"/>
              <a:gd name="T43" fmla="*/ 315 h 1044"/>
              <a:gd name="T44" fmla="*/ 230 w 625"/>
              <a:gd name="T45" fmla="*/ 357 h 1044"/>
              <a:gd name="T46" fmla="*/ 231 w 625"/>
              <a:gd name="T47" fmla="*/ 541 h 1044"/>
              <a:gd name="T48" fmla="*/ 20 w 625"/>
              <a:gd name="T49" fmla="*/ 423 h 1044"/>
              <a:gd name="T50" fmla="*/ 20 w 625"/>
              <a:gd name="T51" fmla="*/ 244 h 1044"/>
              <a:gd name="T52" fmla="*/ 156 w 625"/>
              <a:gd name="T53" fmla="*/ 315 h 1044"/>
              <a:gd name="T54" fmla="*/ 20 w 625"/>
              <a:gd name="T55" fmla="*/ 446 h 1044"/>
              <a:gd name="T56" fmla="*/ 231 w 625"/>
              <a:gd name="T57" fmla="*/ 563 h 1044"/>
              <a:gd name="T58" fmla="*/ 231 w 625"/>
              <a:gd name="T59" fmla="*/ 593 h 1044"/>
              <a:gd name="T60" fmla="*/ 20 w 625"/>
              <a:gd name="T61" fmla="*/ 475 h 1044"/>
              <a:gd name="T62" fmla="*/ 20 w 625"/>
              <a:gd name="T63" fmla="*/ 446 h 1044"/>
              <a:gd name="T64" fmla="*/ 20 w 625"/>
              <a:gd name="T65" fmla="*/ 498 h 1044"/>
              <a:gd name="T66" fmla="*/ 231 w 625"/>
              <a:gd name="T67" fmla="*/ 616 h 1044"/>
              <a:gd name="T68" fmla="*/ 231 w 625"/>
              <a:gd name="T69" fmla="*/ 637 h 1044"/>
              <a:gd name="T70" fmla="*/ 20 w 625"/>
              <a:gd name="T71" fmla="*/ 519 h 1044"/>
              <a:gd name="T72" fmla="*/ 20 w 625"/>
              <a:gd name="T73" fmla="*/ 498 h 1044"/>
              <a:gd name="T74" fmla="*/ 20 w 625"/>
              <a:gd name="T75" fmla="*/ 887 h 1044"/>
              <a:gd name="T76" fmla="*/ 20 w 625"/>
              <a:gd name="T77" fmla="*/ 542 h 1044"/>
              <a:gd name="T78" fmla="*/ 231 w 625"/>
              <a:gd name="T79" fmla="*/ 660 h 1044"/>
              <a:gd name="T80" fmla="*/ 232 w 625"/>
              <a:gd name="T81" fmla="*/ 1017 h 1044"/>
              <a:gd name="T82" fmla="*/ 20 w 625"/>
              <a:gd name="T83" fmla="*/ 887 h 1044"/>
              <a:gd name="T84" fmla="*/ 160 w 625"/>
              <a:gd name="T85" fmla="*/ 746 h 1044"/>
              <a:gd name="T86" fmla="*/ 110 w 625"/>
              <a:gd name="T87" fmla="*/ 770 h 1044"/>
              <a:gd name="T88" fmla="*/ 84 w 625"/>
              <a:gd name="T89" fmla="*/ 712 h 1044"/>
              <a:gd name="T90" fmla="*/ 134 w 625"/>
              <a:gd name="T91" fmla="*/ 688 h 1044"/>
              <a:gd name="T92" fmla="*/ 160 w 625"/>
              <a:gd name="T93" fmla="*/ 746 h 10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625" h="1044">
                <a:moveTo>
                  <a:pt x="625" y="132"/>
                </a:moveTo>
                <a:cubicBezTo>
                  <a:pt x="393" y="0"/>
                  <a:pt x="393" y="0"/>
                  <a:pt x="393" y="0"/>
                </a:cubicBezTo>
                <a:cubicBezTo>
                  <a:pt x="383" y="0"/>
                  <a:pt x="383" y="0"/>
                  <a:pt x="383" y="0"/>
                </a:cubicBezTo>
                <a:cubicBezTo>
                  <a:pt x="5" y="218"/>
                  <a:pt x="5" y="218"/>
                  <a:pt x="5" y="218"/>
                </a:cubicBezTo>
                <a:cubicBezTo>
                  <a:pt x="5" y="220"/>
                  <a:pt x="5" y="220"/>
                  <a:pt x="5" y="220"/>
                </a:cubicBezTo>
                <a:cubicBezTo>
                  <a:pt x="0" y="223"/>
                  <a:pt x="0" y="223"/>
                  <a:pt x="0" y="223"/>
                </a:cubicBezTo>
                <a:cubicBezTo>
                  <a:pt x="0" y="893"/>
                  <a:pt x="0" y="893"/>
                  <a:pt x="0" y="893"/>
                </a:cubicBezTo>
                <a:cubicBezTo>
                  <a:pt x="5" y="902"/>
                  <a:pt x="5" y="902"/>
                  <a:pt x="5" y="902"/>
                </a:cubicBezTo>
                <a:cubicBezTo>
                  <a:pt x="237" y="1044"/>
                  <a:pt x="237" y="1044"/>
                  <a:pt x="237" y="1044"/>
                </a:cubicBezTo>
                <a:cubicBezTo>
                  <a:pt x="252" y="1035"/>
                  <a:pt x="252" y="1035"/>
                  <a:pt x="252" y="1035"/>
                </a:cubicBezTo>
                <a:cubicBezTo>
                  <a:pt x="252" y="1034"/>
                  <a:pt x="252" y="1034"/>
                  <a:pt x="252" y="1034"/>
                </a:cubicBezTo>
                <a:cubicBezTo>
                  <a:pt x="624" y="811"/>
                  <a:pt x="624" y="811"/>
                  <a:pt x="624" y="811"/>
                </a:cubicBezTo>
                <a:cubicBezTo>
                  <a:pt x="624" y="150"/>
                  <a:pt x="624" y="150"/>
                  <a:pt x="624" y="150"/>
                </a:cubicBezTo>
                <a:cubicBezTo>
                  <a:pt x="625" y="150"/>
                  <a:pt x="625" y="150"/>
                  <a:pt x="625" y="150"/>
                </a:cubicBezTo>
                <a:lnTo>
                  <a:pt x="625" y="132"/>
                </a:lnTo>
                <a:close/>
                <a:moveTo>
                  <a:pt x="388" y="21"/>
                </a:moveTo>
                <a:cubicBezTo>
                  <a:pt x="600" y="141"/>
                  <a:pt x="600" y="141"/>
                  <a:pt x="600" y="141"/>
                </a:cubicBezTo>
                <a:cubicBezTo>
                  <a:pt x="244" y="340"/>
                  <a:pt x="244" y="340"/>
                  <a:pt x="244" y="340"/>
                </a:cubicBezTo>
                <a:cubicBezTo>
                  <a:pt x="165" y="298"/>
                  <a:pt x="165" y="298"/>
                  <a:pt x="165" y="298"/>
                </a:cubicBezTo>
                <a:cubicBezTo>
                  <a:pt x="34" y="225"/>
                  <a:pt x="34" y="225"/>
                  <a:pt x="34" y="225"/>
                </a:cubicBezTo>
                <a:lnTo>
                  <a:pt x="388" y="21"/>
                </a:lnTo>
                <a:close/>
                <a:moveTo>
                  <a:pt x="156" y="315"/>
                </a:moveTo>
                <a:cubicBezTo>
                  <a:pt x="230" y="357"/>
                  <a:pt x="230" y="357"/>
                  <a:pt x="230" y="357"/>
                </a:cubicBezTo>
                <a:cubicBezTo>
                  <a:pt x="231" y="541"/>
                  <a:pt x="231" y="541"/>
                  <a:pt x="231" y="541"/>
                </a:cubicBezTo>
                <a:cubicBezTo>
                  <a:pt x="20" y="423"/>
                  <a:pt x="20" y="423"/>
                  <a:pt x="20" y="423"/>
                </a:cubicBezTo>
                <a:cubicBezTo>
                  <a:pt x="20" y="244"/>
                  <a:pt x="20" y="244"/>
                  <a:pt x="20" y="244"/>
                </a:cubicBezTo>
                <a:lnTo>
                  <a:pt x="156" y="315"/>
                </a:lnTo>
                <a:close/>
                <a:moveTo>
                  <a:pt x="20" y="446"/>
                </a:moveTo>
                <a:cubicBezTo>
                  <a:pt x="231" y="563"/>
                  <a:pt x="231" y="563"/>
                  <a:pt x="231" y="563"/>
                </a:cubicBezTo>
                <a:cubicBezTo>
                  <a:pt x="231" y="593"/>
                  <a:pt x="231" y="593"/>
                  <a:pt x="231" y="593"/>
                </a:cubicBezTo>
                <a:cubicBezTo>
                  <a:pt x="20" y="475"/>
                  <a:pt x="20" y="475"/>
                  <a:pt x="20" y="475"/>
                </a:cubicBezTo>
                <a:lnTo>
                  <a:pt x="20" y="446"/>
                </a:lnTo>
                <a:close/>
                <a:moveTo>
                  <a:pt x="20" y="498"/>
                </a:moveTo>
                <a:cubicBezTo>
                  <a:pt x="231" y="616"/>
                  <a:pt x="231" y="616"/>
                  <a:pt x="231" y="616"/>
                </a:cubicBezTo>
                <a:cubicBezTo>
                  <a:pt x="231" y="637"/>
                  <a:pt x="231" y="637"/>
                  <a:pt x="231" y="637"/>
                </a:cubicBezTo>
                <a:cubicBezTo>
                  <a:pt x="20" y="519"/>
                  <a:pt x="20" y="519"/>
                  <a:pt x="20" y="519"/>
                </a:cubicBezTo>
                <a:lnTo>
                  <a:pt x="20" y="498"/>
                </a:lnTo>
                <a:close/>
                <a:moveTo>
                  <a:pt x="20" y="887"/>
                </a:moveTo>
                <a:cubicBezTo>
                  <a:pt x="20" y="542"/>
                  <a:pt x="20" y="542"/>
                  <a:pt x="20" y="542"/>
                </a:cubicBezTo>
                <a:cubicBezTo>
                  <a:pt x="231" y="660"/>
                  <a:pt x="231" y="660"/>
                  <a:pt x="231" y="660"/>
                </a:cubicBezTo>
                <a:cubicBezTo>
                  <a:pt x="232" y="1017"/>
                  <a:pt x="232" y="1017"/>
                  <a:pt x="232" y="1017"/>
                </a:cubicBezTo>
                <a:lnTo>
                  <a:pt x="20" y="887"/>
                </a:lnTo>
                <a:close/>
                <a:moveTo>
                  <a:pt x="160" y="746"/>
                </a:moveTo>
                <a:cubicBezTo>
                  <a:pt x="154" y="769"/>
                  <a:pt x="132" y="779"/>
                  <a:pt x="110" y="770"/>
                </a:cubicBezTo>
                <a:cubicBezTo>
                  <a:pt x="89" y="760"/>
                  <a:pt x="77" y="734"/>
                  <a:pt x="84" y="712"/>
                </a:cubicBezTo>
                <a:cubicBezTo>
                  <a:pt x="90" y="689"/>
                  <a:pt x="112" y="679"/>
                  <a:pt x="134" y="688"/>
                </a:cubicBezTo>
                <a:cubicBezTo>
                  <a:pt x="155" y="698"/>
                  <a:pt x="167" y="724"/>
                  <a:pt x="160" y="746"/>
                </a:cubicBezTo>
                <a:close/>
              </a:path>
            </a:pathLst>
          </a:custGeom>
          <a:solidFill>
            <a:schemeClr val="accent1"/>
          </a:solidFill>
          <a:ln>
            <a:noFill/>
          </a:ln>
          <a:extLst/>
        </p:spPr>
        <p:txBody>
          <a:bodyPr lIns="68564" tIns="34282" rIns="68564" bIns="34282"/>
          <a:lstStyle/>
          <a:p>
            <a:pPr defTabSz="699406">
              <a:defRPr/>
            </a:pPr>
            <a:endParaRPr lang="en-US" sz="1836">
              <a:solidFill>
                <a:srgbClr val="000000"/>
              </a:solidFill>
            </a:endParaRPr>
          </a:p>
        </p:txBody>
      </p:sp>
      <p:sp>
        <p:nvSpPr>
          <p:cNvPr id="17" name="hyperV2"/>
          <p:cNvSpPr>
            <a:spLocks noChangeAspect="1" noEditPoints="1"/>
          </p:cNvSpPr>
          <p:nvPr/>
        </p:nvSpPr>
        <p:spPr bwMode="auto">
          <a:xfrm>
            <a:off x="7718215" y="4869323"/>
            <a:ext cx="969760" cy="1615727"/>
          </a:xfrm>
          <a:custGeom>
            <a:avLst/>
            <a:gdLst>
              <a:gd name="T0" fmla="*/ 625 w 625"/>
              <a:gd name="T1" fmla="*/ 132 h 1044"/>
              <a:gd name="T2" fmla="*/ 393 w 625"/>
              <a:gd name="T3" fmla="*/ 0 h 1044"/>
              <a:gd name="T4" fmla="*/ 383 w 625"/>
              <a:gd name="T5" fmla="*/ 0 h 1044"/>
              <a:gd name="T6" fmla="*/ 5 w 625"/>
              <a:gd name="T7" fmla="*/ 218 h 1044"/>
              <a:gd name="T8" fmla="*/ 5 w 625"/>
              <a:gd name="T9" fmla="*/ 220 h 1044"/>
              <a:gd name="T10" fmla="*/ 0 w 625"/>
              <a:gd name="T11" fmla="*/ 223 h 1044"/>
              <a:gd name="T12" fmla="*/ 0 w 625"/>
              <a:gd name="T13" fmla="*/ 893 h 1044"/>
              <a:gd name="T14" fmla="*/ 5 w 625"/>
              <a:gd name="T15" fmla="*/ 902 h 1044"/>
              <a:gd name="T16" fmla="*/ 237 w 625"/>
              <a:gd name="T17" fmla="*/ 1044 h 1044"/>
              <a:gd name="T18" fmla="*/ 252 w 625"/>
              <a:gd name="T19" fmla="*/ 1035 h 1044"/>
              <a:gd name="T20" fmla="*/ 252 w 625"/>
              <a:gd name="T21" fmla="*/ 1034 h 1044"/>
              <a:gd name="T22" fmla="*/ 624 w 625"/>
              <a:gd name="T23" fmla="*/ 811 h 1044"/>
              <a:gd name="T24" fmla="*/ 624 w 625"/>
              <a:gd name="T25" fmla="*/ 150 h 1044"/>
              <a:gd name="T26" fmla="*/ 625 w 625"/>
              <a:gd name="T27" fmla="*/ 150 h 1044"/>
              <a:gd name="T28" fmla="*/ 625 w 625"/>
              <a:gd name="T29" fmla="*/ 132 h 1044"/>
              <a:gd name="T30" fmla="*/ 388 w 625"/>
              <a:gd name="T31" fmla="*/ 21 h 1044"/>
              <a:gd name="T32" fmla="*/ 600 w 625"/>
              <a:gd name="T33" fmla="*/ 141 h 1044"/>
              <a:gd name="T34" fmla="*/ 244 w 625"/>
              <a:gd name="T35" fmla="*/ 340 h 1044"/>
              <a:gd name="T36" fmla="*/ 165 w 625"/>
              <a:gd name="T37" fmla="*/ 298 h 1044"/>
              <a:gd name="T38" fmla="*/ 34 w 625"/>
              <a:gd name="T39" fmla="*/ 225 h 1044"/>
              <a:gd name="T40" fmla="*/ 388 w 625"/>
              <a:gd name="T41" fmla="*/ 21 h 1044"/>
              <a:gd name="T42" fmla="*/ 156 w 625"/>
              <a:gd name="T43" fmla="*/ 315 h 1044"/>
              <a:gd name="T44" fmla="*/ 230 w 625"/>
              <a:gd name="T45" fmla="*/ 357 h 1044"/>
              <a:gd name="T46" fmla="*/ 231 w 625"/>
              <a:gd name="T47" fmla="*/ 541 h 1044"/>
              <a:gd name="T48" fmla="*/ 20 w 625"/>
              <a:gd name="T49" fmla="*/ 423 h 1044"/>
              <a:gd name="T50" fmla="*/ 20 w 625"/>
              <a:gd name="T51" fmla="*/ 244 h 1044"/>
              <a:gd name="T52" fmla="*/ 156 w 625"/>
              <a:gd name="T53" fmla="*/ 315 h 1044"/>
              <a:gd name="T54" fmla="*/ 20 w 625"/>
              <a:gd name="T55" fmla="*/ 446 h 1044"/>
              <a:gd name="T56" fmla="*/ 231 w 625"/>
              <a:gd name="T57" fmla="*/ 563 h 1044"/>
              <a:gd name="T58" fmla="*/ 231 w 625"/>
              <a:gd name="T59" fmla="*/ 593 h 1044"/>
              <a:gd name="T60" fmla="*/ 20 w 625"/>
              <a:gd name="T61" fmla="*/ 475 h 1044"/>
              <a:gd name="T62" fmla="*/ 20 w 625"/>
              <a:gd name="T63" fmla="*/ 446 h 1044"/>
              <a:gd name="T64" fmla="*/ 20 w 625"/>
              <a:gd name="T65" fmla="*/ 498 h 1044"/>
              <a:gd name="T66" fmla="*/ 231 w 625"/>
              <a:gd name="T67" fmla="*/ 616 h 1044"/>
              <a:gd name="T68" fmla="*/ 231 w 625"/>
              <a:gd name="T69" fmla="*/ 637 h 1044"/>
              <a:gd name="T70" fmla="*/ 20 w 625"/>
              <a:gd name="T71" fmla="*/ 519 h 1044"/>
              <a:gd name="T72" fmla="*/ 20 w 625"/>
              <a:gd name="T73" fmla="*/ 498 h 1044"/>
              <a:gd name="T74" fmla="*/ 20 w 625"/>
              <a:gd name="T75" fmla="*/ 887 h 1044"/>
              <a:gd name="T76" fmla="*/ 20 w 625"/>
              <a:gd name="T77" fmla="*/ 542 h 1044"/>
              <a:gd name="T78" fmla="*/ 231 w 625"/>
              <a:gd name="T79" fmla="*/ 660 h 1044"/>
              <a:gd name="T80" fmla="*/ 232 w 625"/>
              <a:gd name="T81" fmla="*/ 1017 h 1044"/>
              <a:gd name="T82" fmla="*/ 20 w 625"/>
              <a:gd name="T83" fmla="*/ 887 h 1044"/>
              <a:gd name="T84" fmla="*/ 160 w 625"/>
              <a:gd name="T85" fmla="*/ 746 h 1044"/>
              <a:gd name="T86" fmla="*/ 110 w 625"/>
              <a:gd name="T87" fmla="*/ 770 h 1044"/>
              <a:gd name="T88" fmla="*/ 84 w 625"/>
              <a:gd name="T89" fmla="*/ 712 h 1044"/>
              <a:gd name="T90" fmla="*/ 134 w 625"/>
              <a:gd name="T91" fmla="*/ 688 h 1044"/>
              <a:gd name="T92" fmla="*/ 160 w 625"/>
              <a:gd name="T93" fmla="*/ 746 h 10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625" h="1044">
                <a:moveTo>
                  <a:pt x="625" y="132"/>
                </a:moveTo>
                <a:cubicBezTo>
                  <a:pt x="393" y="0"/>
                  <a:pt x="393" y="0"/>
                  <a:pt x="393" y="0"/>
                </a:cubicBezTo>
                <a:cubicBezTo>
                  <a:pt x="383" y="0"/>
                  <a:pt x="383" y="0"/>
                  <a:pt x="383" y="0"/>
                </a:cubicBezTo>
                <a:cubicBezTo>
                  <a:pt x="5" y="218"/>
                  <a:pt x="5" y="218"/>
                  <a:pt x="5" y="218"/>
                </a:cubicBezTo>
                <a:cubicBezTo>
                  <a:pt x="5" y="220"/>
                  <a:pt x="5" y="220"/>
                  <a:pt x="5" y="220"/>
                </a:cubicBezTo>
                <a:cubicBezTo>
                  <a:pt x="0" y="223"/>
                  <a:pt x="0" y="223"/>
                  <a:pt x="0" y="223"/>
                </a:cubicBezTo>
                <a:cubicBezTo>
                  <a:pt x="0" y="893"/>
                  <a:pt x="0" y="893"/>
                  <a:pt x="0" y="893"/>
                </a:cubicBezTo>
                <a:cubicBezTo>
                  <a:pt x="5" y="902"/>
                  <a:pt x="5" y="902"/>
                  <a:pt x="5" y="902"/>
                </a:cubicBezTo>
                <a:cubicBezTo>
                  <a:pt x="237" y="1044"/>
                  <a:pt x="237" y="1044"/>
                  <a:pt x="237" y="1044"/>
                </a:cubicBezTo>
                <a:cubicBezTo>
                  <a:pt x="252" y="1035"/>
                  <a:pt x="252" y="1035"/>
                  <a:pt x="252" y="1035"/>
                </a:cubicBezTo>
                <a:cubicBezTo>
                  <a:pt x="252" y="1034"/>
                  <a:pt x="252" y="1034"/>
                  <a:pt x="252" y="1034"/>
                </a:cubicBezTo>
                <a:cubicBezTo>
                  <a:pt x="624" y="811"/>
                  <a:pt x="624" y="811"/>
                  <a:pt x="624" y="811"/>
                </a:cubicBezTo>
                <a:cubicBezTo>
                  <a:pt x="624" y="150"/>
                  <a:pt x="624" y="150"/>
                  <a:pt x="624" y="150"/>
                </a:cubicBezTo>
                <a:cubicBezTo>
                  <a:pt x="625" y="150"/>
                  <a:pt x="625" y="150"/>
                  <a:pt x="625" y="150"/>
                </a:cubicBezTo>
                <a:lnTo>
                  <a:pt x="625" y="132"/>
                </a:lnTo>
                <a:close/>
                <a:moveTo>
                  <a:pt x="388" y="21"/>
                </a:moveTo>
                <a:cubicBezTo>
                  <a:pt x="600" y="141"/>
                  <a:pt x="600" y="141"/>
                  <a:pt x="600" y="141"/>
                </a:cubicBezTo>
                <a:cubicBezTo>
                  <a:pt x="244" y="340"/>
                  <a:pt x="244" y="340"/>
                  <a:pt x="244" y="340"/>
                </a:cubicBezTo>
                <a:cubicBezTo>
                  <a:pt x="165" y="298"/>
                  <a:pt x="165" y="298"/>
                  <a:pt x="165" y="298"/>
                </a:cubicBezTo>
                <a:cubicBezTo>
                  <a:pt x="34" y="225"/>
                  <a:pt x="34" y="225"/>
                  <a:pt x="34" y="225"/>
                </a:cubicBezTo>
                <a:lnTo>
                  <a:pt x="388" y="21"/>
                </a:lnTo>
                <a:close/>
                <a:moveTo>
                  <a:pt x="156" y="315"/>
                </a:moveTo>
                <a:cubicBezTo>
                  <a:pt x="230" y="357"/>
                  <a:pt x="230" y="357"/>
                  <a:pt x="230" y="357"/>
                </a:cubicBezTo>
                <a:cubicBezTo>
                  <a:pt x="231" y="541"/>
                  <a:pt x="231" y="541"/>
                  <a:pt x="231" y="541"/>
                </a:cubicBezTo>
                <a:cubicBezTo>
                  <a:pt x="20" y="423"/>
                  <a:pt x="20" y="423"/>
                  <a:pt x="20" y="423"/>
                </a:cubicBezTo>
                <a:cubicBezTo>
                  <a:pt x="20" y="244"/>
                  <a:pt x="20" y="244"/>
                  <a:pt x="20" y="244"/>
                </a:cubicBezTo>
                <a:lnTo>
                  <a:pt x="156" y="315"/>
                </a:lnTo>
                <a:close/>
                <a:moveTo>
                  <a:pt x="20" y="446"/>
                </a:moveTo>
                <a:cubicBezTo>
                  <a:pt x="231" y="563"/>
                  <a:pt x="231" y="563"/>
                  <a:pt x="231" y="563"/>
                </a:cubicBezTo>
                <a:cubicBezTo>
                  <a:pt x="231" y="593"/>
                  <a:pt x="231" y="593"/>
                  <a:pt x="231" y="593"/>
                </a:cubicBezTo>
                <a:cubicBezTo>
                  <a:pt x="20" y="475"/>
                  <a:pt x="20" y="475"/>
                  <a:pt x="20" y="475"/>
                </a:cubicBezTo>
                <a:lnTo>
                  <a:pt x="20" y="446"/>
                </a:lnTo>
                <a:close/>
                <a:moveTo>
                  <a:pt x="20" y="498"/>
                </a:moveTo>
                <a:cubicBezTo>
                  <a:pt x="231" y="616"/>
                  <a:pt x="231" y="616"/>
                  <a:pt x="231" y="616"/>
                </a:cubicBezTo>
                <a:cubicBezTo>
                  <a:pt x="231" y="637"/>
                  <a:pt x="231" y="637"/>
                  <a:pt x="231" y="637"/>
                </a:cubicBezTo>
                <a:cubicBezTo>
                  <a:pt x="20" y="519"/>
                  <a:pt x="20" y="519"/>
                  <a:pt x="20" y="519"/>
                </a:cubicBezTo>
                <a:lnTo>
                  <a:pt x="20" y="498"/>
                </a:lnTo>
                <a:close/>
                <a:moveTo>
                  <a:pt x="20" y="887"/>
                </a:moveTo>
                <a:cubicBezTo>
                  <a:pt x="20" y="542"/>
                  <a:pt x="20" y="542"/>
                  <a:pt x="20" y="542"/>
                </a:cubicBezTo>
                <a:cubicBezTo>
                  <a:pt x="231" y="660"/>
                  <a:pt x="231" y="660"/>
                  <a:pt x="231" y="660"/>
                </a:cubicBezTo>
                <a:cubicBezTo>
                  <a:pt x="232" y="1017"/>
                  <a:pt x="232" y="1017"/>
                  <a:pt x="232" y="1017"/>
                </a:cubicBezTo>
                <a:lnTo>
                  <a:pt x="20" y="887"/>
                </a:lnTo>
                <a:close/>
                <a:moveTo>
                  <a:pt x="160" y="746"/>
                </a:moveTo>
                <a:cubicBezTo>
                  <a:pt x="154" y="769"/>
                  <a:pt x="132" y="779"/>
                  <a:pt x="110" y="770"/>
                </a:cubicBezTo>
                <a:cubicBezTo>
                  <a:pt x="89" y="760"/>
                  <a:pt x="77" y="734"/>
                  <a:pt x="84" y="712"/>
                </a:cubicBezTo>
                <a:cubicBezTo>
                  <a:pt x="90" y="689"/>
                  <a:pt x="112" y="679"/>
                  <a:pt x="134" y="688"/>
                </a:cubicBezTo>
                <a:cubicBezTo>
                  <a:pt x="155" y="698"/>
                  <a:pt x="167" y="724"/>
                  <a:pt x="160" y="746"/>
                </a:cubicBezTo>
                <a:close/>
              </a:path>
            </a:pathLst>
          </a:custGeom>
          <a:solidFill>
            <a:schemeClr val="accent1"/>
          </a:solidFill>
          <a:ln>
            <a:noFill/>
          </a:ln>
          <a:extLst/>
        </p:spPr>
        <p:txBody>
          <a:bodyPr lIns="68564" tIns="34282" rIns="68564" bIns="34282"/>
          <a:lstStyle/>
          <a:p>
            <a:pPr defTabSz="699406">
              <a:defRPr/>
            </a:pPr>
            <a:endParaRPr lang="en-US" sz="1836">
              <a:solidFill>
                <a:srgbClr val="000000"/>
              </a:solidFill>
            </a:endParaRPr>
          </a:p>
        </p:txBody>
      </p:sp>
      <p:sp>
        <p:nvSpPr>
          <p:cNvPr id="18" name="hyperV2"/>
          <p:cNvSpPr>
            <a:spLocks noChangeAspect="1" noEditPoints="1"/>
          </p:cNvSpPr>
          <p:nvPr/>
        </p:nvSpPr>
        <p:spPr bwMode="auto">
          <a:xfrm>
            <a:off x="8746262" y="4984268"/>
            <a:ext cx="968141" cy="1615727"/>
          </a:xfrm>
          <a:custGeom>
            <a:avLst/>
            <a:gdLst>
              <a:gd name="T0" fmla="*/ 625 w 625"/>
              <a:gd name="T1" fmla="*/ 132 h 1044"/>
              <a:gd name="T2" fmla="*/ 393 w 625"/>
              <a:gd name="T3" fmla="*/ 0 h 1044"/>
              <a:gd name="T4" fmla="*/ 383 w 625"/>
              <a:gd name="T5" fmla="*/ 0 h 1044"/>
              <a:gd name="T6" fmla="*/ 5 w 625"/>
              <a:gd name="T7" fmla="*/ 218 h 1044"/>
              <a:gd name="T8" fmla="*/ 5 w 625"/>
              <a:gd name="T9" fmla="*/ 220 h 1044"/>
              <a:gd name="T10" fmla="*/ 0 w 625"/>
              <a:gd name="T11" fmla="*/ 223 h 1044"/>
              <a:gd name="T12" fmla="*/ 0 w 625"/>
              <a:gd name="T13" fmla="*/ 893 h 1044"/>
              <a:gd name="T14" fmla="*/ 5 w 625"/>
              <a:gd name="T15" fmla="*/ 902 h 1044"/>
              <a:gd name="T16" fmla="*/ 237 w 625"/>
              <a:gd name="T17" fmla="*/ 1044 h 1044"/>
              <a:gd name="T18" fmla="*/ 252 w 625"/>
              <a:gd name="T19" fmla="*/ 1035 h 1044"/>
              <a:gd name="T20" fmla="*/ 252 w 625"/>
              <a:gd name="T21" fmla="*/ 1034 h 1044"/>
              <a:gd name="T22" fmla="*/ 624 w 625"/>
              <a:gd name="T23" fmla="*/ 811 h 1044"/>
              <a:gd name="T24" fmla="*/ 624 w 625"/>
              <a:gd name="T25" fmla="*/ 150 h 1044"/>
              <a:gd name="T26" fmla="*/ 625 w 625"/>
              <a:gd name="T27" fmla="*/ 150 h 1044"/>
              <a:gd name="T28" fmla="*/ 625 w 625"/>
              <a:gd name="T29" fmla="*/ 132 h 1044"/>
              <a:gd name="T30" fmla="*/ 388 w 625"/>
              <a:gd name="T31" fmla="*/ 21 h 1044"/>
              <a:gd name="T32" fmla="*/ 600 w 625"/>
              <a:gd name="T33" fmla="*/ 141 h 1044"/>
              <a:gd name="T34" fmla="*/ 244 w 625"/>
              <a:gd name="T35" fmla="*/ 340 h 1044"/>
              <a:gd name="T36" fmla="*/ 165 w 625"/>
              <a:gd name="T37" fmla="*/ 298 h 1044"/>
              <a:gd name="T38" fmla="*/ 34 w 625"/>
              <a:gd name="T39" fmla="*/ 225 h 1044"/>
              <a:gd name="T40" fmla="*/ 388 w 625"/>
              <a:gd name="T41" fmla="*/ 21 h 1044"/>
              <a:gd name="T42" fmla="*/ 156 w 625"/>
              <a:gd name="T43" fmla="*/ 315 h 1044"/>
              <a:gd name="T44" fmla="*/ 230 w 625"/>
              <a:gd name="T45" fmla="*/ 357 h 1044"/>
              <a:gd name="T46" fmla="*/ 231 w 625"/>
              <a:gd name="T47" fmla="*/ 541 h 1044"/>
              <a:gd name="T48" fmla="*/ 20 w 625"/>
              <a:gd name="T49" fmla="*/ 423 h 1044"/>
              <a:gd name="T50" fmla="*/ 20 w 625"/>
              <a:gd name="T51" fmla="*/ 244 h 1044"/>
              <a:gd name="T52" fmla="*/ 156 w 625"/>
              <a:gd name="T53" fmla="*/ 315 h 1044"/>
              <a:gd name="T54" fmla="*/ 20 w 625"/>
              <a:gd name="T55" fmla="*/ 446 h 1044"/>
              <a:gd name="T56" fmla="*/ 231 w 625"/>
              <a:gd name="T57" fmla="*/ 563 h 1044"/>
              <a:gd name="T58" fmla="*/ 231 w 625"/>
              <a:gd name="T59" fmla="*/ 593 h 1044"/>
              <a:gd name="T60" fmla="*/ 20 w 625"/>
              <a:gd name="T61" fmla="*/ 475 h 1044"/>
              <a:gd name="T62" fmla="*/ 20 w 625"/>
              <a:gd name="T63" fmla="*/ 446 h 1044"/>
              <a:gd name="T64" fmla="*/ 20 w 625"/>
              <a:gd name="T65" fmla="*/ 498 h 1044"/>
              <a:gd name="T66" fmla="*/ 231 w 625"/>
              <a:gd name="T67" fmla="*/ 616 h 1044"/>
              <a:gd name="T68" fmla="*/ 231 w 625"/>
              <a:gd name="T69" fmla="*/ 637 h 1044"/>
              <a:gd name="T70" fmla="*/ 20 w 625"/>
              <a:gd name="T71" fmla="*/ 519 h 1044"/>
              <a:gd name="T72" fmla="*/ 20 w 625"/>
              <a:gd name="T73" fmla="*/ 498 h 1044"/>
              <a:gd name="T74" fmla="*/ 20 w 625"/>
              <a:gd name="T75" fmla="*/ 887 h 1044"/>
              <a:gd name="T76" fmla="*/ 20 w 625"/>
              <a:gd name="T77" fmla="*/ 542 h 1044"/>
              <a:gd name="T78" fmla="*/ 231 w 625"/>
              <a:gd name="T79" fmla="*/ 660 h 1044"/>
              <a:gd name="T80" fmla="*/ 232 w 625"/>
              <a:gd name="T81" fmla="*/ 1017 h 1044"/>
              <a:gd name="T82" fmla="*/ 20 w 625"/>
              <a:gd name="T83" fmla="*/ 887 h 1044"/>
              <a:gd name="T84" fmla="*/ 160 w 625"/>
              <a:gd name="T85" fmla="*/ 746 h 1044"/>
              <a:gd name="T86" fmla="*/ 110 w 625"/>
              <a:gd name="T87" fmla="*/ 770 h 1044"/>
              <a:gd name="T88" fmla="*/ 84 w 625"/>
              <a:gd name="T89" fmla="*/ 712 h 1044"/>
              <a:gd name="T90" fmla="*/ 134 w 625"/>
              <a:gd name="T91" fmla="*/ 688 h 1044"/>
              <a:gd name="T92" fmla="*/ 160 w 625"/>
              <a:gd name="T93" fmla="*/ 746 h 10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625" h="1044">
                <a:moveTo>
                  <a:pt x="625" y="132"/>
                </a:moveTo>
                <a:cubicBezTo>
                  <a:pt x="393" y="0"/>
                  <a:pt x="393" y="0"/>
                  <a:pt x="393" y="0"/>
                </a:cubicBezTo>
                <a:cubicBezTo>
                  <a:pt x="383" y="0"/>
                  <a:pt x="383" y="0"/>
                  <a:pt x="383" y="0"/>
                </a:cubicBezTo>
                <a:cubicBezTo>
                  <a:pt x="5" y="218"/>
                  <a:pt x="5" y="218"/>
                  <a:pt x="5" y="218"/>
                </a:cubicBezTo>
                <a:cubicBezTo>
                  <a:pt x="5" y="220"/>
                  <a:pt x="5" y="220"/>
                  <a:pt x="5" y="220"/>
                </a:cubicBezTo>
                <a:cubicBezTo>
                  <a:pt x="0" y="223"/>
                  <a:pt x="0" y="223"/>
                  <a:pt x="0" y="223"/>
                </a:cubicBezTo>
                <a:cubicBezTo>
                  <a:pt x="0" y="893"/>
                  <a:pt x="0" y="893"/>
                  <a:pt x="0" y="893"/>
                </a:cubicBezTo>
                <a:cubicBezTo>
                  <a:pt x="5" y="902"/>
                  <a:pt x="5" y="902"/>
                  <a:pt x="5" y="902"/>
                </a:cubicBezTo>
                <a:cubicBezTo>
                  <a:pt x="237" y="1044"/>
                  <a:pt x="237" y="1044"/>
                  <a:pt x="237" y="1044"/>
                </a:cubicBezTo>
                <a:cubicBezTo>
                  <a:pt x="252" y="1035"/>
                  <a:pt x="252" y="1035"/>
                  <a:pt x="252" y="1035"/>
                </a:cubicBezTo>
                <a:cubicBezTo>
                  <a:pt x="252" y="1034"/>
                  <a:pt x="252" y="1034"/>
                  <a:pt x="252" y="1034"/>
                </a:cubicBezTo>
                <a:cubicBezTo>
                  <a:pt x="624" y="811"/>
                  <a:pt x="624" y="811"/>
                  <a:pt x="624" y="811"/>
                </a:cubicBezTo>
                <a:cubicBezTo>
                  <a:pt x="624" y="150"/>
                  <a:pt x="624" y="150"/>
                  <a:pt x="624" y="150"/>
                </a:cubicBezTo>
                <a:cubicBezTo>
                  <a:pt x="625" y="150"/>
                  <a:pt x="625" y="150"/>
                  <a:pt x="625" y="150"/>
                </a:cubicBezTo>
                <a:lnTo>
                  <a:pt x="625" y="132"/>
                </a:lnTo>
                <a:close/>
                <a:moveTo>
                  <a:pt x="388" y="21"/>
                </a:moveTo>
                <a:cubicBezTo>
                  <a:pt x="600" y="141"/>
                  <a:pt x="600" y="141"/>
                  <a:pt x="600" y="141"/>
                </a:cubicBezTo>
                <a:cubicBezTo>
                  <a:pt x="244" y="340"/>
                  <a:pt x="244" y="340"/>
                  <a:pt x="244" y="340"/>
                </a:cubicBezTo>
                <a:cubicBezTo>
                  <a:pt x="165" y="298"/>
                  <a:pt x="165" y="298"/>
                  <a:pt x="165" y="298"/>
                </a:cubicBezTo>
                <a:cubicBezTo>
                  <a:pt x="34" y="225"/>
                  <a:pt x="34" y="225"/>
                  <a:pt x="34" y="225"/>
                </a:cubicBezTo>
                <a:lnTo>
                  <a:pt x="388" y="21"/>
                </a:lnTo>
                <a:close/>
                <a:moveTo>
                  <a:pt x="156" y="315"/>
                </a:moveTo>
                <a:cubicBezTo>
                  <a:pt x="230" y="357"/>
                  <a:pt x="230" y="357"/>
                  <a:pt x="230" y="357"/>
                </a:cubicBezTo>
                <a:cubicBezTo>
                  <a:pt x="231" y="541"/>
                  <a:pt x="231" y="541"/>
                  <a:pt x="231" y="541"/>
                </a:cubicBezTo>
                <a:cubicBezTo>
                  <a:pt x="20" y="423"/>
                  <a:pt x="20" y="423"/>
                  <a:pt x="20" y="423"/>
                </a:cubicBezTo>
                <a:cubicBezTo>
                  <a:pt x="20" y="244"/>
                  <a:pt x="20" y="244"/>
                  <a:pt x="20" y="244"/>
                </a:cubicBezTo>
                <a:lnTo>
                  <a:pt x="156" y="315"/>
                </a:lnTo>
                <a:close/>
                <a:moveTo>
                  <a:pt x="20" y="446"/>
                </a:moveTo>
                <a:cubicBezTo>
                  <a:pt x="231" y="563"/>
                  <a:pt x="231" y="563"/>
                  <a:pt x="231" y="563"/>
                </a:cubicBezTo>
                <a:cubicBezTo>
                  <a:pt x="231" y="593"/>
                  <a:pt x="231" y="593"/>
                  <a:pt x="231" y="593"/>
                </a:cubicBezTo>
                <a:cubicBezTo>
                  <a:pt x="20" y="475"/>
                  <a:pt x="20" y="475"/>
                  <a:pt x="20" y="475"/>
                </a:cubicBezTo>
                <a:lnTo>
                  <a:pt x="20" y="446"/>
                </a:lnTo>
                <a:close/>
                <a:moveTo>
                  <a:pt x="20" y="498"/>
                </a:moveTo>
                <a:cubicBezTo>
                  <a:pt x="231" y="616"/>
                  <a:pt x="231" y="616"/>
                  <a:pt x="231" y="616"/>
                </a:cubicBezTo>
                <a:cubicBezTo>
                  <a:pt x="231" y="637"/>
                  <a:pt x="231" y="637"/>
                  <a:pt x="231" y="637"/>
                </a:cubicBezTo>
                <a:cubicBezTo>
                  <a:pt x="20" y="519"/>
                  <a:pt x="20" y="519"/>
                  <a:pt x="20" y="519"/>
                </a:cubicBezTo>
                <a:lnTo>
                  <a:pt x="20" y="498"/>
                </a:lnTo>
                <a:close/>
                <a:moveTo>
                  <a:pt x="20" y="887"/>
                </a:moveTo>
                <a:cubicBezTo>
                  <a:pt x="20" y="542"/>
                  <a:pt x="20" y="542"/>
                  <a:pt x="20" y="542"/>
                </a:cubicBezTo>
                <a:cubicBezTo>
                  <a:pt x="231" y="660"/>
                  <a:pt x="231" y="660"/>
                  <a:pt x="231" y="660"/>
                </a:cubicBezTo>
                <a:cubicBezTo>
                  <a:pt x="232" y="1017"/>
                  <a:pt x="232" y="1017"/>
                  <a:pt x="232" y="1017"/>
                </a:cubicBezTo>
                <a:lnTo>
                  <a:pt x="20" y="887"/>
                </a:lnTo>
                <a:close/>
                <a:moveTo>
                  <a:pt x="160" y="746"/>
                </a:moveTo>
                <a:cubicBezTo>
                  <a:pt x="154" y="769"/>
                  <a:pt x="132" y="779"/>
                  <a:pt x="110" y="770"/>
                </a:cubicBezTo>
                <a:cubicBezTo>
                  <a:pt x="89" y="760"/>
                  <a:pt x="77" y="734"/>
                  <a:pt x="84" y="712"/>
                </a:cubicBezTo>
                <a:cubicBezTo>
                  <a:pt x="90" y="689"/>
                  <a:pt x="112" y="679"/>
                  <a:pt x="134" y="688"/>
                </a:cubicBezTo>
                <a:cubicBezTo>
                  <a:pt x="155" y="698"/>
                  <a:pt x="167" y="724"/>
                  <a:pt x="160" y="746"/>
                </a:cubicBezTo>
                <a:close/>
              </a:path>
            </a:pathLst>
          </a:custGeom>
          <a:solidFill>
            <a:schemeClr val="accent1"/>
          </a:solidFill>
          <a:ln>
            <a:noFill/>
          </a:ln>
          <a:extLst/>
        </p:spPr>
        <p:txBody>
          <a:bodyPr lIns="68564" tIns="34282" rIns="68564" bIns="34282"/>
          <a:lstStyle/>
          <a:p>
            <a:pPr defTabSz="699406">
              <a:defRPr/>
            </a:pPr>
            <a:endParaRPr lang="en-US" sz="1836">
              <a:solidFill>
                <a:srgbClr val="000000"/>
              </a:solidFill>
            </a:endParaRPr>
          </a:p>
        </p:txBody>
      </p:sp>
      <p:sp>
        <p:nvSpPr>
          <p:cNvPr id="19" name="hyperV2"/>
          <p:cNvSpPr>
            <a:spLocks noChangeAspect="1" noEditPoints="1"/>
          </p:cNvSpPr>
          <p:nvPr/>
        </p:nvSpPr>
        <p:spPr bwMode="auto">
          <a:xfrm>
            <a:off x="9774299" y="4799707"/>
            <a:ext cx="969760" cy="1615727"/>
          </a:xfrm>
          <a:custGeom>
            <a:avLst/>
            <a:gdLst>
              <a:gd name="T0" fmla="*/ 625 w 625"/>
              <a:gd name="T1" fmla="*/ 132 h 1044"/>
              <a:gd name="T2" fmla="*/ 393 w 625"/>
              <a:gd name="T3" fmla="*/ 0 h 1044"/>
              <a:gd name="T4" fmla="*/ 383 w 625"/>
              <a:gd name="T5" fmla="*/ 0 h 1044"/>
              <a:gd name="T6" fmla="*/ 5 w 625"/>
              <a:gd name="T7" fmla="*/ 218 h 1044"/>
              <a:gd name="T8" fmla="*/ 5 w 625"/>
              <a:gd name="T9" fmla="*/ 220 h 1044"/>
              <a:gd name="T10" fmla="*/ 0 w 625"/>
              <a:gd name="T11" fmla="*/ 223 h 1044"/>
              <a:gd name="T12" fmla="*/ 0 w 625"/>
              <a:gd name="T13" fmla="*/ 893 h 1044"/>
              <a:gd name="T14" fmla="*/ 5 w 625"/>
              <a:gd name="T15" fmla="*/ 902 h 1044"/>
              <a:gd name="T16" fmla="*/ 237 w 625"/>
              <a:gd name="T17" fmla="*/ 1044 h 1044"/>
              <a:gd name="T18" fmla="*/ 252 w 625"/>
              <a:gd name="T19" fmla="*/ 1035 h 1044"/>
              <a:gd name="T20" fmla="*/ 252 w 625"/>
              <a:gd name="T21" fmla="*/ 1034 h 1044"/>
              <a:gd name="T22" fmla="*/ 624 w 625"/>
              <a:gd name="T23" fmla="*/ 811 h 1044"/>
              <a:gd name="T24" fmla="*/ 624 w 625"/>
              <a:gd name="T25" fmla="*/ 150 h 1044"/>
              <a:gd name="T26" fmla="*/ 625 w 625"/>
              <a:gd name="T27" fmla="*/ 150 h 1044"/>
              <a:gd name="T28" fmla="*/ 625 w 625"/>
              <a:gd name="T29" fmla="*/ 132 h 1044"/>
              <a:gd name="T30" fmla="*/ 388 w 625"/>
              <a:gd name="T31" fmla="*/ 21 h 1044"/>
              <a:gd name="T32" fmla="*/ 600 w 625"/>
              <a:gd name="T33" fmla="*/ 141 h 1044"/>
              <a:gd name="T34" fmla="*/ 244 w 625"/>
              <a:gd name="T35" fmla="*/ 340 h 1044"/>
              <a:gd name="T36" fmla="*/ 165 w 625"/>
              <a:gd name="T37" fmla="*/ 298 h 1044"/>
              <a:gd name="T38" fmla="*/ 34 w 625"/>
              <a:gd name="T39" fmla="*/ 225 h 1044"/>
              <a:gd name="T40" fmla="*/ 388 w 625"/>
              <a:gd name="T41" fmla="*/ 21 h 1044"/>
              <a:gd name="T42" fmla="*/ 156 w 625"/>
              <a:gd name="T43" fmla="*/ 315 h 1044"/>
              <a:gd name="T44" fmla="*/ 230 w 625"/>
              <a:gd name="T45" fmla="*/ 357 h 1044"/>
              <a:gd name="T46" fmla="*/ 231 w 625"/>
              <a:gd name="T47" fmla="*/ 541 h 1044"/>
              <a:gd name="T48" fmla="*/ 20 w 625"/>
              <a:gd name="T49" fmla="*/ 423 h 1044"/>
              <a:gd name="T50" fmla="*/ 20 w 625"/>
              <a:gd name="T51" fmla="*/ 244 h 1044"/>
              <a:gd name="T52" fmla="*/ 156 w 625"/>
              <a:gd name="T53" fmla="*/ 315 h 1044"/>
              <a:gd name="T54" fmla="*/ 20 w 625"/>
              <a:gd name="T55" fmla="*/ 446 h 1044"/>
              <a:gd name="T56" fmla="*/ 231 w 625"/>
              <a:gd name="T57" fmla="*/ 563 h 1044"/>
              <a:gd name="T58" fmla="*/ 231 w 625"/>
              <a:gd name="T59" fmla="*/ 593 h 1044"/>
              <a:gd name="T60" fmla="*/ 20 w 625"/>
              <a:gd name="T61" fmla="*/ 475 h 1044"/>
              <a:gd name="T62" fmla="*/ 20 w 625"/>
              <a:gd name="T63" fmla="*/ 446 h 1044"/>
              <a:gd name="T64" fmla="*/ 20 w 625"/>
              <a:gd name="T65" fmla="*/ 498 h 1044"/>
              <a:gd name="T66" fmla="*/ 231 w 625"/>
              <a:gd name="T67" fmla="*/ 616 h 1044"/>
              <a:gd name="T68" fmla="*/ 231 w 625"/>
              <a:gd name="T69" fmla="*/ 637 h 1044"/>
              <a:gd name="T70" fmla="*/ 20 w 625"/>
              <a:gd name="T71" fmla="*/ 519 h 1044"/>
              <a:gd name="T72" fmla="*/ 20 w 625"/>
              <a:gd name="T73" fmla="*/ 498 h 1044"/>
              <a:gd name="T74" fmla="*/ 20 w 625"/>
              <a:gd name="T75" fmla="*/ 887 h 1044"/>
              <a:gd name="T76" fmla="*/ 20 w 625"/>
              <a:gd name="T77" fmla="*/ 542 h 1044"/>
              <a:gd name="T78" fmla="*/ 231 w 625"/>
              <a:gd name="T79" fmla="*/ 660 h 1044"/>
              <a:gd name="T80" fmla="*/ 232 w 625"/>
              <a:gd name="T81" fmla="*/ 1017 h 1044"/>
              <a:gd name="T82" fmla="*/ 20 w 625"/>
              <a:gd name="T83" fmla="*/ 887 h 1044"/>
              <a:gd name="T84" fmla="*/ 160 w 625"/>
              <a:gd name="T85" fmla="*/ 746 h 1044"/>
              <a:gd name="T86" fmla="*/ 110 w 625"/>
              <a:gd name="T87" fmla="*/ 770 h 1044"/>
              <a:gd name="T88" fmla="*/ 84 w 625"/>
              <a:gd name="T89" fmla="*/ 712 h 1044"/>
              <a:gd name="T90" fmla="*/ 134 w 625"/>
              <a:gd name="T91" fmla="*/ 688 h 1044"/>
              <a:gd name="T92" fmla="*/ 160 w 625"/>
              <a:gd name="T93" fmla="*/ 746 h 10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625" h="1044">
                <a:moveTo>
                  <a:pt x="625" y="132"/>
                </a:moveTo>
                <a:cubicBezTo>
                  <a:pt x="393" y="0"/>
                  <a:pt x="393" y="0"/>
                  <a:pt x="393" y="0"/>
                </a:cubicBezTo>
                <a:cubicBezTo>
                  <a:pt x="383" y="0"/>
                  <a:pt x="383" y="0"/>
                  <a:pt x="383" y="0"/>
                </a:cubicBezTo>
                <a:cubicBezTo>
                  <a:pt x="5" y="218"/>
                  <a:pt x="5" y="218"/>
                  <a:pt x="5" y="218"/>
                </a:cubicBezTo>
                <a:cubicBezTo>
                  <a:pt x="5" y="220"/>
                  <a:pt x="5" y="220"/>
                  <a:pt x="5" y="220"/>
                </a:cubicBezTo>
                <a:cubicBezTo>
                  <a:pt x="0" y="223"/>
                  <a:pt x="0" y="223"/>
                  <a:pt x="0" y="223"/>
                </a:cubicBezTo>
                <a:cubicBezTo>
                  <a:pt x="0" y="893"/>
                  <a:pt x="0" y="893"/>
                  <a:pt x="0" y="893"/>
                </a:cubicBezTo>
                <a:cubicBezTo>
                  <a:pt x="5" y="902"/>
                  <a:pt x="5" y="902"/>
                  <a:pt x="5" y="902"/>
                </a:cubicBezTo>
                <a:cubicBezTo>
                  <a:pt x="237" y="1044"/>
                  <a:pt x="237" y="1044"/>
                  <a:pt x="237" y="1044"/>
                </a:cubicBezTo>
                <a:cubicBezTo>
                  <a:pt x="252" y="1035"/>
                  <a:pt x="252" y="1035"/>
                  <a:pt x="252" y="1035"/>
                </a:cubicBezTo>
                <a:cubicBezTo>
                  <a:pt x="252" y="1034"/>
                  <a:pt x="252" y="1034"/>
                  <a:pt x="252" y="1034"/>
                </a:cubicBezTo>
                <a:cubicBezTo>
                  <a:pt x="624" y="811"/>
                  <a:pt x="624" y="811"/>
                  <a:pt x="624" y="811"/>
                </a:cubicBezTo>
                <a:cubicBezTo>
                  <a:pt x="624" y="150"/>
                  <a:pt x="624" y="150"/>
                  <a:pt x="624" y="150"/>
                </a:cubicBezTo>
                <a:cubicBezTo>
                  <a:pt x="625" y="150"/>
                  <a:pt x="625" y="150"/>
                  <a:pt x="625" y="150"/>
                </a:cubicBezTo>
                <a:lnTo>
                  <a:pt x="625" y="132"/>
                </a:lnTo>
                <a:close/>
                <a:moveTo>
                  <a:pt x="388" y="21"/>
                </a:moveTo>
                <a:cubicBezTo>
                  <a:pt x="600" y="141"/>
                  <a:pt x="600" y="141"/>
                  <a:pt x="600" y="141"/>
                </a:cubicBezTo>
                <a:cubicBezTo>
                  <a:pt x="244" y="340"/>
                  <a:pt x="244" y="340"/>
                  <a:pt x="244" y="340"/>
                </a:cubicBezTo>
                <a:cubicBezTo>
                  <a:pt x="165" y="298"/>
                  <a:pt x="165" y="298"/>
                  <a:pt x="165" y="298"/>
                </a:cubicBezTo>
                <a:cubicBezTo>
                  <a:pt x="34" y="225"/>
                  <a:pt x="34" y="225"/>
                  <a:pt x="34" y="225"/>
                </a:cubicBezTo>
                <a:lnTo>
                  <a:pt x="388" y="21"/>
                </a:lnTo>
                <a:close/>
                <a:moveTo>
                  <a:pt x="156" y="315"/>
                </a:moveTo>
                <a:cubicBezTo>
                  <a:pt x="230" y="357"/>
                  <a:pt x="230" y="357"/>
                  <a:pt x="230" y="357"/>
                </a:cubicBezTo>
                <a:cubicBezTo>
                  <a:pt x="231" y="541"/>
                  <a:pt x="231" y="541"/>
                  <a:pt x="231" y="541"/>
                </a:cubicBezTo>
                <a:cubicBezTo>
                  <a:pt x="20" y="423"/>
                  <a:pt x="20" y="423"/>
                  <a:pt x="20" y="423"/>
                </a:cubicBezTo>
                <a:cubicBezTo>
                  <a:pt x="20" y="244"/>
                  <a:pt x="20" y="244"/>
                  <a:pt x="20" y="244"/>
                </a:cubicBezTo>
                <a:lnTo>
                  <a:pt x="156" y="315"/>
                </a:lnTo>
                <a:close/>
                <a:moveTo>
                  <a:pt x="20" y="446"/>
                </a:moveTo>
                <a:cubicBezTo>
                  <a:pt x="231" y="563"/>
                  <a:pt x="231" y="563"/>
                  <a:pt x="231" y="563"/>
                </a:cubicBezTo>
                <a:cubicBezTo>
                  <a:pt x="231" y="593"/>
                  <a:pt x="231" y="593"/>
                  <a:pt x="231" y="593"/>
                </a:cubicBezTo>
                <a:cubicBezTo>
                  <a:pt x="20" y="475"/>
                  <a:pt x="20" y="475"/>
                  <a:pt x="20" y="475"/>
                </a:cubicBezTo>
                <a:lnTo>
                  <a:pt x="20" y="446"/>
                </a:lnTo>
                <a:close/>
                <a:moveTo>
                  <a:pt x="20" y="498"/>
                </a:moveTo>
                <a:cubicBezTo>
                  <a:pt x="231" y="616"/>
                  <a:pt x="231" y="616"/>
                  <a:pt x="231" y="616"/>
                </a:cubicBezTo>
                <a:cubicBezTo>
                  <a:pt x="231" y="637"/>
                  <a:pt x="231" y="637"/>
                  <a:pt x="231" y="637"/>
                </a:cubicBezTo>
                <a:cubicBezTo>
                  <a:pt x="20" y="519"/>
                  <a:pt x="20" y="519"/>
                  <a:pt x="20" y="519"/>
                </a:cubicBezTo>
                <a:lnTo>
                  <a:pt x="20" y="498"/>
                </a:lnTo>
                <a:close/>
                <a:moveTo>
                  <a:pt x="20" y="887"/>
                </a:moveTo>
                <a:cubicBezTo>
                  <a:pt x="20" y="542"/>
                  <a:pt x="20" y="542"/>
                  <a:pt x="20" y="542"/>
                </a:cubicBezTo>
                <a:cubicBezTo>
                  <a:pt x="231" y="660"/>
                  <a:pt x="231" y="660"/>
                  <a:pt x="231" y="660"/>
                </a:cubicBezTo>
                <a:cubicBezTo>
                  <a:pt x="232" y="1017"/>
                  <a:pt x="232" y="1017"/>
                  <a:pt x="232" y="1017"/>
                </a:cubicBezTo>
                <a:lnTo>
                  <a:pt x="20" y="887"/>
                </a:lnTo>
                <a:close/>
                <a:moveTo>
                  <a:pt x="160" y="746"/>
                </a:moveTo>
                <a:cubicBezTo>
                  <a:pt x="154" y="769"/>
                  <a:pt x="132" y="779"/>
                  <a:pt x="110" y="770"/>
                </a:cubicBezTo>
                <a:cubicBezTo>
                  <a:pt x="89" y="760"/>
                  <a:pt x="77" y="734"/>
                  <a:pt x="84" y="712"/>
                </a:cubicBezTo>
                <a:cubicBezTo>
                  <a:pt x="90" y="689"/>
                  <a:pt x="112" y="679"/>
                  <a:pt x="134" y="688"/>
                </a:cubicBezTo>
                <a:cubicBezTo>
                  <a:pt x="155" y="698"/>
                  <a:pt x="167" y="724"/>
                  <a:pt x="160" y="746"/>
                </a:cubicBezTo>
                <a:close/>
              </a:path>
            </a:pathLst>
          </a:custGeom>
          <a:solidFill>
            <a:schemeClr val="accent1"/>
          </a:solidFill>
          <a:ln>
            <a:noFill/>
          </a:ln>
          <a:extLst/>
        </p:spPr>
        <p:txBody>
          <a:bodyPr lIns="68564" tIns="34282" rIns="68564" bIns="34282"/>
          <a:lstStyle/>
          <a:p>
            <a:pPr defTabSz="699406">
              <a:defRPr/>
            </a:pPr>
            <a:endParaRPr lang="en-US" sz="1836">
              <a:solidFill>
                <a:srgbClr val="000000"/>
              </a:solidFill>
            </a:endParaRPr>
          </a:p>
        </p:txBody>
      </p:sp>
    </p:spTree>
    <p:extLst>
      <p:ext uri="{BB962C8B-B14F-4D97-AF65-F5344CB8AC3E}">
        <p14:creationId xmlns:p14="http://schemas.microsoft.com/office/powerpoint/2010/main" val="251273911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afterEffect">
                                  <p:stCondLst>
                                    <p:cond delay="500"/>
                                  </p:stCondLst>
                                  <p:childTnLst>
                                    <p:set>
                                      <p:cBhvr>
                                        <p:cTn id="6" dur="1" fill="hold">
                                          <p:stCondLst>
                                            <p:cond delay="0"/>
                                          </p:stCondLst>
                                        </p:cTn>
                                        <p:tgtEl>
                                          <p:spTgt spid="15"/>
                                        </p:tgtEl>
                                        <p:attrNameLst>
                                          <p:attrName>style.visibility</p:attrName>
                                        </p:attrNameLst>
                                      </p:cBhvr>
                                      <p:to>
                                        <p:strVal val="visible"/>
                                      </p:to>
                                    </p:set>
                                  </p:childTnLst>
                                </p:cTn>
                              </p:par>
                            </p:childTnLst>
                          </p:cTn>
                        </p:par>
                        <p:par>
                          <p:cTn id="7" fill="hold">
                            <p:stCondLst>
                              <p:cond delay="500"/>
                            </p:stCondLst>
                            <p:childTnLst>
                              <p:par>
                                <p:cTn id="8" presetID="1" presetClass="exit" presetSubtype="0" fill="hold" nodeType="afterEffect">
                                  <p:stCondLst>
                                    <p:cond delay="1000"/>
                                  </p:stCondLst>
                                  <p:childTnLst>
                                    <p:set>
                                      <p:cBhvr>
                                        <p:cTn id="9" dur="1" fill="hold">
                                          <p:stCondLst>
                                            <p:cond delay="0"/>
                                          </p:stCondLst>
                                        </p:cTn>
                                        <p:tgtEl>
                                          <p:spTgt spid="15"/>
                                        </p:tgtEl>
                                        <p:attrNameLst>
                                          <p:attrName>style.visibility</p:attrName>
                                        </p:attrNameLst>
                                      </p:cBhvr>
                                      <p:to>
                                        <p:strVal val="hidden"/>
                                      </p:to>
                                    </p:set>
                                  </p:childTnLst>
                                </p:cTn>
                              </p:par>
                            </p:childTnLst>
                          </p:cTn>
                        </p:par>
                        <p:par>
                          <p:cTn id="10" fill="hold">
                            <p:stCondLst>
                              <p:cond delay="1500"/>
                            </p:stCondLst>
                            <p:childTnLst>
                              <p:par>
                                <p:cTn id="11" presetID="1" presetClass="entr" presetSubtype="0" fill="hold" nodeType="afterEffect">
                                  <p:stCondLst>
                                    <p:cond delay="0"/>
                                  </p:stCondLst>
                                  <p:childTnLst>
                                    <p:set>
                                      <p:cBhvr>
                                        <p:cTn id="12" dur="1" fill="hold">
                                          <p:stCondLst>
                                            <p:cond delay="0"/>
                                          </p:stCondLst>
                                        </p:cTn>
                                        <p:tgtEl>
                                          <p:spTgt spid="14"/>
                                        </p:tgtEl>
                                        <p:attrNameLst>
                                          <p:attrName>style.visibility</p:attrName>
                                        </p:attrNameLst>
                                      </p:cBhvr>
                                      <p:to>
                                        <p:strVal val="visible"/>
                                      </p:to>
                                    </p:set>
                                  </p:childTnLst>
                                </p:cTn>
                              </p:par>
                            </p:childTnLst>
                          </p:cTn>
                        </p:par>
                        <p:par>
                          <p:cTn id="13" fill="hold">
                            <p:stCondLst>
                              <p:cond delay="1500"/>
                            </p:stCondLst>
                            <p:childTnLst>
                              <p:par>
                                <p:cTn id="14" presetID="1" presetClass="exit" presetSubtype="0" fill="hold" nodeType="afterEffect">
                                  <p:stCondLst>
                                    <p:cond delay="1000"/>
                                  </p:stCondLst>
                                  <p:childTnLst>
                                    <p:set>
                                      <p:cBhvr>
                                        <p:cTn id="15" dur="1" fill="hold">
                                          <p:stCondLst>
                                            <p:cond delay="0"/>
                                          </p:stCondLst>
                                        </p:cTn>
                                        <p:tgtEl>
                                          <p:spTgt spid="14"/>
                                        </p:tgtEl>
                                        <p:attrNameLst>
                                          <p:attrName>style.visibility</p:attrName>
                                        </p:attrNameLst>
                                      </p:cBhvr>
                                      <p:to>
                                        <p:strVal val="hidden"/>
                                      </p:to>
                                    </p:set>
                                  </p:childTnLst>
                                </p:cTn>
                              </p:par>
                              <p:par>
                                <p:cTn id="16" presetID="1" presetClass="entr" presetSubtype="0" fill="hold" nodeType="withEffect">
                                  <p:stCondLst>
                                    <p:cond delay="1000"/>
                                  </p:stCondLst>
                                  <p:childTnLst>
                                    <p:set>
                                      <p:cBhvr>
                                        <p:cTn id="17" dur="1" fill="hold">
                                          <p:stCondLst>
                                            <p:cond delay="0"/>
                                          </p:stCondLst>
                                        </p:cTn>
                                        <p:tgtEl>
                                          <p:spTgt spid="13"/>
                                        </p:tgtEl>
                                        <p:attrNameLst>
                                          <p:attrName>style.visibility</p:attrName>
                                        </p:attrNameLst>
                                      </p:cBhvr>
                                      <p:to>
                                        <p:strVal val="visible"/>
                                      </p:to>
                                    </p:set>
                                  </p:childTnLst>
                                </p:cTn>
                              </p:par>
                            </p:childTnLst>
                          </p:cTn>
                        </p:par>
                        <p:par>
                          <p:cTn id="18" fill="hold">
                            <p:stCondLst>
                              <p:cond delay="2500"/>
                            </p:stCondLst>
                            <p:childTnLst>
                              <p:par>
                                <p:cTn id="19" presetID="1" presetClass="entr" presetSubtype="0" fill="hold" nodeType="afterEffect">
                                  <p:stCondLst>
                                    <p:cond delay="500"/>
                                  </p:stCondLst>
                                  <p:childTnLst>
                                    <p:set>
                                      <p:cBhvr>
                                        <p:cTn id="20" dur="1" fill="hold">
                                          <p:stCondLst>
                                            <p:cond delay="0"/>
                                          </p:stCondLst>
                                        </p:cTn>
                                        <p:tgtEl>
                                          <p:spTgt spid="16"/>
                                        </p:tgtEl>
                                        <p:attrNameLst>
                                          <p:attrName>style.visibility</p:attrName>
                                        </p:attrNameLst>
                                      </p:cBhvr>
                                      <p:to>
                                        <p:strVal val="visible"/>
                                      </p:to>
                                    </p:set>
                                  </p:childTnLst>
                                </p:cTn>
                              </p:par>
                            </p:childTnLst>
                          </p:cTn>
                        </p:par>
                        <p:par>
                          <p:cTn id="21" fill="hold">
                            <p:stCondLst>
                              <p:cond delay="3000"/>
                            </p:stCondLst>
                            <p:childTnLst>
                              <p:par>
                                <p:cTn id="22" presetID="1" presetClass="entr" presetSubtype="0" fill="hold" nodeType="afterEffect">
                                  <p:stCondLst>
                                    <p:cond delay="500"/>
                                  </p:stCondLst>
                                  <p:childTnLst>
                                    <p:set>
                                      <p:cBhvr>
                                        <p:cTn id="23" dur="1" fill="hold">
                                          <p:stCondLst>
                                            <p:cond delay="0"/>
                                          </p:stCondLst>
                                        </p:cTn>
                                        <p:tgtEl>
                                          <p:spTgt spid="17"/>
                                        </p:tgtEl>
                                        <p:attrNameLst>
                                          <p:attrName>style.visibility</p:attrName>
                                        </p:attrNameLst>
                                      </p:cBhvr>
                                      <p:to>
                                        <p:strVal val="visible"/>
                                      </p:to>
                                    </p:set>
                                  </p:childTnLst>
                                </p:cTn>
                              </p:par>
                            </p:childTnLst>
                          </p:cTn>
                        </p:par>
                        <p:par>
                          <p:cTn id="24" fill="hold">
                            <p:stCondLst>
                              <p:cond delay="3500"/>
                            </p:stCondLst>
                            <p:childTnLst>
                              <p:par>
                                <p:cTn id="25" presetID="1" presetClass="entr" presetSubtype="0" fill="hold" nodeType="afterEffect">
                                  <p:stCondLst>
                                    <p:cond delay="500"/>
                                  </p:stCondLst>
                                  <p:childTnLst>
                                    <p:set>
                                      <p:cBhvr>
                                        <p:cTn id="26" dur="1" fill="hold">
                                          <p:stCondLst>
                                            <p:cond delay="0"/>
                                          </p:stCondLst>
                                        </p:cTn>
                                        <p:tgtEl>
                                          <p:spTgt spid="18"/>
                                        </p:tgtEl>
                                        <p:attrNameLst>
                                          <p:attrName>style.visibility</p:attrName>
                                        </p:attrNameLst>
                                      </p:cBhvr>
                                      <p:to>
                                        <p:strVal val="visible"/>
                                      </p:to>
                                    </p:set>
                                  </p:childTnLst>
                                </p:cTn>
                              </p:par>
                            </p:childTnLst>
                          </p:cTn>
                        </p:par>
                        <p:par>
                          <p:cTn id="27" fill="hold">
                            <p:stCondLst>
                              <p:cond delay="4000"/>
                            </p:stCondLst>
                            <p:childTnLst>
                              <p:par>
                                <p:cTn id="28" presetID="1" presetClass="entr" presetSubtype="0" fill="hold" nodeType="afterEffect">
                                  <p:stCondLst>
                                    <p:cond delay="500"/>
                                  </p:stCondLst>
                                  <p:childTnLst>
                                    <p:set>
                                      <p:cBhvr>
                                        <p:cTn id="29" dur="1" fill="hold">
                                          <p:stCondLst>
                                            <p:cond delay="0"/>
                                          </p:stCondLst>
                                        </p:cTn>
                                        <p:tgtEl>
                                          <p:spTgt spid="1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4.xml><?xml version="1.0" encoding="utf-8"?>
<p:sld xmlns:a="http://schemas.openxmlformats.org/drawingml/2006/main" xmlns:r="http://schemas.openxmlformats.org/officeDocument/2006/relationships" xmlns:p="http://schemas.openxmlformats.org/presentationml/2006/main">
  <p:cSld>
    <p:bg>
      <p:bgPr>
        <a:solidFill>
          <a:srgbClr val="6F6F6F"/>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osmos DB</a:t>
            </a:r>
          </a:p>
        </p:txBody>
      </p:sp>
      <p:sp>
        <p:nvSpPr>
          <p:cNvPr id="3" name="Rectangle 2">
            <a:extLst>
              <a:ext uri="{FF2B5EF4-FFF2-40B4-BE49-F238E27FC236}">
                <a16:creationId xmlns:a16="http://schemas.microsoft.com/office/drawing/2014/main" id="{687B3ED9-BEB0-4756-87A9-A34B6446FDD4}"/>
              </a:ext>
            </a:extLst>
          </p:cNvPr>
          <p:cNvSpPr/>
          <p:nvPr/>
        </p:nvSpPr>
        <p:spPr>
          <a:xfrm>
            <a:off x="429152" y="6423120"/>
            <a:ext cx="2509213" cy="369332"/>
          </a:xfrm>
          <a:prstGeom prst="rect">
            <a:avLst/>
          </a:prstGeom>
        </p:spPr>
        <p:txBody>
          <a:bodyPr wrap="none">
            <a:spAutoFit/>
          </a:bodyPr>
          <a:lstStyle/>
          <a:p>
            <a:r>
              <a:rPr lang="en-US" dirty="0"/>
              <a:t>aka.ms/Azure/Cosmos </a:t>
            </a:r>
          </a:p>
        </p:txBody>
      </p:sp>
    </p:spTree>
    <p:extLst>
      <p:ext uri="{BB962C8B-B14F-4D97-AF65-F5344CB8AC3E}">
        <p14:creationId xmlns:p14="http://schemas.microsoft.com/office/powerpoint/2010/main" val="113815842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1" name="Rectangle 150"/>
          <p:cNvSpPr/>
          <p:nvPr/>
        </p:nvSpPr>
        <p:spPr>
          <a:xfrm>
            <a:off x="89" y="2024342"/>
            <a:ext cx="4934105" cy="4970183"/>
          </a:xfrm>
          <a:prstGeom prst="rect">
            <a:avLst/>
          </a:prstGeom>
          <a:solidFill>
            <a:srgbClr val="3999C6"/>
          </a:solidFill>
          <a:ln w="12700" cap="flat" cmpd="sng" algn="ctr">
            <a:noFill/>
            <a:prstDash val="solid"/>
            <a:miter lim="800000"/>
          </a:ln>
          <a:effectLst/>
        </p:spPr>
        <p:txBody>
          <a:bodyPr rtlCol="0" anchor="ctr"/>
          <a:lstStyle/>
          <a:p>
            <a:pPr algn="ctr" defTabSz="932597">
              <a:defRPr/>
            </a:pPr>
            <a:endParaRPr lang="en-US" sz="1836" kern="0">
              <a:solidFill>
                <a:srgbClr val="FFFFFF"/>
              </a:solidFill>
              <a:latin typeface="Calibri" panose="020F0502020204030204"/>
              <a:ea typeface=""/>
              <a:cs typeface=""/>
            </a:endParaRPr>
          </a:p>
        </p:txBody>
      </p:sp>
      <p:sp>
        <p:nvSpPr>
          <p:cNvPr id="11" name="Title 10"/>
          <p:cNvSpPr>
            <a:spLocks noGrp="1"/>
          </p:cNvSpPr>
          <p:nvPr>
            <p:ph type="title"/>
          </p:nvPr>
        </p:nvSpPr>
        <p:spPr/>
        <p:txBody>
          <a:bodyPr>
            <a:noAutofit/>
          </a:bodyPr>
          <a:lstStyle/>
          <a:p>
            <a:r>
              <a:rPr lang="en-US"/>
              <a:t>Introducing Azure Cosmos DB</a:t>
            </a:r>
            <a:br>
              <a:rPr lang="en-US"/>
            </a:br>
            <a:r>
              <a:rPr lang="en-US" sz="2448">
                <a:solidFill>
                  <a:schemeClr val="accent1"/>
                </a:solidFill>
              </a:rPr>
              <a:t>A globally distributed, massively scalable, multi-model database service</a:t>
            </a:r>
          </a:p>
        </p:txBody>
      </p:sp>
      <p:sp>
        <p:nvSpPr>
          <p:cNvPr id="3" name="Content Placeholder 2"/>
          <p:cNvSpPr>
            <a:spLocks noGrp="1"/>
          </p:cNvSpPr>
          <p:nvPr>
            <p:ph sz="half" idx="4294967295"/>
          </p:nvPr>
        </p:nvSpPr>
        <p:spPr>
          <a:xfrm>
            <a:off x="446892" y="2490181"/>
            <a:ext cx="2721713" cy="476479"/>
          </a:xfrm>
        </p:spPr>
        <p:txBody>
          <a:bodyPr wrap="square">
            <a:spAutoFit/>
          </a:bodyPr>
          <a:lstStyle/>
          <a:p>
            <a:pPr marL="0" indent="0">
              <a:buNone/>
            </a:pPr>
            <a:r>
              <a:rPr lang="en-US" sz="2040" b="1">
                <a:solidFill>
                  <a:schemeClr val="bg1"/>
                </a:solidFill>
                <a:latin typeface="Segoe UI" charset="0"/>
                <a:ea typeface="Segoe UI" charset="0"/>
                <a:cs typeface="Segoe UI" charset="0"/>
              </a:rPr>
              <a:t>Global distribution</a:t>
            </a:r>
          </a:p>
        </p:txBody>
      </p:sp>
      <p:sp>
        <p:nvSpPr>
          <p:cNvPr id="262" name="TextBox 261"/>
          <p:cNvSpPr txBox="1"/>
          <p:nvPr/>
        </p:nvSpPr>
        <p:spPr>
          <a:xfrm>
            <a:off x="5082247" y="2162889"/>
            <a:ext cx="5179690" cy="542399"/>
          </a:xfrm>
          <a:prstGeom prst="rect">
            <a:avLst/>
          </a:prstGeom>
          <a:noFill/>
        </p:spPr>
        <p:txBody>
          <a:bodyPr wrap="square" rtlCol="0">
            <a:spAutoFit/>
          </a:bodyPr>
          <a:lstStyle/>
          <a:p>
            <a:r>
              <a:rPr lang="en-US" sz="1428" b="1">
                <a:solidFill>
                  <a:schemeClr val="accent3"/>
                </a:solidFill>
                <a:latin typeface="Segoe UI Semibold" charset="0"/>
                <a:ea typeface="Segoe UI Semibold" charset="0"/>
                <a:cs typeface="Segoe UI Semibold" charset="0"/>
              </a:rPr>
              <a:t>Automatically replicate all your data around the world – across more regions than Amazon and Google combined</a:t>
            </a:r>
          </a:p>
        </p:txBody>
      </p:sp>
      <p:grpSp>
        <p:nvGrpSpPr>
          <p:cNvPr id="2" name="Group 1"/>
          <p:cNvGrpSpPr/>
          <p:nvPr/>
        </p:nvGrpSpPr>
        <p:grpSpPr>
          <a:xfrm>
            <a:off x="7029711" y="2992832"/>
            <a:ext cx="3309569" cy="3309569"/>
            <a:chOff x="6423232" y="2630244"/>
            <a:chExt cx="3987098" cy="3987098"/>
          </a:xfrm>
        </p:grpSpPr>
        <p:sp>
          <p:nvSpPr>
            <p:cNvPr id="435" name="Freeform: Shape 962"/>
            <p:cNvSpPr/>
            <p:nvPr/>
          </p:nvSpPr>
          <p:spPr>
            <a:xfrm>
              <a:off x="6423232" y="2630244"/>
              <a:ext cx="3987098" cy="3987098"/>
            </a:xfrm>
            <a:prstGeom prst="ellipse">
              <a:avLst/>
            </a:prstGeom>
            <a:solidFill>
              <a:srgbClr val="E8F6FA"/>
            </a:solidFill>
            <a:ln w="12700" cap="flat" cmpd="sng" algn="ctr">
              <a:noFill/>
              <a:prstDash val="solid"/>
              <a:miter lim="800000"/>
            </a:ln>
            <a:effectLst/>
          </p:spPr>
          <p:txBody>
            <a:bodyPr rtlCol="0" anchor="ctr"/>
            <a:lstStyle/>
            <a:p>
              <a:pPr algn="ctr" defTabSz="932597">
                <a:defRPr/>
              </a:pPr>
              <a:endParaRPr lang="en-US" sz="1836" kern="0">
                <a:solidFill>
                  <a:srgbClr val="FFFFFF"/>
                </a:solidFill>
                <a:latin typeface="Calibri" panose="020F0502020204030204"/>
                <a:ea typeface=""/>
                <a:cs typeface=""/>
              </a:endParaRPr>
            </a:p>
          </p:txBody>
        </p:sp>
        <p:sp>
          <p:nvSpPr>
            <p:cNvPr id="436" name="Freeform: Shape 260"/>
            <p:cNvSpPr>
              <a:spLocks/>
            </p:cNvSpPr>
            <p:nvPr/>
          </p:nvSpPr>
          <p:spPr bwMode="auto">
            <a:xfrm>
              <a:off x="6545835" y="2829815"/>
              <a:ext cx="3862373" cy="3682908"/>
            </a:xfrm>
            <a:custGeom>
              <a:avLst/>
              <a:gdLst>
                <a:gd name="connsiteX0" fmla="*/ 1142662 w 3862373"/>
                <a:gd name="connsiteY0" fmla="*/ 3605757 h 3682908"/>
                <a:gd name="connsiteX1" fmla="*/ 1181749 w 3862373"/>
                <a:gd name="connsiteY1" fmla="*/ 3644844 h 3682908"/>
                <a:gd name="connsiteX2" fmla="*/ 1175073 w 3862373"/>
                <a:gd name="connsiteY2" fmla="*/ 3660960 h 3682908"/>
                <a:gd name="connsiteX3" fmla="*/ 1107191 w 3862373"/>
                <a:gd name="connsiteY3" fmla="*/ 3636115 h 3682908"/>
                <a:gd name="connsiteX4" fmla="*/ 1115023 w 3862373"/>
                <a:gd name="connsiteY4" fmla="*/ 3617205 h 3682908"/>
                <a:gd name="connsiteX5" fmla="*/ 1142662 w 3862373"/>
                <a:gd name="connsiteY5" fmla="*/ 3605757 h 3682908"/>
                <a:gd name="connsiteX6" fmla="*/ 1232571 w 3862373"/>
                <a:gd name="connsiteY6" fmla="*/ 3605756 h 3682908"/>
                <a:gd name="connsiteX7" fmla="*/ 1271658 w 3862373"/>
                <a:gd name="connsiteY7" fmla="*/ 3644843 h 3682908"/>
                <a:gd name="connsiteX8" fmla="*/ 1260210 w 3862373"/>
                <a:gd name="connsiteY8" fmla="*/ 3672482 h 3682908"/>
                <a:gd name="connsiteX9" fmla="*/ 1235039 w 3862373"/>
                <a:gd name="connsiteY9" fmla="*/ 3682908 h 3682908"/>
                <a:gd name="connsiteX10" fmla="*/ 1204643 w 3862373"/>
                <a:gd name="connsiteY10" fmla="*/ 3671783 h 3682908"/>
                <a:gd name="connsiteX11" fmla="*/ 1193484 w 3862373"/>
                <a:gd name="connsiteY11" fmla="*/ 3644843 h 3682908"/>
                <a:gd name="connsiteX12" fmla="*/ 1232571 w 3862373"/>
                <a:gd name="connsiteY12" fmla="*/ 3605756 h 3682908"/>
                <a:gd name="connsiteX13" fmla="*/ 1232571 w 3862373"/>
                <a:gd name="connsiteY13" fmla="*/ 3520580 h 3682908"/>
                <a:gd name="connsiteX14" fmla="*/ 1271658 w 3862373"/>
                <a:gd name="connsiteY14" fmla="*/ 3559667 h 3682908"/>
                <a:gd name="connsiteX15" fmla="*/ 1232571 w 3862373"/>
                <a:gd name="connsiteY15" fmla="*/ 3598754 h 3682908"/>
                <a:gd name="connsiteX16" fmla="*/ 1193484 w 3862373"/>
                <a:gd name="connsiteY16" fmla="*/ 3559667 h 3682908"/>
                <a:gd name="connsiteX17" fmla="*/ 1232571 w 3862373"/>
                <a:gd name="connsiteY17" fmla="*/ 3520580 h 3682908"/>
                <a:gd name="connsiteX18" fmla="*/ 1142662 w 3862373"/>
                <a:gd name="connsiteY18" fmla="*/ 3520580 h 3682908"/>
                <a:gd name="connsiteX19" fmla="*/ 1181749 w 3862373"/>
                <a:gd name="connsiteY19" fmla="*/ 3559667 h 3682908"/>
                <a:gd name="connsiteX20" fmla="*/ 1142662 w 3862373"/>
                <a:gd name="connsiteY20" fmla="*/ 3598754 h 3682908"/>
                <a:gd name="connsiteX21" fmla="*/ 1103575 w 3862373"/>
                <a:gd name="connsiteY21" fmla="*/ 3559667 h 3682908"/>
                <a:gd name="connsiteX22" fmla="*/ 1142662 w 3862373"/>
                <a:gd name="connsiteY22" fmla="*/ 3520580 h 3682908"/>
                <a:gd name="connsiteX23" fmla="*/ 1232572 w 3862373"/>
                <a:gd name="connsiteY23" fmla="*/ 3435404 h 3682908"/>
                <a:gd name="connsiteX24" fmla="*/ 1271659 w 3862373"/>
                <a:gd name="connsiteY24" fmla="*/ 3474491 h 3682908"/>
                <a:gd name="connsiteX25" fmla="*/ 1232572 w 3862373"/>
                <a:gd name="connsiteY25" fmla="*/ 3513578 h 3682908"/>
                <a:gd name="connsiteX26" fmla="*/ 1193485 w 3862373"/>
                <a:gd name="connsiteY26" fmla="*/ 3474491 h 3682908"/>
                <a:gd name="connsiteX27" fmla="*/ 1232572 w 3862373"/>
                <a:gd name="connsiteY27" fmla="*/ 3435404 h 3682908"/>
                <a:gd name="connsiteX28" fmla="*/ 1142662 w 3862373"/>
                <a:gd name="connsiteY28" fmla="*/ 3435404 h 3682908"/>
                <a:gd name="connsiteX29" fmla="*/ 1181749 w 3862373"/>
                <a:gd name="connsiteY29" fmla="*/ 3474491 h 3682908"/>
                <a:gd name="connsiteX30" fmla="*/ 1142662 w 3862373"/>
                <a:gd name="connsiteY30" fmla="*/ 3513578 h 3682908"/>
                <a:gd name="connsiteX31" fmla="*/ 1103575 w 3862373"/>
                <a:gd name="connsiteY31" fmla="*/ 3474491 h 3682908"/>
                <a:gd name="connsiteX32" fmla="*/ 1142662 w 3862373"/>
                <a:gd name="connsiteY32" fmla="*/ 3435404 h 3682908"/>
                <a:gd name="connsiteX33" fmla="*/ 1329578 w 3862373"/>
                <a:gd name="connsiteY33" fmla="*/ 3347862 h 3682908"/>
                <a:gd name="connsiteX34" fmla="*/ 1368665 w 3862373"/>
                <a:gd name="connsiteY34" fmla="*/ 3386950 h 3682908"/>
                <a:gd name="connsiteX35" fmla="*/ 1329578 w 3862373"/>
                <a:gd name="connsiteY35" fmla="*/ 3426037 h 3682908"/>
                <a:gd name="connsiteX36" fmla="*/ 1290490 w 3862373"/>
                <a:gd name="connsiteY36" fmla="*/ 3386950 h 3682908"/>
                <a:gd name="connsiteX37" fmla="*/ 1329578 w 3862373"/>
                <a:gd name="connsiteY37" fmla="*/ 3347862 h 3682908"/>
                <a:gd name="connsiteX38" fmla="*/ 1142664 w 3862373"/>
                <a:gd name="connsiteY38" fmla="*/ 3347862 h 3682908"/>
                <a:gd name="connsiteX39" fmla="*/ 1181751 w 3862373"/>
                <a:gd name="connsiteY39" fmla="*/ 3386950 h 3682908"/>
                <a:gd name="connsiteX40" fmla="*/ 1142664 w 3862373"/>
                <a:gd name="connsiteY40" fmla="*/ 3426037 h 3682908"/>
                <a:gd name="connsiteX41" fmla="*/ 1103576 w 3862373"/>
                <a:gd name="connsiteY41" fmla="*/ 3386950 h 3682908"/>
                <a:gd name="connsiteX42" fmla="*/ 1142664 w 3862373"/>
                <a:gd name="connsiteY42" fmla="*/ 3347862 h 3682908"/>
                <a:gd name="connsiteX43" fmla="*/ 1232572 w 3862373"/>
                <a:gd name="connsiteY43" fmla="*/ 3347861 h 3682908"/>
                <a:gd name="connsiteX44" fmla="*/ 1271660 w 3862373"/>
                <a:gd name="connsiteY44" fmla="*/ 3386948 h 3682908"/>
                <a:gd name="connsiteX45" fmla="*/ 1232572 w 3862373"/>
                <a:gd name="connsiteY45" fmla="*/ 3426035 h 3682908"/>
                <a:gd name="connsiteX46" fmla="*/ 1193485 w 3862373"/>
                <a:gd name="connsiteY46" fmla="*/ 3386948 h 3682908"/>
                <a:gd name="connsiteX47" fmla="*/ 1232572 w 3862373"/>
                <a:gd name="connsiteY47" fmla="*/ 3347861 h 3682908"/>
                <a:gd name="connsiteX48" fmla="*/ 2924263 w 3862373"/>
                <a:gd name="connsiteY48" fmla="*/ 3265052 h 3682908"/>
                <a:gd name="connsiteX49" fmla="*/ 2963349 w 3862373"/>
                <a:gd name="connsiteY49" fmla="*/ 3304139 h 3682908"/>
                <a:gd name="connsiteX50" fmla="*/ 2924263 w 3862373"/>
                <a:gd name="connsiteY50" fmla="*/ 3343226 h 3682908"/>
                <a:gd name="connsiteX51" fmla="*/ 2885175 w 3862373"/>
                <a:gd name="connsiteY51" fmla="*/ 3304139 h 3682908"/>
                <a:gd name="connsiteX52" fmla="*/ 2924263 w 3862373"/>
                <a:gd name="connsiteY52" fmla="*/ 3265052 h 3682908"/>
                <a:gd name="connsiteX53" fmla="*/ 1419487 w 3862373"/>
                <a:gd name="connsiteY53" fmla="*/ 3265052 h 3682908"/>
                <a:gd name="connsiteX54" fmla="*/ 1458574 w 3862373"/>
                <a:gd name="connsiteY54" fmla="*/ 3304139 h 3682908"/>
                <a:gd name="connsiteX55" fmla="*/ 1419487 w 3862373"/>
                <a:gd name="connsiteY55" fmla="*/ 3343226 h 3682908"/>
                <a:gd name="connsiteX56" fmla="*/ 1380399 w 3862373"/>
                <a:gd name="connsiteY56" fmla="*/ 3304139 h 3682908"/>
                <a:gd name="connsiteX57" fmla="*/ 1419487 w 3862373"/>
                <a:gd name="connsiteY57" fmla="*/ 3265052 h 3682908"/>
                <a:gd name="connsiteX58" fmla="*/ 1329578 w 3862373"/>
                <a:gd name="connsiteY58" fmla="*/ 3265052 h 3682908"/>
                <a:gd name="connsiteX59" fmla="*/ 1368666 w 3862373"/>
                <a:gd name="connsiteY59" fmla="*/ 3304139 h 3682908"/>
                <a:gd name="connsiteX60" fmla="*/ 1329578 w 3862373"/>
                <a:gd name="connsiteY60" fmla="*/ 3343226 h 3682908"/>
                <a:gd name="connsiteX61" fmla="*/ 1290491 w 3862373"/>
                <a:gd name="connsiteY61" fmla="*/ 3304139 h 3682908"/>
                <a:gd name="connsiteX62" fmla="*/ 1329578 w 3862373"/>
                <a:gd name="connsiteY62" fmla="*/ 3265052 h 3682908"/>
                <a:gd name="connsiteX63" fmla="*/ 1232574 w 3862373"/>
                <a:gd name="connsiteY63" fmla="*/ 3265052 h 3682908"/>
                <a:gd name="connsiteX64" fmla="*/ 1271661 w 3862373"/>
                <a:gd name="connsiteY64" fmla="*/ 3304139 h 3682908"/>
                <a:gd name="connsiteX65" fmla="*/ 1232574 w 3862373"/>
                <a:gd name="connsiteY65" fmla="*/ 3343226 h 3682908"/>
                <a:gd name="connsiteX66" fmla="*/ 1193487 w 3862373"/>
                <a:gd name="connsiteY66" fmla="*/ 3304139 h 3682908"/>
                <a:gd name="connsiteX67" fmla="*/ 1232574 w 3862373"/>
                <a:gd name="connsiteY67" fmla="*/ 3265052 h 3682908"/>
                <a:gd name="connsiteX68" fmla="*/ 1142665 w 3862373"/>
                <a:gd name="connsiteY68" fmla="*/ 3265052 h 3682908"/>
                <a:gd name="connsiteX69" fmla="*/ 1181752 w 3862373"/>
                <a:gd name="connsiteY69" fmla="*/ 3304139 h 3682908"/>
                <a:gd name="connsiteX70" fmla="*/ 1142665 w 3862373"/>
                <a:gd name="connsiteY70" fmla="*/ 3343226 h 3682908"/>
                <a:gd name="connsiteX71" fmla="*/ 1103578 w 3862373"/>
                <a:gd name="connsiteY71" fmla="*/ 3304139 h 3682908"/>
                <a:gd name="connsiteX72" fmla="*/ 1142665 w 3862373"/>
                <a:gd name="connsiteY72" fmla="*/ 3265052 h 3682908"/>
                <a:gd name="connsiteX73" fmla="*/ 3111177 w 3862373"/>
                <a:gd name="connsiteY73" fmla="*/ 3177510 h 3682908"/>
                <a:gd name="connsiteX74" fmla="*/ 3150264 w 3862373"/>
                <a:gd name="connsiteY74" fmla="*/ 3216597 h 3682908"/>
                <a:gd name="connsiteX75" fmla="*/ 3111177 w 3862373"/>
                <a:gd name="connsiteY75" fmla="*/ 3255684 h 3682908"/>
                <a:gd name="connsiteX76" fmla="*/ 3072089 w 3862373"/>
                <a:gd name="connsiteY76" fmla="*/ 3216597 h 3682908"/>
                <a:gd name="connsiteX77" fmla="*/ 3111177 w 3862373"/>
                <a:gd name="connsiteY77" fmla="*/ 3177510 h 3682908"/>
                <a:gd name="connsiteX78" fmla="*/ 3018903 w 3862373"/>
                <a:gd name="connsiteY78" fmla="*/ 3177510 h 3682908"/>
                <a:gd name="connsiteX79" fmla="*/ 3057989 w 3862373"/>
                <a:gd name="connsiteY79" fmla="*/ 3216597 h 3682908"/>
                <a:gd name="connsiteX80" fmla="*/ 3018903 w 3862373"/>
                <a:gd name="connsiteY80" fmla="*/ 3255684 h 3682908"/>
                <a:gd name="connsiteX81" fmla="*/ 2979815 w 3862373"/>
                <a:gd name="connsiteY81" fmla="*/ 3216597 h 3682908"/>
                <a:gd name="connsiteX82" fmla="*/ 3018903 w 3862373"/>
                <a:gd name="connsiteY82" fmla="*/ 3177510 h 3682908"/>
                <a:gd name="connsiteX83" fmla="*/ 1516493 w 3862373"/>
                <a:gd name="connsiteY83" fmla="*/ 3177510 h 3682908"/>
                <a:gd name="connsiteX84" fmla="*/ 1555581 w 3862373"/>
                <a:gd name="connsiteY84" fmla="*/ 3216597 h 3682908"/>
                <a:gd name="connsiteX85" fmla="*/ 1516493 w 3862373"/>
                <a:gd name="connsiteY85" fmla="*/ 3255684 h 3682908"/>
                <a:gd name="connsiteX86" fmla="*/ 1477406 w 3862373"/>
                <a:gd name="connsiteY86" fmla="*/ 3216597 h 3682908"/>
                <a:gd name="connsiteX87" fmla="*/ 1516493 w 3862373"/>
                <a:gd name="connsiteY87" fmla="*/ 3177510 h 3682908"/>
                <a:gd name="connsiteX88" fmla="*/ 1329579 w 3862373"/>
                <a:gd name="connsiteY88" fmla="*/ 3177510 h 3682908"/>
                <a:gd name="connsiteX89" fmla="*/ 1368667 w 3862373"/>
                <a:gd name="connsiteY89" fmla="*/ 3216597 h 3682908"/>
                <a:gd name="connsiteX90" fmla="*/ 1329579 w 3862373"/>
                <a:gd name="connsiteY90" fmla="*/ 3255684 h 3682908"/>
                <a:gd name="connsiteX91" fmla="*/ 1290493 w 3862373"/>
                <a:gd name="connsiteY91" fmla="*/ 3216597 h 3682908"/>
                <a:gd name="connsiteX92" fmla="*/ 1329579 w 3862373"/>
                <a:gd name="connsiteY92" fmla="*/ 3177510 h 3682908"/>
                <a:gd name="connsiteX93" fmla="*/ 1142666 w 3862373"/>
                <a:gd name="connsiteY93" fmla="*/ 3177510 h 3682908"/>
                <a:gd name="connsiteX94" fmla="*/ 1181753 w 3862373"/>
                <a:gd name="connsiteY94" fmla="*/ 3216597 h 3682908"/>
                <a:gd name="connsiteX95" fmla="*/ 1142666 w 3862373"/>
                <a:gd name="connsiteY95" fmla="*/ 3255684 h 3682908"/>
                <a:gd name="connsiteX96" fmla="*/ 1103578 w 3862373"/>
                <a:gd name="connsiteY96" fmla="*/ 3216597 h 3682908"/>
                <a:gd name="connsiteX97" fmla="*/ 1142666 w 3862373"/>
                <a:gd name="connsiteY97" fmla="*/ 3177510 h 3682908"/>
                <a:gd name="connsiteX98" fmla="*/ 2924263 w 3862373"/>
                <a:gd name="connsiteY98" fmla="*/ 3177510 h 3682908"/>
                <a:gd name="connsiteX99" fmla="*/ 2963349 w 3862373"/>
                <a:gd name="connsiteY99" fmla="*/ 3216597 h 3682908"/>
                <a:gd name="connsiteX100" fmla="*/ 2924263 w 3862373"/>
                <a:gd name="connsiteY100" fmla="*/ 3255684 h 3682908"/>
                <a:gd name="connsiteX101" fmla="*/ 2885175 w 3862373"/>
                <a:gd name="connsiteY101" fmla="*/ 3216597 h 3682908"/>
                <a:gd name="connsiteX102" fmla="*/ 2924263 w 3862373"/>
                <a:gd name="connsiteY102" fmla="*/ 3177510 h 3682908"/>
                <a:gd name="connsiteX103" fmla="*/ 1419488 w 3862373"/>
                <a:gd name="connsiteY103" fmla="*/ 3177510 h 3682908"/>
                <a:gd name="connsiteX104" fmla="*/ 1458575 w 3862373"/>
                <a:gd name="connsiteY104" fmla="*/ 3216597 h 3682908"/>
                <a:gd name="connsiteX105" fmla="*/ 1419488 w 3862373"/>
                <a:gd name="connsiteY105" fmla="*/ 3255684 h 3682908"/>
                <a:gd name="connsiteX106" fmla="*/ 1380401 w 3862373"/>
                <a:gd name="connsiteY106" fmla="*/ 3216597 h 3682908"/>
                <a:gd name="connsiteX107" fmla="*/ 1419488 w 3862373"/>
                <a:gd name="connsiteY107" fmla="*/ 3177510 h 3682908"/>
                <a:gd name="connsiteX108" fmla="*/ 1232575 w 3862373"/>
                <a:gd name="connsiteY108" fmla="*/ 3177510 h 3682908"/>
                <a:gd name="connsiteX109" fmla="*/ 1271661 w 3862373"/>
                <a:gd name="connsiteY109" fmla="*/ 3216597 h 3682908"/>
                <a:gd name="connsiteX110" fmla="*/ 1232575 w 3862373"/>
                <a:gd name="connsiteY110" fmla="*/ 3255684 h 3682908"/>
                <a:gd name="connsiteX111" fmla="*/ 1193488 w 3862373"/>
                <a:gd name="connsiteY111" fmla="*/ 3216597 h 3682908"/>
                <a:gd name="connsiteX112" fmla="*/ 1232575 w 3862373"/>
                <a:gd name="connsiteY112" fmla="*/ 3177510 h 3682908"/>
                <a:gd name="connsiteX113" fmla="*/ 3111177 w 3862373"/>
                <a:gd name="connsiteY113" fmla="*/ 3092334 h 3682908"/>
                <a:gd name="connsiteX114" fmla="*/ 3150264 w 3862373"/>
                <a:gd name="connsiteY114" fmla="*/ 3131421 h 3682908"/>
                <a:gd name="connsiteX115" fmla="*/ 3111177 w 3862373"/>
                <a:gd name="connsiteY115" fmla="*/ 3170508 h 3682908"/>
                <a:gd name="connsiteX116" fmla="*/ 3072089 w 3862373"/>
                <a:gd name="connsiteY116" fmla="*/ 3131421 h 3682908"/>
                <a:gd name="connsiteX117" fmla="*/ 3111177 w 3862373"/>
                <a:gd name="connsiteY117" fmla="*/ 3092334 h 3682908"/>
                <a:gd name="connsiteX118" fmla="*/ 3018903 w 3862373"/>
                <a:gd name="connsiteY118" fmla="*/ 3092334 h 3682908"/>
                <a:gd name="connsiteX119" fmla="*/ 3057989 w 3862373"/>
                <a:gd name="connsiteY119" fmla="*/ 3131421 h 3682908"/>
                <a:gd name="connsiteX120" fmla="*/ 3018903 w 3862373"/>
                <a:gd name="connsiteY120" fmla="*/ 3170508 h 3682908"/>
                <a:gd name="connsiteX121" fmla="*/ 2979815 w 3862373"/>
                <a:gd name="connsiteY121" fmla="*/ 3131421 h 3682908"/>
                <a:gd name="connsiteX122" fmla="*/ 3018903 w 3862373"/>
                <a:gd name="connsiteY122" fmla="*/ 3092334 h 3682908"/>
                <a:gd name="connsiteX123" fmla="*/ 2831988 w 3862373"/>
                <a:gd name="connsiteY123" fmla="*/ 3092334 h 3682908"/>
                <a:gd name="connsiteX124" fmla="*/ 2871075 w 3862373"/>
                <a:gd name="connsiteY124" fmla="*/ 3131421 h 3682908"/>
                <a:gd name="connsiteX125" fmla="*/ 2831988 w 3862373"/>
                <a:gd name="connsiteY125" fmla="*/ 3170508 h 3682908"/>
                <a:gd name="connsiteX126" fmla="*/ 2792901 w 3862373"/>
                <a:gd name="connsiteY126" fmla="*/ 3131421 h 3682908"/>
                <a:gd name="connsiteX127" fmla="*/ 2831988 w 3862373"/>
                <a:gd name="connsiteY127" fmla="*/ 3092334 h 3682908"/>
                <a:gd name="connsiteX128" fmla="*/ 1516495 w 3862373"/>
                <a:gd name="connsiteY128" fmla="*/ 3092334 h 3682908"/>
                <a:gd name="connsiteX129" fmla="*/ 1555583 w 3862373"/>
                <a:gd name="connsiteY129" fmla="*/ 3131421 h 3682908"/>
                <a:gd name="connsiteX130" fmla="*/ 1516495 w 3862373"/>
                <a:gd name="connsiteY130" fmla="*/ 3170508 h 3682908"/>
                <a:gd name="connsiteX131" fmla="*/ 1477407 w 3862373"/>
                <a:gd name="connsiteY131" fmla="*/ 3131421 h 3682908"/>
                <a:gd name="connsiteX132" fmla="*/ 1516495 w 3862373"/>
                <a:gd name="connsiteY132" fmla="*/ 3092334 h 3682908"/>
                <a:gd name="connsiteX133" fmla="*/ 1329581 w 3862373"/>
                <a:gd name="connsiteY133" fmla="*/ 3092334 h 3682908"/>
                <a:gd name="connsiteX134" fmla="*/ 1368669 w 3862373"/>
                <a:gd name="connsiteY134" fmla="*/ 3131421 h 3682908"/>
                <a:gd name="connsiteX135" fmla="*/ 1329581 w 3862373"/>
                <a:gd name="connsiteY135" fmla="*/ 3170508 h 3682908"/>
                <a:gd name="connsiteX136" fmla="*/ 1290494 w 3862373"/>
                <a:gd name="connsiteY136" fmla="*/ 3131421 h 3682908"/>
                <a:gd name="connsiteX137" fmla="*/ 1329581 w 3862373"/>
                <a:gd name="connsiteY137" fmla="*/ 3092334 h 3682908"/>
                <a:gd name="connsiteX138" fmla="*/ 1142668 w 3862373"/>
                <a:gd name="connsiteY138" fmla="*/ 3092334 h 3682908"/>
                <a:gd name="connsiteX139" fmla="*/ 1181756 w 3862373"/>
                <a:gd name="connsiteY139" fmla="*/ 3131421 h 3682908"/>
                <a:gd name="connsiteX140" fmla="*/ 1142668 w 3862373"/>
                <a:gd name="connsiteY140" fmla="*/ 3170508 h 3682908"/>
                <a:gd name="connsiteX141" fmla="*/ 1103581 w 3862373"/>
                <a:gd name="connsiteY141" fmla="*/ 3131421 h 3682908"/>
                <a:gd name="connsiteX142" fmla="*/ 1142668 w 3862373"/>
                <a:gd name="connsiteY142" fmla="*/ 3092334 h 3682908"/>
                <a:gd name="connsiteX143" fmla="*/ 2924263 w 3862373"/>
                <a:gd name="connsiteY143" fmla="*/ 3092334 h 3682908"/>
                <a:gd name="connsiteX144" fmla="*/ 2963349 w 3862373"/>
                <a:gd name="connsiteY144" fmla="*/ 3131421 h 3682908"/>
                <a:gd name="connsiteX145" fmla="*/ 2924263 w 3862373"/>
                <a:gd name="connsiteY145" fmla="*/ 3170508 h 3682908"/>
                <a:gd name="connsiteX146" fmla="*/ 2885175 w 3862373"/>
                <a:gd name="connsiteY146" fmla="*/ 3131421 h 3682908"/>
                <a:gd name="connsiteX147" fmla="*/ 2924263 w 3862373"/>
                <a:gd name="connsiteY147" fmla="*/ 3092334 h 3682908"/>
                <a:gd name="connsiteX148" fmla="*/ 1419490 w 3862373"/>
                <a:gd name="connsiteY148" fmla="*/ 3092334 h 3682908"/>
                <a:gd name="connsiteX149" fmla="*/ 1458576 w 3862373"/>
                <a:gd name="connsiteY149" fmla="*/ 3131421 h 3682908"/>
                <a:gd name="connsiteX150" fmla="*/ 1419490 w 3862373"/>
                <a:gd name="connsiteY150" fmla="*/ 3170508 h 3682908"/>
                <a:gd name="connsiteX151" fmla="*/ 1380402 w 3862373"/>
                <a:gd name="connsiteY151" fmla="*/ 3131421 h 3682908"/>
                <a:gd name="connsiteX152" fmla="*/ 1419490 w 3862373"/>
                <a:gd name="connsiteY152" fmla="*/ 3092334 h 3682908"/>
                <a:gd name="connsiteX153" fmla="*/ 1232576 w 3862373"/>
                <a:gd name="connsiteY153" fmla="*/ 3092334 h 3682908"/>
                <a:gd name="connsiteX154" fmla="*/ 1271664 w 3862373"/>
                <a:gd name="connsiteY154" fmla="*/ 3131421 h 3682908"/>
                <a:gd name="connsiteX155" fmla="*/ 1232576 w 3862373"/>
                <a:gd name="connsiteY155" fmla="*/ 3170508 h 3682908"/>
                <a:gd name="connsiteX156" fmla="*/ 1193489 w 3862373"/>
                <a:gd name="connsiteY156" fmla="*/ 3131421 h 3682908"/>
                <a:gd name="connsiteX157" fmla="*/ 1232576 w 3862373"/>
                <a:gd name="connsiteY157" fmla="*/ 3092334 h 3682908"/>
                <a:gd name="connsiteX158" fmla="*/ 3205817 w 3862373"/>
                <a:gd name="connsiteY158" fmla="*/ 3007157 h 3682908"/>
                <a:gd name="connsiteX159" fmla="*/ 3244904 w 3862373"/>
                <a:gd name="connsiteY159" fmla="*/ 3046245 h 3682908"/>
                <a:gd name="connsiteX160" fmla="*/ 3205817 w 3862373"/>
                <a:gd name="connsiteY160" fmla="*/ 3085332 h 3682908"/>
                <a:gd name="connsiteX161" fmla="*/ 3166729 w 3862373"/>
                <a:gd name="connsiteY161" fmla="*/ 3046245 h 3682908"/>
                <a:gd name="connsiteX162" fmla="*/ 3205817 w 3862373"/>
                <a:gd name="connsiteY162" fmla="*/ 3007157 h 3682908"/>
                <a:gd name="connsiteX163" fmla="*/ 3111177 w 3862373"/>
                <a:gd name="connsiteY163" fmla="*/ 3007157 h 3682908"/>
                <a:gd name="connsiteX164" fmla="*/ 3150264 w 3862373"/>
                <a:gd name="connsiteY164" fmla="*/ 3046245 h 3682908"/>
                <a:gd name="connsiteX165" fmla="*/ 3111177 w 3862373"/>
                <a:gd name="connsiteY165" fmla="*/ 3085332 h 3682908"/>
                <a:gd name="connsiteX166" fmla="*/ 3072089 w 3862373"/>
                <a:gd name="connsiteY166" fmla="*/ 3046245 h 3682908"/>
                <a:gd name="connsiteX167" fmla="*/ 3111177 w 3862373"/>
                <a:gd name="connsiteY167" fmla="*/ 3007157 h 3682908"/>
                <a:gd name="connsiteX168" fmla="*/ 3018903 w 3862373"/>
                <a:gd name="connsiteY168" fmla="*/ 3007157 h 3682908"/>
                <a:gd name="connsiteX169" fmla="*/ 3057989 w 3862373"/>
                <a:gd name="connsiteY169" fmla="*/ 3046245 h 3682908"/>
                <a:gd name="connsiteX170" fmla="*/ 3018903 w 3862373"/>
                <a:gd name="connsiteY170" fmla="*/ 3085332 h 3682908"/>
                <a:gd name="connsiteX171" fmla="*/ 2979815 w 3862373"/>
                <a:gd name="connsiteY171" fmla="*/ 3046245 h 3682908"/>
                <a:gd name="connsiteX172" fmla="*/ 3018903 w 3862373"/>
                <a:gd name="connsiteY172" fmla="*/ 3007157 h 3682908"/>
                <a:gd name="connsiteX173" fmla="*/ 2924263 w 3862373"/>
                <a:gd name="connsiteY173" fmla="*/ 3007157 h 3682908"/>
                <a:gd name="connsiteX174" fmla="*/ 2963349 w 3862373"/>
                <a:gd name="connsiteY174" fmla="*/ 3046245 h 3682908"/>
                <a:gd name="connsiteX175" fmla="*/ 2924263 w 3862373"/>
                <a:gd name="connsiteY175" fmla="*/ 3085332 h 3682908"/>
                <a:gd name="connsiteX176" fmla="*/ 2885175 w 3862373"/>
                <a:gd name="connsiteY176" fmla="*/ 3046245 h 3682908"/>
                <a:gd name="connsiteX177" fmla="*/ 2924263 w 3862373"/>
                <a:gd name="connsiteY177" fmla="*/ 3007157 h 3682908"/>
                <a:gd name="connsiteX178" fmla="*/ 2831988 w 3862373"/>
                <a:gd name="connsiteY178" fmla="*/ 3007157 h 3682908"/>
                <a:gd name="connsiteX179" fmla="*/ 2871075 w 3862373"/>
                <a:gd name="connsiteY179" fmla="*/ 3046245 h 3682908"/>
                <a:gd name="connsiteX180" fmla="*/ 2831988 w 3862373"/>
                <a:gd name="connsiteY180" fmla="*/ 3085332 h 3682908"/>
                <a:gd name="connsiteX181" fmla="*/ 2792901 w 3862373"/>
                <a:gd name="connsiteY181" fmla="*/ 3046245 h 3682908"/>
                <a:gd name="connsiteX182" fmla="*/ 2831988 w 3862373"/>
                <a:gd name="connsiteY182" fmla="*/ 3007157 h 3682908"/>
                <a:gd name="connsiteX183" fmla="*/ 1611133 w 3862373"/>
                <a:gd name="connsiteY183" fmla="*/ 3007157 h 3682908"/>
                <a:gd name="connsiteX184" fmla="*/ 1650221 w 3862373"/>
                <a:gd name="connsiteY184" fmla="*/ 3046245 h 3682908"/>
                <a:gd name="connsiteX185" fmla="*/ 1611133 w 3862373"/>
                <a:gd name="connsiteY185" fmla="*/ 3085332 h 3682908"/>
                <a:gd name="connsiteX186" fmla="*/ 1572051 w 3862373"/>
                <a:gd name="connsiteY186" fmla="*/ 3046245 h 3682908"/>
                <a:gd name="connsiteX187" fmla="*/ 1611133 w 3862373"/>
                <a:gd name="connsiteY187" fmla="*/ 3007157 h 3682908"/>
                <a:gd name="connsiteX188" fmla="*/ 1516497 w 3862373"/>
                <a:gd name="connsiteY188" fmla="*/ 3007157 h 3682908"/>
                <a:gd name="connsiteX189" fmla="*/ 1555584 w 3862373"/>
                <a:gd name="connsiteY189" fmla="*/ 3046245 h 3682908"/>
                <a:gd name="connsiteX190" fmla="*/ 1516497 w 3862373"/>
                <a:gd name="connsiteY190" fmla="*/ 3085332 h 3682908"/>
                <a:gd name="connsiteX191" fmla="*/ 1477409 w 3862373"/>
                <a:gd name="connsiteY191" fmla="*/ 3046245 h 3682908"/>
                <a:gd name="connsiteX192" fmla="*/ 1516497 w 3862373"/>
                <a:gd name="connsiteY192" fmla="*/ 3007157 h 3682908"/>
                <a:gd name="connsiteX193" fmla="*/ 1419492 w 3862373"/>
                <a:gd name="connsiteY193" fmla="*/ 3007157 h 3682908"/>
                <a:gd name="connsiteX194" fmla="*/ 1458579 w 3862373"/>
                <a:gd name="connsiteY194" fmla="*/ 3046245 h 3682908"/>
                <a:gd name="connsiteX195" fmla="*/ 1419492 w 3862373"/>
                <a:gd name="connsiteY195" fmla="*/ 3085332 h 3682908"/>
                <a:gd name="connsiteX196" fmla="*/ 1380404 w 3862373"/>
                <a:gd name="connsiteY196" fmla="*/ 3046245 h 3682908"/>
                <a:gd name="connsiteX197" fmla="*/ 1419492 w 3862373"/>
                <a:gd name="connsiteY197" fmla="*/ 3007157 h 3682908"/>
                <a:gd name="connsiteX198" fmla="*/ 1329583 w 3862373"/>
                <a:gd name="connsiteY198" fmla="*/ 3007157 h 3682908"/>
                <a:gd name="connsiteX199" fmla="*/ 1368670 w 3862373"/>
                <a:gd name="connsiteY199" fmla="*/ 3046245 h 3682908"/>
                <a:gd name="connsiteX200" fmla="*/ 1329583 w 3862373"/>
                <a:gd name="connsiteY200" fmla="*/ 3085332 h 3682908"/>
                <a:gd name="connsiteX201" fmla="*/ 1290496 w 3862373"/>
                <a:gd name="connsiteY201" fmla="*/ 3046245 h 3682908"/>
                <a:gd name="connsiteX202" fmla="*/ 1329583 w 3862373"/>
                <a:gd name="connsiteY202" fmla="*/ 3007157 h 3682908"/>
                <a:gd name="connsiteX203" fmla="*/ 1232579 w 3862373"/>
                <a:gd name="connsiteY203" fmla="*/ 3007157 h 3682908"/>
                <a:gd name="connsiteX204" fmla="*/ 1271666 w 3862373"/>
                <a:gd name="connsiteY204" fmla="*/ 3046245 h 3682908"/>
                <a:gd name="connsiteX205" fmla="*/ 1232579 w 3862373"/>
                <a:gd name="connsiteY205" fmla="*/ 3085332 h 3682908"/>
                <a:gd name="connsiteX206" fmla="*/ 1193493 w 3862373"/>
                <a:gd name="connsiteY206" fmla="*/ 3046245 h 3682908"/>
                <a:gd name="connsiteX207" fmla="*/ 1232579 w 3862373"/>
                <a:gd name="connsiteY207" fmla="*/ 3007157 h 3682908"/>
                <a:gd name="connsiteX208" fmla="*/ 1142670 w 3862373"/>
                <a:gd name="connsiteY208" fmla="*/ 3007157 h 3682908"/>
                <a:gd name="connsiteX209" fmla="*/ 1181758 w 3862373"/>
                <a:gd name="connsiteY209" fmla="*/ 3046245 h 3682908"/>
                <a:gd name="connsiteX210" fmla="*/ 1142670 w 3862373"/>
                <a:gd name="connsiteY210" fmla="*/ 3085332 h 3682908"/>
                <a:gd name="connsiteX211" fmla="*/ 1103582 w 3862373"/>
                <a:gd name="connsiteY211" fmla="*/ 3046245 h 3682908"/>
                <a:gd name="connsiteX212" fmla="*/ 1142670 w 3862373"/>
                <a:gd name="connsiteY212" fmla="*/ 3007157 h 3682908"/>
                <a:gd name="connsiteX213" fmla="*/ 3111177 w 3862373"/>
                <a:gd name="connsiteY213" fmla="*/ 2919617 h 3682908"/>
                <a:gd name="connsiteX214" fmla="*/ 3150264 w 3862373"/>
                <a:gd name="connsiteY214" fmla="*/ 2958704 h 3682908"/>
                <a:gd name="connsiteX215" fmla="*/ 3111177 w 3862373"/>
                <a:gd name="connsiteY215" fmla="*/ 2997791 h 3682908"/>
                <a:gd name="connsiteX216" fmla="*/ 3072089 w 3862373"/>
                <a:gd name="connsiteY216" fmla="*/ 2958704 h 3682908"/>
                <a:gd name="connsiteX217" fmla="*/ 3111177 w 3862373"/>
                <a:gd name="connsiteY217" fmla="*/ 2919617 h 3682908"/>
                <a:gd name="connsiteX218" fmla="*/ 3018902 w 3862373"/>
                <a:gd name="connsiteY218" fmla="*/ 2919617 h 3682908"/>
                <a:gd name="connsiteX219" fmla="*/ 3057989 w 3862373"/>
                <a:gd name="connsiteY219" fmla="*/ 2958704 h 3682908"/>
                <a:gd name="connsiteX220" fmla="*/ 3018902 w 3862373"/>
                <a:gd name="connsiteY220" fmla="*/ 2997791 h 3682908"/>
                <a:gd name="connsiteX221" fmla="*/ 2979815 w 3862373"/>
                <a:gd name="connsiteY221" fmla="*/ 2958704 h 3682908"/>
                <a:gd name="connsiteX222" fmla="*/ 3018902 w 3862373"/>
                <a:gd name="connsiteY222" fmla="*/ 2919617 h 3682908"/>
                <a:gd name="connsiteX223" fmla="*/ 2831988 w 3862373"/>
                <a:gd name="connsiteY223" fmla="*/ 2919617 h 3682908"/>
                <a:gd name="connsiteX224" fmla="*/ 2871075 w 3862373"/>
                <a:gd name="connsiteY224" fmla="*/ 2958704 h 3682908"/>
                <a:gd name="connsiteX225" fmla="*/ 2831988 w 3862373"/>
                <a:gd name="connsiteY225" fmla="*/ 2997791 h 3682908"/>
                <a:gd name="connsiteX226" fmla="*/ 2792901 w 3862373"/>
                <a:gd name="connsiteY226" fmla="*/ 2958704 h 3682908"/>
                <a:gd name="connsiteX227" fmla="*/ 2831988 w 3862373"/>
                <a:gd name="connsiteY227" fmla="*/ 2919617 h 3682908"/>
                <a:gd name="connsiteX228" fmla="*/ 1611133 w 3862373"/>
                <a:gd name="connsiteY228" fmla="*/ 2919617 h 3682908"/>
                <a:gd name="connsiteX229" fmla="*/ 1650221 w 3862373"/>
                <a:gd name="connsiteY229" fmla="*/ 2958704 h 3682908"/>
                <a:gd name="connsiteX230" fmla="*/ 1611133 w 3862373"/>
                <a:gd name="connsiteY230" fmla="*/ 2997791 h 3682908"/>
                <a:gd name="connsiteX231" fmla="*/ 1572053 w 3862373"/>
                <a:gd name="connsiteY231" fmla="*/ 2958704 h 3682908"/>
                <a:gd name="connsiteX232" fmla="*/ 1611133 w 3862373"/>
                <a:gd name="connsiteY232" fmla="*/ 2919617 h 3682908"/>
                <a:gd name="connsiteX233" fmla="*/ 1516498 w 3862373"/>
                <a:gd name="connsiteY233" fmla="*/ 2919617 h 3682908"/>
                <a:gd name="connsiteX234" fmla="*/ 1555586 w 3862373"/>
                <a:gd name="connsiteY234" fmla="*/ 2958704 h 3682908"/>
                <a:gd name="connsiteX235" fmla="*/ 1516498 w 3862373"/>
                <a:gd name="connsiteY235" fmla="*/ 2997791 h 3682908"/>
                <a:gd name="connsiteX236" fmla="*/ 1477411 w 3862373"/>
                <a:gd name="connsiteY236" fmla="*/ 2958704 h 3682908"/>
                <a:gd name="connsiteX237" fmla="*/ 1516498 w 3862373"/>
                <a:gd name="connsiteY237" fmla="*/ 2919617 h 3682908"/>
                <a:gd name="connsiteX238" fmla="*/ 1329585 w 3862373"/>
                <a:gd name="connsiteY238" fmla="*/ 2919617 h 3682908"/>
                <a:gd name="connsiteX239" fmla="*/ 1368672 w 3862373"/>
                <a:gd name="connsiteY239" fmla="*/ 2958704 h 3682908"/>
                <a:gd name="connsiteX240" fmla="*/ 1329585 w 3862373"/>
                <a:gd name="connsiteY240" fmla="*/ 2997791 h 3682908"/>
                <a:gd name="connsiteX241" fmla="*/ 1290499 w 3862373"/>
                <a:gd name="connsiteY241" fmla="*/ 2958704 h 3682908"/>
                <a:gd name="connsiteX242" fmla="*/ 1329585 w 3862373"/>
                <a:gd name="connsiteY242" fmla="*/ 2919617 h 3682908"/>
                <a:gd name="connsiteX243" fmla="*/ 3489737 w 3862373"/>
                <a:gd name="connsiteY243" fmla="*/ 2919616 h 3682908"/>
                <a:gd name="connsiteX244" fmla="*/ 3508003 w 3862373"/>
                <a:gd name="connsiteY244" fmla="*/ 2927183 h 3682908"/>
                <a:gd name="connsiteX245" fmla="*/ 3463371 w 3862373"/>
                <a:gd name="connsiteY245" fmla="*/ 2986869 h 3682908"/>
                <a:gd name="connsiteX246" fmla="*/ 3462097 w 3862373"/>
                <a:gd name="connsiteY246" fmla="*/ 2986342 h 3682908"/>
                <a:gd name="connsiteX247" fmla="*/ 3450649 w 3862373"/>
                <a:gd name="connsiteY247" fmla="*/ 2958703 h 3682908"/>
                <a:gd name="connsiteX248" fmla="*/ 3489737 w 3862373"/>
                <a:gd name="connsiteY248" fmla="*/ 2919616 h 3682908"/>
                <a:gd name="connsiteX249" fmla="*/ 3205817 w 3862373"/>
                <a:gd name="connsiteY249" fmla="*/ 2919616 h 3682908"/>
                <a:gd name="connsiteX250" fmla="*/ 3244904 w 3862373"/>
                <a:gd name="connsiteY250" fmla="*/ 2958703 h 3682908"/>
                <a:gd name="connsiteX251" fmla="*/ 3205817 w 3862373"/>
                <a:gd name="connsiteY251" fmla="*/ 2997790 h 3682908"/>
                <a:gd name="connsiteX252" fmla="*/ 3166729 w 3862373"/>
                <a:gd name="connsiteY252" fmla="*/ 2958703 h 3682908"/>
                <a:gd name="connsiteX253" fmla="*/ 3205817 w 3862373"/>
                <a:gd name="connsiteY253" fmla="*/ 2919616 h 3682908"/>
                <a:gd name="connsiteX254" fmla="*/ 2924263 w 3862373"/>
                <a:gd name="connsiteY254" fmla="*/ 2919616 h 3682908"/>
                <a:gd name="connsiteX255" fmla="*/ 2963349 w 3862373"/>
                <a:gd name="connsiteY255" fmla="*/ 2958703 h 3682908"/>
                <a:gd name="connsiteX256" fmla="*/ 2924263 w 3862373"/>
                <a:gd name="connsiteY256" fmla="*/ 2997790 h 3682908"/>
                <a:gd name="connsiteX257" fmla="*/ 2885175 w 3862373"/>
                <a:gd name="connsiteY257" fmla="*/ 2958703 h 3682908"/>
                <a:gd name="connsiteX258" fmla="*/ 2924263 w 3862373"/>
                <a:gd name="connsiteY258" fmla="*/ 2919616 h 3682908"/>
                <a:gd name="connsiteX259" fmla="*/ 1703408 w 3862373"/>
                <a:gd name="connsiteY259" fmla="*/ 2919616 h 3682908"/>
                <a:gd name="connsiteX260" fmla="*/ 1742495 w 3862373"/>
                <a:gd name="connsiteY260" fmla="*/ 2958703 h 3682908"/>
                <a:gd name="connsiteX261" fmla="*/ 1703408 w 3862373"/>
                <a:gd name="connsiteY261" fmla="*/ 2997790 h 3682908"/>
                <a:gd name="connsiteX262" fmla="*/ 1664321 w 3862373"/>
                <a:gd name="connsiteY262" fmla="*/ 2958703 h 3682908"/>
                <a:gd name="connsiteX263" fmla="*/ 1703408 w 3862373"/>
                <a:gd name="connsiteY263" fmla="*/ 2919616 h 3682908"/>
                <a:gd name="connsiteX264" fmla="*/ 1419494 w 3862373"/>
                <a:gd name="connsiteY264" fmla="*/ 2919616 h 3682908"/>
                <a:gd name="connsiteX265" fmla="*/ 1458581 w 3862373"/>
                <a:gd name="connsiteY265" fmla="*/ 2958703 h 3682908"/>
                <a:gd name="connsiteX266" fmla="*/ 1419494 w 3862373"/>
                <a:gd name="connsiteY266" fmla="*/ 2997790 h 3682908"/>
                <a:gd name="connsiteX267" fmla="*/ 1380407 w 3862373"/>
                <a:gd name="connsiteY267" fmla="*/ 2958703 h 3682908"/>
                <a:gd name="connsiteX268" fmla="*/ 1419494 w 3862373"/>
                <a:gd name="connsiteY268" fmla="*/ 2919616 h 3682908"/>
                <a:gd name="connsiteX269" fmla="*/ 1232582 w 3862373"/>
                <a:gd name="connsiteY269" fmla="*/ 2919616 h 3682908"/>
                <a:gd name="connsiteX270" fmla="*/ 1271667 w 3862373"/>
                <a:gd name="connsiteY270" fmla="*/ 2958703 h 3682908"/>
                <a:gd name="connsiteX271" fmla="*/ 1232582 w 3862373"/>
                <a:gd name="connsiteY271" fmla="*/ 2997790 h 3682908"/>
                <a:gd name="connsiteX272" fmla="*/ 1193494 w 3862373"/>
                <a:gd name="connsiteY272" fmla="*/ 2958703 h 3682908"/>
                <a:gd name="connsiteX273" fmla="*/ 1232582 w 3862373"/>
                <a:gd name="connsiteY273" fmla="*/ 2919616 h 3682908"/>
                <a:gd name="connsiteX274" fmla="*/ 3489737 w 3862373"/>
                <a:gd name="connsiteY274" fmla="*/ 2832075 h 3682908"/>
                <a:gd name="connsiteX275" fmla="*/ 3528823 w 3862373"/>
                <a:gd name="connsiteY275" fmla="*/ 2871162 h 3682908"/>
                <a:gd name="connsiteX276" fmla="*/ 3489737 w 3862373"/>
                <a:gd name="connsiteY276" fmla="*/ 2910249 h 3682908"/>
                <a:gd name="connsiteX277" fmla="*/ 3450649 w 3862373"/>
                <a:gd name="connsiteY277" fmla="*/ 2871162 h 3682908"/>
                <a:gd name="connsiteX278" fmla="*/ 3489737 w 3862373"/>
                <a:gd name="connsiteY278" fmla="*/ 2832075 h 3682908"/>
                <a:gd name="connsiteX279" fmla="*/ 3300457 w 3862373"/>
                <a:gd name="connsiteY279" fmla="*/ 2832075 h 3682908"/>
                <a:gd name="connsiteX280" fmla="*/ 3339544 w 3862373"/>
                <a:gd name="connsiteY280" fmla="*/ 2871162 h 3682908"/>
                <a:gd name="connsiteX281" fmla="*/ 3300457 w 3862373"/>
                <a:gd name="connsiteY281" fmla="*/ 2910249 h 3682908"/>
                <a:gd name="connsiteX282" fmla="*/ 3261369 w 3862373"/>
                <a:gd name="connsiteY282" fmla="*/ 2871162 h 3682908"/>
                <a:gd name="connsiteX283" fmla="*/ 3300457 w 3862373"/>
                <a:gd name="connsiteY283" fmla="*/ 2832075 h 3682908"/>
                <a:gd name="connsiteX284" fmla="*/ 3205817 w 3862373"/>
                <a:gd name="connsiteY284" fmla="*/ 2832075 h 3682908"/>
                <a:gd name="connsiteX285" fmla="*/ 3244904 w 3862373"/>
                <a:gd name="connsiteY285" fmla="*/ 2871162 h 3682908"/>
                <a:gd name="connsiteX286" fmla="*/ 3205817 w 3862373"/>
                <a:gd name="connsiteY286" fmla="*/ 2910249 h 3682908"/>
                <a:gd name="connsiteX287" fmla="*/ 3166729 w 3862373"/>
                <a:gd name="connsiteY287" fmla="*/ 2871162 h 3682908"/>
                <a:gd name="connsiteX288" fmla="*/ 3205817 w 3862373"/>
                <a:gd name="connsiteY288" fmla="*/ 2832075 h 3682908"/>
                <a:gd name="connsiteX289" fmla="*/ 3111177 w 3862373"/>
                <a:gd name="connsiteY289" fmla="*/ 2832075 h 3682908"/>
                <a:gd name="connsiteX290" fmla="*/ 3150264 w 3862373"/>
                <a:gd name="connsiteY290" fmla="*/ 2871162 h 3682908"/>
                <a:gd name="connsiteX291" fmla="*/ 3111177 w 3862373"/>
                <a:gd name="connsiteY291" fmla="*/ 2910249 h 3682908"/>
                <a:gd name="connsiteX292" fmla="*/ 3072089 w 3862373"/>
                <a:gd name="connsiteY292" fmla="*/ 2871162 h 3682908"/>
                <a:gd name="connsiteX293" fmla="*/ 3111177 w 3862373"/>
                <a:gd name="connsiteY293" fmla="*/ 2832075 h 3682908"/>
                <a:gd name="connsiteX294" fmla="*/ 3018902 w 3862373"/>
                <a:gd name="connsiteY294" fmla="*/ 2832075 h 3682908"/>
                <a:gd name="connsiteX295" fmla="*/ 3057989 w 3862373"/>
                <a:gd name="connsiteY295" fmla="*/ 2871162 h 3682908"/>
                <a:gd name="connsiteX296" fmla="*/ 3018902 w 3862373"/>
                <a:gd name="connsiteY296" fmla="*/ 2910249 h 3682908"/>
                <a:gd name="connsiteX297" fmla="*/ 2979815 w 3862373"/>
                <a:gd name="connsiteY297" fmla="*/ 2871162 h 3682908"/>
                <a:gd name="connsiteX298" fmla="*/ 3018902 w 3862373"/>
                <a:gd name="connsiteY298" fmla="*/ 2832075 h 3682908"/>
                <a:gd name="connsiteX299" fmla="*/ 2924263 w 3862373"/>
                <a:gd name="connsiteY299" fmla="*/ 2832075 h 3682908"/>
                <a:gd name="connsiteX300" fmla="*/ 2963349 w 3862373"/>
                <a:gd name="connsiteY300" fmla="*/ 2871162 h 3682908"/>
                <a:gd name="connsiteX301" fmla="*/ 2924263 w 3862373"/>
                <a:gd name="connsiteY301" fmla="*/ 2910249 h 3682908"/>
                <a:gd name="connsiteX302" fmla="*/ 2885175 w 3862373"/>
                <a:gd name="connsiteY302" fmla="*/ 2871162 h 3682908"/>
                <a:gd name="connsiteX303" fmla="*/ 2924263 w 3862373"/>
                <a:gd name="connsiteY303" fmla="*/ 2832075 h 3682908"/>
                <a:gd name="connsiteX304" fmla="*/ 2831988 w 3862373"/>
                <a:gd name="connsiteY304" fmla="*/ 2832075 h 3682908"/>
                <a:gd name="connsiteX305" fmla="*/ 2871075 w 3862373"/>
                <a:gd name="connsiteY305" fmla="*/ 2871162 h 3682908"/>
                <a:gd name="connsiteX306" fmla="*/ 2831988 w 3862373"/>
                <a:gd name="connsiteY306" fmla="*/ 2910249 h 3682908"/>
                <a:gd name="connsiteX307" fmla="*/ 2792901 w 3862373"/>
                <a:gd name="connsiteY307" fmla="*/ 2871162 h 3682908"/>
                <a:gd name="connsiteX308" fmla="*/ 2831988 w 3862373"/>
                <a:gd name="connsiteY308" fmla="*/ 2832075 h 3682908"/>
                <a:gd name="connsiteX309" fmla="*/ 1703409 w 3862373"/>
                <a:gd name="connsiteY309" fmla="*/ 2832075 h 3682908"/>
                <a:gd name="connsiteX310" fmla="*/ 1742495 w 3862373"/>
                <a:gd name="connsiteY310" fmla="*/ 2871162 h 3682908"/>
                <a:gd name="connsiteX311" fmla="*/ 1703409 w 3862373"/>
                <a:gd name="connsiteY311" fmla="*/ 2910249 h 3682908"/>
                <a:gd name="connsiteX312" fmla="*/ 1664321 w 3862373"/>
                <a:gd name="connsiteY312" fmla="*/ 2871162 h 3682908"/>
                <a:gd name="connsiteX313" fmla="*/ 1703409 w 3862373"/>
                <a:gd name="connsiteY313" fmla="*/ 2832075 h 3682908"/>
                <a:gd name="connsiteX314" fmla="*/ 1611133 w 3862373"/>
                <a:gd name="connsiteY314" fmla="*/ 2832075 h 3682908"/>
                <a:gd name="connsiteX315" fmla="*/ 1650221 w 3862373"/>
                <a:gd name="connsiteY315" fmla="*/ 2871162 h 3682908"/>
                <a:gd name="connsiteX316" fmla="*/ 1611133 w 3862373"/>
                <a:gd name="connsiteY316" fmla="*/ 2910249 h 3682908"/>
                <a:gd name="connsiteX317" fmla="*/ 1572054 w 3862373"/>
                <a:gd name="connsiteY317" fmla="*/ 2871162 h 3682908"/>
                <a:gd name="connsiteX318" fmla="*/ 1611133 w 3862373"/>
                <a:gd name="connsiteY318" fmla="*/ 2832075 h 3682908"/>
                <a:gd name="connsiteX319" fmla="*/ 1516501 w 3862373"/>
                <a:gd name="connsiteY319" fmla="*/ 2832075 h 3682908"/>
                <a:gd name="connsiteX320" fmla="*/ 1555588 w 3862373"/>
                <a:gd name="connsiteY320" fmla="*/ 2871162 h 3682908"/>
                <a:gd name="connsiteX321" fmla="*/ 1516501 w 3862373"/>
                <a:gd name="connsiteY321" fmla="*/ 2910249 h 3682908"/>
                <a:gd name="connsiteX322" fmla="*/ 1477413 w 3862373"/>
                <a:gd name="connsiteY322" fmla="*/ 2871162 h 3682908"/>
                <a:gd name="connsiteX323" fmla="*/ 1516501 w 3862373"/>
                <a:gd name="connsiteY323" fmla="*/ 2832075 h 3682908"/>
                <a:gd name="connsiteX324" fmla="*/ 1419496 w 3862373"/>
                <a:gd name="connsiteY324" fmla="*/ 2832075 h 3682908"/>
                <a:gd name="connsiteX325" fmla="*/ 1458583 w 3862373"/>
                <a:gd name="connsiteY325" fmla="*/ 2871162 h 3682908"/>
                <a:gd name="connsiteX326" fmla="*/ 1419496 w 3862373"/>
                <a:gd name="connsiteY326" fmla="*/ 2910249 h 3682908"/>
                <a:gd name="connsiteX327" fmla="*/ 1380408 w 3862373"/>
                <a:gd name="connsiteY327" fmla="*/ 2871162 h 3682908"/>
                <a:gd name="connsiteX328" fmla="*/ 1419496 w 3862373"/>
                <a:gd name="connsiteY328" fmla="*/ 2832075 h 3682908"/>
                <a:gd name="connsiteX329" fmla="*/ 1329587 w 3862373"/>
                <a:gd name="connsiteY329" fmla="*/ 2832075 h 3682908"/>
                <a:gd name="connsiteX330" fmla="*/ 1368674 w 3862373"/>
                <a:gd name="connsiteY330" fmla="*/ 2871162 h 3682908"/>
                <a:gd name="connsiteX331" fmla="*/ 1329587 w 3862373"/>
                <a:gd name="connsiteY331" fmla="*/ 2910249 h 3682908"/>
                <a:gd name="connsiteX332" fmla="*/ 1290500 w 3862373"/>
                <a:gd name="connsiteY332" fmla="*/ 2871162 h 3682908"/>
                <a:gd name="connsiteX333" fmla="*/ 1329587 w 3862373"/>
                <a:gd name="connsiteY333" fmla="*/ 2832075 h 3682908"/>
                <a:gd name="connsiteX334" fmla="*/ 1232583 w 3862373"/>
                <a:gd name="connsiteY334" fmla="*/ 2832075 h 3682908"/>
                <a:gd name="connsiteX335" fmla="*/ 1271669 w 3862373"/>
                <a:gd name="connsiteY335" fmla="*/ 2871162 h 3682908"/>
                <a:gd name="connsiteX336" fmla="*/ 1232583 w 3862373"/>
                <a:gd name="connsiteY336" fmla="*/ 2910249 h 3682908"/>
                <a:gd name="connsiteX337" fmla="*/ 1193496 w 3862373"/>
                <a:gd name="connsiteY337" fmla="*/ 2871162 h 3682908"/>
                <a:gd name="connsiteX338" fmla="*/ 1232583 w 3862373"/>
                <a:gd name="connsiteY338" fmla="*/ 2832075 h 3682908"/>
                <a:gd name="connsiteX339" fmla="*/ 3489737 w 3862373"/>
                <a:gd name="connsiteY339" fmla="*/ 2742165 h 3682908"/>
                <a:gd name="connsiteX340" fmla="*/ 3528823 w 3862373"/>
                <a:gd name="connsiteY340" fmla="*/ 2781252 h 3682908"/>
                <a:gd name="connsiteX341" fmla="*/ 3489737 w 3862373"/>
                <a:gd name="connsiteY341" fmla="*/ 2820339 h 3682908"/>
                <a:gd name="connsiteX342" fmla="*/ 3450649 w 3862373"/>
                <a:gd name="connsiteY342" fmla="*/ 2781252 h 3682908"/>
                <a:gd name="connsiteX343" fmla="*/ 3489737 w 3862373"/>
                <a:gd name="connsiteY343" fmla="*/ 2742165 h 3682908"/>
                <a:gd name="connsiteX344" fmla="*/ 3300457 w 3862373"/>
                <a:gd name="connsiteY344" fmla="*/ 2664088 h 3682908"/>
                <a:gd name="connsiteX345" fmla="*/ 3339544 w 3862373"/>
                <a:gd name="connsiteY345" fmla="*/ 2703175 h 3682908"/>
                <a:gd name="connsiteX346" fmla="*/ 3315671 w 3862373"/>
                <a:gd name="connsiteY346" fmla="*/ 2739190 h 3682908"/>
                <a:gd name="connsiteX347" fmla="*/ 3300696 w 3862373"/>
                <a:gd name="connsiteY347" fmla="*/ 2742214 h 3682908"/>
                <a:gd name="connsiteX348" fmla="*/ 3315671 w 3862373"/>
                <a:gd name="connsiteY348" fmla="*/ 2745237 h 3682908"/>
                <a:gd name="connsiteX349" fmla="*/ 3339544 w 3862373"/>
                <a:gd name="connsiteY349" fmla="*/ 2781252 h 3682908"/>
                <a:gd name="connsiteX350" fmla="*/ 3300457 w 3862373"/>
                <a:gd name="connsiteY350" fmla="*/ 2820339 h 3682908"/>
                <a:gd name="connsiteX351" fmla="*/ 3261369 w 3862373"/>
                <a:gd name="connsiteY351" fmla="*/ 2781252 h 3682908"/>
                <a:gd name="connsiteX352" fmla="*/ 3285242 w 3862373"/>
                <a:gd name="connsiteY352" fmla="*/ 2745237 h 3682908"/>
                <a:gd name="connsiteX353" fmla="*/ 3300217 w 3862373"/>
                <a:gd name="connsiteY353" fmla="*/ 2742214 h 3682908"/>
                <a:gd name="connsiteX354" fmla="*/ 3285242 w 3862373"/>
                <a:gd name="connsiteY354" fmla="*/ 2739190 h 3682908"/>
                <a:gd name="connsiteX355" fmla="*/ 3261369 w 3862373"/>
                <a:gd name="connsiteY355" fmla="*/ 2703175 h 3682908"/>
                <a:gd name="connsiteX356" fmla="*/ 3300457 w 3862373"/>
                <a:gd name="connsiteY356" fmla="*/ 2664088 h 3682908"/>
                <a:gd name="connsiteX357" fmla="*/ 3111177 w 3862373"/>
                <a:gd name="connsiteY357" fmla="*/ 2664088 h 3682908"/>
                <a:gd name="connsiteX358" fmla="*/ 3150264 w 3862373"/>
                <a:gd name="connsiteY358" fmla="*/ 2703175 h 3682908"/>
                <a:gd name="connsiteX359" fmla="*/ 3126391 w 3862373"/>
                <a:gd name="connsiteY359" fmla="*/ 2739190 h 3682908"/>
                <a:gd name="connsiteX360" fmla="*/ 3111417 w 3862373"/>
                <a:gd name="connsiteY360" fmla="*/ 2742214 h 3682908"/>
                <a:gd name="connsiteX361" fmla="*/ 3126391 w 3862373"/>
                <a:gd name="connsiteY361" fmla="*/ 2745237 h 3682908"/>
                <a:gd name="connsiteX362" fmla="*/ 3150264 w 3862373"/>
                <a:gd name="connsiteY362" fmla="*/ 2781252 h 3682908"/>
                <a:gd name="connsiteX363" fmla="*/ 3111177 w 3862373"/>
                <a:gd name="connsiteY363" fmla="*/ 2820339 h 3682908"/>
                <a:gd name="connsiteX364" fmla="*/ 3072089 w 3862373"/>
                <a:gd name="connsiteY364" fmla="*/ 2781252 h 3682908"/>
                <a:gd name="connsiteX365" fmla="*/ 3095962 w 3862373"/>
                <a:gd name="connsiteY365" fmla="*/ 2745237 h 3682908"/>
                <a:gd name="connsiteX366" fmla="*/ 3110937 w 3862373"/>
                <a:gd name="connsiteY366" fmla="*/ 2742214 h 3682908"/>
                <a:gd name="connsiteX367" fmla="*/ 3095962 w 3862373"/>
                <a:gd name="connsiteY367" fmla="*/ 2739190 h 3682908"/>
                <a:gd name="connsiteX368" fmla="*/ 3072089 w 3862373"/>
                <a:gd name="connsiteY368" fmla="*/ 2703175 h 3682908"/>
                <a:gd name="connsiteX369" fmla="*/ 3111177 w 3862373"/>
                <a:gd name="connsiteY369" fmla="*/ 2664088 h 3682908"/>
                <a:gd name="connsiteX370" fmla="*/ 3018902 w 3862373"/>
                <a:gd name="connsiteY370" fmla="*/ 2664088 h 3682908"/>
                <a:gd name="connsiteX371" fmla="*/ 3057989 w 3862373"/>
                <a:gd name="connsiteY371" fmla="*/ 2703175 h 3682908"/>
                <a:gd name="connsiteX372" fmla="*/ 3034117 w 3862373"/>
                <a:gd name="connsiteY372" fmla="*/ 2739190 h 3682908"/>
                <a:gd name="connsiteX373" fmla="*/ 3019142 w 3862373"/>
                <a:gd name="connsiteY373" fmla="*/ 2742214 h 3682908"/>
                <a:gd name="connsiteX374" fmla="*/ 3034117 w 3862373"/>
                <a:gd name="connsiteY374" fmla="*/ 2745237 h 3682908"/>
                <a:gd name="connsiteX375" fmla="*/ 3057989 w 3862373"/>
                <a:gd name="connsiteY375" fmla="*/ 2781252 h 3682908"/>
                <a:gd name="connsiteX376" fmla="*/ 3018902 w 3862373"/>
                <a:gd name="connsiteY376" fmla="*/ 2820339 h 3682908"/>
                <a:gd name="connsiteX377" fmla="*/ 2979815 w 3862373"/>
                <a:gd name="connsiteY377" fmla="*/ 2781252 h 3682908"/>
                <a:gd name="connsiteX378" fmla="*/ 3003687 w 3862373"/>
                <a:gd name="connsiteY378" fmla="*/ 2745237 h 3682908"/>
                <a:gd name="connsiteX379" fmla="*/ 3018663 w 3862373"/>
                <a:gd name="connsiteY379" fmla="*/ 2742214 h 3682908"/>
                <a:gd name="connsiteX380" fmla="*/ 3003687 w 3862373"/>
                <a:gd name="connsiteY380" fmla="*/ 2739190 h 3682908"/>
                <a:gd name="connsiteX381" fmla="*/ 2979815 w 3862373"/>
                <a:gd name="connsiteY381" fmla="*/ 2703175 h 3682908"/>
                <a:gd name="connsiteX382" fmla="*/ 3018902 w 3862373"/>
                <a:gd name="connsiteY382" fmla="*/ 2664088 h 3682908"/>
                <a:gd name="connsiteX383" fmla="*/ 2831988 w 3862373"/>
                <a:gd name="connsiteY383" fmla="*/ 2664088 h 3682908"/>
                <a:gd name="connsiteX384" fmla="*/ 2871075 w 3862373"/>
                <a:gd name="connsiteY384" fmla="*/ 2703175 h 3682908"/>
                <a:gd name="connsiteX385" fmla="*/ 2847202 w 3862373"/>
                <a:gd name="connsiteY385" fmla="*/ 2739190 h 3682908"/>
                <a:gd name="connsiteX386" fmla="*/ 2832228 w 3862373"/>
                <a:gd name="connsiteY386" fmla="*/ 2742214 h 3682908"/>
                <a:gd name="connsiteX387" fmla="*/ 2847202 w 3862373"/>
                <a:gd name="connsiteY387" fmla="*/ 2745237 h 3682908"/>
                <a:gd name="connsiteX388" fmla="*/ 2871075 w 3862373"/>
                <a:gd name="connsiteY388" fmla="*/ 2781252 h 3682908"/>
                <a:gd name="connsiteX389" fmla="*/ 2831988 w 3862373"/>
                <a:gd name="connsiteY389" fmla="*/ 2820339 h 3682908"/>
                <a:gd name="connsiteX390" fmla="*/ 2792901 w 3862373"/>
                <a:gd name="connsiteY390" fmla="*/ 2781252 h 3682908"/>
                <a:gd name="connsiteX391" fmla="*/ 2816773 w 3862373"/>
                <a:gd name="connsiteY391" fmla="*/ 2745237 h 3682908"/>
                <a:gd name="connsiteX392" fmla="*/ 2831748 w 3862373"/>
                <a:gd name="connsiteY392" fmla="*/ 2742214 h 3682908"/>
                <a:gd name="connsiteX393" fmla="*/ 2816773 w 3862373"/>
                <a:gd name="connsiteY393" fmla="*/ 2739190 h 3682908"/>
                <a:gd name="connsiteX394" fmla="*/ 2792901 w 3862373"/>
                <a:gd name="connsiteY394" fmla="*/ 2703175 h 3682908"/>
                <a:gd name="connsiteX395" fmla="*/ 2831988 w 3862373"/>
                <a:gd name="connsiteY395" fmla="*/ 2664088 h 3682908"/>
                <a:gd name="connsiteX396" fmla="*/ 1798047 w 3862373"/>
                <a:gd name="connsiteY396" fmla="*/ 2664088 h 3682908"/>
                <a:gd name="connsiteX397" fmla="*/ 1837135 w 3862373"/>
                <a:gd name="connsiteY397" fmla="*/ 2703175 h 3682908"/>
                <a:gd name="connsiteX398" fmla="*/ 1798047 w 3862373"/>
                <a:gd name="connsiteY398" fmla="*/ 2742262 h 3682908"/>
                <a:gd name="connsiteX399" fmla="*/ 1758959 w 3862373"/>
                <a:gd name="connsiteY399" fmla="*/ 2703175 h 3682908"/>
                <a:gd name="connsiteX400" fmla="*/ 1798047 w 3862373"/>
                <a:gd name="connsiteY400" fmla="*/ 2664088 h 3682908"/>
                <a:gd name="connsiteX401" fmla="*/ 1611133 w 3862373"/>
                <a:gd name="connsiteY401" fmla="*/ 2664088 h 3682908"/>
                <a:gd name="connsiteX402" fmla="*/ 1650221 w 3862373"/>
                <a:gd name="connsiteY402" fmla="*/ 2703175 h 3682908"/>
                <a:gd name="connsiteX403" fmla="*/ 1626349 w 3862373"/>
                <a:gd name="connsiteY403" fmla="*/ 2739190 h 3682908"/>
                <a:gd name="connsiteX404" fmla="*/ 1611371 w 3862373"/>
                <a:gd name="connsiteY404" fmla="*/ 2742214 h 3682908"/>
                <a:gd name="connsiteX405" fmla="*/ 1626347 w 3862373"/>
                <a:gd name="connsiteY405" fmla="*/ 2745237 h 3682908"/>
                <a:gd name="connsiteX406" fmla="*/ 1650221 w 3862373"/>
                <a:gd name="connsiteY406" fmla="*/ 2781252 h 3682908"/>
                <a:gd name="connsiteX407" fmla="*/ 1611133 w 3862373"/>
                <a:gd name="connsiteY407" fmla="*/ 2820339 h 3682908"/>
                <a:gd name="connsiteX408" fmla="*/ 1572057 w 3862373"/>
                <a:gd name="connsiteY408" fmla="*/ 2781252 h 3682908"/>
                <a:gd name="connsiteX409" fmla="*/ 1595929 w 3862373"/>
                <a:gd name="connsiteY409" fmla="*/ 2745237 h 3682908"/>
                <a:gd name="connsiteX410" fmla="*/ 1610892 w 3862373"/>
                <a:gd name="connsiteY410" fmla="*/ 2742214 h 3682908"/>
                <a:gd name="connsiteX411" fmla="*/ 1595930 w 3862373"/>
                <a:gd name="connsiteY411" fmla="*/ 2739190 h 3682908"/>
                <a:gd name="connsiteX412" fmla="*/ 1572058 w 3862373"/>
                <a:gd name="connsiteY412" fmla="*/ 2703175 h 3682908"/>
                <a:gd name="connsiteX413" fmla="*/ 1611133 w 3862373"/>
                <a:gd name="connsiteY413" fmla="*/ 2664088 h 3682908"/>
                <a:gd name="connsiteX414" fmla="*/ 1516504 w 3862373"/>
                <a:gd name="connsiteY414" fmla="*/ 2664088 h 3682908"/>
                <a:gd name="connsiteX415" fmla="*/ 1555592 w 3862373"/>
                <a:gd name="connsiteY415" fmla="*/ 2703175 h 3682908"/>
                <a:gd name="connsiteX416" fmla="*/ 1531719 w 3862373"/>
                <a:gd name="connsiteY416" fmla="*/ 2739190 h 3682908"/>
                <a:gd name="connsiteX417" fmla="*/ 1516743 w 3862373"/>
                <a:gd name="connsiteY417" fmla="*/ 2742214 h 3682908"/>
                <a:gd name="connsiteX418" fmla="*/ 1531717 w 3862373"/>
                <a:gd name="connsiteY418" fmla="*/ 2745237 h 3682908"/>
                <a:gd name="connsiteX419" fmla="*/ 1555589 w 3862373"/>
                <a:gd name="connsiteY419" fmla="*/ 2781252 h 3682908"/>
                <a:gd name="connsiteX420" fmla="*/ 1516503 w 3862373"/>
                <a:gd name="connsiteY420" fmla="*/ 2820339 h 3682908"/>
                <a:gd name="connsiteX421" fmla="*/ 1477414 w 3862373"/>
                <a:gd name="connsiteY421" fmla="*/ 2781252 h 3682908"/>
                <a:gd name="connsiteX422" fmla="*/ 1501288 w 3862373"/>
                <a:gd name="connsiteY422" fmla="*/ 2745237 h 3682908"/>
                <a:gd name="connsiteX423" fmla="*/ 1516264 w 3862373"/>
                <a:gd name="connsiteY423" fmla="*/ 2742214 h 3682908"/>
                <a:gd name="connsiteX424" fmla="*/ 1501289 w 3862373"/>
                <a:gd name="connsiteY424" fmla="*/ 2739190 h 3682908"/>
                <a:gd name="connsiteX425" fmla="*/ 1477416 w 3862373"/>
                <a:gd name="connsiteY425" fmla="*/ 2703175 h 3682908"/>
                <a:gd name="connsiteX426" fmla="*/ 1516504 w 3862373"/>
                <a:gd name="connsiteY426" fmla="*/ 2664088 h 3682908"/>
                <a:gd name="connsiteX427" fmla="*/ 1329588 w 3862373"/>
                <a:gd name="connsiteY427" fmla="*/ 2664088 h 3682908"/>
                <a:gd name="connsiteX428" fmla="*/ 1368676 w 3862373"/>
                <a:gd name="connsiteY428" fmla="*/ 2703175 h 3682908"/>
                <a:gd name="connsiteX429" fmla="*/ 1344802 w 3862373"/>
                <a:gd name="connsiteY429" fmla="*/ 2739190 h 3682908"/>
                <a:gd name="connsiteX430" fmla="*/ 1329828 w 3862373"/>
                <a:gd name="connsiteY430" fmla="*/ 2742214 h 3682908"/>
                <a:gd name="connsiteX431" fmla="*/ 1344802 w 3862373"/>
                <a:gd name="connsiteY431" fmla="*/ 2745237 h 3682908"/>
                <a:gd name="connsiteX432" fmla="*/ 1368676 w 3862373"/>
                <a:gd name="connsiteY432" fmla="*/ 2781252 h 3682908"/>
                <a:gd name="connsiteX433" fmla="*/ 1329588 w 3862373"/>
                <a:gd name="connsiteY433" fmla="*/ 2820339 h 3682908"/>
                <a:gd name="connsiteX434" fmla="*/ 1290502 w 3862373"/>
                <a:gd name="connsiteY434" fmla="*/ 2781252 h 3682908"/>
                <a:gd name="connsiteX435" fmla="*/ 1314375 w 3862373"/>
                <a:gd name="connsiteY435" fmla="*/ 2745237 h 3682908"/>
                <a:gd name="connsiteX436" fmla="*/ 1329349 w 3862373"/>
                <a:gd name="connsiteY436" fmla="*/ 2742214 h 3682908"/>
                <a:gd name="connsiteX437" fmla="*/ 1314375 w 3862373"/>
                <a:gd name="connsiteY437" fmla="*/ 2739190 h 3682908"/>
                <a:gd name="connsiteX438" fmla="*/ 1290503 w 3862373"/>
                <a:gd name="connsiteY438" fmla="*/ 2703175 h 3682908"/>
                <a:gd name="connsiteX439" fmla="*/ 1329588 w 3862373"/>
                <a:gd name="connsiteY439" fmla="*/ 2664088 h 3682908"/>
                <a:gd name="connsiteX440" fmla="*/ 1142676 w 3862373"/>
                <a:gd name="connsiteY440" fmla="*/ 2664088 h 3682908"/>
                <a:gd name="connsiteX441" fmla="*/ 1181763 w 3862373"/>
                <a:gd name="connsiteY441" fmla="*/ 2703175 h 3682908"/>
                <a:gd name="connsiteX442" fmla="*/ 1157890 w 3862373"/>
                <a:gd name="connsiteY442" fmla="*/ 2739190 h 3682908"/>
                <a:gd name="connsiteX443" fmla="*/ 1142916 w 3862373"/>
                <a:gd name="connsiteY443" fmla="*/ 2742214 h 3682908"/>
                <a:gd name="connsiteX444" fmla="*/ 1157891 w 3862373"/>
                <a:gd name="connsiteY444" fmla="*/ 2745237 h 3682908"/>
                <a:gd name="connsiteX445" fmla="*/ 1181764 w 3862373"/>
                <a:gd name="connsiteY445" fmla="*/ 2781252 h 3682908"/>
                <a:gd name="connsiteX446" fmla="*/ 1142676 w 3862373"/>
                <a:gd name="connsiteY446" fmla="*/ 2820339 h 3682908"/>
                <a:gd name="connsiteX447" fmla="*/ 1103587 w 3862373"/>
                <a:gd name="connsiteY447" fmla="*/ 2781252 h 3682908"/>
                <a:gd name="connsiteX448" fmla="*/ 1127461 w 3862373"/>
                <a:gd name="connsiteY448" fmla="*/ 2745237 h 3682908"/>
                <a:gd name="connsiteX449" fmla="*/ 1142436 w 3862373"/>
                <a:gd name="connsiteY449" fmla="*/ 2742214 h 3682908"/>
                <a:gd name="connsiteX450" fmla="*/ 1127460 w 3862373"/>
                <a:gd name="connsiteY450" fmla="*/ 2739190 h 3682908"/>
                <a:gd name="connsiteX451" fmla="*/ 1103585 w 3862373"/>
                <a:gd name="connsiteY451" fmla="*/ 2703175 h 3682908"/>
                <a:gd name="connsiteX452" fmla="*/ 1142676 w 3862373"/>
                <a:gd name="connsiteY452" fmla="*/ 2664088 h 3682908"/>
                <a:gd name="connsiteX453" fmla="*/ 3205817 w 3862373"/>
                <a:gd name="connsiteY453" fmla="*/ 2664086 h 3682908"/>
                <a:gd name="connsiteX454" fmla="*/ 3244904 w 3862373"/>
                <a:gd name="connsiteY454" fmla="*/ 2703174 h 3682908"/>
                <a:gd name="connsiteX455" fmla="*/ 3221031 w 3862373"/>
                <a:gd name="connsiteY455" fmla="*/ 2739189 h 3682908"/>
                <a:gd name="connsiteX456" fmla="*/ 3206053 w 3862373"/>
                <a:gd name="connsiteY456" fmla="*/ 2742213 h 3682908"/>
                <a:gd name="connsiteX457" fmla="*/ 3221031 w 3862373"/>
                <a:gd name="connsiteY457" fmla="*/ 2745237 h 3682908"/>
                <a:gd name="connsiteX458" fmla="*/ 3244904 w 3862373"/>
                <a:gd name="connsiteY458" fmla="*/ 2781252 h 3682908"/>
                <a:gd name="connsiteX459" fmla="*/ 3205817 w 3862373"/>
                <a:gd name="connsiteY459" fmla="*/ 2820339 h 3682908"/>
                <a:gd name="connsiteX460" fmla="*/ 3166729 w 3862373"/>
                <a:gd name="connsiteY460" fmla="*/ 2781252 h 3682908"/>
                <a:gd name="connsiteX461" fmla="*/ 3190602 w 3862373"/>
                <a:gd name="connsiteY461" fmla="*/ 2745237 h 3682908"/>
                <a:gd name="connsiteX462" fmla="*/ 3205580 w 3862373"/>
                <a:gd name="connsiteY462" fmla="*/ 2742213 h 3682908"/>
                <a:gd name="connsiteX463" fmla="*/ 3190602 w 3862373"/>
                <a:gd name="connsiteY463" fmla="*/ 2739189 h 3682908"/>
                <a:gd name="connsiteX464" fmla="*/ 3166729 w 3862373"/>
                <a:gd name="connsiteY464" fmla="*/ 2703174 h 3682908"/>
                <a:gd name="connsiteX465" fmla="*/ 3205817 w 3862373"/>
                <a:gd name="connsiteY465" fmla="*/ 2664086 h 3682908"/>
                <a:gd name="connsiteX466" fmla="*/ 2924263 w 3862373"/>
                <a:gd name="connsiteY466" fmla="*/ 2664086 h 3682908"/>
                <a:gd name="connsiteX467" fmla="*/ 2963349 w 3862373"/>
                <a:gd name="connsiteY467" fmla="*/ 2703174 h 3682908"/>
                <a:gd name="connsiteX468" fmla="*/ 2939477 w 3862373"/>
                <a:gd name="connsiteY468" fmla="*/ 2739189 h 3682908"/>
                <a:gd name="connsiteX469" fmla="*/ 2924499 w 3862373"/>
                <a:gd name="connsiteY469" fmla="*/ 2742213 h 3682908"/>
                <a:gd name="connsiteX470" fmla="*/ 2939477 w 3862373"/>
                <a:gd name="connsiteY470" fmla="*/ 2745237 h 3682908"/>
                <a:gd name="connsiteX471" fmla="*/ 2963349 w 3862373"/>
                <a:gd name="connsiteY471" fmla="*/ 2781252 h 3682908"/>
                <a:gd name="connsiteX472" fmla="*/ 2924263 w 3862373"/>
                <a:gd name="connsiteY472" fmla="*/ 2820339 h 3682908"/>
                <a:gd name="connsiteX473" fmla="*/ 2885175 w 3862373"/>
                <a:gd name="connsiteY473" fmla="*/ 2781252 h 3682908"/>
                <a:gd name="connsiteX474" fmla="*/ 2909048 w 3862373"/>
                <a:gd name="connsiteY474" fmla="*/ 2745237 h 3682908"/>
                <a:gd name="connsiteX475" fmla="*/ 2924026 w 3862373"/>
                <a:gd name="connsiteY475" fmla="*/ 2742213 h 3682908"/>
                <a:gd name="connsiteX476" fmla="*/ 2909048 w 3862373"/>
                <a:gd name="connsiteY476" fmla="*/ 2739189 h 3682908"/>
                <a:gd name="connsiteX477" fmla="*/ 2885175 w 3862373"/>
                <a:gd name="connsiteY477" fmla="*/ 2703174 h 3682908"/>
                <a:gd name="connsiteX478" fmla="*/ 2924263 w 3862373"/>
                <a:gd name="connsiteY478" fmla="*/ 2664086 h 3682908"/>
                <a:gd name="connsiteX479" fmla="*/ 1703410 w 3862373"/>
                <a:gd name="connsiteY479" fmla="*/ 2664086 h 3682908"/>
                <a:gd name="connsiteX480" fmla="*/ 1742497 w 3862373"/>
                <a:gd name="connsiteY480" fmla="*/ 2703174 h 3682908"/>
                <a:gd name="connsiteX481" fmla="*/ 1718624 w 3862373"/>
                <a:gd name="connsiteY481" fmla="*/ 2739189 h 3682908"/>
                <a:gd name="connsiteX482" fmla="*/ 1703646 w 3862373"/>
                <a:gd name="connsiteY482" fmla="*/ 2742213 h 3682908"/>
                <a:gd name="connsiteX483" fmla="*/ 1718624 w 3862373"/>
                <a:gd name="connsiteY483" fmla="*/ 2745237 h 3682908"/>
                <a:gd name="connsiteX484" fmla="*/ 1742495 w 3862373"/>
                <a:gd name="connsiteY484" fmla="*/ 2781252 h 3682908"/>
                <a:gd name="connsiteX485" fmla="*/ 1703409 w 3862373"/>
                <a:gd name="connsiteY485" fmla="*/ 2820339 h 3682908"/>
                <a:gd name="connsiteX486" fmla="*/ 1664323 w 3862373"/>
                <a:gd name="connsiteY486" fmla="*/ 2781252 h 3682908"/>
                <a:gd name="connsiteX487" fmla="*/ 1688193 w 3862373"/>
                <a:gd name="connsiteY487" fmla="*/ 2745237 h 3682908"/>
                <a:gd name="connsiteX488" fmla="*/ 1703173 w 3862373"/>
                <a:gd name="connsiteY488" fmla="*/ 2742213 h 3682908"/>
                <a:gd name="connsiteX489" fmla="*/ 1688194 w 3862373"/>
                <a:gd name="connsiteY489" fmla="*/ 2739189 h 3682908"/>
                <a:gd name="connsiteX490" fmla="*/ 1664323 w 3862373"/>
                <a:gd name="connsiteY490" fmla="*/ 2703174 h 3682908"/>
                <a:gd name="connsiteX491" fmla="*/ 1703410 w 3862373"/>
                <a:gd name="connsiteY491" fmla="*/ 2664086 h 3682908"/>
                <a:gd name="connsiteX492" fmla="*/ 1419499 w 3862373"/>
                <a:gd name="connsiteY492" fmla="*/ 2664086 h 3682908"/>
                <a:gd name="connsiteX493" fmla="*/ 1458586 w 3862373"/>
                <a:gd name="connsiteY493" fmla="*/ 2703174 h 3682908"/>
                <a:gd name="connsiteX494" fmla="*/ 1434713 w 3862373"/>
                <a:gd name="connsiteY494" fmla="*/ 2739189 h 3682908"/>
                <a:gd name="connsiteX495" fmla="*/ 1419735 w 3862373"/>
                <a:gd name="connsiteY495" fmla="*/ 2742214 h 3682908"/>
                <a:gd name="connsiteX496" fmla="*/ 1434712 w 3862373"/>
                <a:gd name="connsiteY496" fmla="*/ 2745237 h 3682908"/>
                <a:gd name="connsiteX497" fmla="*/ 1458584 w 3862373"/>
                <a:gd name="connsiteY497" fmla="*/ 2781252 h 3682908"/>
                <a:gd name="connsiteX498" fmla="*/ 1419497 w 3862373"/>
                <a:gd name="connsiteY498" fmla="*/ 2820339 h 3682908"/>
                <a:gd name="connsiteX499" fmla="*/ 1380409 w 3862373"/>
                <a:gd name="connsiteY499" fmla="*/ 2781252 h 3682908"/>
                <a:gd name="connsiteX500" fmla="*/ 1404282 w 3862373"/>
                <a:gd name="connsiteY500" fmla="*/ 2745237 h 3682908"/>
                <a:gd name="connsiteX501" fmla="*/ 1419262 w 3862373"/>
                <a:gd name="connsiteY501" fmla="*/ 2742213 h 3682908"/>
                <a:gd name="connsiteX502" fmla="*/ 1404283 w 3862373"/>
                <a:gd name="connsiteY502" fmla="*/ 2739189 h 3682908"/>
                <a:gd name="connsiteX503" fmla="*/ 1380411 w 3862373"/>
                <a:gd name="connsiteY503" fmla="*/ 2703174 h 3682908"/>
                <a:gd name="connsiteX504" fmla="*/ 1419499 w 3862373"/>
                <a:gd name="connsiteY504" fmla="*/ 2664086 h 3682908"/>
                <a:gd name="connsiteX505" fmla="*/ 1232585 w 3862373"/>
                <a:gd name="connsiteY505" fmla="*/ 2664086 h 3682908"/>
                <a:gd name="connsiteX506" fmla="*/ 1271670 w 3862373"/>
                <a:gd name="connsiteY506" fmla="*/ 2703174 h 3682908"/>
                <a:gd name="connsiteX507" fmla="*/ 1247799 w 3862373"/>
                <a:gd name="connsiteY507" fmla="*/ 2739189 h 3682908"/>
                <a:gd name="connsiteX508" fmla="*/ 1232822 w 3862373"/>
                <a:gd name="connsiteY508" fmla="*/ 2742213 h 3682908"/>
                <a:gd name="connsiteX509" fmla="*/ 1247798 w 3862373"/>
                <a:gd name="connsiteY509" fmla="*/ 2745237 h 3682908"/>
                <a:gd name="connsiteX510" fmla="*/ 1271670 w 3862373"/>
                <a:gd name="connsiteY510" fmla="*/ 2781252 h 3682908"/>
                <a:gd name="connsiteX511" fmla="*/ 1232585 w 3862373"/>
                <a:gd name="connsiteY511" fmla="*/ 2820339 h 3682908"/>
                <a:gd name="connsiteX512" fmla="*/ 1193499 w 3862373"/>
                <a:gd name="connsiteY512" fmla="*/ 2781252 h 3682908"/>
                <a:gd name="connsiteX513" fmla="*/ 1217369 w 3862373"/>
                <a:gd name="connsiteY513" fmla="*/ 2745237 h 3682908"/>
                <a:gd name="connsiteX514" fmla="*/ 1232349 w 3862373"/>
                <a:gd name="connsiteY514" fmla="*/ 2742213 h 3682908"/>
                <a:gd name="connsiteX515" fmla="*/ 1217369 w 3862373"/>
                <a:gd name="connsiteY515" fmla="*/ 2739189 h 3682908"/>
                <a:gd name="connsiteX516" fmla="*/ 1193499 w 3862373"/>
                <a:gd name="connsiteY516" fmla="*/ 2703174 h 3682908"/>
                <a:gd name="connsiteX517" fmla="*/ 1232585 w 3862373"/>
                <a:gd name="connsiteY517" fmla="*/ 2664086 h 3682908"/>
                <a:gd name="connsiteX518" fmla="*/ 1045666 w 3862373"/>
                <a:gd name="connsiteY518" fmla="*/ 2664086 h 3682908"/>
                <a:gd name="connsiteX519" fmla="*/ 1084754 w 3862373"/>
                <a:gd name="connsiteY519" fmla="*/ 2703174 h 3682908"/>
                <a:gd name="connsiteX520" fmla="*/ 1045666 w 3862373"/>
                <a:gd name="connsiteY520" fmla="*/ 2742261 h 3682908"/>
                <a:gd name="connsiteX521" fmla="*/ 1006580 w 3862373"/>
                <a:gd name="connsiteY521" fmla="*/ 2703174 h 3682908"/>
                <a:gd name="connsiteX522" fmla="*/ 1045666 w 3862373"/>
                <a:gd name="connsiteY522" fmla="*/ 2664086 h 3682908"/>
                <a:gd name="connsiteX523" fmla="*/ 3300455 w 3862373"/>
                <a:gd name="connsiteY523" fmla="*/ 2578910 h 3682908"/>
                <a:gd name="connsiteX524" fmla="*/ 3339543 w 3862373"/>
                <a:gd name="connsiteY524" fmla="*/ 2617997 h 3682908"/>
                <a:gd name="connsiteX525" fmla="*/ 3300455 w 3862373"/>
                <a:gd name="connsiteY525" fmla="*/ 2657085 h 3682908"/>
                <a:gd name="connsiteX526" fmla="*/ 3261368 w 3862373"/>
                <a:gd name="connsiteY526" fmla="*/ 2617997 h 3682908"/>
                <a:gd name="connsiteX527" fmla="*/ 3300455 w 3862373"/>
                <a:gd name="connsiteY527" fmla="*/ 2578910 h 3682908"/>
                <a:gd name="connsiteX528" fmla="*/ 3205815 w 3862373"/>
                <a:gd name="connsiteY528" fmla="*/ 2578910 h 3682908"/>
                <a:gd name="connsiteX529" fmla="*/ 3244903 w 3862373"/>
                <a:gd name="connsiteY529" fmla="*/ 2617997 h 3682908"/>
                <a:gd name="connsiteX530" fmla="*/ 3205815 w 3862373"/>
                <a:gd name="connsiteY530" fmla="*/ 2657085 h 3682908"/>
                <a:gd name="connsiteX531" fmla="*/ 3166728 w 3862373"/>
                <a:gd name="connsiteY531" fmla="*/ 2617997 h 3682908"/>
                <a:gd name="connsiteX532" fmla="*/ 3205815 w 3862373"/>
                <a:gd name="connsiteY532" fmla="*/ 2578910 h 3682908"/>
                <a:gd name="connsiteX533" fmla="*/ 3111175 w 3862373"/>
                <a:gd name="connsiteY533" fmla="*/ 2578910 h 3682908"/>
                <a:gd name="connsiteX534" fmla="*/ 3150262 w 3862373"/>
                <a:gd name="connsiteY534" fmla="*/ 2617997 h 3682908"/>
                <a:gd name="connsiteX535" fmla="*/ 3111175 w 3862373"/>
                <a:gd name="connsiteY535" fmla="*/ 2657085 h 3682908"/>
                <a:gd name="connsiteX536" fmla="*/ 3072088 w 3862373"/>
                <a:gd name="connsiteY536" fmla="*/ 2617997 h 3682908"/>
                <a:gd name="connsiteX537" fmla="*/ 3111175 w 3862373"/>
                <a:gd name="connsiteY537" fmla="*/ 2578910 h 3682908"/>
                <a:gd name="connsiteX538" fmla="*/ 3018901 w 3862373"/>
                <a:gd name="connsiteY538" fmla="*/ 2578910 h 3682908"/>
                <a:gd name="connsiteX539" fmla="*/ 3057988 w 3862373"/>
                <a:gd name="connsiteY539" fmla="*/ 2617997 h 3682908"/>
                <a:gd name="connsiteX540" fmla="*/ 3018901 w 3862373"/>
                <a:gd name="connsiteY540" fmla="*/ 2657085 h 3682908"/>
                <a:gd name="connsiteX541" fmla="*/ 2979813 w 3862373"/>
                <a:gd name="connsiteY541" fmla="*/ 2617997 h 3682908"/>
                <a:gd name="connsiteX542" fmla="*/ 3018901 w 3862373"/>
                <a:gd name="connsiteY542" fmla="*/ 2578910 h 3682908"/>
                <a:gd name="connsiteX543" fmla="*/ 2924262 w 3862373"/>
                <a:gd name="connsiteY543" fmla="*/ 2578910 h 3682908"/>
                <a:gd name="connsiteX544" fmla="*/ 2963349 w 3862373"/>
                <a:gd name="connsiteY544" fmla="*/ 2617997 h 3682908"/>
                <a:gd name="connsiteX545" fmla="*/ 2924262 w 3862373"/>
                <a:gd name="connsiteY545" fmla="*/ 2657085 h 3682908"/>
                <a:gd name="connsiteX546" fmla="*/ 2885175 w 3862373"/>
                <a:gd name="connsiteY546" fmla="*/ 2617997 h 3682908"/>
                <a:gd name="connsiteX547" fmla="*/ 2924262 w 3862373"/>
                <a:gd name="connsiteY547" fmla="*/ 2578910 h 3682908"/>
                <a:gd name="connsiteX548" fmla="*/ 2831987 w 3862373"/>
                <a:gd name="connsiteY548" fmla="*/ 2578910 h 3682908"/>
                <a:gd name="connsiteX549" fmla="*/ 2871074 w 3862373"/>
                <a:gd name="connsiteY549" fmla="*/ 2617997 h 3682908"/>
                <a:gd name="connsiteX550" fmla="*/ 2831987 w 3862373"/>
                <a:gd name="connsiteY550" fmla="*/ 2657085 h 3682908"/>
                <a:gd name="connsiteX551" fmla="*/ 2792900 w 3862373"/>
                <a:gd name="connsiteY551" fmla="*/ 2617997 h 3682908"/>
                <a:gd name="connsiteX552" fmla="*/ 2831987 w 3862373"/>
                <a:gd name="connsiteY552" fmla="*/ 2578910 h 3682908"/>
                <a:gd name="connsiteX553" fmla="*/ 1798047 w 3862373"/>
                <a:gd name="connsiteY553" fmla="*/ 2578910 h 3682908"/>
                <a:gd name="connsiteX554" fmla="*/ 1837133 w 3862373"/>
                <a:gd name="connsiteY554" fmla="*/ 2617997 h 3682908"/>
                <a:gd name="connsiteX555" fmla="*/ 1798047 w 3862373"/>
                <a:gd name="connsiteY555" fmla="*/ 2657085 h 3682908"/>
                <a:gd name="connsiteX556" fmla="*/ 1758959 w 3862373"/>
                <a:gd name="connsiteY556" fmla="*/ 2617997 h 3682908"/>
                <a:gd name="connsiteX557" fmla="*/ 1798047 w 3862373"/>
                <a:gd name="connsiteY557" fmla="*/ 2578910 h 3682908"/>
                <a:gd name="connsiteX558" fmla="*/ 1703409 w 3862373"/>
                <a:gd name="connsiteY558" fmla="*/ 2578910 h 3682908"/>
                <a:gd name="connsiteX559" fmla="*/ 1742497 w 3862373"/>
                <a:gd name="connsiteY559" fmla="*/ 2617997 h 3682908"/>
                <a:gd name="connsiteX560" fmla="*/ 1703409 w 3862373"/>
                <a:gd name="connsiteY560" fmla="*/ 2657085 h 3682908"/>
                <a:gd name="connsiteX561" fmla="*/ 1664323 w 3862373"/>
                <a:gd name="connsiteY561" fmla="*/ 2617997 h 3682908"/>
                <a:gd name="connsiteX562" fmla="*/ 1703409 w 3862373"/>
                <a:gd name="connsiteY562" fmla="*/ 2578910 h 3682908"/>
                <a:gd name="connsiteX563" fmla="*/ 1611131 w 3862373"/>
                <a:gd name="connsiteY563" fmla="*/ 2578910 h 3682908"/>
                <a:gd name="connsiteX564" fmla="*/ 1650221 w 3862373"/>
                <a:gd name="connsiteY564" fmla="*/ 2617997 h 3682908"/>
                <a:gd name="connsiteX565" fmla="*/ 1611131 w 3862373"/>
                <a:gd name="connsiteY565" fmla="*/ 2657085 h 3682908"/>
                <a:gd name="connsiteX566" fmla="*/ 1572058 w 3862373"/>
                <a:gd name="connsiteY566" fmla="*/ 2617997 h 3682908"/>
                <a:gd name="connsiteX567" fmla="*/ 1611131 w 3862373"/>
                <a:gd name="connsiteY567" fmla="*/ 2578910 h 3682908"/>
                <a:gd name="connsiteX568" fmla="*/ 1516504 w 3862373"/>
                <a:gd name="connsiteY568" fmla="*/ 2578910 h 3682908"/>
                <a:gd name="connsiteX569" fmla="*/ 1555592 w 3862373"/>
                <a:gd name="connsiteY569" fmla="*/ 2617997 h 3682908"/>
                <a:gd name="connsiteX570" fmla="*/ 1516504 w 3862373"/>
                <a:gd name="connsiteY570" fmla="*/ 2657085 h 3682908"/>
                <a:gd name="connsiteX571" fmla="*/ 1477417 w 3862373"/>
                <a:gd name="connsiteY571" fmla="*/ 2617997 h 3682908"/>
                <a:gd name="connsiteX572" fmla="*/ 1516504 w 3862373"/>
                <a:gd name="connsiteY572" fmla="*/ 2578910 h 3682908"/>
                <a:gd name="connsiteX573" fmla="*/ 1419499 w 3862373"/>
                <a:gd name="connsiteY573" fmla="*/ 2578910 h 3682908"/>
                <a:gd name="connsiteX574" fmla="*/ 1458586 w 3862373"/>
                <a:gd name="connsiteY574" fmla="*/ 2617997 h 3682908"/>
                <a:gd name="connsiteX575" fmla="*/ 1419499 w 3862373"/>
                <a:gd name="connsiteY575" fmla="*/ 2657085 h 3682908"/>
                <a:gd name="connsiteX576" fmla="*/ 1380410 w 3862373"/>
                <a:gd name="connsiteY576" fmla="*/ 2617997 h 3682908"/>
                <a:gd name="connsiteX577" fmla="*/ 1419499 w 3862373"/>
                <a:gd name="connsiteY577" fmla="*/ 2578910 h 3682908"/>
                <a:gd name="connsiteX578" fmla="*/ 1329590 w 3862373"/>
                <a:gd name="connsiteY578" fmla="*/ 2578910 h 3682908"/>
                <a:gd name="connsiteX579" fmla="*/ 1368677 w 3862373"/>
                <a:gd name="connsiteY579" fmla="*/ 2617997 h 3682908"/>
                <a:gd name="connsiteX580" fmla="*/ 1329590 w 3862373"/>
                <a:gd name="connsiteY580" fmla="*/ 2657085 h 3682908"/>
                <a:gd name="connsiteX581" fmla="*/ 1290504 w 3862373"/>
                <a:gd name="connsiteY581" fmla="*/ 2617997 h 3682908"/>
                <a:gd name="connsiteX582" fmla="*/ 1329590 w 3862373"/>
                <a:gd name="connsiteY582" fmla="*/ 2578910 h 3682908"/>
                <a:gd name="connsiteX583" fmla="*/ 1232588 w 3862373"/>
                <a:gd name="connsiteY583" fmla="*/ 2578910 h 3682908"/>
                <a:gd name="connsiteX584" fmla="*/ 1271672 w 3862373"/>
                <a:gd name="connsiteY584" fmla="*/ 2617997 h 3682908"/>
                <a:gd name="connsiteX585" fmla="*/ 1232588 w 3862373"/>
                <a:gd name="connsiteY585" fmla="*/ 2657085 h 3682908"/>
                <a:gd name="connsiteX586" fmla="*/ 1193502 w 3862373"/>
                <a:gd name="connsiteY586" fmla="*/ 2617997 h 3682908"/>
                <a:gd name="connsiteX587" fmla="*/ 1232588 w 3862373"/>
                <a:gd name="connsiteY587" fmla="*/ 2578910 h 3682908"/>
                <a:gd name="connsiteX588" fmla="*/ 1142677 w 3862373"/>
                <a:gd name="connsiteY588" fmla="*/ 2578910 h 3682908"/>
                <a:gd name="connsiteX589" fmla="*/ 1181764 w 3862373"/>
                <a:gd name="connsiteY589" fmla="*/ 2617997 h 3682908"/>
                <a:gd name="connsiteX590" fmla="*/ 1142677 w 3862373"/>
                <a:gd name="connsiteY590" fmla="*/ 2657085 h 3682908"/>
                <a:gd name="connsiteX591" fmla="*/ 1103588 w 3862373"/>
                <a:gd name="connsiteY591" fmla="*/ 2617997 h 3682908"/>
                <a:gd name="connsiteX592" fmla="*/ 1142677 w 3862373"/>
                <a:gd name="connsiteY592" fmla="*/ 2578910 h 3682908"/>
                <a:gd name="connsiteX593" fmla="*/ 1045667 w 3862373"/>
                <a:gd name="connsiteY593" fmla="*/ 2578910 h 3682908"/>
                <a:gd name="connsiteX594" fmla="*/ 1084755 w 3862373"/>
                <a:gd name="connsiteY594" fmla="*/ 2617997 h 3682908"/>
                <a:gd name="connsiteX595" fmla="*/ 1045667 w 3862373"/>
                <a:gd name="connsiteY595" fmla="*/ 2657085 h 3682908"/>
                <a:gd name="connsiteX596" fmla="*/ 1006581 w 3862373"/>
                <a:gd name="connsiteY596" fmla="*/ 2617997 h 3682908"/>
                <a:gd name="connsiteX597" fmla="*/ 1045667 w 3862373"/>
                <a:gd name="connsiteY597" fmla="*/ 2578910 h 3682908"/>
                <a:gd name="connsiteX598" fmla="*/ 3300455 w 3862373"/>
                <a:gd name="connsiteY598" fmla="*/ 2486637 h 3682908"/>
                <a:gd name="connsiteX599" fmla="*/ 3339543 w 3862373"/>
                <a:gd name="connsiteY599" fmla="*/ 2525724 h 3682908"/>
                <a:gd name="connsiteX600" fmla="*/ 3300455 w 3862373"/>
                <a:gd name="connsiteY600" fmla="*/ 2564811 h 3682908"/>
                <a:gd name="connsiteX601" fmla="*/ 3261368 w 3862373"/>
                <a:gd name="connsiteY601" fmla="*/ 2525724 h 3682908"/>
                <a:gd name="connsiteX602" fmla="*/ 3300455 w 3862373"/>
                <a:gd name="connsiteY602" fmla="*/ 2486637 h 3682908"/>
                <a:gd name="connsiteX603" fmla="*/ 3205815 w 3862373"/>
                <a:gd name="connsiteY603" fmla="*/ 2486637 h 3682908"/>
                <a:gd name="connsiteX604" fmla="*/ 3244903 w 3862373"/>
                <a:gd name="connsiteY604" fmla="*/ 2525724 h 3682908"/>
                <a:gd name="connsiteX605" fmla="*/ 3205815 w 3862373"/>
                <a:gd name="connsiteY605" fmla="*/ 2564811 h 3682908"/>
                <a:gd name="connsiteX606" fmla="*/ 3166728 w 3862373"/>
                <a:gd name="connsiteY606" fmla="*/ 2525724 h 3682908"/>
                <a:gd name="connsiteX607" fmla="*/ 3205815 w 3862373"/>
                <a:gd name="connsiteY607" fmla="*/ 2486637 h 3682908"/>
                <a:gd name="connsiteX608" fmla="*/ 3111175 w 3862373"/>
                <a:gd name="connsiteY608" fmla="*/ 2486637 h 3682908"/>
                <a:gd name="connsiteX609" fmla="*/ 3150262 w 3862373"/>
                <a:gd name="connsiteY609" fmla="*/ 2525724 h 3682908"/>
                <a:gd name="connsiteX610" fmla="*/ 3111175 w 3862373"/>
                <a:gd name="connsiteY610" fmla="*/ 2564811 h 3682908"/>
                <a:gd name="connsiteX611" fmla="*/ 3072088 w 3862373"/>
                <a:gd name="connsiteY611" fmla="*/ 2525724 h 3682908"/>
                <a:gd name="connsiteX612" fmla="*/ 3111175 w 3862373"/>
                <a:gd name="connsiteY612" fmla="*/ 2486637 h 3682908"/>
                <a:gd name="connsiteX613" fmla="*/ 3018901 w 3862373"/>
                <a:gd name="connsiteY613" fmla="*/ 2486637 h 3682908"/>
                <a:gd name="connsiteX614" fmla="*/ 3057988 w 3862373"/>
                <a:gd name="connsiteY614" fmla="*/ 2525724 h 3682908"/>
                <a:gd name="connsiteX615" fmla="*/ 3018901 w 3862373"/>
                <a:gd name="connsiteY615" fmla="*/ 2564811 h 3682908"/>
                <a:gd name="connsiteX616" fmla="*/ 2979813 w 3862373"/>
                <a:gd name="connsiteY616" fmla="*/ 2525724 h 3682908"/>
                <a:gd name="connsiteX617" fmla="*/ 3018901 w 3862373"/>
                <a:gd name="connsiteY617" fmla="*/ 2486637 h 3682908"/>
                <a:gd name="connsiteX618" fmla="*/ 2924262 w 3862373"/>
                <a:gd name="connsiteY618" fmla="*/ 2486637 h 3682908"/>
                <a:gd name="connsiteX619" fmla="*/ 2963349 w 3862373"/>
                <a:gd name="connsiteY619" fmla="*/ 2525724 h 3682908"/>
                <a:gd name="connsiteX620" fmla="*/ 2924262 w 3862373"/>
                <a:gd name="connsiteY620" fmla="*/ 2564811 h 3682908"/>
                <a:gd name="connsiteX621" fmla="*/ 2885175 w 3862373"/>
                <a:gd name="connsiteY621" fmla="*/ 2525724 h 3682908"/>
                <a:gd name="connsiteX622" fmla="*/ 2924262 w 3862373"/>
                <a:gd name="connsiteY622" fmla="*/ 2486637 h 3682908"/>
                <a:gd name="connsiteX623" fmla="*/ 2831987 w 3862373"/>
                <a:gd name="connsiteY623" fmla="*/ 2486637 h 3682908"/>
                <a:gd name="connsiteX624" fmla="*/ 2871074 w 3862373"/>
                <a:gd name="connsiteY624" fmla="*/ 2525724 h 3682908"/>
                <a:gd name="connsiteX625" fmla="*/ 2831987 w 3862373"/>
                <a:gd name="connsiteY625" fmla="*/ 2564811 h 3682908"/>
                <a:gd name="connsiteX626" fmla="*/ 2792900 w 3862373"/>
                <a:gd name="connsiteY626" fmla="*/ 2525724 h 3682908"/>
                <a:gd name="connsiteX627" fmla="*/ 2831987 w 3862373"/>
                <a:gd name="connsiteY627" fmla="*/ 2486637 h 3682908"/>
                <a:gd name="connsiteX628" fmla="*/ 1798047 w 3862373"/>
                <a:gd name="connsiteY628" fmla="*/ 2486637 h 3682908"/>
                <a:gd name="connsiteX629" fmla="*/ 1837133 w 3862373"/>
                <a:gd name="connsiteY629" fmla="*/ 2525724 h 3682908"/>
                <a:gd name="connsiteX630" fmla="*/ 1798047 w 3862373"/>
                <a:gd name="connsiteY630" fmla="*/ 2564811 h 3682908"/>
                <a:gd name="connsiteX631" fmla="*/ 1758962 w 3862373"/>
                <a:gd name="connsiteY631" fmla="*/ 2525724 h 3682908"/>
                <a:gd name="connsiteX632" fmla="*/ 1798047 w 3862373"/>
                <a:gd name="connsiteY632" fmla="*/ 2486637 h 3682908"/>
                <a:gd name="connsiteX633" fmla="*/ 1703410 w 3862373"/>
                <a:gd name="connsiteY633" fmla="*/ 2486637 h 3682908"/>
                <a:gd name="connsiteX634" fmla="*/ 1742497 w 3862373"/>
                <a:gd name="connsiteY634" fmla="*/ 2525724 h 3682908"/>
                <a:gd name="connsiteX635" fmla="*/ 1703410 w 3862373"/>
                <a:gd name="connsiteY635" fmla="*/ 2564811 h 3682908"/>
                <a:gd name="connsiteX636" fmla="*/ 1664323 w 3862373"/>
                <a:gd name="connsiteY636" fmla="*/ 2525724 h 3682908"/>
                <a:gd name="connsiteX637" fmla="*/ 1703410 w 3862373"/>
                <a:gd name="connsiteY637" fmla="*/ 2486637 h 3682908"/>
                <a:gd name="connsiteX638" fmla="*/ 1611133 w 3862373"/>
                <a:gd name="connsiteY638" fmla="*/ 2486637 h 3682908"/>
                <a:gd name="connsiteX639" fmla="*/ 1650221 w 3862373"/>
                <a:gd name="connsiteY639" fmla="*/ 2525724 h 3682908"/>
                <a:gd name="connsiteX640" fmla="*/ 1611133 w 3862373"/>
                <a:gd name="connsiteY640" fmla="*/ 2564811 h 3682908"/>
                <a:gd name="connsiteX641" fmla="*/ 1572059 w 3862373"/>
                <a:gd name="connsiteY641" fmla="*/ 2525724 h 3682908"/>
                <a:gd name="connsiteX642" fmla="*/ 1611133 w 3862373"/>
                <a:gd name="connsiteY642" fmla="*/ 2486637 h 3682908"/>
                <a:gd name="connsiteX643" fmla="*/ 1516507 w 3862373"/>
                <a:gd name="connsiteY643" fmla="*/ 2486637 h 3682908"/>
                <a:gd name="connsiteX644" fmla="*/ 1555594 w 3862373"/>
                <a:gd name="connsiteY644" fmla="*/ 2525724 h 3682908"/>
                <a:gd name="connsiteX645" fmla="*/ 1516507 w 3862373"/>
                <a:gd name="connsiteY645" fmla="*/ 2564811 h 3682908"/>
                <a:gd name="connsiteX646" fmla="*/ 1477419 w 3862373"/>
                <a:gd name="connsiteY646" fmla="*/ 2525724 h 3682908"/>
                <a:gd name="connsiteX647" fmla="*/ 1516507 w 3862373"/>
                <a:gd name="connsiteY647" fmla="*/ 2486637 h 3682908"/>
                <a:gd name="connsiteX648" fmla="*/ 1419502 w 3862373"/>
                <a:gd name="connsiteY648" fmla="*/ 2486637 h 3682908"/>
                <a:gd name="connsiteX649" fmla="*/ 1458588 w 3862373"/>
                <a:gd name="connsiteY649" fmla="*/ 2525724 h 3682908"/>
                <a:gd name="connsiteX650" fmla="*/ 1419502 w 3862373"/>
                <a:gd name="connsiteY650" fmla="*/ 2564811 h 3682908"/>
                <a:gd name="connsiteX651" fmla="*/ 1380412 w 3862373"/>
                <a:gd name="connsiteY651" fmla="*/ 2525724 h 3682908"/>
                <a:gd name="connsiteX652" fmla="*/ 1419502 w 3862373"/>
                <a:gd name="connsiteY652" fmla="*/ 2486637 h 3682908"/>
                <a:gd name="connsiteX653" fmla="*/ 1329592 w 3862373"/>
                <a:gd name="connsiteY653" fmla="*/ 2486637 h 3682908"/>
                <a:gd name="connsiteX654" fmla="*/ 1368679 w 3862373"/>
                <a:gd name="connsiteY654" fmla="*/ 2525724 h 3682908"/>
                <a:gd name="connsiteX655" fmla="*/ 1329592 w 3862373"/>
                <a:gd name="connsiteY655" fmla="*/ 2564811 h 3682908"/>
                <a:gd name="connsiteX656" fmla="*/ 1290506 w 3862373"/>
                <a:gd name="connsiteY656" fmla="*/ 2525724 h 3682908"/>
                <a:gd name="connsiteX657" fmla="*/ 1329592 w 3862373"/>
                <a:gd name="connsiteY657" fmla="*/ 2486637 h 3682908"/>
                <a:gd name="connsiteX658" fmla="*/ 1232589 w 3862373"/>
                <a:gd name="connsiteY658" fmla="*/ 2486637 h 3682908"/>
                <a:gd name="connsiteX659" fmla="*/ 1271673 w 3862373"/>
                <a:gd name="connsiteY659" fmla="*/ 2525724 h 3682908"/>
                <a:gd name="connsiteX660" fmla="*/ 1232589 w 3862373"/>
                <a:gd name="connsiteY660" fmla="*/ 2564811 h 3682908"/>
                <a:gd name="connsiteX661" fmla="*/ 1193504 w 3862373"/>
                <a:gd name="connsiteY661" fmla="*/ 2525724 h 3682908"/>
                <a:gd name="connsiteX662" fmla="*/ 1232589 w 3862373"/>
                <a:gd name="connsiteY662" fmla="*/ 2486637 h 3682908"/>
                <a:gd name="connsiteX663" fmla="*/ 1142679 w 3862373"/>
                <a:gd name="connsiteY663" fmla="*/ 2486637 h 3682908"/>
                <a:gd name="connsiteX664" fmla="*/ 1181766 w 3862373"/>
                <a:gd name="connsiteY664" fmla="*/ 2525724 h 3682908"/>
                <a:gd name="connsiteX665" fmla="*/ 1142679 w 3862373"/>
                <a:gd name="connsiteY665" fmla="*/ 2564811 h 3682908"/>
                <a:gd name="connsiteX666" fmla="*/ 1103589 w 3862373"/>
                <a:gd name="connsiteY666" fmla="*/ 2525724 h 3682908"/>
                <a:gd name="connsiteX667" fmla="*/ 1142679 w 3862373"/>
                <a:gd name="connsiteY667" fmla="*/ 2486637 h 3682908"/>
                <a:gd name="connsiteX668" fmla="*/ 1045669 w 3862373"/>
                <a:gd name="connsiteY668" fmla="*/ 2486637 h 3682908"/>
                <a:gd name="connsiteX669" fmla="*/ 1084757 w 3862373"/>
                <a:gd name="connsiteY669" fmla="*/ 2525724 h 3682908"/>
                <a:gd name="connsiteX670" fmla="*/ 1045669 w 3862373"/>
                <a:gd name="connsiteY670" fmla="*/ 2564811 h 3682908"/>
                <a:gd name="connsiteX671" fmla="*/ 1006583 w 3862373"/>
                <a:gd name="connsiteY671" fmla="*/ 2525724 h 3682908"/>
                <a:gd name="connsiteX672" fmla="*/ 1045669 w 3862373"/>
                <a:gd name="connsiteY672" fmla="*/ 2486637 h 3682908"/>
                <a:gd name="connsiteX673" fmla="*/ 951032 w 3862373"/>
                <a:gd name="connsiteY673" fmla="*/ 2486637 h 3682908"/>
                <a:gd name="connsiteX674" fmla="*/ 990118 w 3862373"/>
                <a:gd name="connsiteY674" fmla="*/ 2525724 h 3682908"/>
                <a:gd name="connsiteX675" fmla="*/ 951032 w 3862373"/>
                <a:gd name="connsiteY675" fmla="*/ 2564811 h 3682908"/>
                <a:gd name="connsiteX676" fmla="*/ 911947 w 3862373"/>
                <a:gd name="connsiteY676" fmla="*/ 2525724 h 3682908"/>
                <a:gd name="connsiteX677" fmla="*/ 951032 w 3862373"/>
                <a:gd name="connsiteY677" fmla="*/ 2486637 h 3682908"/>
                <a:gd name="connsiteX678" fmla="*/ 3392730 w 3862373"/>
                <a:gd name="connsiteY678" fmla="*/ 2401461 h 3682908"/>
                <a:gd name="connsiteX679" fmla="*/ 3431817 w 3862373"/>
                <a:gd name="connsiteY679" fmla="*/ 2440548 h 3682908"/>
                <a:gd name="connsiteX680" fmla="*/ 3392730 w 3862373"/>
                <a:gd name="connsiteY680" fmla="*/ 2479635 h 3682908"/>
                <a:gd name="connsiteX681" fmla="*/ 3353643 w 3862373"/>
                <a:gd name="connsiteY681" fmla="*/ 2440548 h 3682908"/>
                <a:gd name="connsiteX682" fmla="*/ 3392730 w 3862373"/>
                <a:gd name="connsiteY682" fmla="*/ 2401461 h 3682908"/>
                <a:gd name="connsiteX683" fmla="*/ 3300455 w 3862373"/>
                <a:gd name="connsiteY683" fmla="*/ 2401461 h 3682908"/>
                <a:gd name="connsiteX684" fmla="*/ 3339543 w 3862373"/>
                <a:gd name="connsiteY684" fmla="*/ 2440548 h 3682908"/>
                <a:gd name="connsiteX685" fmla="*/ 3300455 w 3862373"/>
                <a:gd name="connsiteY685" fmla="*/ 2479635 h 3682908"/>
                <a:gd name="connsiteX686" fmla="*/ 3261368 w 3862373"/>
                <a:gd name="connsiteY686" fmla="*/ 2440548 h 3682908"/>
                <a:gd name="connsiteX687" fmla="*/ 3300455 w 3862373"/>
                <a:gd name="connsiteY687" fmla="*/ 2401461 h 3682908"/>
                <a:gd name="connsiteX688" fmla="*/ 3205815 w 3862373"/>
                <a:gd name="connsiteY688" fmla="*/ 2401461 h 3682908"/>
                <a:gd name="connsiteX689" fmla="*/ 3244903 w 3862373"/>
                <a:gd name="connsiteY689" fmla="*/ 2440548 h 3682908"/>
                <a:gd name="connsiteX690" fmla="*/ 3205815 w 3862373"/>
                <a:gd name="connsiteY690" fmla="*/ 2479635 h 3682908"/>
                <a:gd name="connsiteX691" fmla="*/ 3166728 w 3862373"/>
                <a:gd name="connsiteY691" fmla="*/ 2440548 h 3682908"/>
                <a:gd name="connsiteX692" fmla="*/ 3205815 w 3862373"/>
                <a:gd name="connsiteY692" fmla="*/ 2401461 h 3682908"/>
                <a:gd name="connsiteX693" fmla="*/ 3111175 w 3862373"/>
                <a:gd name="connsiteY693" fmla="*/ 2401461 h 3682908"/>
                <a:gd name="connsiteX694" fmla="*/ 3150262 w 3862373"/>
                <a:gd name="connsiteY694" fmla="*/ 2440548 h 3682908"/>
                <a:gd name="connsiteX695" fmla="*/ 3111175 w 3862373"/>
                <a:gd name="connsiteY695" fmla="*/ 2479635 h 3682908"/>
                <a:gd name="connsiteX696" fmla="*/ 3072088 w 3862373"/>
                <a:gd name="connsiteY696" fmla="*/ 2440548 h 3682908"/>
                <a:gd name="connsiteX697" fmla="*/ 3111175 w 3862373"/>
                <a:gd name="connsiteY697" fmla="*/ 2401461 h 3682908"/>
                <a:gd name="connsiteX698" fmla="*/ 3018901 w 3862373"/>
                <a:gd name="connsiteY698" fmla="*/ 2401461 h 3682908"/>
                <a:gd name="connsiteX699" fmla="*/ 3057988 w 3862373"/>
                <a:gd name="connsiteY699" fmla="*/ 2440548 h 3682908"/>
                <a:gd name="connsiteX700" fmla="*/ 3018901 w 3862373"/>
                <a:gd name="connsiteY700" fmla="*/ 2479635 h 3682908"/>
                <a:gd name="connsiteX701" fmla="*/ 2979813 w 3862373"/>
                <a:gd name="connsiteY701" fmla="*/ 2440548 h 3682908"/>
                <a:gd name="connsiteX702" fmla="*/ 3018901 w 3862373"/>
                <a:gd name="connsiteY702" fmla="*/ 2401461 h 3682908"/>
                <a:gd name="connsiteX703" fmla="*/ 2924262 w 3862373"/>
                <a:gd name="connsiteY703" fmla="*/ 2401461 h 3682908"/>
                <a:gd name="connsiteX704" fmla="*/ 2963349 w 3862373"/>
                <a:gd name="connsiteY704" fmla="*/ 2440548 h 3682908"/>
                <a:gd name="connsiteX705" fmla="*/ 2924262 w 3862373"/>
                <a:gd name="connsiteY705" fmla="*/ 2479635 h 3682908"/>
                <a:gd name="connsiteX706" fmla="*/ 2885175 w 3862373"/>
                <a:gd name="connsiteY706" fmla="*/ 2440548 h 3682908"/>
                <a:gd name="connsiteX707" fmla="*/ 2924262 w 3862373"/>
                <a:gd name="connsiteY707" fmla="*/ 2401461 h 3682908"/>
                <a:gd name="connsiteX708" fmla="*/ 2831987 w 3862373"/>
                <a:gd name="connsiteY708" fmla="*/ 2401461 h 3682908"/>
                <a:gd name="connsiteX709" fmla="*/ 2871074 w 3862373"/>
                <a:gd name="connsiteY709" fmla="*/ 2440548 h 3682908"/>
                <a:gd name="connsiteX710" fmla="*/ 2831987 w 3862373"/>
                <a:gd name="connsiteY710" fmla="*/ 2479635 h 3682908"/>
                <a:gd name="connsiteX711" fmla="*/ 2792900 w 3862373"/>
                <a:gd name="connsiteY711" fmla="*/ 2440548 h 3682908"/>
                <a:gd name="connsiteX712" fmla="*/ 2831987 w 3862373"/>
                <a:gd name="connsiteY712" fmla="*/ 2401461 h 3682908"/>
                <a:gd name="connsiteX713" fmla="*/ 2737353 w 3862373"/>
                <a:gd name="connsiteY713" fmla="*/ 2401461 h 3682908"/>
                <a:gd name="connsiteX714" fmla="*/ 2776434 w 3862373"/>
                <a:gd name="connsiteY714" fmla="*/ 2440548 h 3682908"/>
                <a:gd name="connsiteX715" fmla="*/ 2737353 w 3862373"/>
                <a:gd name="connsiteY715" fmla="*/ 2479635 h 3682908"/>
                <a:gd name="connsiteX716" fmla="*/ 2698263 w 3862373"/>
                <a:gd name="connsiteY716" fmla="*/ 2440548 h 3682908"/>
                <a:gd name="connsiteX717" fmla="*/ 2737353 w 3862373"/>
                <a:gd name="connsiteY717" fmla="*/ 2401461 h 3682908"/>
                <a:gd name="connsiteX718" fmla="*/ 1611133 w 3862373"/>
                <a:gd name="connsiteY718" fmla="*/ 2401461 h 3682908"/>
                <a:gd name="connsiteX719" fmla="*/ 1650223 w 3862373"/>
                <a:gd name="connsiteY719" fmla="*/ 2440548 h 3682908"/>
                <a:gd name="connsiteX720" fmla="*/ 1611133 w 3862373"/>
                <a:gd name="connsiteY720" fmla="*/ 2479635 h 3682908"/>
                <a:gd name="connsiteX721" fmla="*/ 1572061 w 3862373"/>
                <a:gd name="connsiteY721" fmla="*/ 2440548 h 3682908"/>
                <a:gd name="connsiteX722" fmla="*/ 1611133 w 3862373"/>
                <a:gd name="connsiteY722" fmla="*/ 2401461 h 3682908"/>
                <a:gd name="connsiteX723" fmla="*/ 1516509 w 3862373"/>
                <a:gd name="connsiteY723" fmla="*/ 2401461 h 3682908"/>
                <a:gd name="connsiteX724" fmla="*/ 1555596 w 3862373"/>
                <a:gd name="connsiteY724" fmla="*/ 2440548 h 3682908"/>
                <a:gd name="connsiteX725" fmla="*/ 1516509 w 3862373"/>
                <a:gd name="connsiteY725" fmla="*/ 2479635 h 3682908"/>
                <a:gd name="connsiteX726" fmla="*/ 1477421 w 3862373"/>
                <a:gd name="connsiteY726" fmla="*/ 2440548 h 3682908"/>
                <a:gd name="connsiteX727" fmla="*/ 1516509 w 3862373"/>
                <a:gd name="connsiteY727" fmla="*/ 2401461 h 3682908"/>
                <a:gd name="connsiteX728" fmla="*/ 1419503 w 3862373"/>
                <a:gd name="connsiteY728" fmla="*/ 2401461 h 3682908"/>
                <a:gd name="connsiteX729" fmla="*/ 1458589 w 3862373"/>
                <a:gd name="connsiteY729" fmla="*/ 2440548 h 3682908"/>
                <a:gd name="connsiteX730" fmla="*/ 1419503 w 3862373"/>
                <a:gd name="connsiteY730" fmla="*/ 2479635 h 3682908"/>
                <a:gd name="connsiteX731" fmla="*/ 1380413 w 3862373"/>
                <a:gd name="connsiteY731" fmla="*/ 2440548 h 3682908"/>
                <a:gd name="connsiteX732" fmla="*/ 1419503 w 3862373"/>
                <a:gd name="connsiteY732" fmla="*/ 2401461 h 3682908"/>
                <a:gd name="connsiteX733" fmla="*/ 1329593 w 3862373"/>
                <a:gd name="connsiteY733" fmla="*/ 2401461 h 3682908"/>
                <a:gd name="connsiteX734" fmla="*/ 1368682 w 3862373"/>
                <a:gd name="connsiteY734" fmla="*/ 2440548 h 3682908"/>
                <a:gd name="connsiteX735" fmla="*/ 1329593 w 3862373"/>
                <a:gd name="connsiteY735" fmla="*/ 2479635 h 3682908"/>
                <a:gd name="connsiteX736" fmla="*/ 1290509 w 3862373"/>
                <a:gd name="connsiteY736" fmla="*/ 2440548 h 3682908"/>
                <a:gd name="connsiteX737" fmla="*/ 1329593 w 3862373"/>
                <a:gd name="connsiteY737" fmla="*/ 2401461 h 3682908"/>
                <a:gd name="connsiteX738" fmla="*/ 1232592 w 3862373"/>
                <a:gd name="connsiteY738" fmla="*/ 2401461 h 3682908"/>
                <a:gd name="connsiteX739" fmla="*/ 1271676 w 3862373"/>
                <a:gd name="connsiteY739" fmla="*/ 2440548 h 3682908"/>
                <a:gd name="connsiteX740" fmla="*/ 1232592 w 3862373"/>
                <a:gd name="connsiteY740" fmla="*/ 2479635 h 3682908"/>
                <a:gd name="connsiteX741" fmla="*/ 1193507 w 3862373"/>
                <a:gd name="connsiteY741" fmla="*/ 2440548 h 3682908"/>
                <a:gd name="connsiteX742" fmla="*/ 1232592 w 3862373"/>
                <a:gd name="connsiteY742" fmla="*/ 2401461 h 3682908"/>
                <a:gd name="connsiteX743" fmla="*/ 1142682 w 3862373"/>
                <a:gd name="connsiteY743" fmla="*/ 2401461 h 3682908"/>
                <a:gd name="connsiteX744" fmla="*/ 1181770 w 3862373"/>
                <a:gd name="connsiteY744" fmla="*/ 2440548 h 3682908"/>
                <a:gd name="connsiteX745" fmla="*/ 1142682 w 3862373"/>
                <a:gd name="connsiteY745" fmla="*/ 2479635 h 3682908"/>
                <a:gd name="connsiteX746" fmla="*/ 1103591 w 3862373"/>
                <a:gd name="connsiteY746" fmla="*/ 2440548 h 3682908"/>
                <a:gd name="connsiteX747" fmla="*/ 1142682 w 3862373"/>
                <a:gd name="connsiteY747" fmla="*/ 2401461 h 3682908"/>
                <a:gd name="connsiteX748" fmla="*/ 1045671 w 3862373"/>
                <a:gd name="connsiteY748" fmla="*/ 2401461 h 3682908"/>
                <a:gd name="connsiteX749" fmla="*/ 1084758 w 3862373"/>
                <a:gd name="connsiteY749" fmla="*/ 2440548 h 3682908"/>
                <a:gd name="connsiteX750" fmla="*/ 1045671 w 3862373"/>
                <a:gd name="connsiteY750" fmla="*/ 2479635 h 3682908"/>
                <a:gd name="connsiteX751" fmla="*/ 1006585 w 3862373"/>
                <a:gd name="connsiteY751" fmla="*/ 2440548 h 3682908"/>
                <a:gd name="connsiteX752" fmla="*/ 1045671 w 3862373"/>
                <a:gd name="connsiteY752" fmla="*/ 2401461 h 3682908"/>
                <a:gd name="connsiteX753" fmla="*/ 951035 w 3862373"/>
                <a:gd name="connsiteY753" fmla="*/ 2401461 h 3682908"/>
                <a:gd name="connsiteX754" fmla="*/ 990120 w 3862373"/>
                <a:gd name="connsiteY754" fmla="*/ 2440548 h 3682908"/>
                <a:gd name="connsiteX755" fmla="*/ 951035 w 3862373"/>
                <a:gd name="connsiteY755" fmla="*/ 2479635 h 3682908"/>
                <a:gd name="connsiteX756" fmla="*/ 911949 w 3862373"/>
                <a:gd name="connsiteY756" fmla="*/ 2440548 h 3682908"/>
                <a:gd name="connsiteX757" fmla="*/ 951035 w 3862373"/>
                <a:gd name="connsiteY757" fmla="*/ 2401461 h 3682908"/>
                <a:gd name="connsiteX758" fmla="*/ 3300457 w 3862373"/>
                <a:gd name="connsiteY758" fmla="*/ 2318653 h 3682908"/>
                <a:gd name="connsiteX759" fmla="*/ 3339544 w 3862373"/>
                <a:gd name="connsiteY759" fmla="*/ 2357740 h 3682908"/>
                <a:gd name="connsiteX760" fmla="*/ 3300457 w 3862373"/>
                <a:gd name="connsiteY760" fmla="*/ 2396827 h 3682908"/>
                <a:gd name="connsiteX761" fmla="*/ 3261369 w 3862373"/>
                <a:gd name="connsiteY761" fmla="*/ 2357740 h 3682908"/>
                <a:gd name="connsiteX762" fmla="*/ 3300457 w 3862373"/>
                <a:gd name="connsiteY762" fmla="*/ 2318653 h 3682908"/>
                <a:gd name="connsiteX763" fmla="*/ 3205817 w 3862373"/>
                <a:gd name="connsiteY763" fmla="*/ 2318653 h 3682908"/>
                <a:gd name="connsiteX764" fmla="*/ 3244904 w 3862373"/>
                <a:gd name="connsiteY764" fmla="*/ 2357740 h 3682908"/>
                <a:gd name="connsiteX765" fmla="*/ 3205817 w 3862373"/>
                <a:gd name="connsiteY765" fmla="*/ 2396827 h 3682908"/>
                <a:gd name="connsiteX766" fmla="*/ 3166729 w 3862373"/>
                <a:gd name="connsiteY766" fmla="*/ 2357740 h 3682908"/>
                <a:gd name="connsiteX767" fmla="*/ 3205817 w 3862373"/>
                <a:gd name="connsiteY767" fmla="*/ 2318653 h 3682908"/>
                <a:gd name="connsiteX768" fmla="*/ 3111177 w 3862373"/>
                <a:gd name="connsiteY768" fmla="*/ 2318653 h 3682908"/>
                <a:gd name="connsiteX769" fmla="*/ 3150264 w 3862373"/>
                <a:gd name="connsiteY769" fmla="*/ 2357740 h 3682908"/>
                <a:gd name="connsiteX770" fmla="*/ 3111177 w 3862373"/>
                <a:gd name="connsiteY770" fmla="*/ 2396827 h 3682908"/>
                <a:gd name="connsiteX771" fmla="*/ 3072089 w 3862373"/>
                <a:gd name="connsiteY771" fmla="*/ 2357740 h 3682908"/>
                <a:gd name="connsiteX772" fmla="*/ 3111177 w 3862373"/>
                <a:gd name="connsiteY772" fmla="*/ 2318653 h 3682908"/>
                <a:gd name="connsiteX773" fmla="*/ 3018902 w 3862373"/>
                <a:gd name="connsiteY773" fmla="*/ 2318653 h 3682908"/>
                <a:gd name="connsiteX774" fmla="*/ 3057989 w 3862373"/>
                <a:gd name="connsiteY774" fmla="*/ 2357740 h 3682908"/>
                <a:gd name="connsiteX775" fmla="*/ 3018902 w 3862373"/>
                <a:gd name="connsiteY775" fmla="*/ 2396827 h 3682908"/>
                <a:gd name="connsiteX776" fmla="*/ 2979815 w 3862373"/>
                <a:gd name="connsiteY776" fmla="*/ 2357740 h 3682908"/>
                <a:gd name="connsiteX777" fmla="*/ 3018902 w 3862373"/>
                <a:gd name="connsiteY777" fmla="*/ 2318653 h 3682908"/>
                <a:gd name="connsiteX778" fmla="*/ 2924263 w 3862373"/>
                <a:gd name="connsiteY778" fmla="*/ 2318653 h 3682908"/>
                <a:gd name="connsiteX779" fmla="*/ 2963349 w 3862373"/>
                <a:gd name="connsiteY779" fmla="*/ 2357740 h 3682908"/>
                <a:gd name="connsiteX780" fmla="*/ 2924263 w 3862373"/>
                <a:gd name="connsiteY780" fmla="*/ 2396827 h 3682908"/>
                <a:gd name="connsiteX781" fmla="*/ 2885175 w 3862373"/>
                <a:gd name="connsiteY781" fmla="*/ 2357740 h 3682908"/>
                <a:gd name="connsiteX782" fmla="*/ 2924263 w 3862373"/>
                <a:gd name="connsiteY782" fmla="*/ 2318653 h 3682908"/>
                <a:gd name="connsiteX783" fmla="*/ 2831988 w 3862373"/>
                <a:gd name="connsiteY783" fmla="*/ 2318653 h 3682908"/>
                <a:gd name="connsiteX784" fmla="*/ 2871075 w 3862373"/>
                <a:gd name="connsiteY784" fmla="*/ 2357740 h 3682908"/>
                <a:gd name="connsiteX785" fmla="*/ 2831988 w 3862373"/>
                <a:gd name="connsiteY785" fmla="*/ 2396827 h 3682908"/>
                <a:gd name="connsiteX786" fmla="*/ 2792901 w 3862373"/>
                <a:gd name="connsiteY786" fmla="*/ 2357740 h 3682908"/>
                <a:gd name="connsiteX787" fmla="*/ 2831988 w 3862373"/>
                <a:gd name="connsiteY787" fmla="*/ 2318653 h 3682908"/>
                <a:gd name="connsiteX788" fmla="*/ 2737354 w 3862373"/>
                <a:gd name="connsiteY788" fmla="*/ 2318653 h 3682908"/>
                <a:gd name="connsiteX789" fmla="*/ 2776435 w 3862373"/>
                <a:gd name="connsiteY789" fmla="*/ 2357740 h 3682908"/>
                <a:gd name="connsiteX790" fmla="*/ 2737354 w 3862373"/>
                <a:gd name="connsiteY790" fmla="*/ 2396827 h 3682908"/>
                <a:gd name="connsiteX791" fmla="*/ 2698264 w 3862373"/>
                <a:gd name="connsiteY791" fmla="*/ 2357740 h 3682908"/>
                <a:gd name="connsiteX792" fmla="*/ 2737354 w 3862373"/>
                <a:gd name="connsiteY792" fmla="*/ 2318653 h 3682908"/>
                <a:gd name="connsiteX793" fmla="*/ 1516512 w 3862373"/>
                <a:gd name="connsiteY793" fmla="*/ 2318653 h 3682908"/>
                <a:gd name="connsiteX794" fmla="*/ 1555598 w 3862373"/>
                <a:gd name="connsiteY794" fmla="*/ 2357740 h 3682908"/>
                <a:gd name="connsiteX795" fmla="*/ 1516512 w 3862373"/>
                <a:gd name="connsiteY795" fmla="*/ 2396827 h 3682908"/>
                <a:gd name="connsiteX796" fmla="*/ 1477423 w 3862373"/>
                <a:gd name="connsiteY796" fmla="*/ 2357740 h 3682908"/>
                <a:gd name="connsiteX797" fmla="*/ 1516512 w 3862373"/>
                <a:gd name="connsiteY797" fmla="*/ 2318653 h 3682908"/>
                <a:gd name="connsiteX798" fmla="*/ 1419506 w 3862373"/>
                <a:gd name="connsiteY798" fmla="*/ 2318653 h 3682908"/>
                <a:gd name="connsiteX799" fmla="*/ 1458594 w 3862373"/>
                <a:gd name="connsiteY799" fmla="*/ 2357740 h 3682908"/>
                <a:gd name="connsiteX800" fmla="*/ 1419506 w 3862373"/>
                <a:gd name="connsiteY800" fmla="*/ 2396827 h 3682908"/>
                <a:gd name="connsiteX801" fmla="*/ 1380417 w 3862373"/>
                <a:gd name="connsiteY801" fmla="*/ 2357740 h 3682908"/>
                <a:gd name="connsiteX802" fmla="*/ 1419506 w 3862373"/>
                <a:gd name="connsiteY802" fmla="*/ 2318653 h 3682908"/>
                <a:gd name="connsiteX803" fmla="*/ 1329595 w 3862373"/>
                <a:gd name="connsiteY803" fmla="*/ 2318653 h 3682908"/>
                <a:gd name="connsiteX804" fmla="*/ 1368683 w 3862373"/>
                <a:gd name="connsiteY804" fmla="*/ 2357740 h 3682908"/>
                <a:gd name="connsiteX805" fmla="*/ 1329595 w 3862373"/>
                <a:gd name="connsiteY805" fmla="*/ 2396827 h 3682908"/>
                <a:gd name="connsiteX806" fmla="*/ 1290510 w 3862373"/>
                <a:gd name="connsiteY806" fmla="*/ 2357740 h 3682908"/>
                <a:gd name="connsiteX807" fmla="*/ 1329595 w 3862373"/>
                <a:gd name="connsiteY807" fmla="*/ 2318653 h 3682908"/>
                <a:gd name="connsiteX808" fmla="*/ 1232594 w 3862373"/>
                <a:gd name="connsiteY808" fmla="*/ 2318653 h 3682908"/>
                <a:gd name="connsiteX809" fmla="*/ 1271677 w 3862373"/>
                <a:gd name="connsiteY809" fmla="*/ 2357740 h 3682908"/>
                <a:gd name="connsiteX810" fmla="*/ 1232594 w 3862373"/>
                <a:gd name="connsiteY810" fmla="*/ 2396827 h 3682908"/>
                <a:gd name="connsiteX811" fmla="*/ 1193507 w 3862373"/>
                <a:gd name="connsiteY811" fmla="*/ 2357740 h 3682908"/>
                <a:gd name="connsiteX812" fmla="*/ 1232594 w 3862373"/>
                <a:gd name="connsiteY812" fmla="*/ 2318653 h 3682908"/>
                <a:gd name="connsiteX813" fmla="*/ 1142684 w 3862373"/>
                <a:gd name="connsiteY813" fmla="*/ 2318653 h 3682908"/>
                <a:gd name="connsiteX814" fmla="*/ 1181772 w 3862373"/>
                <a:gd name="connsiteY814" fmla="*/ 2357740 h 3682908"/>
                <a:gd name="connsiteX815" fmla="*/ 1142684 w 3862373"/>
                <a:gd name="connsiteY815" fmla="*/ 2396827 h 3682908"/>
                <a:gd name="connsiteX816" fmla="*/ 1103594 w 3862373"/>
                <a:gd name="connsiteY816" fmla="*/ 2357740 h 3682908"/>
                <a:gd name="connsiteX817" fmla="*/ 1142684 w 3862373"/>
                <a:gd name="connsiteY817" fmla="*/ 2318653 h 3682908"/>
                <a:gd name="connsiteX818" fmla="*/ 1045673 w 3862373"/>
                <a:gd name="connsiteY818" fmla="*/ 2318653 h 3682908"/>
                <a:gd name="connsiteX819" fmla="*/ 1084760 w 3862373"/>
                <a:gd name="connsiteY819" fmla="*/ 2357740 h 3682908"/>
                <a:gd name="connsiteX820" fmla="*/ 1045673 w 3862373"/>
                <a:gd name="connsiteY820" fmla="*/ 2396827 h 3682908"/>
                <a:gd name="connsiteX821" fmla="*/ 1006587 w 3862373"/>
                <a:gd name="connsiteY821" fmla="*/ 2357740 h 3682908"/>
                <a:gd name="connsiteX822" fmla="*/ 1045673 w 3862373"/>
                <a:gd name="connsiteY822" fmla="*/ 2318653 h 3682908"/>
                <a:gd name="connsiteX823" fmla="*/ 3489735 w 3862373"/>
                <a:gd name="connsiteY823" fmla="*/ 2318651 h 3682908"/>
                <a:gd name="connsiteX824" fmla="*/ 3528823 w 3862373"/>
                <a:gd name="connsiteY824" fmla="*/ 2357738 h 3682908"/>
                <a:gd name="connsiteX825" fmla="*/ 3489735 w 3862373"/>
                <a:gd name="connsiteY825" fmla="*/ 2396825 h 3682908"/>
                <a:gd name="connsiteX826" fmla="*/ 3450649 w 3862373"/>
                <a:gd name="connsiteY826" fmla="*/ 2357738 h 3682908"/>
                <a:gd name="connsiteX827" fmla="*/ 3489735 w 3862373"/>
                <a:gd name="connsiteY827" fmla="*/ 2318651 h 3682908"/>
                <a:gd name="connsiteX828" fmla="*/ 3392730 w 3862373"/>
                <a:gd name="connsiteY828" fmla="*/ 2318651 h 3682908"/>
                <a:gd name="connsiteX829" fmla="*/ 3431817 w 3862373"/>
                <a:gd name="connsiteY829" fmla="*/ 2357738 h 3682908"/>
                <a:gd name="connsiteX830" fmla="*/ 3392730 w 3862373"/>
                <a:gd name="connsiteY830" fmla="*/ 2396825 h 3682908"/>
                <a:gd name="connsiteX831" fmla="*/ 3353643 w 3862373"/>
                <a:gd name="connsiteY831" fmla="*/ 2357738 h 3682908"/>
                <a:gd name="connsiteX832" fmla="*/ 3392730 w 3862373"/>
                <a:gd name="connsiteY832" fmla="*/ 2318651 h 3682908"/>
                <a:gd name="connsiteX833" fmla="*/ 3489737 w 3862373"/>
                <a:gd name="connsiteY833" fmla="*/ 2233477 h 3682908"/>
                <a:gd name="connsiteX834" fmla="*/ 3528823 w 3862373"/>
                <a:gd name="connsiteY834" fmla="*/ 2272564 h 3682908"/>
                <a:gd name="connsiteX835" fmla="*/ 3489737 w 3862373"/>
                <a:gd name="connsiteY835" fmla="*/ 2311651 h 3682908"/>
                <a:gd name="connsiteX836" fmla="*/ 3450649 w 3862373"/>
                <a:gd name="connsiteY836" fmla="*/ 2272564 h 3682908"/>
                <a:gd name="connsiteX837" fmla="*/ 3489737 w 3862373"/>
                <a:gd name="connsiteY837" fmla="*/ 2233477 h 3682908"/>
                <a:gd name="connsiteX838" fmla="*/ 3392731 w 3862373"/>
                <a:gd name="connsiteY838" fmla="*/ 2233477 h 3682908"/>
                <a:gd name="connsiteX839" fmla="*/ 3431819 w 3862373"/>
                <a:gd name="connsiteY839" fmla="*/ 2272564 h 3682908"/>
                <a:gd name="connsiteX840" fmla="*/ 3392731 w 3862373"/>
                <a:gd name="connsiteY840" fmla="*/ 2311651 h 3682908"/>
                <a:gd name="connsiteX841" fmla="*/ 3353644 w 3862373"/>
                <a:gd name="connsiteY841" fmla="*/ 2272564 h 3682908"/>
                <a:gd name="connsiteX842" fmla="*/ 3392731 w 3862373"/>
                <a:gd name="connsiteY842" fmla="*/ 2233477 h 3682908"/>
                <a:gd name="connsiteX843" fmla="*/ 3300457 w 3862373"/>
                <a:gd name="connsiteY843" fmla="*/ 2233477 h 3682908"/>
                <a:gd name="connsiteX844" fmla="*/ 3339544 w 3862373"/>
                <a:gd name="connsiteY844" fmla="*/ 2272564 h 3682908"/>
                <a:gd name="connsiteX845" fmla="*/ 3300457 w 3862373"/>
                <a:gd name="connsiteY845" fmla="*/ 2311651 h 3682908"/>
                <a:gd name="connsiteX846" fmla="*/ 3261369 w 3862373"/>
                <a:gd name="connsiteY846" fmla="*/ 2272564 h 3682908"/>
                <a:gd name="connsiteX847" fmla="*/ 3300457 w 3862373"/>
                <a:gd name="connsiteY847" fmla="*/ 2233477 h 3682908"/>
                <a:gd name="connsiteX848" fmla="*/ 3205817 w 3862373"/>
                <a:gd name="connsiteY848" fmla="*/ 2233477 h 3682908"/>
                <a:gd name="connsiteX849" fmla="*/ 3244904 w 3862373"/>
                <a:gd name="connsiteY849" fmla="*/ 2272564 h 3682908"/>
                <a:gd name="connsiteX850" fmla="*/ 3205817 w 3862373"/>
                <a:gd name="connsiteY850" fmla="*/ 2311651 h 3682908"/>
                <a:gd name="connsiteX851" fmla="*/ 3166729 w 3862373"/>
                <a:gd name="connsiteY851" fmla="*/ 2272564 h 3682908"/>
                <a:gd name="connsiteX852" fmla="*/ 3205817 w 3862373"/>
                <a:gd name="connsiteY852" fmla="*/ 2233477 h 3682908"/>
                <a:gd name="connsiteX853" fmla="*/ 3111177 w 3862373"/>
                <a:gd name="connsiteY853" fmla="*/ 2233477 h 3682908"/>
                <a:gd name="connsiteX854" fmla="*/ 3150264 w 3862373"/>
                <a:gd name="connsiteY854" fmla="*/ 2272564 h 3682908"/>
                <a:gd name="connsiteX855" fmla="*/ 3111177 w 3862373"/>
                <a:gd name="connsiteY855" fmla="*/ 2311651 h 3682908"/>
                <a:gd name="connsiteX856" fmla="*/ 3072089 w 3862373"/>
                <a:gd name="connsiteY856" fmla="*/ 2272564 h 3682908"/>
                <a:gd name="connsiteX857" fmla="*/ 3111177 w 3862373"/>
                <a:gd name="connsiteY857" fmla="*/ 2233477 h 3682908"/>
                <a:gd name="connsiteX858" fmla="*/ 3018902 w 3862373"/>
                <a:gd name="connsiteY858" fmla="*/ 2233477 h 3682908"/>
                <a:gd name="connsiteX859" fmla="*/ 3057989 w 3862373"/>
                <a:gd name="connsiteY859" fmla="*/ 2272564 h 3682908"/>
                <a:gd name="connsiteX860" fmla="*/ 3018902 w 3862373"/>
                <a:gd name="connsiteY860" fmla="*/ 2311651 h 3682908"/>
                <a:gd name="connsiteX861" fmla="*/ 2979815 w 3862373"/>
                <a:gd name="connsiteY861" fmla="*/ 2272564 h 3682908"/>
                <a:gd name="connsiteX862" fmla="*/ 3018902 w 3862373"/>
                <a:gd name="connsiteY862" fmla="*/ 2233477 h 3682908"/>
                <a:gd name="connsiteX863" fmla="*/ 2924263 w 3862373"/>
                <a:gd name="connsiteY863" fmla="*/ 2233477 h 3682908"/>
                <a:gd name="connsiteX864" fmla="*/ 2963349 w 3862373"/>
                <a:gd name="connsiteY864" fmla="*/ 2272564 h 3682908"/>
                <a:gd name="connsiteX865" fmla="*/ 2924263 w 3862373"/>
                <a:gd name="connsiteY865" fmla="*/ 2311651 h 3682908"/>
                <a:gd name="connsiteX866" fmla="*/ 2885175 w 3862373"/>
                <a:gd name="connsiteY866" fmla="*/ 2272564 h 3682908"/>
                <a:gd name="connsiteX867" fmla="*/ 2924263 w 3862373"/>
                <a:gd name="connsiteY867" fmla="*/ 2233477 h 3682908"/>
                <a:gd name="connsiteX868" fmla="*/ 2831988 w 3862373"/>
                <a:gd name="connsiteY868" fmla="*/ 2233477 h 3682908"/>
                <a:gd name="connsiteX869" fmla="*/ 2871075 w 3862373"/>
                <a:gd name="connsiteY869" fmla="*/ 2272564 h 3682908"/>
                <a:gd name="connsiteX870" fmla="*/ 2831988 w 3862373"/>
                <a:gd name="connsiteY870" fmla="*/ 2311651 h 3682908"/>
                <a:gd name="connsiteX871" fmla="*/ 2792901 w 3862373"/>
                <a:gd name="connsiteY871" fmla="*/ 2272564 h 3682908"/>
                <a:gd name="connsiteX872" fmla="*/ 2831988 w 3862373"/>
                <a:gd name="connsiteY872" fmla="*/ 2233477 h 3682908"/>
                <a:gd name="connsiteX873" fmla="*/ 2737354 w 3862373"/>
                <a:gd name="connsiteY873" fmla="*/ 2233477 h 3682908"/>
                <a:gd name="connsiteX874" fmla="*/ 2776435 w 3862373"/>
                <a:gd name="connsiteY874" fmla="*/ 2272564 h 3682908"/>
                <a:gd name="connsiteX875" fmla="*/ 2737354 w 3862373"/>
                <a:gd name="connsiteY875" fmla="*/ 2311651 h 3682908"/>
                <a:gd name="connsiteX876" fmla="*/ 2698264 w 3862373"/>
                <a:gd name="connsiteY876" fmla="*/ 2272564 h 3682908"/>
                <a:gd name="connsiteX877" fmla="*/ 2737354 w 3862373"/>
                <a:gd name="connsiteY877" fmla="*/ 2233477 h 3682908"/>
                <a:gd name="connsiteX878" fmla="*/ 2645073 w 3862373"/>
                <a:gd name="connsiteY878" fmla="*/ 2233477 h 3682908"/>
                <a:gd name="connsiteX879" fmla="*/ 2684163 w 3862373"/>
                <a:gd name="connsiteY879" fmla="*/ 2272564 h 3682908"/>
                <a:gd name="connsiteX880" fmla="*/ 2645073 w 3862373"/>
                <a:gd name="connsiteY880" fmla="*/ 2311651 h 3682908"/>
                <a:gd name="connsiteX881" fmla="*/ 2605987 w 3862373"/>
                <a:gd name="connsiteY881" fmla="*/ 2272564 h 3682908"/>
                <a:gd name="connsiteX882" fmla="*/ 2645073 w 3862373"/>
                <a:gd name="connsiteY882" fmla="*/ 2233477 h 3682908"/>
                <a:gd name="connsiteX883" fmla="*/ 2550435 w 3862373"/>
                <a:gd name="connsiteY883" fmla="*/ 2233477 h 3682908"/>
                <a:gd name="connsiteX884" fmla="*/ 2589521 w 3862373"/>
                <a:gd name="connsiteY884" fmla="*/ 2272564 h 3682908"/>
                <a:gd name="connsiteX885" fmla="*/ 2550435 w 3862373"/>
                <a:gd name="connsiteY885" fmla="*/ 2311651 h 3682908"/>
                <a:gd name="connsiteX886" fmla="*/ 2511349 w 3862373"/>
                <a:gd name="connsiteY886" fmla="*/ 2272564 h 3682908"/>
                <a:gd name="connsiteX887" fmla="*/ 2550435 w 3862373"/>
                <a:gd name="connsiteY887" fmla="*/ 2233477 h 3682908"/>
                <a:gd name="connsiteX888" fmla="*/ 2458164 w 3862373"/>
                <a:gd name="connsiteY888" fmla="*/ 2233477 h 3682908"/>
                <a:gd name="connsiteX889" fmla="*/ 2497250 w 3862373"/>
                <a:gd name="connsiteY889" fmla="*/ 2272564 h 3682908"/>
                <a:gd name="connsiteX890" fmla="*/ 2458164 w 3862373"/>
                <a:gd name="connsiteY890" fmla="*/ 2311651 h 3682908"/>
                <a:gd name="connsiteX891" fmla="*/ 2419078 w 3862373"/>
                <a:gd name="connsiteY891" fmla="*/ 2272564 h 3682908"/>
                <a:gd name="connsiteX892" fmla="*/ 2458164 w 3862373"/>
                <a:gd name="connsiteY892" fmla="*/ 2233477 h 3682908"/>
                <a:gd name="connsiteX893" fmla="*/ 2363524 w 3862373"/>
                <a:gd name="connsiteY893" fmla="*/ 2233477 h 3682908"/>
                <a:gd name="connsiteX894" fmla="*/ 2402611 w 3862373"/>
                <a:gd name="connsiteY894" fmla="*/ 2272564 h 3682908"/>
                <a:gd name="connsiteX895" fmla="*/ 2363524 w 3862373"/>
                <a:gd name="connsiteY895" fmla="*/ 2311651 h 3682908"/>
                <a:gd name="connsiteX896" fmla="*/ 2324437 w 3862373"/>
                <a:gd name="connsiteY896" fmla="*/ 2272564 h 3682908"/>
                <a:gd name="connsiteX897" fmla="*/ 2363524 w 3862373"/>
                <a:gd name="connsiteY897" fmla="*/ 2233477 h 3682908"/>
                <a:gd name="connsiteX898" fmla="*/ 1329597 w 3862373"/>
                <a:gd name="connsiteY898" fmla="*/ 2233477 h 3682908"/>
                <a:gd name="connsiteX899" fmla="*/ 1368685 w 3862373"/>
                <a:gd name="connsiteY899" fmla="*/ 2272564 h 3682908"/>
                <a:gd name="connsiteX900" fmla="*/ 1329597 w 3862373"/>
                <a:gd name="connsiteY900" fmla="*/ 2311651 h 3682908"/>
                <a:gd name="connsiteX901" fmla="*/ 1290512 w 3862373"/>
                <a:gd name="connsiteY901" fmla="*/ 2272564 h 3682908"/>
                <a:gd name="connsiteX902" fmla="*/ 1329597 w 3862373"/>
                <a:gd name="connsiteY902" fmla="*/ 2233477 h 3682908"/>
                <a:gd name="connsiteX903" fmla="*/ 1232596 w 3862373"/>
                <a:gd name="connsiteY903" fmla="*/ 2233477 h 3682908"/>
                <a:gd name="connsiteX904" fmla="*/ 1271678 w 3862373"/>
                <a:gd name="connsiteY904" fmla="*/ 2272564 h 3682908"/>
                <a:gd name="connsiteX905" fmla="*/ 1232596 w 3862373"/>
                <a:gd name="connsiteY905" fmla="*/ 2311651 h 3682908"/>
                <a:gd name="connsiteX906" fmla="*/ 1193508 w 3862373"/>
                <a:gd name="connsiteY906" fmla="*/ 2272564 h 3682908"/>
                <a:gd name="connsiteX907" fmla="*/ 1232596 w 3862373"/>
                <a:gd name="connsiteY907" fmla="*/ 2233477 h 3682908"/>
                <a:gd name="connsiteX908" fmla="*/ 1142686 w 3862373"/>
                <a:gd name="connsiteY908" fmla="*/ 2233477 h 3682908"/>
                <a:gd name="connsiteX909" fmla="*/ 1181776 w 3862373"/>
                <a:gd name="connsiteY909" fmla="*/ 2272564 h 3682908"/>
                <a:gd name="connsiteX910" fmla="*/ 1142686 w 3862373"/>
                <a:gd name="connsiteY910" fmla="*/ 2311651 h 3682908"/>
                <a:gd name="connsiteX911" fmla="*/ 1103596 w 3862373"/>
                <a:gd name="connsiteY911" fmla="*/ 2272564 h 3682908"/>
                <a:gd name="connsiteX912" fmla="*/ 1142686 w 3862373"/>
                <a:gd name="connsiteY912" fmla="*/ 2233477 h 3682908"/>
                <a:gd name="connsiteX913" fmla="*/ 1045675 w 3862373"/>
                <a:gd name="connsiteY913" fmla="*/ 2233477 h 3682908"/>
                <a:gd name="connsiteX914" fmla="*/ 1084762 w 3862373"/>
                <a:gd name="connsiteY914" fmla="*/ 2272564 h 3682908"/>
                <a:gd name="connsiteX915" fmla="*/ 1045675 w 3862373"/>
                <a:gd name="connsiteY915" fmla="*/ 2311651 h 3682908"/>
                <a:gd name="connsiteX916" fmla="*/ 1006589 w 3862373"/>
                <a:gd name="connsiteY916" fmla="*/ 2272564 h 3682908"/>
                <a:gd name="connsiteX917" fmla="*/ 1045675 w 3862373"/>
                <a:gd name="connsiteY917" fmla="*/ 2233477 h 3682908"/>
                <a:gd name="connsiteX918" fmla="*/ 3584377 w 3862373"/>
                <a:gd name="connsiteY918" fmla="*/ 2145935 h 3682908"/>
                <a:gd name="connsiteX919" fmla="*/ 3623463 w 3862373"/>
                <a:gd name="connsiteY919" fmla="*/ 2185022 h 3682908"/>
                <a:gd name="connsiteX920" fmla="*/ 3584377 w 3862373"/>
                <a:gd name="connsiteY920" fmla="*/ 2224109 h 3682908"/>
                <a:gd name="connsiteX921" fmla="*/ 3545289 w 3862373"/>
                <a:gd name="connsiteY921" fmla="*/ 2185022 h 3682908"/>
                <a:gd name="connsiteX922" fmla="*/ 3584377 w 3862373"/>
                <a:gd name="connsiteY922" fmla="*/ 2145935 h 3682908"/>
                <a:gd name="connsiteX923" fmla="*/ 3489737 w 3862373"/>
                <a:gd name="connsiteY923" fmla="*/ 2145935 h 3682908"/>
                <a:gd name="connsiteX924" fmla="*/ 3528823 w 3862373"/>
                <a:gd name="connsiteY924" fmla="*/ 2185022 h 3682908"/>
                <a:gd name="connsiteX925" fmla="*/ 3489737 w 3862373"/>
                <a:gd name="connsiteY925" fmla="*/ 2224109 h 3682908"/>
                <a:gd name="connsiteX926" fmla="*/ 3450649 w 3862373"/>
                <a:gd name="connsiteY926" fmla="*/ 2185022 h 3682908"/>
                <a:gd name="connsiteX927" fmla="*/ 3489737 w 3862373"/>
                <a:gd name="connsiteY927" fmla="*/ 2145935 h 3682908"/>
                <a:gd name="connsiteX928" fmla="*/ 3392731 w 3862373"/>
                <a:gd name="connsiteY928" fmla="*/ 2145935 h 3682908"/>
                <a:gd name="connsiteX929" fmla="*/ 3431819 w 3862373"/>
                <a:gd name="connsiteY929" fmla="*/ 2185022 h 3682908"/>
                <a:gd name="connsiteX930" fmla="*/ 3392731 w 3862373"/>
                <a:gd name="connsiteY930" fmla="*/ 2224109 h 3682908"/>
                <a:gd name="connsiteX931" fmla="*/ 3353644 w 3862373"/>
                <a:gd name="connsiteY931" fmla="*/ 2185022 h 3682908"/>
                <a:gd name="connsiteX932" fmla="*/ 3392731 w 3862373"/>
                <a:gd name="connsiteY932" fmla="*/ 2145935 h 3682908"/>
                <a:gd name="connsiteX933" fmla="*/ 3300457 w 3862373"/>
                <a:gd name="connsiteY933" fmla="*/ 2145935 h 3682908"/>
                <a:gd name="connsiteX934" fmla="*/ 3339544 w 3862373"/>
                <a:gd name="connsiteY934" fmla="*/ 2185022 h 3682908"/>
                <a:gd name="connsiteX935" fmla="*/ 3300457 w 3862373"/>
                <a:gd name="connsiteY935" fmla="*/ 2224109 h 3682908"/>
                <a:gd name="connsiteX936" fmla="*/ 3261369 w 3862373"/>
                <a:gd name="connsiteY936" fmla="*/ 2185022 h 3682908"/>
                <a:gd name="connsiteX937" fmla="*/ 3300457 w 3862373"/>
                <a:gd name="connsiteY937" fmla="*/ 2145935 h 3682908"/>
                <a:gd name="connsiteX938" fmla="*/ 3205817 w 3862373"/>
                <a:gd name="connsiteY938" fmla="*/ 2145935 h 3682908"/>
                <a:gd name="connsiteX939" fmla="*/ 3244904 w 3862373"/>
                <a:gd name="connsiteY939" fmla="*/ 2185022 h 3682908"/>
                <a:gd name="connsiteX940" fmla="*/ 3205817 w 3862373"/>
                <a:gd name="connsiteY940" fmla="*/ 2224109 h 3682908"/>
                <a:gd name="connsiteX941" fmla="*/ 3166729 w 3862373"/>
                <a:gd name="connsiteY941" fmla="*/ 2185022 h 3682908"/>
                <a:gd name="connsiteX942" fmla="*/ 3205817 w 3862373"/>
                <a:gd name="connsiteY942" fmla="*/ 2145935 h 3682908"/>
                <a:gd name="connsiteX943" fmla="*/ 3111177 w 3862373"/>
                <a:gd name="connsiteY943" fmla="*/ 2145935 h 3682908"/>
                <a:gd name="connsiteX944" fmla="*/ 3150264 w 3862373"/>
                <a:gd name="connsiteY944" fmla="*/ 2185022 h 3682908"/>
                <a:gd name="connsiteX945" fmla="*/ 3111177 w 3862373"/>
                <a:gd name="connsiteY945" fmla="*/ 2224109 h 3682908"/>
                <a:gd name="connsiteX946" fmla="*/ 3072089 w 3862373"/>
                <a:gd name="connsiteY946" fmla="*/ 2185022 h 3682908"/>
                <a:gd name="connsiteX947" fmla="*/ 3111177 w 3862373"/>
                <a:gd name="connsiteY947" fmla="*/ 2145935 h 3682908"/>
                <a:gd name="connsiteX948" fmla="*/ 3018902 w 3862373"/>
                <a:gd name="connsiteY948" fmla="*/ 2145935 h 3682908"/>
                <a:gd name="connsiteX949" fmla="*/ 3057989 w 3862373"/>
                <a:gd name="connsiteY949" fmla="*/ 2185022 h 3682908"/>
                <a:gd name="connsiteX950" fmla="*/ 3018902 w 3862373"/>
                <a:gd name="connsiteY950" fmla="*/ 2224109 h 3682908"/>
                <a:gd name="connsiteX951" fmla="*/ 2979815 w 3862373"/>
                <a:gd name="connsiteY951" fmla="*/ 2185022 h 3682908"/>
                <a:gd name="connsiteX952" fmla="*/ 3018902 w 3862373"/>
                <a:gd name="connsiteY952" fmla="*/ 2145935 h 3682908"/>
                <a:gd name="connsiteX953" fmla="*/ 2924263 w 3862373"/>
                <a:gd name="connsiteY953" fmla="*/ 2145935 h 3682908"/>
                <a:gd name="connsiteX954" fmla="*/ 2963349 w 3862373"/>
                <a:gd name="connsiteY954" fmla="*/ 2185022 h 3682908"/>
                <a:gd name="connsiteX955" fmla="*/ 2924263 w 3862373"/>
                <a:gd name="connsiteY955" fmla="*/ 2224109 h 3682908"/>
                <a:gd name="connsiteX956" fmla="*/ 2885175 w 3862373"/>
                <a:gd name="connsiteY956" fmla="*/ 2185022 h 3682908"/>
                <a:gd name="connsiteX957" fmla="*/ 2924263 w 3862373"/>
                <a:gd name="connsiteY957" fmla="*/ 2145935 h 3682908"/>
                <a:gd name="connsiteX958" fmla="*/ 2831988 w 3862373"/>
                <a:gd name="connsiteY958" fmla="*/ 2145935 h 3682908"/>
                <a:gd name="connsiteX959" fmla="*/ 2871075 w 3862373"/>
                <a:gd name="connsiteY959" fmla="*/ 2185022 h 3682908"/>
                <a:gd name="connsiteX960" fmla="*/ 2831988 w 3862373"/>
                <a:gd name="connsiteY960" fmla="*/ 2224109 h 3682908"/>
                <a:gd name="connsiteX961" fmla="*/ 2792901 w 3862373"/>
                <a:gd name="connsiteY961" fmla="*/ 2185022 h 3682908"/>
                <a:gd name="connsiteX962" fmla="*/ 2831988 w 3862373"/>
                <a:gd name="connsiteY962" fmla="*/ 2145935 h 3682908"/>
                <a:gd name="connsiteX963" fmla="*/ 2737355 w 3862373"/>
                <a:gd name="connsiteY963" fmla="*/ 2145935 h 3682908"/>
                <a:gd name="connsiteX964" fmla="*/ 2776435 w 3862373"/>
                <a:gd name="connsiteY964" fmla="*/ 2185022 h 3682908"/>
                <a:gd name="connsiteX965" fmla="*/ 2737355 w 3862373"/>
                <a:gd name="connsiteY965" fmla="*/ 2224109 h 3682908"/>
                <a:gd name="connsiteX966" fmla="*/ 2698264 w 3862373"/>
                <a:gd name="connsiteY966" fmla="*/ 2185022 h 3682908"/>
                <a:gd name="connsiteX967" fmla="*/ 2737355 w 3862373"/>
                <a:gd name="connsiteY967" fmla="*/ 2145935 h 3682908"/>
                <a:gd name="connsiteX968" fmla="*/ 2645073 w 3862373"/>
                <a:gd name="connsiteY968" fmla="*/ 2145935 h 3682908"/>
                <a:gd name="connsiteX969" fmla="*/ 2684163 w 3862373"/>
                <a:gd name="connsiteY969" fmla="*/ 2185022 h 3682908"/>
                <a:gd name="connsiteX970" fmla="*/ 2645073 w 3862373"/>
                <a:gd name="connsiteY970" fmla="*/ 2224109 h 3682908"/>
                <a:gd name="connsiteX971" fmla="*/ 2605987 w 3862373"/>
                <a:gd name="connsiteY971" fmla="*/ 2185022 h 3682908"/>
                <a:gd name="connsiteX972" fmla="*/ 2645073 w 3862373"/>
                <a:gd name="connsiteY972" fmla="*/ 2145935 h 3682908"/>
                <a:gd name="connsiteX973" fmla="*/ 2550435 w 3862373"/>
                <a:gd name="connsiteY973" fmla="*/ 2145935 h 3682908"/>
                <a:gd name="connsiteX974" fmla="*/ 2589521 w 3862373"/>
                <a:gd name="connsiteY974" fmla="*/ 2185022 h 3682908"/>
                <a:gd name="connsiteX975" fmla="*/ 2550435 w 3862373"/>
                <a:gd name="connsiteY975" fmla="*/ 2224109 h 3682908"/>
                <a:gd name="connsiteX976" fmla="*/ 2511350 w 3862373"/>
                <a:gd name="connsiteY976" fmla="*/ 2185022 h 3682908"/>
                <a:gd name="connsiteX977" fmla="*/ 2550435 w 3862373"/>
                <a:gd name="connsiteY977" fmla="*/ 2145935 h 3682908"/>
                <a:gd name="connsiteX978" fmla="*/ 2458164 w 3862373"/>
                <a:gd name="connsiteY978" fmla="*/ 2145935 h 3682908"/>
                <a:gd name="connsiteX979" fmla="*/ 2497250 w 3862373"/>
                <a:gd name="connsiteY979" fmla="*/ 2185022 h 3682908"/>
                <a:gd name="connsiteX980" fmla="*/ 2458164 w 3862373"/>
                <a:gd name="connsiteY980" fmla="*/ 2224109 h 3682908"/>
                <a:gd name="connsiteX981" fmla="*/ 2419078 w 3862373"/>
                <a:gd name="connsiteY981" fmla="*/ 2185022 h 3682908"/>
                <a:gd name="connsiteX982" fmla="*/ 2458164 w 3862373"/>
                <a:gd name="connsiteY982" fmla="*/ 2145935 h 3682908"/>
                <a:gd name="connsiteX983" fmla="*/ 2363524 w 3862373"/>
                <a:gd name="connsiteY983" fmla="*/ 2145935 h 3682908"/>
                <a:gd name="connsiteX984" fmla="*/ 2402611 w 3862373"/>
                <a:gd name="connsiteY984" fmla="*/ 2185022 h 3682908"/>
                <a:gd name="connsiteX985" fmla="*/ 2363524 w 3862373"/>
                <a:gd name="connsiteY985" fmla="*/ 2224109 h 3682908"/>
                <a:gd name="connsiteX986" fmla="*/ 2324437 w 3862373"/>
                <a:gd name="connsiteY986" fmla="*/ 2185022 h 3682908"/>
                <a:gd name="connsiteX987" fmla="*/ 2363524 w 3862373"/>
                <a:gd name="connsiteY987" fmla="*/ 2145935 h 3682908"/>
                <a:gd name="connsiteX988" fmla="*/ 2266521 w 3862373"/>
                <a:gd name="connsiteY988" fmla="*/ 2145935 h 3682908"/>
                <a:gd name="connsiteX989" fmla="*/ 2305606 w 3862373"/>
                <a:gd name="connsiteY989" fmla="*/ 2185022 h 3682908"/>
                <a:gd name="connsiteX990" fmla="*/ 2266521 w 3862373"/>
                <a:gd name="connsiteY990" fmla="*/ 2224109 h 3682908"/>
                <a:gd name="connsiteX991" fmla="*/ 2227432 w 3862373"/>
                <a:gd name="connsiteY991" fmla="*/ 2185022 h 3682908"/>
                <a:gd name="connsiteX992" fmla="*/ 2266521 w 3862373"/>
                <a:gd name="connsiteY992" fmla="*/ 2145935 h 3682908"/>
                <a:gd name="connsiteX993" fmla="*/ 1232598 w 3862373"/>
                <a:gd name="connsiteY993" fmla="*/ 2145935 h 3682908"/>
                <a:gd name="connsiteX994" fmla="*/ 1271681 w 3862373"/>
                <a:gd name="connsiteY994" fmla="*/ 2185022 h 3682908"/>
                <a:gd name="connsiteX995" fmla="*/ 1232598 w 3862373"/>
                <a:gd name="connsiteY995" fmla="*/ 2224109 h 3682908"/>
                <a:gd name="connsiteX996" fmla="*/ 1193510 w 3862373"/>
                <a:gd name="connsiteY996" fmla="*/ 2185022 h 3682908"/>
                <a:gd name="connsiteX997" fmla="*/ 1232598 w 3862373"/>
                <a:gd name="connsiteY997" fmla="*/ 2145935 h 3682908"/>
                <a:gd name="connsiteX998" fmla="*/ 1142689 w 3862373"/>
                <a:gd name="connsiteY998" fmla="*/ 2145935 h 3682908"/>
                <a:gd name="connsiteX999" fmla="*/ 1181778 w 3862373"/>
                <a:gd name="connsiteY999" fmla="*/ 2185022 h 3682908"/>
                <a:gd name="connsiteX1000" fmla="*/ 1142689 w 3862373"/>
                <a:gd name="connsiteY1000" fmla="*/ 2224109 h 3682908"/>
                <a:gd name="connsiteX1001" fmla="*/ 1103598 w 3862373"/>
                <a:gd name="connsiteY1001" fmla="*/ 2185022 h 3682908"/>
                <a:gd name="connsiteX1002" fmla="*/ 1142689 w 3862373"/>
                <a:gd name="connsiteY1002" fmla="*/ 2145935 h 3682908"/>
                <a:gd name="connsiteX1003" fmla="*/ 1045676 w 3862373"/>
                <a:gd name="connsiteY1003" fmla="*/ 2145935 h 3682908"/>
                <a:gd name="connsiteX1004" fmla="*/ 1084764 w 3862373"/>
                <a:gd name="connsiteY1004" fmla="*/ 2185022 h 3682908"/>
                <a:gd name="connsiteX1005" fmla="*/ 1045676 w 3862373"/>
                <a:gd name="connsiteY1005" fmla="*/ 2224109 h 3682908"/>
                <a:gd name="connsiteX1006" fmla="*/ 1006591 w 3862373"/>
                <a:gd name="connsiteY1006" fmla="*/ 2185022 h 3682908"/>
                <a:gd name="connsiteX1007" fmla="*/ 1045676 w 3862373"/>
                <a:gd name="connsiteY1007" fmla="*/ 2145935 h 3682908"/>
                <a:gd name="connsiteX1008" fmla="*/ 951041 w 3862373"/>
                <a:gd name="connsiteY1008" fmla="*/ 2145935 h 3682908"/>
                <a:gd name="connsiteX1009" fmla="*/ 990126 w 3862373"/>
                <a:gd name="connsiteY1009" fmla="*/ 2185022 h 3682908"/>
                <a:gd name="connsiteX1010" fmla="*/ 951041 w 3862373"/>
                <a:gd name="connsiteY1010" fmla="*/ 2224109 h 3682908"/>
                <a:gd name="connsiteX1011" fmla="*/ 911956 w 3862373"/>
                <a:gd name="connsiteY1011" fmla="*/ 2185022 h 3682908"/>
                <a:gd name="connsiteX1012" fmla="*/ 951041 w 3862373"/>
                <a:gd name="connsiteY1012" fmla="*/ 2145935 h 3682908"/>
                <a:gd name="connsiteX1013" fmla="*/ 856406 w 3862373"/>
                <a:gd name="connsiteY1013" fmla="*/ 2145935 h 3682908"/>
                <a:gd name="connsiteX1014" fmla="*/ 895491 w 3862373"/>
                <a:gd name="connsiteY1014" fmla="*/ 2185022 h 3682908"/>
                <a:gd name="connsiteX1015" fmla="*/ 856406 w 3862373"/>
                <a:gd name="connsiteY1015" fmla="*/ 2224109 h 3682908"/>
                <a:gd name="connsiteX1016" fmla="*/ 817321 w 3862373"/>
                <a:gd name="connsiteY1016" fmla="*/ 2185022 h 3682908"/>
                <a:gd name="connsiteX1017" fmla="*/ 856406 w 3862373"/>
                <a:gd name="connsiteY1017" fmla="*/ 2145935 h 3682908"/>
                <a:gd name="connsiteX1018" fmla="*/ 3300457 w 3862373"/>
                <a:gd name="connsiteY1018" fmla="*/ 2056027 h 3682908"/>
                <a:gd name="connsiteX1019" fmla="*/ 3339544 w 3862373"/>
                <a:gd name="connsiteY1019" fmla="*/ 2095114 h 3682908"/>
                <a:gd name="connsiteX1020" fmla="*/ 3300457 w 3862373"/>
                <a:gd name="connsiteY1020" fmla="*/ 2134201 h 3682908"/>
                <a:gd name="connsiteX1021" fmla="*/ 3261369 w 3862373"/>
                <a:gd name="connsiteY1021" fmla="*/ 2095114 h 3682908"/>
                <a:gd name="connsiteX1022" fmla="*/ 3300457 w 3862373"/>
                <a:gd name="connsiteY1022" fmla="*/ 2056027 h 3682908"/>
                <a:gd name="connsiteX1023" fmla="*/ 3205817 w 3862373"/>
                <a:gd name="connsiteY1023" fmla="*/ 2056027 h 3682908"/>
                <a:gd name="connsiteX1024" fmla="*/ 3244904 w 3862373"/>
                <a:gd name="connsiteY1024" fmla="*/ 2095114 h 3682908"/>
                <a:gd name="connsiteX1025" fmla="*/ 3205817 w 3862373"/>
                <a:gd name="connsiteY1025" fmla="*/ 2134201 h 3682908"/>
                <a:gd name="connsiteX1026" fmla="*/ 3166729 w 3862373"/>
                <a:gd name="connsiteY1026" fmla="*/ 2095114 h 3682908"/>
                <a:gd name="connsiteX1027" fmla="*/ 3205817 w 3862373"/>
                <a:gd name="connsiteY1027" fmla="*/ 2056027 h 3682908"/>
                <a:gd name="connsiteX1028" fmla="*/ 3111177 w 3862373"/>
                <a:gd name="connsiteY1028" fmla="*/ 2056027 h 3682908"/>
                <a:gd name="connsiteX1029" fmla="*/ 3150264 w 3862373"/>
                <a:gd name="connsiteY1029" fmla="*/ 2095114 h 3682908"/>
                <a:gd name="connsiteX1030" fmla="*/ 3111177 w 3862373"/>
                <a:gd name="connsiteY1030" fmla="*/ 2134201 h 3682908"/>
                <a:gd name="connsiteX1031" fmla="*/ 3072089 w 3862373"/>
                <a:gd name="connsiteY1031" fmla="*/ 2095114 h 3682908"/>
                <a:gd name="connsiteX1032" fmla="*/ 3111177 w 3862373"/>
                <a:gd name="connsiteY1032" fmla="*/ 2056027 h 3682908"/>
                <a:gd name="connsiteX1033" fmla="*/ 3018902 w 3862373"/>
                <a:gd name="connsiteY1033" fmla="*/ 2056027 h 3682908"/>
                <a:gd name="connsiteX1034" fmla="*/ 3057989 w 3862373"/>
                <a:gd name="connsiteY1034" fmla="*/ 2095114 h 3682908"/>
                <a:gd name="connsiteX1035" fmla="*/ 3018902 w 3862373"/>
                <a:gd name="connsiteY1035" fmla="*/ 2134201 h 3682908"/>
                <a:gd name="connsiteX1036" fmla="*/ 2979815 w 3862373"/>
                <a:gd name="connsiteY1036" fmla="*/ 2095114 h 3682908"/>
                <a:gd name="connsiteX1037" fmla="*/ 3018902 w 3862373"/>
                <a:gd name="connsiteY1037" fmla="*/ 2056027 h 3682908"/>
                <a:gd name="connsiteX1038" fmla="*/ 2924263 w 3862373"/>
                <a:gd name="connsiteY1038" fmla="*/ 2056027 h 3682908"/>
                <a:gd name="connsiteX1039" fmla="*/ 2963349 w 3862373"/>
                <a:gd name="connsiteY1039" fmla="*/ 2095114 h 3682908"/>
                <a:gd name="connsiteX1040" fmla="*/ 2924263 w 3862373"/>
                <a:gd name="connsiteY1040" fmla="*/ 2134201 h 3682908"/>
                <a:gd name="connsiteX1041" fmla="*/ 2885175 w 3862373"/>
                <a:gd name="connsiteY1041" fmla="*/ 2095114 h 3682908"/>
                <a:gd name="connsiteX1042" fmla="*/ 2924263 w 3862373"/>
                <a:gd name="connsiteY1042" fmla="*/ 2056027 h 3682908"/>
                <a:gd name="connsiteX1043" fmla="*/ 2831987 w 3862373"/>
                <a:gd name="connsiteY1043" fmla="*/ 2056026 h 3682908"/>
                <a:gd name="connsiteX1044" fmla="*/ 2871074 w 3862373"/>
                <a:gd name="connsiteY1044" fmla="*/ 2095113 h 3682908"/>
                <a:gd name="connsiteX1045" fmla="*/ 2831987 w 3862373"/>
                <a:gd name="connsiteY1045" fmla="*/ 2134200 h 3682908"/>
                <a:gd name="connsiteX1046" fmla="*/ 2792900 w 3862373"/>
                <a:gd name="connsiteY1046" fmla="*/ 2095113 h 3682908"/>
                <a:gd name="connsiteX1047" fmla="*/ 2831987 w 3862373"/>
                <a:gd name="connsiteY1047" fmla="*/ 2056026 h 3682908"/>
                <a:gd name="connsiteX1048" fmla="*/ 2737355 w 3862373"/>
                <a:gd name="connsiteY1048" fmla="*/ 2056026 h 3682908"/>
                <a:gd name="connsiteX1049" fmla="*/ 2776434 w 3862373"/>
                <a:gd name="connsiteY1049" fmla="*/ 2095113 h 3682908"/>
                <a:gd name="connsiteX1050" fmla="*/ 2737355 w 3862373"/>
                <a:gd name="connsiteY1050" fmla="*/ 2134200 h 3682908"/>
                <a:gd name="connsiteX1051" fmla="*/ 2698264 w 3862373"/>
                <a:gd name="connsiteY1051" fmla="*/ 2095113 h 3682908"/>
                <a:gd name="connsiteX1052" fmla="*/ 2737355 w 3862373"/>
                <a:gd name="connsiteY1052" fmla="*/ 2056026 h 3682908"/>
                <a:gd name="connsiteX1053" fmla="*/ 2645073 w 3862373"/>
                <a:gd name="connsiteY1053" fmla="*/ 2056026 h 3682908"/>
                <a:gd name="connsiteX1054" fmla="*/ 2684163 w 3862373"/>
                <a:gd name="connsiteY1054" fmla="*/ 2095113 h 3682908"/>
                <a:gd name="connsiteX1055" fmla="*/ 2645073 w 3862373"/>
                <a:gd name="connsiteY1055" fmla="*/ 2134200 h 3682908"/>
                <a:gd name="connsiteX1056" fmla="*/ 2605987 w 3862373"/>
                <a:gd name="connsiteY1056" fmla="*/ 2095113 h 3682908"/>
                <a:gd name="connsiteX1057" fmla="*/ 2645073 w 3862373"/>
                <a:gd name="connsiteY1057" fmla="*/ 2056026 h 3682908"/>
                <a:gd name="connsiteX1058" fmla="*/ 2550435 w 3862373"/>
                <a:gd name="connsiteY1058" fmla="*/ 2056026 h 3682908"/>
                <a:gd name="connsiteX1059" fmla="*/ 2589522 w 3862373"/>
                <a:gd name="connsiteY1059" fmla="*/ 2095113 h 3682908"/>
                <a:gd name="connsiteX1060" fmla="*/ 2550435 w 3862373"/>
                <a:gd name="connsiteY1060" fmla="*/ 2134200 h 3682908"/>
                <a:gd name="connsiteX1061" fmla="*/ 2511350 w 3862373"/>
                <a:gd name="connsiteY1061" fmla="*/ 2095113 h 3682908"/>
                <a:gd name="connsiteX1062" fmla="*/ 2550435 w 3862373"/>
                <a:gd name="connsiteY1062" fmla="*/ 2056026 h 3682908"/>
                <a:gd name="connsiteX1063" fmla="*/ 2458164 w 3862373"/>
                <a:gd name="connsiteY1063" fmla="*/ 2056026 h 3682908"/>
                <a:gd name="connsiteX1064" fmla="*/ 2497250 w 3862373"/>
                <a:gd name="connsiteY1064" fmla="*/ 2095113 h 3682908"/>
                <a:gd name="connsiteX1065" fmla="*/ 2458164 w 3862373"/>
                <a:gd name="connsiteY1065" fmla="*/ 2134200 h 3682908"/>
                <a:gd name="connsiteX1066" fmla="*/ 2419078 w 3862373"/>
                <a:gd name="connsiteY1066" fmla="*/ 2095113 h 3682908"/>
                <a:gd name="connsiteX1067" fmla="*/ 2458164 w 3862373"/>
                <a:gd name="connsiteY1067" fmla="*/ 2056026 h 3682908"/>
                <a:gd name="connsiteX1068" fmla="*/ 2363524 w 3862373"/>
                <a:gd name="connsiteY1068" fmla="*/ 2056026 h 3682908"/>
                <a:gd name="connsiteX1069" fmla="*/ 2402609 w 3862373"/>
                <a:gd name="connsiteY1069" fmla="*/ 2095113 h 3682908"/>
                <a:gd name="connsiteX1070" fmla="*/ 2363524 w 3862373"/>
                <a:gd name="connsiteY1070" fmla="*/ 2134200 h 3682908"/>
                <a:gd name="connsiteX1071" fmla="*/ 2324437 w 3862373"/>
                <a:gd name="connsiteY1071" fmla="*/ 2095113 h 3682908"/>
                <a:gd name="connsiteX1072" fmla="*/ 2363524 w 3862373"/>
                <a:gd name="connsiteY1072" fmla="*/ 2056026 h 3682908"/>
                <a:gd name="connsiteX1073" fmla="*/ 2266520 w 3862373"/>
                <a:gd name="connsiteY1073" fmla="*/ 2056026 h 3682908"/>
                <a:gd name="connsiteX1074" fmla="*/ 2305606 w 3862373"/>
                <a:gd name="connsiteY1074" fmla="*/ 2095113 h 3682908"/>
                <a:gd name="connsiteX1075" fmla="*/ 2266520 w 3862373"/>
                <a:gd name="connsiteY1075" fmla="*/ 2134200 h 3682908"/>
                <a:gd name="connsiteX1076" fmla="*/ 2227431 w 3862373"/>
                <a:gd name="connsiteY1076" fmla="*/ 2095113 h 3682908"/>
                <a:gd name="connsiteX1077" fmla="*/ 2266520 w 3862373"/>
                <a:gd name="connsiteY1077" fmla="*/ 2056026 h 3682908"/>
                <a:gd name="connsiteX1078" fmla="*/ 856407 w 3862373"/>
                <a:gd name="connsiteY1078" fmla="*/ 2056026 h 3682908"/>
                <a:gd name="connsiteX1079" fmla="*/ 895492 w 3862373"/>
                <a:gd name="connsiteY1079" fmla="*/ 2095113 h 3682908"/>
                <a:gd name="connsiteX1080" fmla="*/ 856407 w 3862373"/>
                <a:gd name="connsiteY1080" fmla="*/ 2134200 h 3682908"/>
                <a:gd name="connsiteX1081" fmla="*/ 817323 w 3862373"/>
                <a:gd name="connsiteY1081" fmla="*/ 2095113 h 3682908"/>
                <a:gd name="connsiteX1082" fmla="*/ 856407 w 3862373"/>
                <a:gd name="connsiteY1082" fmla="*/ 2056026 h 3682908"/>
                <a:gd name="connsiteX1083" fmla="*/ 764138 w 3862373"/>
                <a:gd name="connsiteY1083" fmla="*/ 2056026 h 3682908"/>
                <a:gd name="connsiteX1084" fmla="*/ 803223 w 3862373"/>
                <a:gd name="connsiteY1084" fmla="*/ 2095113 h 3682908"/>
                <a:gd name="connsiteX1085" fmla="*/ 764138 w 3862373"/>
                <a:gd name="connsiteY1085" fmla="*/ 2134200 h 3682908"/>
                <a:gd name="connsiteX1086" fmla="*/ 725053 w 3862373"/>
                <a:gd name="connsiteY1086" fmla="*/ 2095113 h 3682908"/>
                <a:gd name="connsiteX1087" fmla="*/ 764138 w 3862373"/>
                <a:gd name="connsiteY1087" fmla="*/ 2056026 h 3682908"/>
                <a:gd name="connsiteX1088" fmla="*/ 3584377 w 3862373"/>
                <a:gd name="connsiteY1088" fmla="*/ 1973215 h 3682908"/>
                <a:gd name="connsiteX1089" fmla="*/ 3623463 w 3862373"/>
                <a:gd name="connsiteY1089" fmla="*/ 2012302 h 3682908"/>
                <a:gd name="connsiteX1090" fmla="*/ 3584377 w 3862373"/>
                <a:gd name="connsiteY1090" fmla="*/ 2051389 h 3682908"/>
                <a:gd name="connsiteX1091" fmla="*/ 3545289 w 3862373"/>
                <a:gd name="connsiteY1091" fmla="*/ 2012302 h 3682908"/>
                <a:gd name="connsiteX1092" fmla="*/ 3584377 w 3862373"/>
                <a:gd name="connsiteY1092" fmla="*/ 1973215 h 3682908"/>
                <a:gd name="connsiteX1093" fmla="*/ 3489737 w 3862373"/>
                <a:gd name="connsiteY1093" fmla="*/ 1973215 h 3682908"/>
                <a:gd name="connsiteX1094" fmla="*/ 3528823 w 3862373"/>
                <a:gd name="connsiteY1094" fmla="*/ 2012302 h 3682908"/>
                <a:gd name="connsiteX1095" fmla="*/ 3489737 w 3862373"/>
                <a:gd name="connsiteY1095" fmla="*/ 2051389 h 3682908"/>
                <a:gd name="connsiteX1096" fmla="*/ 3450649 w 3862373"/>
                <a:gd name="connsiteY1096" fmla="*/ 2012302 h 3682908"/>
                <a:gd name="connsiteX1097" fmla="*/ 3489737 w 3862373"/>
                <a:gd name="connsiteY1097" fmla="*/ 1973215 h 3682908"/>
                <a:gd name="connsiteX1098" fmla="*/ 3392731 w 3862373"/>
                <a:gd name="connsiteY1098" fmla="*/ 1973215 h 3682908"/>
                <a:gd name="connsiteX1099" fmla="*/ 3431819 w 3862373"/>
                <a:gd name="connsiteY1099" fmla="*/ 2012302 h 3682908"/>
                <a:gd name="connsiteX1100" fmla="*/ 3392731 w 3862373"/>
                <a:gd name="connsiteY1100" fmla="*/ 2051389 h 3682908"/>
                <a:gd name="connsiteX1101" fmla="*/ 3353644 w 3862373"/>
                <a:gd name="connsiteY1101" fmla="*/ 2012302 h 3682908"/>
                <a:gd name="connsiteX1102" fmla="*/ 3392731 w 3862373"/>
                <a:gd name="connsiteY1102" fmla="*/ 1973215 h 3682908"/>
                <a:gd name="connsiteX1103" fmla="*/ 3205815 w 3862373"/>
                <a:gd name="connsiteY1103" fmla="*/ 1973215 h 3682908"/>
                <a:gd name="connsiteX1104" fmla="*/ 3244903 w 3862373"/>
                <a:gd name="connsiteY1104" fmla="*/ 2012302 h 3682908"/>
                <a:gd name="connsiteX1105" fmla="*/ 3205815 w 3862373"/>
                <a:gd name="connsiteY1105" fmla="*/ 2051389 h 3682908"/>
                <a:gd name="connsiteX1106" fmla="*/ 3166728 w 3862373"/>
                <a:gd name="connsiteY1106" fmla="*/ 2012302 h 3682908"/>
                <a:gd name="connsiteX1107" fmla="*/ 3205815 w 3862373"/>
                <a:gd name="connsiteY1107" fmla="*/ 1973215 h 3682908"/>
                <a:gd name="connsiteX1108" fmla="*/ 3111175 w 3862373"/>
                <a:gd name="connsiteY1108" fmla="*/ 1973215 h 3682908"/>
                <a:gd name="connsiteX1109" fmla="*/ 3150263 w 3862373"/>
                <a:gd name="connsiteY1109" fmla="*/ 2012302 h 3682908"/>
                <a:gd name="connsiteX1110" fmla="*/ 3111175 w 3862373"/>
                <a:gd name="connsiteY1110" fmla="*/ 2051389 h 3682908"/>
                <a:gd name="connsiteX1111" fmla="*/ 3072088 w 3862373"/>
                <a:gd name="connsiteY1111" fmla="*/ 2012302 h 3682908"/>
                <a:gd name="connsiteX1112" fmla="*/ 3111175 w 3862373"/>
                <a:gd name="connsiteY1112" fmla="*/ 1973215 h 3682908"/>
                <a:gd name="connsiteX1113" fmla="*/ 3018902 w 3862373"/>
                <a:gd name="connsiteY1113" fmla="*/ 1973215 h 3682908"/>
                <a:gd name="connsiteX1114" fmla="*/ 3057989 w 3862373"/>
                <a:gd name="connsiteY1114" fmla="*/ 2012302 h 3682908"/>
                <a:gd name="connsiteX1115" fmla="*/ 3018902 w 3862373"/>
                <a:gd name="connsiteY1115" fmla="*/ 2051389 h 3682908"/>
                <a:gd name="connsiteX1116" fmla="*/ 2979815 w 3862373"/>
                <a:gd name="connsiteY1116" fmla="*/ 2012302 h 3682908"/>
                <a:gd name="connsiteX1117" fmla="*/ 3018902 w 3862373"/>
                <a:gd name="connsiteY1117" fmla="*/ 1973215 h 3682908"/>
                <a:gd name="connsiteX1118" fmla="*/ 2924263 w 3862373"/>
                <a:gd name="connsiteY1118" fmla="*/ 1973215 h 3682908"/>
                <a:gd name="connsiteX1119" fmla="*/ 2963349 w 3862373"/>
                <a:gd name="connsiteY1119" fmla="*/ 2012302 h 3682908"/>
                <a:gd name="connsiteX1120" fmla="*/ 2924263 w 3862373"/>
                <a:gd name="connsiteY1120" fmla="*/ 2051389 h 3682908"/>
                <a:gd name="connsiteX1121" fmla="*/ 2885175 w 3862373"/>
                <a:gd name="connsiteY1121" fmla="*/ 2012302 h 3682908"/>
                <a:gd name="connsiteX1122" fmla="*/ 2924263 w 3862373"/>
                <a:gd name="connsiteY1122" fmla="*/ 1973215 h 3682908"/>
                <a:gd name="connsiteX1123" fmla="*/ 2831987 w 3862373"/>
                <a:gd name="connsiteY1123" fmla="*/ 1973215 h 3682908"/>
                <a:gd name="connsiteX1124" fmla="*/ 2871074 w 3862373"/>
                <a:gd name="connsiteY1124" fmla="*/ 2012302 h 3682908"/>
                <a:gd name="connsiteX1125" fmla="*/ 2831987 w 3862373"/>
                <a:gd name="connsiteY1125" fmla="*/ 2051389 h 3682908"/>
                <a:gd name="connsiteX1126" fmla="*/ 2792900 w 3862373"/>
                <a:gd name="connsiteY1126" fmla="*/ 2012302 h 3682908"/>
                <a:gd name="connsiteX1127" fmla="*/ 2831987 w 3862373"/>
                <a:gd name="connsiteY1127" fmla="*/ 1973215 h 3682908"/>
                <a:gd name="connsiteX1128" fmla="*/ 2737356 w 3862373"/>
                <a:gd name="connsiteY1128" fmla="*/ 1973215 h 3682908"/>
                <a:gd name="connsiteX1129" fmla="*/ 2776434 w 3862373"/>
                <a:gd name="connsiteY1129" fmla="*/ 2012302 h 3682908"/>
                <a:gd name="connsiteX1130" fmla="*/ 2737356 w 3862373"/>
                <a:gd name="connsiteY1130" fmla="*/ 2051389 h 3682908"/>
                <a:gd name="connsiteX1131" fmla="*/ 2698264 w 3862373"/>
                <a:gd name="connsiteY1131" fmla="*/ 2012302 h 3682908"/>
                <a:gd name="connsiteX1132" fmla="*/ 2737356 w 3862373"/>
                <a:gd name="connsiteY1132" fmla="*/ 1973215 h 3682908"/>
                <a:gd name="connsiteX1133" fmla="*/ 2645073 w 3862373"/>
                <a:gd name="connsiteY1133" fmla="*/ 1973215 h 3682908"/>
                <a:gd name="connsiteX1134" fmla="*/ 2684163 w 3862373"/>
                <a:gd name="connsiteY1134" fmla="*/ 2012302 h 3682908"/>
                <a:gd name="connsiteX1135" fmla="*/ 2645073 w 3862373"/>
                <a:gd name="connsiteY1135" fmla="*/ 2051389 h 3682908"/>
                <a:gd name="connsiteX1136" fmla="*/ 2605987 w 3862373"/>
                <a:gd name="connsiteY1136" fmla="*/ 2012302 h 3682908"/>
                <a:gd name="connsiteX1137" fmla="*/ 2645073 w 3862373"/>
                <a:gd name="connsiteY1137" fmla="*/ 1973215 h 3682908"/>
                <a:gd name="connsiteX1138" fmla="*/ 2550435 w 3862373"/>
                <a:gd name="connsiteY1138" fmla="*/ 1973215 h 3682908"/>
                <a:gd name="connsiteX1139" fmla="*/ 2589522 w 3862373"/>
                <a:gd name="connsiteY1139" fmla="*/ 2012302 h 3682908"/>
                <a:gd name="connsiteX1140" fmla="*/ 2550435 w 3862373"/>
                <a:gd name="connsiteY1140" fmla="*/ 2051389 h 3682908"/>
                <a:gd name="connsiteX1141" fmla="*/ 2511351 w 3862373"/>
                <a:gd name="connsiteY1141" fmla="*/ 2012302 h 3682908"/>
                <a:gd name="connsiteX1142" fmla="*/ 2550435 w 3862373"/>
                <a:gd name="connsiteY1142" fmla="*/ 1973215 h 3682908"/>
                <a:gd name="connsiteX1143" fmla="*/ 2458164 w 3862373"/>
                <a:gd name="connsiteY1143" fmla="*/ 1973215 h 3682908"/>
                <a:gd name="connsiteX1144" fmla="*/ 2497250 w 3862373"/>
                <a:gd name="connsiteY1144" fmla="*/ 2012302 h 3682908"/>
                <a:gd name="connsiteX1145" fmla="*/ 2458164 w 3862373"/>
                <a:gd name="connsiteY1145" fmla="*/ 2051389 h 3682908"/>
                <a:gd name="connsiteX1146" fmla="*/ 2419078 w 3862373"/>
                <a:gd name="connsiteY1146" fmla="*/ 2012302 h 3682908"/>
                <a:gd name="connsiteX1147" fmla="*/ 2458164 w 3862373"/>
                <a:gd name="connsiteY1147" fmla="*/ 1973215 h 3682908"/>
                <a:gd name="connsiteX1148" fmla="*/ 2363524 w 3862373"/>
                <a:gd name="connsiteY1148" fmla="*/ 1973215 h 3682908"/>
                <a:gd name="connsiteX1149" fmla="*/ 2402609 w 3862373"/>
                <a:gd name="connsiteY1149" fmla="*/ 2012302 h 3682908"/>
                <a:gd name="connsiteX1150" fmla="*/ 2363524 w 3862373"/>
                <a:gd name="connsiteY1150" fmla="*/ 2051389 h 3682908"/>
                <a:gd name="connsiteX1151" fmla="*/ 2324437 w 3862373"/>
                <a:gd name="connsiteY1151" fmla="*/ 2012302 h 3682908"/>
                <a:gd name="connsiteX1152" fmla="*/ 2363524 w 3862373"/>
                <a:gd name="connsiteY1152" fmla="*/ 1973215 h 3682908"/>
                <a:gd name="connsiteX1153" fmla="*/ 2266521 w 3862373"/>
                <a:gd name="connsiteY1153" fmla="*/ 1973215 h 3682908"/>
                <a:gd name="connsiteX1154" fmla="*/ 2305606 w 3862373"/>
                <a:gd name="connsiteY1154" fmla="*/ 2012302 h 3682908"/>
                <a:gd name="connsiteX1155" fmla="*/ 2266521 w 3862373"/>
                <a:gd name="connsiteY1155" fmla="*/ 2051389 h 3682908"/>
                <a:gd name="connsiteX1156" fmla="*/ 2227431 w 3862373"/>
                <a:gd name="connsiteY1156" fmla="*/ 2012302 h 3682908"/>
                <a:gd name="connsiteX1157" fmla="*/ 2266521 w 3862373"/>
                <a:gd name="connsiteY1157" fmla="*/ 1973215 h 3682908"/>
                <a:gd name="connsiteX1158" fmla="*/ 1142694 w 3862373"/>
                <a:gd name="connsiteY1158" fmla="*/ 1973215 h 3682908"/>
                <a:gd name="connsiteX1159" fmla="*/ 1181781 w 3862373"/>
                <a:gd name="connsiteY1159" fmla="*/ 2012302 h 3682908"/>
                <a:gd name="connsiteX1160" fmla="*/ 1142694 w 3862373"/>
                <a:gd name="connsiteY1160" fmla="*/ 2051389 h 3682908"/>
                <a:gd name="connsiteX1161" fmla="*/ 1103602 w 3862373"/>
                <a:gd name="connsiteY1161" fmla="*/ 2012302 h 3682908"/>
                <a:gd name="connsiteX1162" fmla="*/ 1142694 w 3862373"/>
                <a:gd name="connsiteY1162" fmla="*/ 1973215 h 3682908"/>
                <a:gd name="connsiteX1163" fmla="*/ 764140 w 3862373"/>
                <a:gd name="connsiteY1163" fmla="*/ 1973215 h 3682908"/>
                <a:gd name="connsiteX1164" fmla="*/ 803226 w 3862373"/>
                <a:gd name="connsiteY1164" fmla="*/ 2012302 h 3682908"/>
                <a:gd name="connsiteX1165" fmla="*/ 764140 w 3862373"/>
                <a:gd name="connsiteY1165" fmla="*/ 2051389 h 3682908"/>
                <a:gd name="connsiteX1166" fmla="*/ 725056 w 3862373"/>
                <a:gd name="connsiteY1166" fmla="*/ 2012302 h 3682908"/>
                <a:gd name="connsiteX1167" fmla="*/ 764140 w 3862373"/>
                <a:gd name="connsiteY1167" fmla="*/ 1973215 h 3682908"/>
                <a:gd name="connsiteX1168" fmla="*/ 669495 w 3862373"/>
                <a:gd name="connsiteY1168" fmla="*/ 1973215 h 3682908"/>
                <a:gd name="connsiteX1169" fmla="*/ 708592 w 3862373"/>
                <a:gd name="connsiteY1169" fmla="*/ 2012302 h 3682908"/>
                <a:gd name="connsiteX1170" fmla="*/ 669495 w 3862373"/>
                <a:gd name="connsiteY1170" fmla="*/ 2051389 h 3682908"/>
                <a:gd name="connsiteX1171" fmla="*/ 630416 w 3862373"/>
                <a:gd name="connsiteY1171" fmla="*/ 2012302 h 3682908"/>
                <a:gd name="connsiteX1172" fmla="*/ 669495 w 3862373"/>
                <a:gd name="connsiteY1172" fmla="*/ 1973215 h 3682908"/>
                <a:gd name="connsiteX1173" fmla="*/ 577223 w 3862373"/>
                <a:gd name="connsiteY1173" fmla="*/ 1973215 h 3682908"/>
                <a:gd name="connsiteX1174" fmla="*/ 616315 w 3862373"/>
                <a:gd name="connsiteY1174" fmla="*/ 2012302 h 3682908"/>
                <a:gd name="connsiteX1175" fmla="*/ 577223 w 3862373"/>
                <a:gd name="connsiteY1175" fmla="*/ 2051389 h 3682908"/>
                <a:gd name="connsiteX1176" fmla="*/ 538132 w 3862373"/>
                <a:gd name="connsiteY1176" fmla="*/ 2012302 h 3682908"/>
                <a:gd name="connsiteX1177" fmla="*/ 577223 w 3862373"/>
                <a:gd name="connsiteY1177" fmla="*/ 1973215 h 3682908"/>
                <a:gd name="connsiteX1178" fmla="*/ 484944 w 3862373"/>
                <a:gd name="connsiteY1178" fmla="*/ 1973215 h 3682908"/>
                <a:gd name="connsiteX1179" fmla="*/ 524029 w 3862373"/>
                <a:gd name="connsiteY1179" fmla="*/ 2012302 h 3682908"/>
                <a:gd name="connsiteX1180" fmla="*/ 484944 w 3862373"/>
                <a:gd name="connsiteY1180" fmla="*/ 2051389 h 3682908"/>
                <a:gd name="connsiteX1181" fmla="*/ 445862 w 3862373"/>
                <a:gd name="connsiteY1181" fmla="*/ 2012302 h 3682908"/>
                <a:gd name="connsiteX1182" fmla="*/ 484944 w 3862373"/>
                <a:gd name="connsiteY1182" fmla="*/ 1973215 h 3682908"/>
                <a:gd name="connsiteX1183" fmla="*/ 3679017 w 3862373"/>
                <a:gd name="connsiteY1183" fmla="*/ 1892773 h 3682908"/>
                <a:gd name="connsiteX1184" fmla="*/ 3718103 w 3862373"/>
                <a:gd name="connsiteY1184" fmla="*/ 1931860 h 3682908"/>
                <a:gd name="connsiteX1185" fmla="*/ 3679017 w 3862373"/>
                <a:gd name="connsiteY1185" fmla="*/ 1970947 h 3682908"/>
                <a:gd name="connsiteX1186" fmla="*/ 3639929 w 3862373"/>
                <a:gd name="connsiteY1186" fmla="*/ 1931860 h 3682908"/>
                <a:gd name="connsiteX1187" fmla="*/ 3679017 w 3862373"/>
                <a:gd name="connsiteY1187" fmla="*/ 1892773 h 3682908"/>
                <a:gd name="connsiteX1188" fmla="*/ 3584377 w 3862373"/>
                <a:gd name="connsiteY1188" fmla="*/ 1892773 h 3682908"/>
                <a:gd name="connsiteX1189" fmla="*/ 3623463 w 3862373"/>
                <a:gd name="connsiteY1189" fmla="*/ 1931860 h 3682908"/>
                <a:gd name="connsiteX1190" fmla="*/ 3584377 w 3862373"/>
                <a:gd name="connsiteY1190" fmla="*/ 1970947 h 3682908"/>
                <a:gd name="connsiteX1191" fmla="*/ 3545289 w 3862373"/>
                <a:gd name="connsiteY1191" fmla="*/ 1931860 h 3682908"/>
                <a:gd name="connsiteX1192" fmla="*/ 3584377 w 3862373"/>
                <a:gd name="connsiteY1192" fmla="*/ 1892773 h 3682908"/>
                <a:gd name="connsiteX1193" fmla="*/ 3489737 w 3862373"/>
                <a:gd name="connsiteY1193" fmla="*/ 1892773 h 3682908"/>
                <a:gd name="connsiteX1194" fmla="*/ 3528823 w 3862373"/>
                <a:gd name="connsiteY1194" fmla="*/ 1931860 h 3682908"/>
                <a:gd name="connsiteX1195" fmla="*/ 3489737 w 3862373"/>
                <a:gd name="connsiteY1195" fmla="*/ 1970947 h 3682908"/>
                <a:gd name="connsiteX1196" fmla="*/ 3450649 w 3862373"/>
                <a:gd name="connsiteY1196" fmla="*/ 1931860 h 3682908"/>
                <a:gd name="connsiteX1197" fmla="*/ 3489737 w 3862373"/>
                <a:gd name="connsiteY1197" fmla="*/ 1892773 h 3682908"/>
                <a:gd name="connsiteX1198" fmla="*/ 3392731 w 3862373"/>
                <a:gd name="connsiteY1198" fmla="*/ 1892773 h 3682908"/>
                <a:gd name="connsiteX1199" fmla="*/ 3431819 w 3862373"/>
                <a:gd name="connsiteY1199" fmla="*/ 1931860 h 3682908"/>
                <a:gd name="connsiteX1200" fmla="*/ 3392731 w 3862373"/>
                <a:gd name="connsiteY1200" fmla="*/ 1970947 h 3682908"/>
                <a:gd name="connsiteX1201" fmla="*/ 3353644 w 3862373"/>
                <a:gd name="connsiteY1201" fmla="*/ 1931860 h 3682908"/>
                <a:gd name="connsiteX1202" fmla="*/ 3392731 w 3862373"/>
                <a:gd name="connsiteY1202" fmla="*/ 1892773 h 3682908"/>
                <a:gd name="connsiteX1203" fmla="*/ 3205815 w 3862373"/>
                <a:gd name="connsiteY1203" fmla="*/ 1892773 h 3682908"/>
                <a:gd name="connsiteX1204" fmla="*/ 3244903 w 3862373"/>
                <a:gd name="connsiteY1204" fmla="*/ 1931860 h 3682908"/>
                <a:gd name="connsiteX1205" fmla="*/ 3205815 w 3862373"/>
                <a:gd name="connsiteY1205" fmla="*/ 1970947 h 3682908"/>
                <a:gd name="connsiteX1206" fmla="*/ 3166728 w 3862373"/>
                <a:gd name="connsiteY1206" fmla="*/ 1931860 h 3682908"/>
                <a:gd name="connsiteX1207" fmla="*/ 3205815 w 3862373"/>
                <a:gd name="connsiteY1207" fmla="*/ 1892773 h 3682908"/>
                <a:gd name="connsiteX1208" fmla="*/ 3111175 w 3862373"/>
                <a:gd name="connsiteY1208" fmla="*/ 1892773 h 3682908"/>
                <a:gd name="connsiteX1209" fmla="*/ 3150263 w 3862373"/>
                <a:gd name="connsiteY1209" fmla="*/ 1931860 h 3682908"/>
                <a:gd name="connsiteX1210" fmla="*/ 3111175 w 3862373"/>
                <a:gd name="connsiteY1210" fmla="*/ 1970947 h 3682908"/>
                <a:gd name="connsiteX1211" fmla="*/ 3072088 w 3862373"/>
                <a:gd name="connsiteY1211" fmla="*/ 1931860 h 3682908"/>
                <a:gd name="connsiteX1212" fmla="*/ 3111175 w 3862373"/>
                <a:gd name="connsiteY1212" fmla="*/ 1892773 h 3682908"/>
                <a:gd name="connsiteX1213" fmla="*/ 3018902 w 3862373"/>
                <a:gd name="connsiteY1213" fmla="*/ 1892773 h 3682908"/>
                <a:gd name="connsiteX1214" fmla="*/ 3057989 w 3862373"/>
                <a:gd name="connsiteY1214" fmla="*/ 1931860 h 3682908"/>
                <a:gd name="connsiteX1215" fmla="*/ 3018902 w 3862373"/>
                <a:gd name="connsiteY1215" fmla="*/ 1970947 h 3682908"/>
                <a:gd name="connsiteX1216" fmla="*/ 2979815 w 3862373"/>
                <a:gd name="connsiteY1216" fmla="*/ 1931860 h 3682908"/>
                <a:gd name="connsiteX1217" fmla="*/ 3018902 w 3862373"/>
                <a:gd name="connsiteY1217" fmla="*/ 1892773 h 3682908"/>
                <a:gd name="connsiteX1218" fmla="*/ 2924263 w 3862373"/>
                <a:gd name="connsiteY1218" fmla="*/ 1892773 h 3682908"/>
                <a:gd name="connsiteX1219" fmla="*/ 2963349 w 3862373"/>
                <a:gd name="connsiteY1219" fmla="*/ 1931860 h 3682908"/>
                <a:gd name="connsiteX1220" fmla="*/ 2924263 w 3862373"/>
                <a:gd name="connsiteY1220" fmla="*/ 1970947 h 3682908"/>
                <a:gd name="connsiteX1221" fmla="*/ 2885175 w 3862373"/>
                <a:gd name="connsiteY1221" fmla="*/ 1931860 h 3682908"/>
                <a:gd name="connsiteX1222" fmla="*/ 2924263 w 3862373"/>
                <a:gd name="connsiteY1222" fmla="*/ 1892773 h 3682908"/>
                <a:gd name="connsiteX1223" fmla="*/ 2831987 w 3862373"/>
                <a:gd name="connsiteY1223" fmla="*/ 1892773 h 3682908"/>
                <a:gd name="connsiteX1224" fmla="*/ 2871074 w 3862373"/>
                <a:gd name="connsiteY1224" fmla="*/ 1931860 h 3682908"/>
                <a:gd name="connsiteX1225" fmla="*/ 2831987 w 3862373"/>
                <a:gd name="connsiteY1225" fmla="*/ 1970947 h 3682908"/>
                <a:gd name="connsiteX1226" fmla="*/ 2792900 w 3862373"/>
                <a:gd name="connsiteY1226" fmla="*/ 1931860 h 3682908"/>
                <a:gd name="connsiteX1227" fmla="*/ 2831987 w 3862373"/>
                <a:gd name="connsiteY1227" fmla="*/ 1892773 h 3682908"/>
                <a:gd name="connsiteX1228" fmla="*/ 2737356 w 3862373"/>
                <a:gd name="connsiteY1228" fmla="*/ 1892773 h 3682908"/>
                <a:gd name="connsiteX1229" fmla="*/ 2776434 w 3862373"/>
                <a:gd name="connsiteY1229" fmla="*/ 1931860 h 3682908"/>
                <a:gd name="connsiteX1230" fmla="*/ 2737356 w 3862373"/>
                <a:gd name="connsiteY1230" fmla="*/ 1970947 h 3682908"/>
                <a:gd name="connsiteX1231" fmla="*/ 2698265 w 3862373"/>
                <a:gd name="connsiteY1231" fmla="*/ 1931860 h 3682908"/>
                <a:gd name="connsiteX1232" fmla="*/ 2737356 w 3862373"/>
                <a:gd name="connsiteY1232" fmla="*/ 1892773 h 3682908"/>
                <a:gd name="connsiteX1233" fmla="*/ 2645073 w 3862373"/>
                <a:gd name="connsiteY1233" fmla="*/ 1892773 h 3682908"/>
                <a:gd name="connsiteX1234" fmla="*/ 2684163 w 3862373"/>
                <a:gd name="connsiteY1234" fmla="*/ 1931860 h 3682908"/>
                <a:gd name="connsiteX1235" fmla="*/ 2645073 w 3862373"/>
                <a:gd name="connsiteY1235" fmla="*/ 1970947 h 3682908"/>
                <a:gd name="connsiteX1236" fmla="*/ 2605987 w 3862373"/>
                <a:gd name="connsiteY1236" fmla="*/ 1931860 h 3682908"/>
                <a:gd name="connsiteX1237" fmla="*/ 2645073 w 3862373"/>
                <a:gd name="connsiteY1237" fmla="*/ 1892773 h 3682908"/>
                <a:gd name="connsiteX1238" fmla="*/ 2550436 w 3862373"/>
                <a:gd name="connsiteY1238" fmla="*/ 1892773 h 3682908"/>
                <a:gd name="connsiteX1239" fmla="*/ 2589522 w 3862373"/>
                <a:gd name="connsiteY1239" fmla="*/ 1931860 h 3682908"/>
                <a:gd name="connsiteX1240" fmla="*/ 2550436 w 3862373"/>
                <a:gd name="connsiteY1240" fmla="*/ 1970947 h 3682908"/>
                <a:gd name="connsiteX1241" fmla="*/ 2511351 w 3862373"/>
                <a:gd name="connsiteY1241" fmla="*/ 1931860 h 3682908"/>
                <a:gd name="connsiteX1242" fmla="*/ 2550436 w 3862373"/>
                <a:gd name="connsiteY1242" fmla="*/ 1892773 h 3682908"/>
                <a:gd name="connsiteX1243" fmla="*/ 2458164 w 3862373"/>
                <a:gd name="connsiteY1243" fmla="*/ 1892773 h 3682908"/>
                <a:gd name="connsiteX1244" fmla="*/ 2497251 w 3862373"/>
                <a:gd name="connsiteY1244" fmla="*/ 1931860 h 3682908"/>
                <a:gd name="connsiteX1245" fmla="*/ 2458164 w 3862373"/>
                <a:gd name="connsiteY1245" fmla="*/ 1970947 h 3682908"/>
                <a:gd name="connsiteX1246" fmla="*/ 2419078 w 3862373"/>
                <a:gd name="connsiteY1246" fmla="*/ 1931860 h 3682908"/>
                <a:gd name="connsiteX1247" fmla="*/ 2458164 w 3862373"/>
                <a:gd name="connsiteY1247" fmla="*/ 1892773 h 3682908"/>
                <a:gd name="connsiteX1248" fmla="*/ 2363524 w 3862373"/>
                <a:gd name="connsiteY1248" fmla="*/ 1892773 h 3682908"/>
                <a:gd name="connsiteX1249" fmla="*/ 2402611 w 3862373"/>
                <a:gd name="connsiteY1249" fmla="*/ 1931860 h 3682908"/>
                <a:gd name="connsiteX1250" fmla="*/ 2363524 w 3862373"/>
                <a:gd name="connsiteY1250" fmla="*/ 1970947 h 3682908"/>
                <a:gd name="connsiteX1251" fmla="*/ 2324437 w 3862373"/>
                <a:gd name="connsiteY1251" fmla="*/ 1931860 h 3682908"/>
                <a:gd name="connsiteX1252" fmla="*/ 2363524 w 3862373"/>
                <a:gd name="connsiteY1252" fmla="*/ 1892773 h 3682908"/>
                <a:gd name="connsiteX1253" fmla="*/ 2266521 w 3862373"/>
                <a:gd name="connsiteY1253" fmla="*/ 1892773 h 3682908"/>
                <a:gd name="connsiteX1254" fmla="*/ 2305606 w 3862373"/>
                <a:gd name="connsiteY1254" fmla="*/ 1931860 h 3682908"/>
                <a:gd name="connsiteX1255" fmla="*/ 2266521 w 3862373"/>
                <a:gd name="connsiteY1255" fmla="*/ 1970947 h 3682908"/>
                <a:gd name="connsiteX1256" fmla="*/ 2227432 w 3862373"/>
                <a:gd name="connsiteY1256" fmla="*/ 1931860 h 3682908"/>
                <a:gd name="connsiteX1257" fmla="*/ 2266521 w 3862373"/>
                <a:gd name="connsiteY1257" fmla="*/ 1892773 h 3682908"/>
                <a:gd name="connsiteX1258" fmla="*/ 951048 w 3862373"/>
                <a:gd name="connsiteY1258" fmla="*/ 1892773 h 3682908"/>
                <a:gd name="connsiteX1259" fmla="*/ 990133 w 3862373"/>
                <a:gd name="connsiteY1259" fmla="*/ 1931860 h 3682908"/>
                <a:gd name="connsiteX1260" fmla="*/ 951048 w 3862373"/>
                <a:gd name="connsiteY1260" fmla="*/ 1970947 h 3682908"/>
                <a:gd name="connsiteX1261" fmla="*/ 911963 w 3862373"/>
                <a:gd name="connsiteY1261" fmla="*/ 1931860 h 3682908"/>
                <a:gd name="connsiteX1262" fmla="*/ 951048 w 3862373"/>
                <a:gd name="connsiteY1262" fmla="*/ 1892773 h 3682908"/>
                <a:gd name="connsiteX1263" fmla="*/ 764144 w 3862373"/>
                <a:gd name="connsiteY1263" fmla="*/ 1892773 h 3682908"/>
                <a:gd name="connsiteX1264" fmla="*/ 803230 w 3862373"/>
                <a:gd name="connsiteY1264" fmla="*/ 1931860 h 3682908"/>
                <a:gd name="connsiteX1265" fmla="*/ 764144 w 3862373"/>
                <a:gd name="connsiteY1265" fmla="*/ 1970947 h 3682908"/>
                <a:gd name="connsiteX1266" fmla="*/ 725059 w 3862373"/>
                <a:gd name="connsiteY1266" fmla="*/ 1931860 h 3682908"/>
                <a:gd name="connsiteX1267" fmla="*/ 764144 w 3862373"/>
                <a:gd name="connsiteY1267" fmla="*/ 1892773 h 3682908"/>
                <a:gd name="connsiteX1268" fmla="*/ 577226 w 3862373"/>
                <a:gd name="connsiteY1268" fmla="*/ 1892773 h 3682908"/>
                <a:gd name="connsiteX1269" fmla="*/ 616318 w 3862373"/>
                <a:gd name="connsiteY1269" fmla="*/ 1931860 h 3682908"/>
                <a:gd name="connsiteX1270" fmla="*/ 577226 w 3862373"/>
                <a:gd name="connsiteY1270" fmla="*/ 1970947 h 3682908"/>
                <a:gd name="connsiteX1271" fmla="*/ 538134 w 3862373"/>
                <a:gd name="connsiteY1271" fmla="*/ 1931860 h 3682908"/>
                <a:gd name="connsiteX1272" fmla="*/ 577226 w 3862373"/>
                <a:gd name="connsiteY1272" fmla="*/ 1892773 h 3682908"/>
                <a:gd name="connsiteX1273" fmla="*/ 484945 w 3862373"/>
                <a:gd name="connsiteY1273" fmla="*/ 1892773 h 3682908"/>
                <a:gd name="connsiteX1274" fmla="*/ 524032 w 3862373"/>
                <a:gd name="connsiteY1274" fmla="*/ 1931860 h 3682908"/>
                <a:gd name="connsiteX1275" fmla="*/ 484945 w 3862373"/>
                <a:gd name="connsiteY1275" fmla="*/ 1970947 h 3682908"/>
                <a:gd name="connsiteX1276" fmla="*/ 445867 w 3862373"/>
                <a:gd name="connsiteY1276" fmla="*/ 1931860 h 3682908"/>
                <a:gd name="connsiteX1277" fmla="*/ 484945 w 3862373"/>
                <a:gd name="connsiteY1277" fmla="*/ 1892773 h 3682908"/>
                <a:gd name="connsiteX1278" fmla="*/ 3861717 w 3862373"/>
                <a:gd name="connsiteY1278" fmla="*/ 1806975 h 3682908"/>
                <a:gd name="connsiteX1279" fmla="*/ 3858023 w 3862373"/>
                <a:gd name="connsiteY1279" fmla="*/ 1880127 h 3682908"/>
                <a:gd name="connsiteX1280" fmla="*/ 3838294 w 3862373"/>
                <a:gd name="connsiteY1280" fmla="*/ 1871955 h 3682908"/>
                <a:gd name="connsiteX1281" fmla="*/ 3826845 w 3862373"/>
                <a:gd name="connsiteY1281" fmla="*/ 1844316 h 3682908"/>
                <a:gd name="connsiteX1282" fmla="*/ 3838294 w 3862373"/>
                <a:gd name="connsiteY1282" fmla="*/ 1816677 h 3682908"/>
                <a:gd name="connsiteX1283" fmla="*/ 3679017 w 3862373"/>
                <a:gd name="connsiteY1283" fmla="*/ 1805229 h 3682908"/>
                <a:gd name="connsiteX1284" fmla="*/ 3718103 w 3862373"/>
                <a:gd name="connsiteY1284" fmla="*/ 1844316 h 3682908"/>
                <a:gd name="connsiteX1285" fmla="*/ 3679017 w 3862373"/>
                <a:gd name="connsiteY1285" fmla="*/ 1883404 h 3682908"/>
                <a:gd name="connsiteX1286" fmla="*/ 3639929 w 3862373"/>
                <a:gd name="connsiteY1286" fmla="*/ 1844316 h 3682908"/>
                <a:gd name="connsiteX1287" fmla="*/ 3679017 w 3862373"/>
                <a:gd name="connsiteY1287" fmla="*/ 1805229 h 3682908"/>
                <a:gd name="connsiteX1288" fmla="*/ 3300457 w 3862373"/>
                <a:gd name="connsiteY1288" fmla="*/ 1805229 h 3682908"/>
                <a:gd name="connsiteX1289" fmla="*/ 3339544 w 3862373"/>
                <a:gd name="connsiteY1289" fmla="*/ 1844316 h 3682908"/>
                <a:gd name="connsiteX1290" fmla="*/ 3300457 w 3862373"/>
                <a:gd name="connsiteY1290" fmla="*/ 1883404 h 3682908"/>
                <a:gd name="connsiteX1291" fmla="*/ 3261369 w 3862373"/>
                <a:gd name="connsiteY1291" fmla="*/ 1844316 h 3682908"/>
                <a:gd name="connsiteX1292" fmla="*/ 3300457 w 3862373"/>
                <a:gd name="connsiteY1292" fmla="*/ 1805229 h 3682908"/>
                <a:gd name="connsiteX1293" fmla="*/ 3111175 w 3862373"/>
                <a:gd name="connsiteY1293" fmla="*/ 1805229 h 3682908"/>
                <a:gd name="connsiteX1294" fmla="*/ 3150263 w 3862373"/>
                <a:gd name="connsiteY1294" fmla="*/ 1844316 h 3682908"/>
                <a:gd name="connsiteX1295" fmla="*/ 3111175 w 3862373"/>
                <a:gd name="connsiteY1295" fmla="*/ 1883404 h 3682908"/>
                <a:gd name="connsiteX1296" fmla="*/ 3072088 w 3862373"/>
                <a:gd name="connsiteY1296" fmla="*/ 1844316 h 3682908"/>
                <a:gd name="connsiteX1297" fmla="*/ 3111175 w 3862373"/>
                <a:gd name="connsiteY1297" fmla="*/ 1805229 h 3682908"/>
                <a:gd name="connsiteX1298" fmla="*/ 3018902 w 3862373"/>
                <a:gd name="connsiteY1298" fmla="*/ 1805229 h 3682908"/>
                <a:gd name="connsiteX1299" fmla="*/ 3057989 w 3862373"/>
                <a:gd name="connsiteY1299" fmla="*/ 1844316 h 3682908"/>
                <a:gd name="connsiteX1300" fmla="*/ 3018902 w 3862373"/>
                <a:gd name="connsiteY1300" fmla="*/ 1883404 h 3682908"/>
                <a:gd name="connsiteX1301" fmla="*/ 2979815 w 3862373"/>
                <a:gd name="connsiteY1301" fmla="*/ 1844316 h 3682908"/>
                <a:gd name="connsiteX1302" fmla="*/ 3018902 w 3862373"/>
                <a:gd name="connsiteY1302" fmla="*/ 1805229 h 3682908"/>
                <a:gd name="connsiteX1303" fmla="*/ 2831988 w 3862373"/>
                <a:gd name="connsiteY1303" fmla="*/ 1805229 h 3682908"/>
                <a:gd name="connsiteX1304" fmla="*/ 2871075 w 3862373"/>
                <a:gd name="connsiteY1304" fmla="*/ 1844316 h 3682908"/>
                <a:gd name="connsiteX1305" fmla="*/ 2831988 w 3862373"/>
                <a:gd name="connsiteY1305" fmla="*/ 1883404 h 3682908"/>
                <a:gd name="connsiteX1306" fmla="*/ 2792901 w 3862373"/>
                <a:gd name="connsiteY1306" fmla="*/ 1844316 h 3682908"/>
                <a:gd name="connsiteX1307" fmla="*/ 2831988 w 3862373"/>
                <a:gd name="connsiteY1307" fmla="*/ 1805229 h 3682908"/>
                <a:gd name="connsiteX1308" fmla="*/ 2737358 w 3862373"/>
                <a:gd name="connsiteY1308" fmla="*/ 1805229 h 3682908"/>
                <a:gd name="connsiteX1309" fmla="*/ 2776434 w 3862373"/>
                <a:gd name="connsiteY1309" fmla="*/ 1844316 h 3682908"/>
                <a:gd name="connsiteX1310" fmla="*/ 2737358 w 3862373"/>
                <a:gd name="connsiteY1310" fmla="*/ 1883404 h 3682908"/>
                <a:gd name="connsiteX1311" fmla="*/ 2698265 w 3862373"/>
                <a:gd name="connsiteY1311" fmla="*/ 1844316 h 3682908"/>
                <a:gd name="connsiteX1312" fmla="*/ 2737358 w 3862373"/>
                <a:gd name="connsiteY1312" fmla="*/ 1805229 h 3682908"/>
                <a:gd name="connsiteX1313" fmla="*/ 2645073 w 3862373"/>
                <a:gd name="connsiteY1313" fmla="*/ 1805229 h 3682908"/>
                <a:gd name="connsiteX1314" fmla="*/ 2684163 w 3862373"/>
                <a:gd name="connsiteY1314" fmla="*/ 1844316 h 3682908"/>
                <a:gd name="connsiteX1315" fmla="*/ 2645073 w 3862373"/>
                <a:gd name="connsiteY1315" fmla="*/ 1883404 h 3682908"/>
                <a:gd name="connsiteX1316" fmla="*/ 2605987 w 3862373"/>
                <a:gd name="connsiteY1316" fmla="*/ 1844316 h 3682908"/>
                <a:gd name="connsiteX1317" fmla="*/ 2645073 w 3862373"/>
                <a:gd name="connsiteY1317" fmla="*/ 1805229 h 3682908"/>
                <a:gd name="connsiteX1318" fmla="*/ 2550436 w 3862373"/>
                <a:gd name="connsiteY1318" fmla="*/ 1805229 h 3682908"/>
                <a:gd name="connsiteX1319" fmla="*/ 2589522 w 3862373"/>
                <a:gd name="connsiteY1319" fmla="*/ 1844316 h 3682908"/>
                <a:gd name="connsiteX1320" fmla="*/ 2550436 w 3862373"/>
                <a:gd name="connsiteY1320" fmla="*/ 1883404 h 3682908"/>
                <a:gd name="connsiteX1321" fmla="*/ 2511352 w 3862373"/>
                <a:gd name="connsiteY1321" fmla="*/ 1844316 h 3682908"/>
                <a:gd name="connsiteX1322" fmla="*/ 2550436 w 3862373"/>
                <a:gd name="connsiteY1322" fmla="*/ 1805229 h 3682908"/>
                <a:gd name="connsiteX1323" fmla="*/ 2363525 w 3862373"/>
                <a:gd name="connsiteY1323" fmla="*/ 1805229 h 3682908"/>
                <a:gd name="connsiteX1324" fmla="*/ 2402611 w 3862373"/>
                <a:gd name="connsiteY1324" fmla="*/ 1844316 h 3682908"/>
                <a:gd name="connsiteX1325" fmla="*/ 2363525 w 3862373"/>
                <a:gd name="connsiteY1325" fmla="*/ 1883404 h 3682908"/>
                <a:gd name="connsiteX1326" fmla="*/ 2324438 w 3862373"/>
                <a:gd name="connsiteY1326" fmla="*/ 1844316 h 3682908"/>
                <a:gd name="connsiteX1327" fmla="*/ 2363525 w 3862373"/>
                <a:gd name="connsiteY1327" fmla="*/ 1805229 h 3682908"/>
                <a:gd name="connsiteX1328" fmla="*/ 3771293 w 3862373"/>
                <a:gd name="connsiteY1328" fmla="*/ 1805229 h 3682908"/>
                <a:gd name="connsiteX1329" fmla="*/ 3810379 w 3862373"/>
                <a:gd name="connsiteY1329" fmla="*/ 1844316 h 3682908"/>
                <a:gd name="connsiteX1330" fmla="*/ 3771293 w 3862373"/>
                <a:gd name="connsiteY1330" fmla="*/ 1883403 h 3682908"/>
                <a:gd name="connsiteX1331" fmla="*/ 3732205 w 3862373"/>
                <a:gd name="connsiteY1331" fmla="*/ 1844316 h 3682908"/>
                <a:gd name="connsiteX1332" fmla="*/ 3771293 w 3862373"/>
                <a:gd name="connsiteY1332" fmla="*/ 1805229 h 3682908"/>
                <a:gd name="connsiteX1333" fmla="*/ 3584377 w 3862373"/>
                <a:gd name="connsiteY1333" fmla="*/ 1805229 h 3682908"/>
                <a:gd name="connsiteX1334" fmla="*/ 3623463 w 3862373"/>
                <a:gd name="connsiteY1334" fmla="*/ 1844316 h 3682908"/>
                <a:gd name="connsiteX1335" fmla="*/ 3584377 w 3862373"/>
                <a:gd name="connsiteY1335" fmla="*/ 1883403 h 3682908"/>
                <a:gd name="connsiteX1336" fmla="*/ 3545289 w 3862373"/>
                <a:gd name="connsiteY1336" fmla="*/ 1844316 h 3682908"/>
                <a:gd name="connsiteX1337" fmla="*/ 3584377 w 3862373"/>
                <a:gd name="connsiteY1337" fmla="*/ 1805229 h 3682908"/>
                <a:gd name="connsiteX1338" fmla="*/ 3489737 w 3862373"/>
                <a:gd name="connsiteY1338" fmla="*/ 1805229 h 3682908"/>
                <a:gd name="connsiteX1339" fmla="*/ 3528823 w 3862373"/>
                <a:gd name="connsiteY1339" fmla="*/ 1844316 h 3682908"/>
                <a:gd name="connsiteX1340" fmla="*/ 3489737 w 3862373"/>
                <a:gd name="connsiteY1340" fmla="*/ 1883403 h 3682908"/>
                <a:gd name="connsiteX1341" fmla="*/ 3450649 w 3862373"/>
                <a:gd name="connsiteY1341" fmla="*/ 1844316 h 3682908"/>
                <a:gd name="connsiteX1342" fmla="*/ 3489737 w 3862373"/>
                <a:gd name="connsiteY1342" fmla="*/ 1805229 h 3682908"/>
                <a:gd name="connsiteX1343" fmla="*/ 3392731 w 3862373"/>
                <a:gd name="connsiteY1343" fmla="*/ 1805229 h 3682908"/>
                <a:gd name="connsiteX1344" fmla="*/ 3431819 w 3862373"/>
                <a:gd name="connsiteY1344" fmla="*/ 1844316 h 3682908"/>
                <a:gd name="connsiteX1345" fmla="*/ 3392731 w 3862373"/>
                <a:gd name="connsiteY1345" fmla="*/ 1883403 h 3682908"/>
                <a:gd name="connsiteX1346" fmla="*/ 3353644 w 3862373"/>
                <a:gd name="connsiteY1346" fmla="*/ 1844316 h 3682908"/>
                <a:gd name="connsiteX1347" fmla="*/ 3392731 w 3862373"/>
                <a:gd name="connsiteY1347" fmla="*/ 1805229 h 3682908"/>
                <a:gd name="connsiteX1348" fmla="*/ 3205817 w 3862373"/>
                <a:gd name="connsiteY1348" fmla="*/ 1805229 h 3682908"/>
                <a:gd name="connsiteX1349" fmla="*/ 3244904 w 3862373"/>
                <a:gd name="connsiteY1349" fmla="*/ 1844316 h 3682908"/>
                <a:gd name="connsiteX1350" fmla="*/ 3205817 w 3862373"/>
                <a:gd name="connsiteY1350" fmla="*/ 1883403 h 3682908"/>
                <a:gd name="connsiteX1351" fmla="*/ 3166729 w 3862373"/>
                <a:gd name="connsiteY1351" fmla="*/ 1844316 h 3682908"/>
                <a:gd name="connsiteX1352" fmla="*/ 3205817 w 3862373"/>
                <a:gd name="connsiteY1352" fmla="*/ 1805229 h 3682908"/>
                <a:gd name="connsiteX1353" fmla="*/ 2924263 w 3862373"/>
                <a:gd name="connsiteY1353" fmla="*/ 1805229 h 3682908"/>
                <a:gd name="connsiteX1354" fmla="*/ 2963349 w 3862373"/>
                <a:gd name="connsiteY1354" fmla="*/ 1844316 h 3682908"/>
                <a:gd name="connsiteX1355" fmla="*/ 2924263 w 3862373"/>
                <a:gd name="connsiteY1355" fmla="*/ 1883403 h 3682908"/>
                <a:gd name="connsiteX1356" fmla="*/ 2885175 w 3862373"/>
                <a:gd name="connsiteY1356" fmla="*/ 1844316 h 3682908"/>
                <a:gd name="connsiteX1357" fmla="*/ 2924263 w 3862373"/>
                <a:gd name="connsiteY1357" fmla="*/ 1805229 h 3682908"/>
                <a:gd name="connsiteX1358" fmla="*/ 2458164 w 3862373"/>
                <a:gd name="connsiteY1358" fmla="*/ 1805229 h 3682908"/>
                <a:gd name="connsiteX1359" fmla="*/ 2497252 w 3862373"/>
                <a:gd name="connsiteY1359" fmla="*/ 1844316 h 3682908"/>
                <a:gd name="connsiteX1360" fmla="*/ 2458164 w 3862373"/>
                <a:gd name="connsiteY1360" fmla="*/ 1883403 h 3682908"/>
                <a:gd name="connsiteX1361" fmla="*/ 2419079 w 3862373"/>
                <a:gd name="connsiteY1361" fmla="*/ 1844316 h 3682908"/>
                <a:gd name="connsiteX1362" fmla="*/ 2458164 w 3862373"/>
                <a:gd name="connsiteY1362" fmla="*/ 1805229 h 3682908"/>
                <a:gd name="connsiteX1363" fmla="*/ 2266523 w 3862373"/>
                <a:gd name="connsiteY1363" fmla="*/ 1805229 h 3682908"/>
                <a:gd name="connsiteX1364" fmla="*/ 2305609 w 3862373"/>
                <a:gd name="connsiteY1364" fmla="*/ 1844316 h 3682908"/>
                <a:gd name="connsiteX1365" fmla="*/ 2266523 w 3862373"/>
                <a:gd name="connsiteY1365" fmla="*/ 1883403 h 3682908"/>
                <a:gd name="connsiteX1366" fmla="*/ 2227433 w 3862373"/>
                <a:gd name="connsiteY1366" fmla="*/ 1844316 h 3682908"/>
                <a:gd name="connsiteX1367" fmla="*/ 2266523 w 3862373"/>
                <a:gd name="connsiteY1367" fmla="*/ 1805229 h 3682908"/>
                <a:gd name="connsiteX1368" fmla="*/ 577230 w 3862373"/>
                <a:gd name="connsiteY1368" fmla="*/ 1805229 h 3682908"/>
                <a:gd name="connsiteX1369" fmla="*/ 616322 w 3862373"/>
                <a:gd name="connsiteY1369" fmla="*/ 1844316 h 3682908"/>
                <a:gd name="connsiteX1370" fmla="*/ 577230 w 3862373"/>
                <a:gd name="connsiteY1370" fmla="*/ 1883403 h 3682908"/>
                <a:gd name="connsiteX1371" fmla="*/ 538137 w 3862373"/>
                <a:gd name="connsiteY1371" fmla="*/ 1844316 h 3682908"/>
                <a:gd name="connsiteX1372" fmla="*/ 577230 w 3862373"/>
                <a:gd name="connsiteY1372" fmla="*/ 1805229 h 3682908"/>
                <a:gd name="connsiteX1373" fmla="*/ 484947 w 3862373"/>
                <a:gd name="connsiteY1373" fmla="*/ 1805229 h 3682908"/>
                <a:gd name="connsiteX1374" fmla="*/ 524035 w 3862373"/>
                <a:gd name="connsiteY1374" fmla="*/ 1844316 h 3682908"/>
                <a:gd name="connsiteX1375" fmla="*/ 484947 w 3862373"/>
                <a:gd name="connsiteY1375" fmla="*/ 1883403 h 3682908"/>
                <a:gd name="connsiteX1376" fmla="*/ 445867 w 3862373"/>
                <a:gd name="connsiteY1376" fmla="*/ 1844316 h 3682908"/>
                <a:gd name="connsiteX1377" fmla="*/ 484947 w 3862373"/>
                <a:gd name="connsiteY1377" fmla="*/ 1805229 h 3682908"/>
                <a:gd name="connsiteX1378" fmla="*/ 390307 w 3862373"/>
                <a:gd name="connsiteY1378" fmla="*/ 1805229 h 3682908"/>
                <a:gd name="connsiteX1379" fmla="*/ 429399 w 3862373"/>
                <a:gd name="connsiteY1379" fmla="*/ 1844316 h 3682908"/>
                <a:gd name="connsiteX1380" fmla="*/ 390307 w 3862373"/>
                <a:gd name="connsiteY1380" fmla="*/ 1883403 h 3682908"/>
                <a:gd name="connsiteX1381" fmla="*/ 351227 w 3862373"/>
                <a:gd name="connsiteY1381" fmla="*/ 1844316 h 3682908"/>
                <a:gd name="connsiteX1382" fmla="*/ 390307 w 3862373"/>
                <a:gd name="connsiteY1382" fmla="*/ 1805229 h 3682908"/>
                <a:gd name="connsiteX1383" fmla="*/ 3858672 w 3862373"/>
                <a:gd name="connsiteY1383" fmla="*/ 1720694 h 3682908"/>
                <a:gd name="connsiteX1384" fmla="*/ 3862373 w 3862373"/>
                <a:gd name="connsiteY1384" fmla="*/ 1793978 h 3682908"/>
                <a:gd name="connsiteX1385" fmla="*/ 3862353 w 3862373"/>
                <a:gd name="connsiteY1385" fmla="*/ 1794377 h 3682908"/>
                <a:gd name="connsiteX1386" fmla="*/ 3838294 w 3862373"/>
                <a:gd name="connsiteY1386" fmla="*/ 1784412 h 3682908"/>
                <a:gd name="connsiteX1387" fmla="*/ 3826845 w 3862373"/>
                <a:gd name="connsiteY1387" fmla="*/ 1756774 h 3682908"/>
                <a:gd name="connsiteX1388" fmla="*/ 3838294 w 3862373"/>
                <a:gd name="connsiteY1388" fmla="*/ 1729135 h 3682908"/>
                <a:gd name="connsiteX1389" fmla="*/ 3771293 w 3862373"/>
                <a:gd name="connsiteY1389" fmla="*/ 1717686 h 3682908"/>
                <a:gd name="connsiteX1390" fmla="*/ 3810379 w 3862373"/>
                <a:gd name="connsiteY1390" fmla="*/ 1756774 h 3682908"/>
                <a:gd name="connsiteX1391" fmla="*/ 3771293 w 3862373"/>
                <a:gd name="connsiteY1391" fmla="*/ 1795860 h 3682908"/>
                <a:gd name="connsiteX1392" fmla="*/ 3732205 w 3862373"/>
                <a:gd name="connsiteY1392" fmla="*/ 1756774 h 3682908"/>
                <a:gd name="connsiteX1393" fmla="*/ 3771293 w 3862373"/>
                <a:gd name="connsiteY1393" fmla="*/ 1717686 h 3682908"/>
                <a:gd name="connsiteX1394" fmla="*/ 3679017 w 3862373"/>
                <a:gd name="connsiteY1394" fmla="*/ 1717686 h 3682908"/>
                <a:gd name="connsiteX1395" fmla="*/ 3718103 w 3862373"/>
                <a:gd name="connsiteY1395" fmla="*/ 1756774 h 3682908"/>
                <a:gd name="connsiteX1396" fmla="*/ 3679017 w 3862373"/>
                <a:gd name="connsiteY1396" fmla="*/ 1795860 h 3682908"/>
                <a:gd name="connsiteX1397" fmla="*/ 3639929 w 3862373"/>
                <a:gd name="connsiteY1397" fmla="*/ 1756774 h 3682908"/>
                <a:gd name="connsiteX1398" fmla="*/ 3679017 w 3862373"/>
                <a:gd name="connsiteY1398" fmla="*/ 1717686 h 3682908"/>
                <a:gd name="connsiteX1399" fmla="*/ 3584377 w 3862373"/>
                <a:gd name="connsiteY1399" fmla="*/ 1717686 h 3682908"/>
                <a:gd name="connsiteX1400" fmla="*/ 3623463 w 3862373"/>
                <a:gd name="connsiteY1400" fmla="*/ 1756774 h 3682908"/>
                <a:gd name="connsiteX1401" fmla="*/ 3584377 w 3862373"/>
                <a:gd name="connsiteY1401" fmla="*/ 1795860 h 3682908"/>
                <a:gd name="connsiteX1402" fmla="*/ 3545289 w 3862373"/>
                <a:gd name="connsiteY1402" fmla="*/ 1756774 h 3682908"/>
                <a:gd name="connsiteX1403" fmla="*/ 3584377 w 3862373"/>
                <a:gd name="connsiteY1403" fmla="*/ 1717686 h 3682908"/>
                <a:gd name="connsiteX1404" fmla="*/ 3489737 w 3862373"/>
                <a:gd name="connsiteY1404" fmla="*/ 1717686 h 3682908"/>
                <a:gd name="connsiteX1405" fmla="*/ 3528823 w 3862373"/>
                <a:gd name="connsiteY1405" fmla="*/ 1756774 h 3682908"/>
                <a:gd name="connsiteX1406" fmla="*/ 3489737 w 3862373"/>
                <a:gd name="connsiteY1406" fmla="*/ 1795860 h 3682908"/>
                <a:gd name="connsiteX1407" fmla="*/ 3450649 w 3862373"/>
                <a:gd name="connsiteY1407" fmla="*/ 1756774 h 3682908"/>
                <a:gd name="connsiteX1408" fmla="*/ 3489737 w 3862373"/>
                <a:gd name="connsiteY1408" fmla="*/ 1717686 h 3682908"/>
                <a:gd name="connsiteX1409" fmla="*/ 3392731 w 3862373"/>
                <a:gd name="connsiteY1409" fmla="*/ 1717686 h 3682908"/>
                <a:gd name="connsiteX1410" fmla="*/ 3431819 w 3862373"/>
                <a:gd name="connsiteY1410" fmla="*/ 1756774 h 3682908"/>
                <a:gd name="connsiteX1411" fmla="*/ 3392731 w 3862373"/>
                <a:gd name="connsiteY1411" fmla="*/ 1795860 h 3682908"/>
                <a:gd name="connsiteX1412" fmla="*/ 3353644 w 3862373"/>
                <a:gd name="connsiteY1412" fmla="*/ 1756774 h 3682908"/>
                <a:gd name="connsiteX1413" fmla="*/ 3392731 w 3862373"/>
                <a:gd name="connsiteY1413" fmla="*/ 1717686 h 3682908"/>
                <a:gd name="connsiteX1414" fmla="*/ 3300457 w 3862373"/>
                <a:gd name="connsiteY1414" fmla="*/ 1717686 h 3682908"/>
                <a:gd name="connsiteX1415" fmla="*/ 3339544 w 3862373"/>
                <a:gd name="connsiteY1415" fmla="*/ 1756774 h 3682908"/>
                <a:gd name="connsiteX1416" fmla="*/ 3300457 w 3862373"/>
                <a:gd name="connsiteY1416" fmla="*/ 1795860 h 3682908"/>
                <a:gd name="connsiteX1417" fmla="*/ 3261369 w 3862373"/>
                <a:gd name="connsiteY1417" fmla="*/ 1756774 h 3682908"/>
                <a:gd name="connsiteX1418" fmla="*/ 3300457 w 3862373"/>
                <a:gd name="connsiteY1418" fmla="*/ 1717686 h 3682908"/>
                <a:gd name="connsiteX1419" fmla="*/ 3205817 w 3862373"/>
                <a:gd name="connsiteY1419" fmla="*/ 1717686 h 3682908"/>
                <a:gd name="connsiteX1420" fmla="*/ 3244904 w 3862373"/>
                <a:gd name="connsiteY1420" fmla="*/ 1756774 h 3682908"/>
                <a:gd name="connsiteX1421" fmla="*/ 3205817 w 3862373"/>
                <a:gd name="connsiteY1421" fmla="*/ 1795860 h 3682908"/>
                <a:gd name="connsiteX1422" fmla="*/ 3166729 w 3862373"/>
                <a:gd name="connsiteY1422" fmla="*/ 1756774 h 3682908"/>
                <a:gd name="connsiteX1423" fmla="*/ 3205817 w 3862373"/>
                <a:gd name="connsiteY1423" fmla="*/ 1717686 h 3682908"/>
                <a:gd name="connsiteX1424" fmla="*/ 3111175 w 3862373"/>
                <a:gd name="connsiteY1424" fmla="*/ 1717686 h 3682908"/>
                <a:gd name="connsiteX1425" fmla="*/ 3150263 w 3862373"/>
                <a:gd name="connsiteY1425" fmla="*/ 1756774 h 3682908"/>
                <a:gd name="connsiteX1426" fmla="*/ 3111175 w 3862373"/>
                <a:gd name="connsiteY1426" fmla="*/ 1795860 h 3682908"/>
                <a:gd name="connsiteX1427" fmla="*/ 3072088 w 3862373"/>
                <a:gd name="connsiteY1427" fmla="*/ 1756774 h 3682908"/>
                <a:gd name="connsiteX1428" fmla="*/ 3111175 w 3862373"/>
                <a:gd name="connsiteY1428" fmla="*/ 1717686 h 3682908"/>
                <a:gd name="connsiteX1429" fmla="*/ 3018902 w 3862373"/>
                <a:gd name="connsiteY1429" fmla="*/ 1717686 h 3682908"/>
                <a:gd name="connsiteX1430" fmla="*/ 3057989 w 3862373"/>
                <a:gd name="connsiteY1430" fmla="*/ 1756774 h 3682908"/>
                <a:gd name="connsiteX1431" fmla="*/ 3018902 w 3862373"/>
                <a:gd name="connsiteY1431" fmla="*/ 1795860 h 3682908"/>
                <a:gd name="connsiteX1432" fmla="*/ 2979815 w 3862373"/>
                <a:gd name="connsiteY1432" fmla="*/ 1756774 h 3682908"/>
                <a:gd name="connsiteX1433" fmla="*/ 3018902 w 3862373"/>
                <a:gd name="connsiteY1433" fmla="*/ 1717686 h 3682908"/>
                <a:gd name="connsiteX1434" fmla="*/ 2924263 w 3862373"/>
                <a:gd name="connsiteY1434" fmla="*/ 1717686 h 3682908"/>
                <a:gd name="connsiteX1435" fmla="*/ 2963349 w 3862373"/>
                <a:gd name="connsiteY1435" fmla="*/ 1756774 h 3682908"/>
                <a:gd name="connsiteX1436" fmla="*/ 2924263 w 3862373"/>
                <a:gd name="connsiteY1436" fmla="*/ 1795860 h 3682908"/>
                <a:gd name="connsiteX1437" fmla="*/ 2885175 w 3862373"/>
                <a:gd name="connsiteY1437" fmla="*/ 1756774 h 3682908"/>
                <a:gd name="connsiteX1438" fmla="*/ 2924263 w 3862373"/>
                <a:gd name="connsiteY1438" fmla="*/ 1717686 h 3682908"/>
                <a:gd name="connsiteX1439" fmla="*/ 2831988 w 3862373"/>
                <a:gd name="connsiteY1439" fmla="*/ 1717686 h 3682908"/>
                <a:gd name="connsiteX1440" fmla="*/ 2871075 w 3862373"/>
                <a:gd name="connsiteY1440" fmla="*/ 1756774 h 3682908"/>
                <a:gd name="connsiteX1441" fmla="*/ 2831988 w 3862373"/>
                <a:gd name="connsiteY1441" fmla="*/ 1795860 h 3682908"/>
                <a:gd name="connsiteX1442" fmla="*/ 2792901 w 3862373"/>
                <a:gd name="connsiteY1442" fmla="*/ 1756774 h 3682908"/>
                <a:gd name="connsiteX1443" fmla="*/ 2831988 w 3862373"/>
                <a:gd name="connsiteY1443" fmla="*/ 1717686 h 3682908"/>
                <a:gd name="connsiteX1444" fmla="*/ 2737359 w 3862373"/>
                <a:gd name="connsiteY1444" fmla="*/ 1717686 h 3682908"/>
                <a:gd name="connsiteX1445" fmla="*/ 2776434 w 3862373"/>
                <a:gd name="connsiteY1445" fmla="*/ 1756774 h 3682908"/>
                <a:gd name="connsiteX1446" fmla="*/ 2737359 w 3862373"/>
                <a:gd name="connsiteY1446" fmla="*/ 1795860 h 3682908"/>
                <a:gd name="connsiteX1447" fmla="*/ 2698265 w 3862373"/>
                <a:gd name="connsiteY1447" fmla="*/ 1756774 h 3682908"/>
                <a:gd name="connsiteX1448" fmla="*/ 2737359 w 3862373"/>
                <a:gd name="connsiteY1448" fmla="*/ 1717686 h 3682908"/>
                <a:gd name="connsiteX1449" fmla="*/ 2645073 w 3862373"/>
                <a:gd name="connsiteY1449" fmla="*/ 1717686 h 3682908"/>
                <a:gd name="connsiteX1450" fmla="*/ 2684164 w 3862373"/>
                <a:gd name="connsiteY1450" fmla="*/ 1756774 h 3682908"/>
                <a:gd name="connsiteX1451" fmla="*/ 2645073 w 3862373"/>
                <a:gd name="connsiteY1451" fmla="*/ 1795860 h 3682908"/>
                <a:gd name="connsiteX1452" fmla="*/ 2605987 w 3862373"/>
                <a:gd name="connsiteY1452" fmla="*/ 1756774 h 3682908"/>
                <a:gd name="connsiteX1453" fmla="*/ 2645073 w 3862373"/>
                <a:gd name="connsiteY1453" fmla="*/ 1717686 h 3682908"/>
                <a:gd name="connsiteX1454" fmla="*/ 2550436 w 3862373"/>
                <a:gd name="connsiteY1454" fmla="*/ 1717686 h 3682908"/>
                <a:gd name="connsiteX1455" fmla="*/ 2589522 w 3862373"/>
                <a:gd name="connsiteY1455" fmla="*/ 1756774 h 3682908"/>
                <a:gd name="connsiteX1456" fmla="*/ 2550436 w 3862373"/>
                <a:gd name="connsiteY1456" fmla="*/ 1795860 h 3682908"/>
                <a:gd name="connsiteX1457" fmla="*/ 2511353 w 3862373"/>
                <a:gd name="connsiteY1457" fmla="*/ 1756774 h 3682908"/>
                <a:gd name="connsiteX1458" fmla="*/ 2550436 w 3862373"/>
                <a:gd name="connsiteY1458" fmla="*/ 1717686 h 3682908"/>
                <a:gd name="connsiteX1459" fmla="*/ 2458164 w 3862373"/>
                <a:gd name="connsiteY1459" fmla="*/ 1717686 h 3682908"/>
                <a:gd name="connsiteX1460" fmla="*/ 2497252 w 3862373"/>
                <a:gd name="connsiteY1460" fmla="*/ 1756774 h 3682908"/>
                <a:gd name="connsiteX1461" fmla="*/ 2458164 w 3862373"/>
                <a:gd name="connsiteY1461" fmla="*/ 1795860 h 3682908"/>
                <a:gd name="connsiteX1462" fmla="*/ 2419080 w 3862373"/>
                <a:gd name="connsiteY1462" fmla="*/ 1756774 h 3682908"/>
                <a:gd name="connsiteX1463" fmla="*/ 2458164 w 3862373"/>
                <a:gd name="connsiteY1463" fmla="*/ 1717686 h 3682908"/>
                <a:gd name="connsiteX1464" fmla="*/ 2363525 w 3862373"/>
                <a:gd name="connsiteY1464" fmla="*/ 1717686 h 3682908"/>
                <a:gd name="connsiteX1465" fmla="*/ 2402611 w 3862373"/>
                <a:gd name="connsiteY1465" fmla="*/ 1756774 h 3682908"/>
                <a:gd name="connsiteX1466" fmla="*/ 2363525 w 3862373"/>
                <a:gd name="connsiteY1466" fmla="*/ 1795860 h 3682908"/>
                <a:gd name="connsiteX1467" fmla="*/ 2324438 w 3862373"/>
                <a:gd name="connsiteY1467" fmla="*/ 1756774 h 3682908"/>
                <a:gd name="connsiteX1468" fmla="*/ 2363525 w 3862373"/>
                <a:gd name="connsiteY1468" fmla="*/ 1717686 h 3682908"/>
                <a:gd name="connsiteX1469" fmla="*/ 951054 w 3862373"/>
                <a:gd name="connsiteY1469" fmla="*/ 1717686 h 3682908"/>
                <a:gd name="connsiteX1470" fmla="*/ 990138 w 3862373"/>
                <a:gd name="connsiteY1470" fmla="*/ 1756774 h 3682908"/>
                <a:gd name="connsiteX1471" fmla="*/ 951054 w 3862373"/>
                <a:gd name="connsiteY1471" fmla="*/ 1795860 h 3682908"/>
                <a:gd name="connsiteX1472" fmla="*/ 911970 w 3862373"/>
                <a:gd name="connsiteY1472" fmla="*/ 1756774 h 3682908"/>
                <a:gd name="connsiteX1473" fmla="*/ 951054 w 3862373"/>
                <a:gd name="connsiteY1473" fmla="*/ 1717686 h 3682908"/>
                <a:gd name="connsiteX1474" fmla="*/ 577233 w 3862373"/>
                <a:gd name="connsiteY1474" fmla="*/ 1717686 h 3682908"/>
                <a:gd name="connsiteX1475" fmla="*/ 616327 w 3862373"/>
                <a:gd name="connsiteY1475" fmla="*/ 1756774 h 3682908"/>
                <a:gd name="connsiteX1476" fmla="*/ 577233 w 3862373"/>
                <a:gd name="connsiteY1476" fmla="*/ 1795860 h 3682908"/>
                <a:gd name="connsiteX1477" fmla="*/ 538140 w 3862373"/>
                <a:gd name="connsiteY1477" fmla="*/ 1756774 h 3682908"/>
                <a:gd name="connsiteX1478" fmla="*/ 577233 w 3862373"/>
                <a:gd name="connsiteY1478" fmla="*/ 1717686 h 3682908"/>
                <a:gd name="connsiteX1479" fmla="*/ 484950 w 3862373"/>
                <a:gd name="connsiteY1479" fmla="*/ 1717686 h 3682908"/>
                <a:gd name="connsiteX1480" fmla="*/ 524038 w 3862373"/>
                <a:gd name="connsiteY1480" fmla="*/ 1756774 h 3682908"/>
                <a:gd name="connsiteX1481" fmla="*/ 484950 w 3862373"/>
                <a:gd name="connsiteY1481" fmla="*/ 1795860 h 3682908"/>
                <a:gd name="connsiteX1482" fmla="*/ 445871 w 3862373"/>
                <a:gd name="connsiteY1482" fmla="*/ 1756774 h 3682908"/>
                <a:gd name="connsiteX1483" fmla="*/ 484950 w 3862373"/>
                <a:gd name="connsiteY1483" fmla="*/ 1717686 h 3682908"/>
                <a:gd name="connsiteX1484" fmla="*/ 390308 w 3862373"/>
                <a:gd name="connsiteY1484" fmla="*/ 1717686 h 3682908"/>
                <a:gd name="connsiteX1485" fmla="*/ 429402 w 3862373"/>
                <a:gd name="connsiteY1485" fmla="*/ 1756774 h 3682908"/>
                <a:gd name="connsiteX1486" fmla="*/ 390308 w 3862373"/>
                <a:gd name="connsiteY1486" fmla="*/ 1795860 h 3682908"/>
                <a:gd name="connsiteX1487" fmla="*/ 351231 w 3862373"/>
                <a:gd name="connsiteY1487" fmla="*/ 1756774 h 3682908"/>
                <a:gd name="connsiteX1488" fmla="*/ 390308 w 3862373"/>
                <a:gd name="connsiteY1488" fmla="*/ 1717686 h 3682908"/>
                <a:gd name="connsiteX1489" fmla="*/ 298037 w 3862373"/>
                <a:gd name="connsiteY1489" fmla="*/ 1717686 h 3682908"/>
                <a:gd name="connsiteX1490" fmla="*/ 337130 w 3862373"/>
                <a:gd name="connsiteY1490" fmla="*/ 1756774 h 3682908"/>
                <a:gd name="connsiteX1491" fmla="*/ 298037 w 3862373"/>
                <a:gd name="connsiteY1491" fmla="*/ 1795860 h 3682908"/>
                <a:gd name="connsiteX1492" fmla="*/ 258948 w 3862373"/>
                <a:gd name="connsiteY1492" fmla="*/ 1756774 h 3682908"/>
                <a:gd name="connsiteX1493" fmla="*/ 298037 w 3862373"/>
                <a:gd name="connsiteY1493" fmla="*/ 1717686 h 3682908"/>
                <a:gd name="connsiteX1494" fmla="*/ 3854460 w 3862373"/>
                <a:gd name="connsiteY1494" fmla="*/ 1637264 h 3682908"/>
                <a:gd name="connsiteX1495" fmla="*/ 3858001 w 3862373"/>
                <a:gd name="connsiteY1495" fmla="*/ 1707402 h 3682908"/>
                <a:gd name="connsiteX1496" fmla="*/ 3838292 w 3862373"/>
                <a:gd name="connsiteY1496" fmla="*/ 1699238 h 3682908"/>
                <a:gd name="connsiteX1497" fmla="*/ 3826844 w 3862373"/>
                <a:gd name="connsiteY1497" fmla="*/ 1671599 h 3682908"/>
                <a:gd name="connsiteX1498" fmla="*/ 3838292 w 3862373"/>
                <a:gd name="connsiteY1498" fmla="*/ 1643961 h 3682908"/>
                <a:gd name="connsiteX1499" fmla="*/ 3771291 w 3862373"/>
                <a:gd name="connsiteY1499" fmla="*/ 1632512 h 3682908"/>
                <a:gd name="connsiteX1500" fmla="*/ 3810379 w 3862373"/>
                <a:gd name="connsiteY1500" fmla="*/ 1671599 h 3682908"/>
                <a:gd name="connsiteX1501" fmla="*/ 3771291 w 3862373"/>
                <a:gd name="connsiteY1501" fmla="*/ 1710687 h 3682908"/>
                <a:gd name="connsiteX1502" fmla="*/ 3732204 w 3862373"/>
                <a:gd name="connsiteY1502" fmla="*/ 1671599 h 3682908"/>
                <a:gd name="connsiteX1503" fmla="*/ 3771291 w 3862373"/>
                <a:gd name="connsiteY1503" fmla="*/ 1632512 h 3682908"/>
                <a:gd name="connsiteX1504" fmla="*/ 3584377 w 3862373"/>
                <a:gd name="connsiteY1504" fmla="*/ 1632512 h 3682908"/>
                <a:gd name="connsiteX1505" fmla="*/ 3623463 w 3862373"/>
                <a:gd name="connsiteY1505" fmla="*/ 1671599 h 3682908"/>
                <a:gd name="connsiteX1506" fmla="*/ 3584377 w 3862373"/>
                <a:gd name="connsiteY1506" fmla="*/ 1710687 h 3682908"/>
                <a:gd name="connsiteX1507" fmla="*/ 3545289 w 3862373"/>
                <a:gd name="connsiteY1507" fmla="*/ 1671599 h 3682908"/>
                <a:gd name="connsiteX1508" fmla="*/ 3584377 w 3862373"/>
                <a:gd name="connsiteY1508" fmla="*/ 1632512 h 3682908"/>
                <a:gd name="connsiteX1509" fmla="*/ 3489737 w 3862373"/>
                <a:gd name="connsiteY1509" fmla="*/ 1632512 h 3682908"/>
                <a:gd name="connsiteX1510" fmla="*/ 3528823 w 3862373"/>
                <a:gd name="connsiteY1510" fmla="*/ 1671599 h 3682908"/>
                <a:gd name="connsiteX1511" fmla="*/ 3489737 w 3862373"/>
                <a:gd name="connsiteY1511" fmla="*/ 1710687 h 3682908"/>
                <a:gd name="connsiteX1512" fmla="*/ 3450649 w 3862373"/>
                <a:gd name="connsiteY1512" fmla="*/ 1671599 h 3682908"/>
                <a:gd name="connsiteX1513" fmla="*/ 3489737 w 3862373"/>
                <a:gd name="connsiteY1513" fmla="*/ 1632512 h 3682908"/>
                <a:gd name="connsiteX1514" fmla="*/ 3392731 w 3862373"/>
                <a:gd name="connsiteY1514" fmla="*/ 1632512 h 3682908"/>
                <a:gd name="connsiteX1515" fmla="*/ 3431819 w 3862373"/>
                <a:gd name="connsiteY1515" fmla="*/ 1671599 h 3682908"/>
                <a:gd name="connsiteX1516" fmla="*/ 3392731 w 3862373"/>
                <a:gd name="connsiteY1516" fmla="*/ 1710687 h 3682908"/>
                <a:gd name="connsiteX1517" fmla="*/ 3353644 w 3862373"/>
                <a:gd name="connsiteY1517" fmla="*/ 1671599 h 3682908"/>
                <a:gd name="connsiteX1518" fmla="*/ 3392731 w 3862373"/>
                <a:gd name="connsiteY1518" fmla="*/ 1632512 h 3682908"/>
                <a:gd name="connsiteX1519" fmla="*/ 2924263 w 3862373"/>
                <a:gd name="connsiteY1519" fmla="*/ 1632512 h 3682908"/>
                <a:gd name="connsiteX1520" fmla="*/ 2963349 w 3862373"/>
                <a:gd name="connsiteY1520" fmla="*/ 1671599 h 3682908"/>
                <a:gd name="connsiteX1521" fmla="*/ 2924263 w 3862373"/>
                <a:gd name="connsiteY1521" fmla="*/ 1710687 h 3682908"/>
                <a:gd name="connsiteX1522" fmla="*/ 2885175 w 3862373"/>
                <a:gd name="connsiteY1522" fmla="*/ 1671599 h 3682908"/>
                <a:gd name="connsiteX1523" fmla="*/ 2924263 w 3862373"/>
                <a:gd name="connsiteY1523" fmla="*/ 1632512 h 3682908"/>
                <a:gd name="connsiteX1524" fmla="*/ 2458164 w 3862373"/>
                <a:gd name="connsiteY1524" fmla="*/ 1632512 h 3682908"/>
                <a:gd name="connsiteX1525" fmla="*/ 2497252 w 3862373"/>
                <a:gd name="connsiteY1525" fmla="*/ 1671599 h 3682908"/>
                <a:gd name="connsiteX1526" fmla="*/ 2458164 w 3862373"/>
                <a:gd name="connsiteY1526" fmla="*/ 1710687 h 3682908"/>
                <a:gd name="connsiteX1527" fmla="*/ 2419080 w 3862373"/>
                <a:gd name="connsiteY1527" fmla="*/ 1671599 h 3682908"/>
                <a:gd name="connsiteX1528" fmla="*/ 2458164 w 3862373"/>
                <a:gd name="connsiteY1528" fmla="*/ 1632512 h 3682908"/>
                <a:gd name="connsiteX1529" fmla="*/ 951057 w 3862373"/>
                <a:gd name="connsiteY1529" fmla="*/ 1632512 h 3682908"/>
                <a:gd name="connsiteX1530" fmla="*/ 990141 w 3862373"/>
                <a:gd name="connsiteY1530" fmla="*/ 1671599 h 3682908"/>
                <a:gd name="connsiteX1531" fmla="*/ 951057 w 3862373"/>
                <a:gd name="connsiteY1531" fmla="*/ 1710687 h 3682908"/>
                <a:gd name="connsiteX1532" fmla="*/ 911973 w 3862373"/>
                <a:gd name="connsiteY1532" fmla="*/ 1671599 h 3682908"/>
                <a:gd name="connsiteX1533" fmla="*/ 951057 w 3862373"/>
                <a:gd name="connsiteY1533" fmla="*/ 1632512 h 3682908"/>
                <a:gd name="connsiteX1534" fmla="*/ 856425 w 3862373"/>
                <a:gd name="connsiteY1534" fmla="*/ 1632512 h 3682908"/>
                <a:gd name="connsiteX1535" fmla="*/ 895509 w 3862373"/>
                <a:gd name="connsiteY1535" fmla="*/ 1671599 h 3682908"/>
                <a:gd name="connsiteX1536" fmla="*/ 856425 w 3862373"/>
                <a:gd name="connsiteY1536" fmla="*/ 1710687 h 3682908"/>
                <a:gd name="connsiteX1537" fmla="*/ 817341 w 3862373"/>
                <a:gd name="connsiteY1537" fmla="*/ 1671599 h 3682908"/>
                <a:gd name="connsiteX1538" fmla="*/ 856425 w 3862373"/>
                <a:gd name="connsiteY1538" fmla="*/ 1632512 h 3682908"/>
                <a:gd name="connsiteX1539" fmla="*/ 669521 w 3862373"/>
                <a:gd name="connsiteY1539" fmla="*/ 1632512 h 3682908"/>
                <a:gd name="connsiteX1540" fmla="*/ 708609 w 3862373"/>
                <a:gd name="connsiteY1540" fmla="*/ 1671599 h 3682908"/>
                <a:gd name="connsiteX1541" fmla="*/ 669521 w 3862373"/>
                <a:gd name="connsiteY1541" fmla="*/ 1710687 h 3682908"/>
                <a:gd name="connsiteX1542" fmla="*/ 630433 w 3862373"/>
                <a:gd name="connsiteY1542" fmla="*/ 1671599 h 3682908"/>
                <a:gd name="connsiteX1543" fmla="*/ 669521 w 3862373"/>
                <a:gd name="connsiteY1543" fmla="*/ 1632512 h 3682908"/>
                <a:gd name="connsiteX1544" fmla="*/ 577237 w 3862373"/>
                <a:gd name="connsiteY1544" fmla="*/ 1632512 h 3682908"/>
                <a:gd name="connsiteX1545" fmla="*/ 616330 w 3862373"/>
                <a:gd name="connsiteY1545" fmla="*/ 1671599 h 3682908"/>
                <a:gd name="connsiteX1546" fmla="*/ 577237 w 3862373"/>
                <a:gd name="connsiteY1546" fmla="*/ 1710687 h 3682908"/>
                <a:gd name="connsiteX1547" fmla="*/ 538144 w 3862373"/>
                <a:gd name="connsiteY1547" fmla="*/ 1671599 h 3682908"/>
                <a:gd name="connsiteX1548" fmla="*/ 577237 w 3862373"/>
                <a:gd name="connsiteY1548" fmla="*/ 1632512 h 3682908"/>
                <a:gd name="connsiteX1549" fmla="*/ 484957 w 3862373"/>
                <a:gd name="connsiteY1549" fmla="*/ 1632512 h 3682908"/>
                <a:gd name="connsiteX1550" fmla="*/ 524042 w 3862373"/>
                <a:gd name="connsiteY1550" fmla="*/ 1671599 h 3682908"/>
                <a:gd name="connsiteX1551" fmla="*/ 484957 w 3862373"/>
                <a:gd name="connsiteY1551" fmla="*/ 1710687 h 3682908"/>
                <a:gd name="connsiteX1552" fmla="*/ 445875 w 3862373"/>
                <a:gd name="connsiteY1552" fmla="*/ 1671599 h 3682908"/>
                <a:gd name="connsiteX1553" fmla="*/ 484957 w 3862373"/>
                <a:gd name="connsiteY1553" fmla="*/ 1632512 h 3682908"/>
                <a:gd name="connsiteX1554" fmla="*/ 390314 w 3862373"/>
                <a:gd name="connsiteY1554" fmla="*/ 1632512 h 3682908"/>
                <a:gd name="connsiteX1555" fmla="*/ 429406 w 3862373"/>
                <a:gd name="connsiteY1555" fmla="*/ 1671599 h 3682908"/>
                <a:gd name="connsiteX1556" fmla="*/ 390314 w 3862373"/>
                <a:gd name="connsiteY1556" fmla="*/ 1710687 h 3682908"/>
                <a:gd name="connsiteX1557" fmla="*/ 351235 w 3862373"/>
                <a:gd name="connsiteY1557" fmla="*/ 1671599 h 3682908"/>
                <a:gd name="connsiteX1558" fmla="*/ 390314 w 3862373"/>
                <a:gd name="connsiteY1558" fmla="*/ 1632512 h 3682908"/>
                <a:gd name="connsiteX1559" fmla="*/ 298040 w 3862373"/>
                <a:gd name="connsiteY1559" fmla="*/ 1632512 h 3682908"/>
                <a:gd name="connsiteX1560" fmla="*/ 337133 w 3862373"/>
                <a:gd name="connsiteY1560" fmla="*/ 1671599 h 3682908"/>
                <a:gd name="connsiteX1561" fmla="*/ 298040 w 3862373"/>
                <a:gd name="connsiteY1561" fmla="*/ 1710687 h 3682908"/>
                <a:gd name="connsiteX1562" fmla="*/ 258951 w 3862373"/>
                <a:gd name="connsiteY1562" fmla="*/ 1671599 h 3682908"/>
                <a:gd name="connsiteX1563" fmla="*/ 298040 w 3862373"/>
                <a:gd name="connsiteY1563" fmla="*/ 1632512 h 3682908"/>
                <a:gd name="connsiteX1564" fmla="*/ 3679017 w 3862373"/>
                <a:gd name="connsiteY1564" fmla="*/ 1632512 h 3682908"/>
                <a:gd name="connsiteX1565" fmla="*/ 3718103 w 3862373"/>
                <a:gd name="connsiteY1565" fmla="*/ 1671598 h 3682908"/>
                <a:gd name="connsiteX1566" fmla="*/ 3679017 w 3862373"/>
                <a:gd name="connsiteY1566" fmla="*/ 1710685 h 3682908"/>
                <a:gd name="connsiteX1567" fmla="*/ 3639929 w 3862373"/>
                <a:gd name="connsiteY1567" fmla="*/ 1671598 h 3682908"/>
                <a:gd name="connsiteX1568" fmla="*/ 3679017 w 3862373"/>
                <a:gd name="connsiteY1568" fmla="*/ 1632512 h 3682908"/>
                <a:gd name="connsiteX1569" fmla="*/ 3300455 w 3862373"/>
                <a:gd name="connsiteY1569" fmla="*/ 1632512 h 3682908"/>
                <a:gd name="connsiteX1570" fmla="*/ 3339543 w 3862373"/>
                <a:gd name="connsiteY1570" fmla="*/ 1671598 h 3682908"/>
                <a:gd name="connsiteX1571" fmla="*/ 3300455 w 3862373"/>
                <a:gd name="connsiteY1571" fmla="*/ 1710685 h 3682908"/>
                <a:gd name="connsiteX1572" fmla="*/ 3261368 w 3862373"/>
                <a:gd name="connsiteY1572" fmla="*/ 1671598 h 3682908"/>
                <a:gd name="connsiteX1573" fmla="*/ 3300455 w 3862373"/>
                <a:gd name="connsiteY1573" fmla="*/ 1632512 h 3682908"/>
                <a:gd name="connsiteX1574" fmla="*/ 3111175 w 3862373"/>
                <a:gd name="connsiteY1574" fmla="*/ 1632512 h 3682908"/>
                <a:gd name="connsiteX1575" fmla="*/ 3150263 w 3862373"/>
                <a:gd name="connsiteY1575" fmla="*/ 1671598 h 3682908"/>
                <a:gd name="connsiteX1576" fmla="*/ 3111175 w 3862373"/>
                <a:gd name="connsiteY1576" fmla="*/ 1710685 h 3682908"/>
                <a:gd name="connsiteX1577" fmla="*/ 3072088 w 3862373"/>
                <a:gd name="connsiteY1577" fmla="*/ 1671598 h 3682908"/>
                <a:gd name="connsiteX1578" fmla="*/ 3111175 w 3862373"/>
                <a:gd name="connsiteY1578" fmla="*/ 1632512 h 3682908"/>
                <a:gd name="connsiteX1579" fmla="*/ 3018902 w 3862373"/>
                <a:gd name="connsiteY1579" fmla="*/ 1632512 h 3682908"/>
                <a:gd name="connsiteX1580" fmla="*/ 3057989 w 3862373"/>
                <a:gd name="connsiteY1580" fmla="*/ 1671598 h 3682908"/>
                <a:gd name="connsiteX1581" fmla="*/ 3018902 w 3862373"/>
                <a:gd name="connsiteY1581" fmla="*/ 1710685 h 3682908"/>
                <a:gd name="connsiteX1582" fmla="*/ 2979815 w 3862373"/>
                <a:gd name="connsiteY1582" fmla="*/ 1671598 h 3682908"/>
                <a:gd name="connsiteX1583" fmla="*/ 3018902 w 3862373"/>
                <a:gd name="connsiteY1583" fmla="*/ 1632512 h 3682908"/>
                <a:gd name="connsiteX1584" fmla="*/ 2831987 w 3862373"/>
                <a:gd name="connsiteY1584" fmla="*/ 1632512 h 3682908"/>
                <a:gd name="connsiteX1585" fmla="*/ 2871074 w 3862373"/>
                <a:gd name="connsiteY1585" fmla="*/ 1671598 h 3682908"/>
                <a:gd name="connsiteX1586" fmla="*/ 2831987 w 3862373"/>
                <a:gd name="connsiteY1586" fmla="*/ 1710685 h 3682908"/>
                <a:gd name="connsiteX1587" fmla="*/ 2792900 w 3862373"/>
                <a:gd name="connsiteY1587" fmla="*/ 1671598 h 3682908"/>
                <a:gd name="connsiteX1588" fmla="*/ 2831987 w 3862373"/>
                <a:gd name="connsiteY1588" fmla="*/ 1632512 h 3682908"/>
                <a:gd name="connsiteX1589" fmla="*/ 2737359 w 3862373"/>
                <a:gd name="connsiteY1589" fmla="*/ 1632512 h 3682908"/>
                <a:gd name="connsiteX1590" fmla="*/ 2776434 w 3862373"/>
                <a:gd name="connsiteY1590" fmla="*/ 1671598 h 3682908"/>
                <a:gd name="connsiteX1591" fmla="*/ 2737359 w 3862373"/>
                <a:gd name="connsiteY1591" fmla="*/ 1710685 h 3682908"/>
                <a:gd name="connsiteX1592" fmla="*/ 2698267 w 3862373"/>
                <a:gd name="connsiteY1592" fmla="*/ 1671598 h 3682908"/>
                <a:gd name="connsiteX1593" fmla="*/ 2737359 w 3862373"/>
                <a:gd name="connsiteY1593" fmla="*/ 1632512 h 3682908"/>
                <a:gd name="connsiteX1594" fmla="*/ 2645073 w 3862373"/>
                <a:gd name="connsiteY1594" fmla="*/ 1632512 h 3682908"/>
                <a:gd name="connsiteX1595" fmla="*/ 2684164 w 3862373"/>
                <a:gd name="connsiteY1595" fmla="*/ 1671598 h 3682908"/>
                <a:gd name="connsiteX1596" fmla="*/ 2645073 w 3862373"/>
                <a:gd name="connsiteY1596" fmla="*/ 1710685 h 3682908"/>
                <a:gd name="connsiteX1597" fmla="*/ 2605987 w 3862373"/>
                <a:gd name="connsiteY1597" fmla="*/ 1671598 h 3682908"/>
                <a:gd name="connsiteX1598" fmla="*/ 2645073 w 3862373"/>
                <a:gd name="connsiteY1598" fmla="*/ 1632512 h 3682908"/>
                <a:gd name="connsiteX1599" fmla="*/ 2550437 w 3862373"/>
                <a:gd name="connsiteY1599" fmla="*/ 1632512 h 3682908"/>
                <a:gd name="connsiteX1600" fmla="*/ 2589522 w 3862373"/>
                <a:gd name="connsiteY1600" fmla="*/ 1671598 h 3682908"/>
                <a:gd name="connsiteX1601" fmla="*/ 2550437 w 3862373"/>
                <a:gd name="connsiteY1601" fmla="*/ 1710685 h 3682908"/>
                <a:gd name="connsiteX1602" fmla="*/ 2511353 w 3862373"/>
                <a:gd name="connsiteY1602" fmla="*/ 1671598 h 3682908"/>
                <a:gd name="connsiteX1603" fmla="*/ 2550437 w 3862373"/>
                <a:gd name="connsiteY1603" fmla="*/ 1632512 h 3682908"/>
                <a:gd name="connsiteX1604" fmla="*/ 2363525 w 3862373"/>
                <a:gd name="connsiteY1604" fmla="*/ 1632512 h 3682908"/>
                <a:gd name="connsiteX1605" fmla="*/ 2402612 w 3862373"/>
                <a:gd name="connsiteY1605" fmla="*/ 1671598 h 3682908"/>
                <a:gd name="connsiteX1606" fmla="*/ 2363525 w 3862373"/>
                <a:gd name="connsiteY1606" fmla="*/ 1710685 h 3682908"/>
                <a:gd name="connsiteX1607" fmla="*/ 2324438 w 3862373"/>
                <a:gd name="connsiteY1607" fmla="*/ 1671598 h 3682908"/>
                <a:gd name="connsiteX1608" fmla="*/ 2363525 w 3862373"/>
                <a:gd name="connsiteY1608" fmla="*/ 1632512 h 3682908"/>
                <a:gd name="connsiteX1609" fmla="*/ 764159 w 3862373"/>
                <a:gd name="connsiteY1609" fmla="*/ 1632512 h 3682908"/>
                <a:gd name="connsiteX1610" fmla="*/ 803243 w 3862373"/>
                <a:gd name="connsiteY1610" fmla="*/ 1671598 h 3682908"/>
                <a:gd name="connsiteX1611" fmla="*/ 764159 w 3862373"/>
                <a:gd name="connsiteY1611" fmla="*/ 1710685 h 3682908"/>
                <a:gd name="connsiteX1612" fmla="*/ 725074 w 3862373"/>
                <a:gd name="connsiteY1612" fmla="*/ 1671598 h 3682908"/>
                <a:gd name="connsiteX1613" fmla="*/ 764159 w 3862373"/>
                <a:gd name="connsiteY1613" fmla="*/ 1632512 h 3682908"/>
                <a:gd name="connsiteX1614" fmla="*/ 3846758 w 3862373"/>
                <a:gd name="connsiteY1614" fmla="*/ 1555277 h 3682908"/>
                <a:gd name="connsiteX1615" fmla="*/ 3852080 w 3862373"/>
                <a:gd name="connsiteY1615" fmla="*/ 1590149 h 3682908"/>
                <a:gd name="connsiteX1616" fmla="*/ 3853608 w 3862373"/>
                <a:gd name="connsiteY1616" fmla="*/ 1620406 h 3682908"/>
                <a:gd name="connsiteX1617" fmla="*/ 3838292 w 3862373"/>
                <a:gd name="connsiteY1617" fmla="*/ 1614061 h 3682908"/>
                <a:gd name="connsiteX1618" fmla="*/ 3826844 w 3862373"/>
                <a:gd name="connsiteY1618" fmla="*/ 1586423 h 3682908"/>
                <a:gd name="connsiteX1619" fmla="*/ 3838292 w 3862373"/>
                <a:gd name="connsiteY1619" fmla="*/ 1558784 h 3682908"/>
                <a:gd name="connsiteX1620" fmla="*/ 3771291 w 3862373"/>
                <a:gd name="connsiteY1620" fmla="*/ 1547335 h 3682908"/>
                <a:gd name="connsiteX1621" fmla="*/ 3810379 w 3862373"/>
                <a:gd name="connsiteY1621" fmla="*/ 1586423 h 3682908"/>
                <a:gd name="connsiteX1622" fmla="*/ 3771291 w 3862373"/>
                <a:gd name="connsiteY1622" fmla="*/ 1625510 h 3682908"/>
                <a:gd name="connsiteX1623" fmla="*/ 3732204 w 3862373"/>
                <a:gd name="connsiteY1623" fmla="*/ 1586423 h 3682908"/>
                <a:gd name="connsiteX1624" fmla="*/ 3771291 w 3862373"/>
                <a:gd name="connsiteY1624" fmla="*/ 1547335 h 3682908"/>
                <a:gd name="connsiteX1625" fmla="*/ 3679017 w 3862373"/>
                <a:gd name="connsiteY1625" fmla="*/ 1547335 h 3682908"/>
                <a:gd name="connsiteX1626" fmla="*/ 3718103 w 3862373"/>
                <a:gd name="connsiteY1626" fmla="*/ 1586423 h 3682908"/>
                <a:gd name="connsiteX1627" fmla="*/ 3679017 w 3862373"/>
                <a:gd name="connsiteY1627" fmla="*/ 1625510 h 3682908"/>
                <a:gd name="connsiteX1628" fmla="*/ 3639929 w 3862373"/>
                <a:gd name="connsiteY1628" fmla="*/ 1586423 h 3682908"/>
                <a:gd name="connsiteX1629" fmla="*/ 3679017 w 3862373"/>
                <a:gd name="connsiteY1629" fmla="*/ 1547335 h 3682908"/>
                <a:gd name="connsiteX1630" fmla="*/ 3584377 w 3862373"/>
                <a:gd name="connsiteY1630" fmla="*/ 1547335 h 3682908"/>
                <a:gd name="connsiteX1631" fmla="*/ 3623463 w 3862373"/>
                <a:gd name="connsiteY1631" fmla="*/ 1586423 h 3682908"/>
                <a:gd name="connsiteX1632" fmla="*/ 3584377 w 3862373"/>
                <a:gd name="connsiteY1632" fmla="*/ 1625510 h 3682908"/>
                <a:gd name="connsiteX1633" fmla="*/ 3545289 w 3862373"/>
                <a:gd name="connsiteY1633" fmla="*/ 1586423 h 3682908"/>
                <a:gd name="connsiteX1634" fmla="*/ 3584377 w 3862373"/>
                <a:gd name="connsiteY1634" fmla="*/ 1547335 h 3682908"/>
                <a:gd name="connsiteX1635" fmla="*/ 3489737 w 3862373"/>
                <a:gd name="connsiteY1635" fmla="*/ 1547335 h 3682908"/>
                <a:gd name="connsiteX1636" fmla="*/ 3528823 w 3862373"/>
                <a:gd name="connsiteY1636" fmla="*/ 1586423 h 3682908"/>
                <a:gd name="connsiteX1637" fmla="*/ 3489737 w 3862373"/>
                <a:gd name="connsiteY1637" fmla="*/ 1625510 h 3682908"/>
                <a:gd name="connsiteX1638" fmla="*/ 3450649 w 3862373"/>
                <a:gd name="connsiteY1638" fmla="*/ 1586423 h 3682908"/>
                <a:gd name="connsiteX1639" fmla="*/ 3489737 w 3862373"/>
                <a:gd name="connsiteY1639" fmla="*/ 1547335 h 3682908"/>
                <a:gd name="connsiteX1640" fmla="*/ 3392731 w 3862373"/>
                <a:gd name="connsiteY1640" fmla="*/ 1547335 h 3682908"/>
                <a:gd name="connsiteX1641" fmla="*/ 3431819 w 3862373"/>
                <a:gd name="connsiteY1641" fmla="*/ 1586423 h 3682908"/>
                <a:gd name="connsiteX1642" fmla="*/ 3392731 w 3862373"/>
                <a:gd name="connsiteY1642" fmla="*/ 1625510 h 3682908"/>
                <a:gd name="connsiteX1643" fmla="*/ 3353644 w 3862373"/>
                <a:gd name="connsiteY1643" fmla="*/ 1586423 h 3682908"/>
                <a:gd name="connsiteX1644" fmla="*/ 3392731 w 3862373"/>
                <a:gd name="connsiteY1644" fmla="*/ 1547335 h 3682908"/>
                <a:gd name="connsiteX1645" fmla="*/ 3300455 w 3862373"/>
                <a:gd name="connsiteY1645" fmla="*/ 1547335 h 3682908"/>
                <a:gd name="connsiteX1646" fmla="*/ 3339543 w 3862373"/>
                <a:gd name="connsiteY1646" fmla="*/ 1586423 h 3682908"/>
                <a:gd name="connsiteX1647" fmla="*/ 3300455 w 3862373"/>
                <a:gd name="connsiteY1647" fmla="*/ 1625510 h 3682908"/>
                <a:gd name="connsiteX1648" fmla="*/ 3261368 w 3862373"/>
                <a:gd name="connsiteY1648" fmla="*/ 1586423 h 3682908"/>
                <a:gd name="connsiteX1649" fmla="*/ 3300455 w 3862373"/>
                <a:gd name="connsiteY1649" fmla="*/ 1547335 h 3682908"/>
                <a:gd name="connsiteX1650" fmla="*/ 2737361 w 3862373"/>
                <a:gd name="connsiteY1650" fmla="*/ 1547335 h 3682908"/>
                <a:gd name="connsiteX1651" fmla="*/ 2776434 w 3862373"/>
                <a:gd name="connsiteY1651" fmla="*/ 1586423 h 3682908"/>
                <a:gd name="connsiteX1652" fmla="*/ 2737361 w 3862373"/>
                <a:gd name="connsiteY1652" fmla="*/ 1625510 h 3682908"/>
                <a:gd name="connsiteX1653" fmla="*/ 2698267 w 3862373"/>
                <a:gd name="connsiteY1653" fmla="*/ 1586423 h 3682908"/>
                <a:gd name="connsiteX1654" fmla="*/ 2737361 w 3862373"/>
                <a:gd name="connsiteY1654" fmla="*/ 1547335 h 3682908"/>
                <a:gd name="connsiteX1655" fmla="*/ 2645073 w 3862373"/>
                <a:gd name="connsiteY1655" fmla="*/ 1547335 h 3682908"/>
                <a:gd name="connsiteX1656" fmla="*/ 2684164 w 3862373"/>
                <a:gd name="connsiteY1656" fmla="*/ 1586423 h 3682908"/>
                <a:gd name="connsiteX1657" fmla="*/ 2645073 w 3862373"/>
                <a:gd name="connsiteY1657" fmla="*/ 1625510 h 3682908"/>
                <a:gd name="connsiteX1658" fmla="*/ 2605987 w 3862373"/>
                <a:gd name="connsiteY1658" fmla="*/ 1586423 h 3682908"/>
                <a:gd name="connsiteX1659" fmla="*/ 2645073 w 3862373"/>
                <a:gd name="connsiteY1659" fmla="*/ 1547335 h 3682908"/>
                <a:gd name="connsiteX1660" fmla="*/ 2550437 w 3862373"/>
                <a:gd name="connsiteY1660" fmla="*/ 1547335 h 3682908"/>
                <a:gd name="connsiteX1661" fmla="*/ 2589523 w 3862373"/>
                <a:gd name="connsiteY1661" fmla="*/ 1586423 h 3682908"/>
                <a:gd name="connsiteX1662" fmla="*/ 2550437 w 3862373"/>
                <a:gd name="connsiteY1662" fmla="*/ 1625510 h 3682908"/>
                <a:gd name="connsiteX1663" fmla="*/ 2511353 w 3862373"/>
                <a:gd name="connsiteY1663" fmla="*/ 1586423 h 3682908"/>
                <a:gd name="connsiteX1664" fmla="*/ 2550437 w 3862373"/>
                <a:gd name="connsiteY1664" fmla="*/ 1547335 h 3682908"/>
                <a:gd name="connsiteX1665" fmla="*/ 2458164 w 3862373"/>
                <a:gd name="connsiteY1665" fmla="*/ 1547335 h 3682908"/>
                <a:gd name="connsiteX1666" fmla="*/ 2497252 w 3862373"/>
                <a:gd name="connsiteY1666" fmla="*/ 1586423 h 3682908"/>
                <a:gd name="connsiteX1667" fmla="*/ 2458164 w 3862373"/>
                <a:gd name="connsiteY1667" fmla="*/ 1625510 h 3682908"/>
                <a:gd name="connsiteX1668" fmla="*/ 2419081 w 3862373"/>
                <a:gd name="connsiteY1668" fmla="*/ 1586423 h 3682908"/>
                <a:gd name="connsiteX1669" fmla="*/ 2458164 w 3862373"/>
                <a:gd name="connsiteY1669" fmla="*/ 1547335 h 3682908"/>
                <a:gd name="connsiteX1670" fmla="*/ 951061 w 3862373"/>
                <a:gd name="connsiteY1670" fmla="*/ 1547335 h 3682908"/>
                <a:gd name="connsiteX1671" fmla="*/ 990144 w 3862373"/>
                <a:gd name="connsiteY1671" fmla="*/ 1586423 h 3682908"/>
                <a:gd name="connsiteX1672" fmla="*/ 951061 w 3862373"/>
                <a:gd name="connsiteY1672" fmla="*/ 1625510 h 3682908"/>
                <a:gd name="connsiteX1673" fmla="*/ 911977 w 3862373"/>
                <a:gd name="connsiteY1673" fmla="*/ 1586423 h 3682908"/>
                <a:gd name="connsiteX1674" fmla="*/ 951061 w 3862373"/>
                <a:gd name="connsiteY1674" fmla="*/ 1547335 h 3682908"/>
                <a:gd name="connsiteX1675" fmla="*/ 856428 w 3862373"/>
                <a:gd name="connsiteY1675" fmla="*/ 1547335 h 3682908"/>
                <a:gd name="connsiteX1676" fmla="*/ 895513 w 3862373"/>
                <a:gd name="connsiteY1676" fmla="*/ 1586423 h 3682908"/>
                <a:gd name="connsiteX1677" fmla="*/ 856428 w 3862373"/>
                <a:gd name="connsiteY1677" fmla="*/ 1625510 h 3682908"/>
                <a:gd name="connsiteX1678" fmla="*/ 817346 w 3862373"/>
                <a:gd name="connsiteY1678" fmla="*/ 1586423 h 3682908"/>
                <a:gd name="connsiteX1679" fmla="*/ 856428 w 3862373"/>
                <a:gd name="connsiteY1679" fmla="*/ 1547335 h 3682908"/>
                <a:gd name="connsiteX1680" fmla="*/ 764163 w 3862373"/>
                <a:gd name="connsiteY1680" fmla="*/ 1547335 h 3682908"/>
                <a:gd name="connsiteX1681" fmla="*/ 803247 w 3862373"/>
                <a:gd name="connsiteY1681" fmla="*/ 1586423 h 3682908"/>
                <a:gd name="connsiteX1682" fmla="*/ 764163 w 3862373"/>
                <a:gd name="connsiteY1682" fmla="*/ 1625510 h 3682908"/>
                <a:gd name="connsiteX1683" fmla="*/ 725079 w 3862373"/>
                <a:gd name="connsiteY1683" fmla="*/ 1586423 h 3682908"/>
                <a:gd name="connsiteX1684" fmla="*/ 764163 w 3862373"/>
                <a:gd name="connsiteY1684" fmla="*/ 1547335 h 3682908"/>
                <a:gd name="connsiteX1685" fmla="*/ 669521 w 3862373"/>
                <a:gd name="connsiteY1685" fmla="*/ 1547335 h 3682908"/>
                <a:gd name="connsiteX1686" fmla="*/ 708613 w 3862373"/>
                <a:gd name="connsiteY1686" fmla="*/ 1586423 h 3682908"/>
                <a:gd name="connsiteX1687" fmla="*/ 669521 w 3862373"/>
                <a:gd name="connsiteY1687" fmla="*/ 1625510 h 3682908"/>
                <a:gd name="connsiteX1688" fmla="*/ 630438 w 3862373"/>
                <a:gd name="connsiteY1688" fmla="*/ 1586423 h 3682908"/>
                <a:gd name="connsiteX1689" fmla="*/ 669521 w 3862373"/>
                <a:gd name="connsiteY1689" fmla="*/ 1547335 h 3682908"/>
                <a:gd name="connsiteX1690" fmla="*/ 577241 w 3862373"/>
                <a:gd name="connsiteY1690" fmla="*/ 1547335 h 3682908"/>
                <a:gd name="connsiteX1691" fmla="*/ 616335 w 3862373"/>
                <a:gd name="connsiteY1691" fmla="*/ 1586423 h 3682908"/>
                <a:gd name="connsiteX1692" fmla="*/ 577241 w 3862373"/>
                <a:gd name="connsiteY1692" fmla="*/ 1625510 h 3682908"/>
                <a:gd name="connsiteX1693" fmla="*/ 538147 w 3862373"/>
                <a:gd name="connsiteY1693" fmla="*/ 1586423 h 3682908"/>
                <a:gd name="connsiteX1694" fmla="*/ 577241 w 3862373"/>
                <a:gd name="connsiteY1694" fmla="*/ 1547335 h 3682908"/>
                <a:gd name="connsiteX1695" fmla="*/ 484957 w 3862373"/>
                <a:gd name="connsiteY1695" fmla="*/ 1547335 h 3682908"/>
                <a:gd name="connsiteX1696" fmla="*/ 524045 w 3862373"/>
                <a:gd name="connsiteY1696" fmla="*/ 1586423 h 3682908"/>
                <a:gd name="connsiteX1697" fmla="*/ 484957 w 3862373"/>
                <a:gd name="connsiteY1697" fmla="*/ 1625510 h 3682908"/>
                <a:gd name="connsiteX1698" fmla="*/ 445879 w 3862373"/>
                <a:gd name="connsiteY1698" fmla="*/ 1586423 h 3682908"/>
                <a:gd name="connsiteX1699" fmla="*/ 484957 w 3862373"/>
                <a:gd name="connsiteY1699" fmla="*/ 1547335 h 3682908"/>
                <a:gd name="connsiteX1700" fmla="*/ 390314 w 3862373"/>
                <a:gd name="connsiteY1700" fmla="*/ 1547335 h 3682908"/>
                <a:gd name="connsiteX1701" fmla="*/ 429410 w 3862373"/>
                <a:gd name="connsiteY1701" fmla="*/ 1586423 h 3682908"/>
                <a:gd name="connsiteX1702" fmla="*/ 390314 w 3862373"/>
                <a:gd name="connsiteY1702" fmla="*/ 1625510 h 3682908"/>
                <a:gd name="connsiteX1703" fmla="*/ 351238 w 3862373"/>
                <a:gd name="connsiteY1703" fmla="*/ 1586423 h 3682908"/>
                <a:gd name="connsiteX1704" fmla="*/ 390314 w 3862373"/>
                <a:gd name="connsiteY1704" fmla="*/ 1547335 h 3682908"/>
                <a:gd name="connsiteX1705" fmla="*/ 298043 w 3862373"/>
                <a:gd name="connsiteY1705" fmla="*/ 1547335 h 3682908"/>
                <a:gd name="connsiteX1706" fmla="*/ 337137 w 3862373"/>
                <a:gd name="connsiteY1706" fmla="*/ 1586423 h 3682908"/>
                <a:gd name="connsiteX1707" fmla="*/ 298043 w 3862373"/>
                <a:gd name="connsiteY1707" fmla="*/ 1625510 h 3682908"/>
                <a:gd name="connsiteX1708" fmla="*/ 258954 w 3862373"/>
                <a:gd name="connsiteY1708" fmla="*/ 1586423 h 3682908"/>
                <a:gd name="connsiteX1709" fmla="*/ 298043 w 3862373"/>
                <a:gd name="connsiteY1709" fmla="*/ 1547335 h 3682908"/>
                <a:gd name="connsiteX1710" fmla="*/ 203400 w 3862373"/>
                <a:gd name="connsiteY1710" fmla="*/ 1547335 h 3682908"/>
                <a:gd name="connsiteX1711" fmla="*/ 242489 w 3862373"/>
                <a:gd name="connsiteY1711" fmla="*/ 1586423 h 3682908"/>
                <a:gd name="connsiteX1712" fmla="*/ 203400 w 3862373"/>
                <a:gd name="connsiteY1712" fmla="*/ 1625510 h 3682908"/>
                <a:gd name="connsiteX1713" fmla="*/ 164314 w 3862373"/>
                <a:gd name="connsiteY1713" fmla="*/ 1586423 h 3682908"/>
                <a:gd name="connsiteX1714" fmla="*/ 203400 w 3862373"/>
                <a:gd name="connsiteY1714" fmla="*/ 1547335 h 3682908"/>
                <a:gd name="connsiteX1715" fmla="*/ 3835635 w 3862373"/>
                <a:gd name="connsiteY1715" fmla="*/ 1482393 h 3682908"/>
                <a:gd name="connsiteX1716" fmla="*/ 3843416 w 3862373"/>
                <a:gd name="connsiteY1716" fmla="*/ 1533374 h 3682908"/>
                <a:gd name="connsiteX1717" fmla="*/ 3838294 w 3862373"/>
                <a:gd name="connsiteY1717" fmla="*/ 1531252 h 3682908"/>
                <a:gd name="connsiteX1718" fmla="*/ 3826845 w 3862373"/>
                <a:gd name="connsiteY1718" fmla="*/ 1503614 h 3682908"/>
                <a:gd name="connsiteX1719" fmla="*/ 3771293 w 3862373"/>
                <a:gd name="connsiteY1719" fmla="*/ 1464526 h 3682908"/>
                <a:gd name="connsiteX1720" fmla="*/ 3810379 w 3862373"/>
                <a:gd name="connsiteY1720" fmla="*/ 1503614 h 3682908"/>
                <a:gd name="connsiteX1721" fmla="*/ 3771293 w 3862373"/>
                <a:gd name="connsiteY1721" fmla="*/ 1542701 h 3682908"/>
                <a:gd name="connsiteX1722" fmla="*/ 3732205 w 3862373"/>
                <a:gd name="connsiteY1722" fmla="*/ 1503614 h 3682908"/>
                <a:gd name="connsiteX1723" fmla="*/ 3771293 w 3862373"/>
                <a:gd name="connsiteY1723" fmla="*/ 1464526 h 3682908"/>
                <a:gd name="connsiteX1724" fmla="*/ 3679018 w 3862373"/>
                <a:gd name="connsiteY1724" fmla="*/ 1464526 h 3682908"/>
                <a:gd name="connsiteX1725" fmla="*/ 3718105 w 3862373"/>
                <a:gd name="connsiteY1725" fmla="*/ 1503614 h 3682908"/>
                <a:gd name="connsiteX1726" fmla="*/ 3679018 w 3862373"/>
                <a:gd name="connsiteY1726" fmla="*/ 1542701 h 3682908"/>
                <a:gd name="connsiteX1727" fmla="*/ 3639931 w 3862373"/>
                <a:gd name="connsiteY1727" fmla="*/ 1503614 h 3682908"/>
                <a:gd name="connsiteX1728" fmla="*/ 3679018 w 3862373"/>
                <a:gd name="connsiteY1728" fmla="*/ 1464526 h 3682908"/>
                <a:gd name="connsiteX1729" fmla="*/ 3489737 w 3862373"/>
                <a:gd name="connsiteY1729" fmla="*/ 1464526 h 3682908"/>
                <a:gd name="connsiteX1730" fmla="*/ 3528823 w 3862373"/>
                <a:gd name="connsiteY1730" fmla="*/ 1503614 h 3682908"/>
                <a:gd name="connsiteX1731" fmla="*/ 3489737 w 3862373"/>
                <a:gd name="connsiteY1731" fmla="*/ 1542701 h 3682908"/>
                <a:gd name="connsiteX1732" fmla="*/ 3450649 w 3862373"/>
                <a:gd name="connsiteY1732" fmla="*/ 1503614 h 3682908"/>
                <a:gd name="connsiteX1733" fmla="*/ 3489737 w 3862373"/>
                <a:gd name="connsiteY1733" fmla="*/ 1464526 h 3682908"/>
                <a:gd name="connsiteX1734" fmla="*/ 3392731 w 3862373"/>
                <a:gd name="connsiteY1734" fmla="*/ 1464526 h 3682908"/>
                <a:gd name="connsiteX1735" fmla="*/ 3431819 w 3862373"/>
                <a:gd name="connsiteY1735" fmla="*/ 1503614 h 3682908"/>
                <a:gd name="connsiteX1736" fmla="*/ 3392731 w 3862373"/>
                <a:gd name="connsiteY1736" fmla="*/ 1542701 h 3682908"/>
                <a:gd name="connsiteX1737" fmla="*/ 3353644 w 3862373"/>
                <a:gd name="connsiteY1737" fmla="*/ 1503614 h 3682908"/>
                <a:gd name="connsiteX1738" fmla="*/ 3392731 w 3862373"/>
                <a:gd name="connsiteY1738" fmla="*/ 1464526 h 3682908"/>
                <a:gd name="connsiteX1739" fmla="*/ 3300457 w 3862373"/>
                <a:gd name="connsiteY1739" fmla="*/ 1464526 h 3682908"/>
                <a:gd name="connsiteX1740" fmla="*/ 3339544 w 3862373"/>
                <a:gd name="connsiteY1740" fmla="*/ 1503614 h 3682908"/>
                <a:gd name="connsiteX1741" fmla="*/ 3300457 w 3862373"/>
                <a:gd name="connsiteY1741" fmla="*/ 1542701 h 3682908"/>
                <a:gd name="connsiteX1742" fmla="*/ 3261369 w 3862373"/>
                <a:gd name="connsiteY1742" fmla="*/ 1503614 h 3682908"/>
                <a:gd name="connsiteX1743" fmla="*/ 3300457 w 3862373"/>
                <a:gd name="connsiteY1743" fmla="*/ 1464526 h 3682908"/>
                <a:gd name="connsiteX1744" fmla="*/ 3205817 w 3862373"/>
                <a:gd name="connsiteY1744" fmla="*/ 1464526 h 3682908"/>
                <a:gd name="connsiteX1745" fmla="*/ 3244904 w 3862373"/>
                <a:gd name="connsiteY1745" fmla="*/ 1503614 h 3682908"/>
                <a:gd name="connsiteX1746" fmla="*/ 3205817 w 3862373"/>
                <a:gd name="connsiteY1746" fmla="*/ 1542701 h 3682908"/>
                <a:gd name="connsiteX1747" fmla="*/ 3166729 w 3862373"/>
                <a:gd name="connsiteY1747" fmla="*/ 1503614 h 3682908"/>
                <a:gd name="connsiteX1748" fmla="*/ 3205817 w 3862373"/>
                <a:gd name="connsiteY1748" fmla="*/ 1464526 h 3682908"/>
                <a:gd name="connsiteX1749" fmla="*/ 3111177 w 3862373"/>
                <a:gd name="connsiteY1749" fmla="*/ 1464526 h 3682908"/>
                <a:gd name="connsiteX1750" fmla="*/ 3150264 w 3862373"/>
                <a:gd name="connsiteY1750" fmla="*/ 1503614 h 3682908"/>
                <a:gd name="connsiteX1751" fmla="*/ 3111177 w 3862373"/>
                <a:gd name="connsiteY1751" fmla="*/ 1542701 h 3682908"/>
                <a:gd name="connsiteX1752" fmla="*/ 3072089 w 3862373"/>
                <a:gd name="connsiteY1752" fmla="*/ 1503614 h 3682908"/>
                <a:gd name="connsiteX1753" fmla="*/ 3111177 w 3862373"/>
                <a:gd name="connsiteY1753" fmla="*/ 1464526 h 3682908"/>
                <a:gd name="connsiteX1754" fmla="*/ 3018902 w 3862373"/>
                <a:gd name="connsiteY1754" fmla="*/ 1464526 h 3682908"/>
                <a:gd name="connsiteX1755" fmla="*/ 3057989 w 3862373"/>
                <a:gd name="connsiteY1755" fmla="*/ 1503614 h 3682908"/>
                <a:gd name="connsiteX1756" fmla="*/ 3018902 w 3862373"/>
                <a:gd name="connsiteY1756" fmla="*/ 1542701 h 3682908"/>
                <a:gd name="connsiteX1757" fmla="*/ 2979815 w 3862373"/>
                <a:gd name="connsiteY1757" fmla="*/ 1503614 h 3682908"/>
                <a:gd name="connsiteX1758" fmla="*/ 3018902 w 3862373"/>
                <a:gd name="connsiteY1758" fmla="*/ 1464526 h 3682908"/>
                <a:gd name="connsiteX1759" fmla="*/ 2831988 w 3862373"/>
                <a:gd name="connsiteY1759" fmla="*/ 1464526 h 3682908"/>
                <a:gd name="connsiteX1760" fmla="*/ 2871075 w 3862373"/>
                <a:gd name="connsiteY1760" fmla="*/ 1503614 h 3682908"/>
                <a:gd name="connsiteX1761" fmla="*/ 2831988 w 3862373"/>
                <a:gd name="connsiteY1761" fmla="*/ 1542701 h 3682908"/>
                <a:gd name="connsiteX1762" fmla="*/ 2792901 w 3862373"/>
                <a:gd name="connsiteY1762" fmla="*/ 1503614 h 3682908"/>
                <a:gd name="connsiteX1763" fmla="*/ 2831988 w 3862373"/>
                <a:gd name="connsiteY1763" fmla="*/ 1464526 h 3682908"/>
                <a:gd name="connsiteX1764" fmla="*/ 2458167 w 3862373"/>
                <a:gd name="connsiteY1764" fmla="*/ 1464526 h 3682908"/>
                <a:gd name="connsiteX1765" fmla="*/ 2497253 w 3862373"/>
                <a:gd name="connsiteY1765" fmla="*/ 1503614 h 3682908"/>
                <a:gd name="connsiteX1766" fmla="*/ 2458167 w 3862373"/>
                <a:gd name="connsiteY1766" fmla="*/ 1542701 h 3682908"/>
                <a:gd name="connsiteX1767" fmla="*/ 2419081 w 3862373"/>
                <a:gd name="connsiteY1767" fmla="*/ 1503614 h 3682908"/>
                <a:gd name="connsiteX1768" fmla="*/ 2458167 w 3862373"/>
                <a:gd name="connsiteY1768" fmla="*/ 1464526 h 3682908"/>
                <a:gd name="connsiteX1769" fmla="*/ 2363529 w 3862373"/>
                <a:gd name="connsiteY1769" fmla="*/ 1464526 h 3682908"/>
                <a:gd name="connsiteX1770" fmla="*/ 2402614 w 3862373"/>
                <a:gd name="connsiteY1770" fmla="*/ 1503614 h 3682908"/>
                <a:gd name="connsiteX1771" fmla="*/ 2363529 w 3862373"/>
                <a:gd name="connsiteY1771" fmla="*/ 1542701 h 3682908"/>
                <a:gd name="connsiteX1772" fmla="*/ 2324441 w 3862373"/>
                <a:gd name="connsiteY1772" fmla="*/ 1503614 h 3682908"/>
                <a:gd name="connsiteX1773" fmla="*/ 2363529 w 3862373"/>
                <a:gd name="connsiteY1773" fmla="*/ 1464526 h 3682908"/>
                <a:gd name="connsiteX1774" fmla="*/ 1045696 w 3862373"/>
                <a:gd name="connsiteY1774" fmla="*/ 1464526 h 3682908"/>
                <a:gd name="connsiteX1775" fmla="*/ 1084784 w 3862373"/>
                <a:gd name="connsiteY1775" fmla="*/ 1503614 h 3682908"/>
                <a:gd name="connsiteX1776" fmla="*/ 1045696 w 3862373"/>
                <a:gd name="connsiteY1776" fmla="*/ 1542701 h 3682908"/>
                <a:gd name="connsiteX1777" fmla="*/ 1006612 w 3862373"/>
                <a:gd name="connsiteY1777" fmla="*/ 1503614 h 3682908"/>
                <a:gd name="connsiteX1778" fmla="*/ 1045696 w 3862373"/>
                <a:gd name="connsiteY1778" fmla="*/ 1464526 h 3682908"/>
                <a:gd name="connsiteX1779" fmla="*/ 951064 w 3862373"/>
                <a:gd name="connsiteY1779" fmla="*/ 1464526 h 3682908"/>
                <a:gd name="connsiteX1780" fmla="*/ 990147 w 3862373"/>
                <a:gd name="connsiteY1780" fmla="*/ 1503614 h 3682908"/>
                <a:gd name="connsiteX1781" fmla="*/ 951064 w 3862373"/>
                <a:gd name="connsiteY1781" fmla="*/ 1542701 h 3682908"/>
                <a:gd name="connsiteX1782" fmla="*/ 911980 w 3862373"/>
                <a:gd name="connsiteY1782" fmla="*/ 1503614 h 3682908"/>
                <a:gd name="connsiteX1783" fmla="*/ 951064 w 3862373"/>
                <a:gd name="connsiteY1783" fmla="*/ 1464526 h 3682908"/>
                <a:gd name="connsiteX1784" fmla="*/ 856433 w 3862373"/>
                <a:gd name="connsiteY1784" fmla="*/ 1464526 h 3682908"/>
                <a:gd name="connsiteX1785" fmla="*/ 895517 w 3862373"/>
                <a:gd name="connsiteY1785" fmla="*/ 1503614 h 3682908"/>
                <a:gd name="connsiteX1786" fmla="*/ 856433 w 3862373"/>
                <a:gd name="connsiteY1786" fmla="*/ 1542701 h 3682908"/>
                <a:gd name="connsiteX1787" fmla="*/ 817350 w 3862373"/>
                <a:gd name="connsiteY1787" fmla="*/ 1503614 h 3682908"/>
                <a:gd name="connsiteX1788" fmla="*/ 856433 w 3862373"/>
                <a:gd name="connsiteY1788" fmla="*/ 1464526 h 3682908"/>
                <a:gd name="connsiteX1789" fmla="*/ 764168 w 3862373"/>
                <a:gd name="connsiteY1789" fmla="*/ 1464526 h 3682908"/>
                <a:gd name="connsiteX1790" fmla="*/ 803252 w 3862373"/>
                <a:gd name="connsiteY1790" fmla="*/ 1503614 h 3682908"/>
                <a:gd name="connsiteX1791" fmla="*/ 764168 w 3862373"/>
                <a:gd name="connsiteY1791" fmla="*/ 1542701 h 3682908"/>
                <a:gd name="connsiteX1792" fmla="*/ 725083 w 3862373"/>
                <a:gd name="connsiteY1792" fmla="*/ 1503614 h 3682908"/>
                <a:gd name="connsiteX1793" fmla="*/ 764168 w 3862373"/>
                <a:gd name="connsiteY1793" fmla="*/ 1464526 h 3682908"/>
                <a:gd name="connsiteX1794" fmla="*/ 669521 w 3862373"/>
                <a:gd name="connsiteY1794" fmla="*/ 1464526 h 3682908"/>
                <a:gd name="connsiteX1795" fmla="*/ 708620 w 3862373"/>
                <a:gd name="connsiteY1795" fmla="*/ 1503614 h 3682908"/>
                <a:gd name="connsiteX1796" fmla="*/ 669521 w 3862373"/>
                <a:gd name="connsiteY1796" fmla="*/ 1542701 h 3682908"/>
                <a:gd name="connsiteX1797" fmla="*/ 630443 w 3862373"/>
                <a:gd name="connsiteY1797" fmla="*/ 1503614 h 3682908"/>
                <a:gd name="connsiteX1798" fmla="*/ 669521 w 3862373"/>
                <a:gd name="connsiteY1798" fmla="*/ 1464526 h 3682908"/>
                <a:gd name="connsiteX1799" fmla="*/ 577246 w 3862373"/>
                <a:gd name="connsiteY1799" fmla="*/ 1464526 h 3682908"/>
                <a:gd name="connsiteX1800" fmla="*/ 616341 w 3862373"/>
                <a:gd name="connsiteY1800" fmla="*/ 1503614 h 3682908"/>
                <a:gd name="connsiteX1801" fmla="*/ 577246 w 3862373"/>
                <a:gd name="connsiteY1801" fmla="*/ 1542701 h 3682908"/>
                <a:gd name="connsiteX1802" fmla="*/ 538151 w 3862373"/>
                <a:gd name="connsiteY1802" fmla="*/ 1503614 h 3682908"/>
                <a:gd name="connsiteX1803" fmla="*/ 577246 w 3862373"/>
                <a:gd name="connsiteY1803" fmla="*/ 1464526 h 3682908"/>
                <a:gd name="connsiteX1804" fmla="*/ 484961 w 3862373"/>
                <a:gd name="connsiteY1804" fmla="*/ 1464526 h 3682908"/>
                <a:gd name="connsiteX1805" fmla="*/ 524048 w 3862373"/>
                <a:gd name="connsiteY1805" fmla="*/ 1503614 h 3682908"/>
                <a:gd name="connsiteX1806" fmla="*/ 484961 w 3862373"/>
                <a:gd name="connsiteY1806" fmla="*/ 1542701 h 3682908"/>
                <a:gd name="connsiteX1807" fmla="*/ 445884 w 3862373"/>
                <a:gd name="connsiteY1807" fmla="*/ 1503614 h 3682908"/>
                <a:gd name="connsiteX1808" fmla="*/ 484961 w 3862373"/>
                <a:gd name="connsiteY1808" fmla="*/ 1464526 h 3682908"/>
                <a:gd name="connsiteX1809" fmla="*/ 390321 w 3862373"/>
                <a:gd name="connsiteY1809" fmla="*/ 1464526 h 3682908"/>
                <a:gd name="connsiteX1810" fmla="*/ 429414 w 3862373"/>
                <a:gd name="connsiteY1810" fmla="*/ 1503614 h 3682908"/>
                <a:gd name="connsiteX1811" fmla="*/ 390321 w 3862373"/>
                <a:gd name="connsiteY1811" fmla="*/ 1542701 h 3682908"/>
                <a:gd name="connsiteX1812" fmla="*/ 351243 w 3862373"/>
                <a:gd name="connsiteY1812" fmla="*/ 1503614 h 3682908"/>
                <a:gd name="connsiteX1813" fmla="*/ 390321 w 3862373"/>
                <a:gd name="connsiteY1813" fmla="*/ 1464526 h 3682908"/>
                <a:gd name="connsiteX1814" fmla="*/ 298048 w 3862373"/>
                <a:gd name="connsiteY1814" fmla="*/ 1464526 h 3682908"/>
                <a:gd name="connsiteX1815" fmla="*/ 337143 w 3862373"/>
                <a:gd name="connsiteY1815" fmla="*/ 1503614 h 3682908"/>
                <a:gd name="connsiteX1816" fmla="*/ 298048 w 3862373"/>
                <a:gd name="connsiteY1816" fmla="*/ 1542701 h 3682908"/>
                <a:gd name="connsiteX1817" fmla="*/ 258959 w 3862373"/>
                <a:gd name="connsiteY1817" fmla="*/ 1503614 h 3682908"/>
                <a:gd name="connsiteX1818" fmla="*/ 298048 w 3862373"/>
                <a:gd name="connsiteY1818" fmla="*/ 1464526 h 3682908"/>
                <a:gd name="connsiteX1819" fmla="*/ 203404 w 3862373"/>
                <a:gd name="connsiteY1819" fmla="*/ 1464526 h 3682908"/>
                <a:gd name="connsiteX1820" fmla="*/ 242493 w 3862373"/>
                <a:gd name="connsiteY1820" fmla="*/ 1503614 h 3682908"/>
                <a:gd name="connsiteX1821" fmla="*/ 203404 w 3862373"/>
                <a:gd name="connsiteY1821" fmla="*/ 1542701 h 3682908"/>
                <a:gd name="connsiteX1822" fmla="*/ 164318 w 3862373"/>
                <a:gd name="connsiteY1822" fmla="*/ 1503614 h 3682908"/>
                <a:gd name="connsiteX1823" fmla="*/ 203404 w 3862373"/>
                <a:gd name="connsiteY1823" fmla="*/ 1464526 h 3682908"/>
                <a:gd name="connsiteX1824" fmla="*/ 111130 w 3862373"/>
                <a:gd name="connsiteY1824" fmla="*/ 1464526 h 3682908"/>
                <a:gd name="connsiteX1825" fmla="*/ 150218 w 3862373"/>
                <a:gd name="connsiteY1825" fmla="*/ 1503614 h 3682908"/>
                <a:gd name="connsiteX1826" fmla="*/ 111130 w 3862373"/>
                <a:gd name="connsiteY1826" fmla="*/ 1542701 h 3682908"/>
                <a:gd name="connsiteX1827" fmla="*/ 72044 w 3862373"/>
                <a:gd name="connsiteY1827" fmla="*/ 1503614 h 3682908"/>
                <a:gd name="connsiteX1828" fmla="*/ 111130 w 3862373"/>
                <a:gd name="connsiteY1828" fmla="*/ 1464526 h 3682908"/>
                <a:gd name="connsiteX1829" fmla="*/ 111134 w 3862373"/>
                <a:gd name="connsiteY1829" fmla="*/ 1376985 h 3682908"/>
                <a:gd name="connsiteX1830" fmla="*/ 150221 w 3862373"/>
                <a:gd name="connsiteY1830" fmla="*/ 1416072 h 3682908"/>
                <a:gd name="connsiteX1831" fmla="*/ 111134 w 3862373"/>
                <a:gd name="connsiteY1831" fmla="*/ 1455159 h 3682908"/>
                <a:gd name="connsiteX1832" fmla="*/ 72048 w 3862373"/>
                <a:gd name="connsiteY1832" fmla="*/ 1416072 h 3682908"/>
                <a:gd name="connsiteX1833" fmla="*/ 111134 w 3862373"/>
                <a:gd name="connsiteY1833" fmla="*/ 1376985 h 3682908"/>
                <a:gd name="connsiteX1834" fmla="*/ 484966 w 3862373"/>
                <a:gd name="connsiteY1834" fmla="*/ 1376984 h 3682908"/>
                <a:gd name="connsiteX1835" fmla="*/ 524052 w 3862373"/>
                <a:gd name="connsiteY1835" fmla="*/ 1416071 h 3682908"/>
                <a:gd name="connsiteX1836" fmla="*/ 484966 w 3862373"/>
                <a:gd name="connsiteY1836" fmla="*/ 1455159 h 3682908"/>
                <a:gd name="connsiteX1837" fmla="*/ 445888 w 3862373"/>
                <a:gd name="connsiteY1837" fmla="*/ 1416071 h 3682908"/>
                <a:gd name="connsiteX1838" fmla="*/ 484966 w 3862373"/>
                <a:gd name="connsiteY1838" fmla="*/ 1376984 h 3682908"/>
                <a:gd name="connsiteX1839" fmla="*/ 390321 w 3862373"/>
                <a:gd name="connsiteY1839" fmla="*/ 1376984 h 3682908"/>
                <a:gd name="connsiteX1840" fmla="*/ 429417 w 3862373"/>
                <a:gd name="connsiteY1840" fmla="*/ 1416071 h 3682908"/>
                <a:gd name="connsiteX1841" fmla="*/ 390321 w 3862373"/>
                <a:gd name="connsiteY1841" fmla="*/ 1455159 h 3682908"/>
                <a:gd name="connsiteX1842" fmla="*/ 351248 w 3862373"/>
                <a:gd name="connsiteY1842" fmla="*/ 1416071 h 3682908"/>
                <a:gd name="connsiteX1843" fmla="*/ 390321 w 3862373"/>
                <a:gd name="connsiteY1843" fmla="*/ 1376984 h 3682908"/>
                <a:gd name="connsiteX1844" fmla="*/ 298052 w 3862373"/>
                <a:gd name="connsiteY1844" fmla="*/ 1376984 h 3682908"/>
                <a:gd name="connsiteX1845" fmla="*/ 337147 w 3862373"/>
                <a:gd name="connsiteY1845" fmla="*/ 1416071 h 3682908"/>
                <a:gd name="connsiteX1846" fmla="*/ 298052 w 3862373"/>
                <a:gd name="connsiteY1846" fmla="*/ 1455159 h 3682908"/>
                <a:gd name="connsiteX1847" fmla="*/ 258963 w 3862373"/>
                <a:gd name="connsiteY1847" fmla="*/ 1416071 h 3682908"/>
                <a:gd name="connsiteX1848" fmla="*/ 298052 w 3862373"/>
                <a:gd name="connsiteY1848" fmla="*/ 1376984 h 3682908"/>
                <a:gd name="connsiteX1849" fmla="*/ 203408 w 3862373"/>
                <a:gd name="connsiteY1849" fmla="*/ 1376984 h 3682908"/>
                <a:gd name="connsiteX1850" fmla="*/ 242497 w 3862373"/>
                <a:gd name="connsiteY1850" fmla="*/ 1416071 h 3682908"/>
                <a:gd name="connsiteX1851" fmla="*/ 203408 w 3862373"/>
                <a:gd name="connsiteY1851" fmla="*/ 1455159 h 3682908"/>
                <a:gd name="connsiteX1852" fmla="*/ 164322 w 3862373"/>
                <a:gd name="connsiteY1852" fmla="*/ 1416071 h 3682908"/>
                <a:gd name="connsiteX1853" fmla="*/ 203408 w 3862373"/>
                <a:gd name="connsiteY1853" fmla="*/ 1376984 h 3682908"/>
                <a:gd name="connsiteX1854" fmla="*/ 3771293 w 3862373"/>
                <a:gd name="connsiteY1854" fmla="*/ 1376983 h 3682908"/>
                <a:gd name="connsiteX1855" fmla="*/ 3810379 w 3862373"/>
                <a:gd name="connsiteY1855" fmla="*/ 1416070 h 3682908"/>
                <a:gd name="connsiteX1856" fmla="*/ 3771293 w 3862373"/>
                <a:gd name="connsiteY1856" fmla="*/ 1455158 h 3682908"/>
                <a:gd name="connsiteX1857" fmla="*/ 3732205 w 3862373"/>
                <a:gd name="connsiteY1857" fmla="*/ 1416070 h 3682908"/>
                <a:gd name="connsiteX1858" fmla="*/ 3771293 w 3862373"/>
                <a:gd name="connsiteY1858" fmla="*/ 1376983 h 3682908"/>
                <a:gd name="connsiteX1859" fmla="*/ 3679018 w 3862373"/>
                <a:gd name="connsiteY1859" fmla="*/ 1376983 h 3682908"/>
                <a:gd name="connsiteX1860" fmla="*/ 3718105 w 3862373"/>
                <a:gd name="connsiteY1860" fmla="*/ 1416070 h 3682908"/>
                <a:gd name="connsiteX1861" fmla="*/ 3679018 w 3862373"/>
                <a:gd name="connsiteY1861" fmla="*/ 1455158 h 3682908"/>
                <a:gd name="connsiteX1862" fmla="*/ 3639931 w 3862373"/>
                <a:gd name="connsiteY1862" fmla="*/ 1416070 h 3682908"/>
                <a:gd name="connsiteX1863" fmla="*/ 3679018 w 3862373"/>
                <a:gd name="connsiteY1863" fmla="*/ 1376983 h 3682908"/>
                <a:gd name="connsiteX1864" fmla="*/ 3489737 w 3862373"/>
                <a:gd name="connsiteY1864" fmla="*/ 1376983 h 3682908"/>
                <a:gd name="connsiteX1865" fmla="*/ 3528823 w 3862373"/>
                <a:gd name="connsiteY1865" fmla="*/ 1416070 h 3682908"/>
                <a:gd name="connsiteX1866" fmla="*/ 3489737 w 3862373"/>
                <a:gd name="connsiteY1866" fmla="*/ 1455158 h 3682908"/>
                <a:gd name="connsiteX1867" fmla="*/ 3450649 w 3862373"/>
                <a:gd name="connsiteY1867" fmla="*/ 1416070 h 3682908"/>
                <a:gd name="connsiteX1868" fmla="*/ 3489737 w 3862373"/>
                <a:gd name="connsiteY1868" fmla="*/ 1376983 h 3682908"/>
                <a:gd name="connsiteX1869" fmla="*/ 3392731 w 3862373"/>
                <a:gd name="connsiteY1869" fmla="*/ 1376983 h 3682908"/>
                <a:gd name="connsiteX1870" fmla="*/ 3431819 w 3862373"/>
                <a:gd name="connsiteY1870" fmla="*/ 1416070 h 3682908"/>
                <a:gd name="connsiteX1871" fmla="*/ 3392731 w 3862373"/>
                <a:gd name="connsiteY1871" fmla="*/ 1455158 h 3682908"/>
                <a:gd name="connsiteX1872" fmla="*/ 3353644 w 3862373"/>
                <a:gd name="connsiteY1872" fmla="*/ 1416070 h 3682908"/>
                <a:gd name="connsiteX1873" fmla="*/ 3392731 w 3862373"/>
                <a:gd name="connsiteY1873" fmla="*/ 1376983 h 3682908"/>
                <a:gd name="connsiteX1874" fmla="*/ 3300457 w 3862373"/>
                <a:gd name="connsiteY1874" fmla="*/ 1376983 h 3682908"/>
                <a:gd name="connsiteX1875" fmla="*/ 3339544 w 3862373"/>
                <a:gd name="connsiteY1875" fmla="*/ 1416070 h 3682908"/>
                <a:gd name="connsiteX1876" fmla="*/ 3300457 w 3862373"/>
                <a:gd name="connsiteY1876" fmla="*/ 1455158 h 3682908"/>
                <a:gd name="connsiteX1877" fmla="*/ 3261369 w 3862373"/>
                <a:gd name="connsiteY1877" fmla="*/ 1416070 h 3682908"/>
                <a:gd name="connsiteX1878" fmla="*/ 3300457 w 3862373"/>
                <a:gd name="connsiteY1878" fmla="*/ 1376983 h 3682908"/>
                <a:gd name="connsiteX1879" fmla="*/ 3205817 w 3862373"/>
                <a:gd name="connsiteY1879" fmla="*/ 1376983 h 3682908"/>
                <a:gd name="connsiteX1880" fmla="*/ 3244904 w 3862373"/>
                <a:gd name="connsiteY1880" fmla="*/ 1416070 h 3682908"/>
                <a:gd name="connsiteX1881" fmla="*/ 3205817 w 3862373"/>
                <a:gd name="connsiteY1881" fmla="*/ 1455158 h 3682908"/>
                <a:gd name="connsiteX1882" fmla="*/ 3166729 w 3862373"/>
                <a:gd name="connsiteY1882" fmla="*/ 1416070 h 3682908"/>
                <a:gd name="connsiteX1883" fmla="*/ 3205817 w 3862373"/>
                <a:gd name="connsiteY1883" fmla="*/ 1376983 h 3682908"/>
                <a:gd name="connsiteX1884" fmla="*/ 3111177 w 3862373"/>
                <a:gd name="connsiteY1884" fmla="*/ 1376983 h 3682908"/>
                <a:gd name="connsiteX1885" fmla="*/ 3150264 w 3862373"/>
                <a:gd name="connsiteY1885" fmla="*/ 1416070 h 3682908"/>
                <a:gd name="connsiteX1886" fmla="*/ 3111177 w 3862373"/>
                <a:gd name="connsiteY1886" fmla="*/ 1455158 h 3682908"/>
                <a:gd name="connsiteX1887" fmla="*/ 3072089 w 3862373"/>
                <a:gd name="connsiteY1887" fmla="*/ 1416070 h 3682908"/>
                <a:gd name="connsiteX1888" fmla="*/ 3111177 w 3862373"/>
                <a:gd name="connsiteY1888" fmla="*/ 1376983 h 3682908"/>
                <a:gd name="connsiteX1889" fmla="*/ 3018902 w 3862373"/>
                <a:gd name="connsiteY1889" fmla="*/ 1376983 h 3682908"/>
                <a:gd name="connsiteX1890" fmla="*/ 3057989 w 3862373"/>
                <a:gd name="connsiteY1890" fmla="*/ 1416070 h 3682908"/>
                <a:gd name="connsiteX1891" fmla="*/ 3018902 w 3862373"/>
                <a:gd name="connsiteY1891" fmla="*/ 1455158 h 3682908"/>
                <a:gd name="connsiteX1892" fmla="*/ 2979815 w 3862373"/>
                <a:gd name="connsiteY1892" fmla="*/ 1416070 h 3682908"/>
                <a:gd name="connsiteX1893" fmla="*/ 3018902 w 3862373"/>
                <a:gd name="connsiteY1893" fmla="*/ 1376983 h 3682908"/>
                <a:gd name="connsiteX1894" fmla="*/ 2924263 w 3862373"/>
                <a:gd name="connsiteY1894" fmla="*/ 1376983 h 3682908"/>
                <a:gd name="connsiteX1895" fmla="*/ 2963349 w 3862373"/>
                <a:gd name="connsiteY1895" fmla="*/ 1416070 h 3682908"/>
                <a:gd name="connsiteX1896" fmla="*/ 2924263 w 3862373"/>
                <a:gd name="connsiteY1896" fmla="*/ 1455158 h 3682908"/>
                <a:gd name="connsiteX1897" fmla="*/ 2885175 w 3862373"/>
                <a:gd name="connsiteY1897" fmla="*/ 1416070 h 3682908"/>
                <a:gd name="connsiteX1898" fmla="*/ 2924263 w 3862373"/>
                <a:gd name="connsiteY1898" fmla="*/ 1376983 h 3682908"/>
                <a:gd name="connsiteX1899" fmla="*/ 2831988 w 3862373"/>
                <a:gd name="connsiteY1899" fmla="*/ 1376983 h 3682908"/>
                <a:gd name="connsiteX1900" fmla="*/ 2871075 w 3862373"/>
                <a:gd name="connsiteY1900" fmla="*/ 1416070 h 3682908"/>
                <a:gd name="connsiteX1901" fmla="*/ 2831988 w 3862373"/>
                <a:gd name="connsiteY1901" fmla="*/ 1455158 h 3682908"/>
                <a:gd name="connsiteX1902" fmla="*/ 2792901 w 3862373"/>
                <a:gd name="connsiteY1902" fmla="*/ 1416070 h 3682908"/>
                <a:gd name="connsiteX1903" fmla="*/ 2831988 w 3862373"/>
                <a:gd name="connsiteY1903" fmla="*/ 1376983 h 3682908"/>
                <a:gd name="connsiteX1904" fmla="*/ 2550437 w 3862373"/>
                <a:gd name="connsiteY1904" fmla="*/ 1376983 h 3682908"/>
                <a:gd name="connsiteX1905" fmla="*/ 2589523 w 3862373"/>
                <a:gd name="connsiteY1905" fmla="*/ 1416070 h 3682908"/>
                <a:gd name="connsiteX1906" fmla="*/ 2550437 w 3862373"/>
                <a:gd name="connsiteY1906" fmla="*/ 1455158 h 3682908"/>
                <a:gd name="connsiteX1907" fmla="*/ 2511354 w 3862373"/>
                <a:gd name="connsiteY1907" fmla="*/ 1416070 h 3682908"/>
                <a:gd name="connsiteX1908" fmla="*/ 2550437 w 3862373"/>
                <a:gd name="connsiteY1908" fmla="*/ 1376983 h 3682908"/>
                <a:gd name="connsiteX1909" fmla="*/ 2458167 w 3862373"/>
                <a:gd name="connsiteY1909" fmla="*/ 1376983 h 3682908"/>
                <a:gd name="connsiteX1910" fmla="*/ 2497254 w 3862373"/>
                <a:gd name="connsiteY1910" fmla="*/ 1416070 h 3682908"/>
                <a:gd name="connsiteX1911" fmla="*/ 2458167 w 3862373"/>
                <a:gd name="connsiteY1911" fmla="*/ 1455158 h 3682908"/>
                <a:gd name="connsiteX1912" fmla="*/ 2419083 w 3862373"/>
                <a:gd name="connsiteY1912" fmla="*/ 1416070 h 3682908"/>
                <a:gd name="connsiteX1913" fmla="*/ 2458167 w 3862373"/>
                <a:gd name="connsiteY1913" fmla="*/ 1376983 h 3682908"/>
                <a:gd name="connsiteX1914" fmla="*/ 2363529 w 3862373"/>
                <a:gd name="connsiteY1914" fmla="*/ 1376983 h 3682908"/>
                <a:gd name="connsiteX1915" fmla="*/ 2402614 w 3862373"/>
                <a:gd name="connsiteY1915" fmla="*/ 1416070 h 3682908"/>
                <a:gd name="connsiteX1916" fmla="*/ 2363529 w 3862373"/>
                <a:gd name="connsiteY1916" fmla="*/ 1455158 h 3682908"/>
                <a:gd name="connsiteX1917" fmla="*/ 2324442 w 3862373"/>
                <a:gd name="connsiteY1917" fmla="*/ 1416070 h 3682908"/>
                <a:gd name="connsiteX1918" fmla="*/ 2363529 w 3862373"/>
                <a:gd name="connsiteY1918" fmla="*/ 1376983 h 3682908"/>
                <a:gd name="connsiteX1919" fmla="*/ 1142717 w 3862373"/>
                <a:gd name="connsiteY1919" fmla="*/ 1376983 h 3682908"/>
                <a:gd name="connsiteX1920" fmla="*/ 1181806 w 3862373"/>
                <a:gd name="connsiteY1920" fmla="*/ 1416070 h 3682908"/>
                <a:gd name="connsiteX1921" fmla="*/ 1142717 w 3862373"/>
                <a:gd name="connsiteY1921" fmla="*/ 1455158 h 3682908"/>
                <a:gd name="connsiteX1922" fmla="*/ 1103622 w 3862373"/>
                <a:gd name="connsiteY1922" fmla="*/ 1416070 h 3682908"/>
                <a:gd name="connsiteX1923" fmla="*/ 1142717 w 3862373"/>
                <a:gd name="connsiteY1923" fmla="*/ 1376983 h 3682908"/>
                <a:gd name="connsiteX1924" fmla="*/ 1045699 w 3862373"/>
                <a:gd name="connsiteY1924" fmla="*/ 1376983 h 3682908"/>
                <a:gd name="connsiteX1925" fmla="*/ 1084788 w 3862373"/>
                <a:gd name="connsiteY1925" fmla="*/ 1416070 h 3682908"/>
                <a:gd name="connsiteX1926" fmla="*/ 1045699 w 3862373"/>
                <a:gd name="connsiteY1926" fmla="*/ 1455158 h 3682908"/>
                <a:gd name="connsiteX1927" fmla="*/ 1006615 w 3862373"/>
                <a:gd name="connsiteY1927" fmla="*/ 1416070 h 3682908"/>
                <a:gd name="connsiteX1928" fmla="*/ 1045699 w 3862373"/>
                <a:gd name="connsiteY1928" fmla="*/ 1376983 h 3682908"/>
                <a:gd name="connsiteX1929" fmla="*/ 951068 w 3862373"/>
                <a:gd name="connsiteY1929" fmla="*/ 1376983 h 3682908"/>
                <a:gd name="connsiteX1930" fmla="*/ 990151 w 3862373"/>
                <a:gd name="connsiteY1930" fmla="*/ 1416070 h 3682908"/>
                <a:gd name="connsiteX1931" fmla="*/ 951068 w 3862373"/>
                <a:gd name="connsiteY1931" fmla="*/ 1455158 h 3682908"/>
                <a:gd name="connsiteX1932" fmla="*/ 911984 w 3862373"/>
                <a:gd name="connsiteY1932" fmla="*/ 1416070 h 3682908"/>
                <a:gd name="connsiteX1933" fmla="*/ 951068 w 3862373"/>
                <a:gd name="connsiteY1933" fmla="*/ 1376983 h 3682908"/>
                <a:gd name="connsiteX1934" fmla="*/ 856438 w 3862373"/>
                <a:gd name="connsiteY1934" fmla="*/ 1376983 h 3682908"/>
                <a:gd name="connsiteX1935" fmla="*/ 895520 w 3862373"/>
                <a:gd name="connsiteY1935" fmla="*/ 1416070 h 3682908"/>
                <a:gd name="connsiteX1936" fmla="*/ 856438 w 3862373"/>
                <a:gd name="connsiteY1936" fmla="*/ 1455158 h 3682908"/>
                <a:gd name="connsiteX1937" fmla="*/ 817355 w 3862373"/>
                <a:gd name="connsiteY1937" fmla="*/ 1416070 h 3682908"/>
                <a:gd name="connsiteX1938" fmla="*/ 856438 w 3862373"/>
                <a:gd name="connsiteY1938" fmla="*/ 1376983 h 3682908"/>
                <a:gd name="connsiteX1939" fmla="*/ 764173 w 3862373"/>
                <a:gd name="connsiteY1939" fmla="*/ 1376983 h 3682908"/>
                <a:gd name="connsiteX1940" fmla="*/ 803257 w 3862373"/>
                <a:gd name="connsiteY1940" fmla="*/ 1416070 h 3682908"/>
                <a:gd name="connsiteX1941" fmla="*/ 764173 w 3862373"/>
                <a:gd name="connsiteY1941" fmla="*/ 1455158 h 3682908"/>
                <a:gd name="connsiteX1942" fmla="*/ 725090 w 3862373"/>
                <a:gd name="connsiteY1942" fmla="*/ 1416070 h 3682908"/>
                <a:gd name="connsiteX1943" fmla="*/ 764173 w 3862373"/>
                <a:gd name="connsiteY1943" fmla="*/ 1376983 h 3682908"/>
                <a:gd name="connsiteX1944" fmla="*/ 669534 w 3862373"/>
                <a:gd name="connsiteY1944" fmla="*/ 1376983 h 3682908"/>
                <a:gd name="connsiteX1945" fmla="*/ 708624 w 3862373"/>
                <a:gd name="connsiteY1945" fmla="*/ 1416070 h 3682908"/>
                <a:gd name="connsiteX1946" fmla="*/ 669534 w 3862373"/>
                <a:gd name="connsiteY1946" fmla="*/ 1455158 h 3682908"/>
                <a:gd name="connsiteX1947" fmla="*/ 630448 w 3862373"/>
                <a:gd name="connsiteY1947" fmla="*/ 1416070 h 3682908"/>
                <a:gd name="connsiteX1948" fmla="*/ 669534 w 3862373"/>
                <a:gd name="connsiteY1948" fmla="*/ 1376983 h 3682908"/>
                <a:gd name="connsiteX1949" fmla="*/ 577250 w 3862373"/>
                <a:gd name="connsiteY1949" fmla="*/ 1376983 h 3682908"/>
                <a:gd name="connsiteX1950" fmla="*/ 616345 w 3862373"/>
                <a:gd name="connsiteY1950" fmla="*/ 1416070 h 3682908"/>
                <a:gd name="connsiteX1951" fmla="*/ 577250 w 3862373"/>
                <a:gd name="connsiteY1951" fmla="*/ 1455158 h 3682908"/>
                <a:gd name="connsiteX1952" fmla="*/ 538155 w 3862373"/>
                <a:gd name="connsiteY1952" fmla="*/ 1416070 h 3682908"/>
                <a:gd name="connsiteX1953" fmla="*/ 577250 w 3862373"/>
                <a:gd name="connsiteY1953" fmla="*/ 1376983 h 3682908"/>
                <a:gd name="connsiteX1954" fmla="*/ 3679017 w 3862373"/>
                <a:gd name="connsiteY1954" fmla="*/ 1291809 h 3682908"/>
                <a:gd name="connsiteX1955" fmla="*/ 3718103 w 3862373"/>
                <a:gd name="connsiteY1955" fmla="*/ 1330896 h 3682908"/>
                <a:gd name="connsiteX1956" fmla="*/ 3679017 w 3862373"/>
                <a:gd name="connsiteY1956" fmla="*/ 1369983 h 3682908"/>
                <a:gd name="connsiteX1957" fmla="*/ 3639929 w 3862373"/>
                <a:gd name="connsiteY1957" fmla="*/ 1330896 h 3682908"/>
                <a:gd name="connsiteX1958" fmla="*/ 3679017 w 3862373"/>
                <a:gd name="connsiteY1958" fmla="*/ 1291809 h 3682908"/>
                <a:gd name="connsiteX1959" fmla="*/ 3584377 w 3862373"/>
                <a:gd name="connsiteY1959" fmla="*/ 1291809 h 3682908"/>
                <a:gd name="connsiteX1960" fmla="*/ 3623463 w 3862373"/>
                <a:gd name="connsiteY1960" fmla="*/ 1330896 h 3682908"/>
                <a:gd name="connsiteX1961" fmla="*/ 3584377 w 3862373"/>
                <a:gd name="connsiteY1961" fmla="*/ 1369983 h 3682908"/>
                <a:gd name="connsiteX1962" fmla="*/ 3545289 w 3862373"/>
                <a:gd name="connsiteY1962" fmla="*/ 1330896 h 3682908"/>
                <a:gd name="connsiteX1963" fmla="*/ 3584377 w 3862373"/>
                <a:gd name="connsiteY1963" fmla="*/ 1291809 h 3682908"/>
                <a:gd name="connsiteX1964" fmla="*/ 3489737 w 3862373"/>
                <a:gd name="connsiteY1964" fmla="*/ 1291809 h 3682908"/>
                <a:gd name="connsiteX1965" fmla="*/ 3528823 w 3862373"/>
                <a:gd name="connsiteY1965" fmla="*/ 1330896 h 3682908"/>
                <a:gd name="connsiteX1966" fmla="*/ 3489737 w 3862373"/>
                <a:gd name="connsiteY1966" fmla="*/ 1369983 h 3682908"/>
                <a:gd name="connsiteX1967" fmla="*/ 3450649 w 3862373"/>
                <a:gd name="connsiteY1967" fmla="*/ 1330896 h 3682908"/>
                <a:gd name="connsiteX1968" fmla="*/ 3489737 w 3862373"/>
                <a:gd name="connsiteY1968" fmla="*/ 1291809 h 3682908"/>
                <a:gd name="connsiteX1969" fmla="*/ 3392731 w 3862373"/>
                <a:gd name="connsiteY1969" fmla="*/ 1291809 h 3682908"/>
                <a:gd name="connsiteX1970" fmla="*/ 3431819 w 3862373"/>
                <a:gd name="connsiteY1970" fmla="*/ 1330896 h 3682908"/>
                <a:gd name="connsiteX1971" fmla="*/ 3392731 w 3862373"/>
                <a:gd name="connsiteY1971" fmla="*/ 1369983 h 3682908"/>
                <a:gd name="connsiteX1972" fmla="*/ 3353644 w 3862373"/>
                <a:gd name="connsiteY1972" fmla="*/ 1330896 h 3682908"/>
                <a:gd name="connsiteX1973" fmla="*/ 3392731 w 3862373"/>
                <a:gd name="connsiteY1973" fmla="*/ 1291809 h 3682908"/>
                <a:gd name="connsiteX1974" fmla="*/ 3300457 w 3862373"/>
                <a:gd name="connsiteY1974" fmla="*/ 1291809 h 3682908"/>
                <a:gd name="connsiteX1975" fmla="*/ 3339544 w 3862373"/>
                <a:gd name="connsiteY1975" fmla="*/ 1330896 h 3682908"/>
                <a:gd name="connsiteX1976" fmla="*/ 3300457 w 3862373"/>
                <a:gd name="connsiteY1976" fmla="*/ 1369983 h 3682908"/>
                <a:gd name="connsiteX1977" fmla="*/ 3261369 w 3862373"/>
                <a:gd name="connsiteY1977" fmla="*/ 1330896 h 3682908"/>
                <a:gd name="connsiteX1978" fmla="*/ 3300457 w 3862373"/>
                <a:gd name="connsiteY1978" fmla="*/ 1291809 h 3682908"/>
                <a:gd name="connsiteX1979" fmla="*/ 3111177 w 3862373"/>
                <a:gd name="connsiteY1979" fmla="*/ 1291809 h 3682908"/>
                <a:gd name="connsiteX1980" fmla="*/ 3150264 w 3862373"/>
                <a:gd name="connsiteY1980" fmla="*/ 1330896 h 3682908"/>
                <a:gd name="connsiteX1981" fmla="*/ 3111177 w 3862373"/>
                <a:gd name="connsiteY1981" fmla="*/ 1369983 h 3682908"/>
                <a:gd name="connsiteX1982" fmla="*/ 3072089 w 3862373"/>
                <a:gd name="connsiteY1982" fmla="*/ 1330896 h 3682908"/>
                <a:gd name="connsiteX1983" fmla="*/ 3111177 w 3862373"/>
                <a:gd name="connsiteY1983" fmla="*/ 1291809 h 3682908"/>
                <a:gd name="connsiteX1984" fmla="*/ 3018902 w 3862373"/>
                <a:gd name="connsiteY1984" fmla="*/ 1291809 h 3682908"/>
                <a:gd name="connsiteX1985" fmla="*/ 3057989 w 3862373"/>
                <a:gd name="connsiteY1985" fmla="*/ 1330896 h 3682908"/>
                <a:gd name="connsiteX1986" fmla="*/ 3018902 w 3862373"/>
                <a:gd name="connsiteY1986" fmla="*/ 1369983 h 3682908"/>
                <a:gd name="connsiteX1987" fmla="*/ 2979815 w 3862373"/>
                <a:gd name="connsiteY1987" fmla="*/ 1330896 h 3682908"/>
                <a:gd name="connsiteX1988" fmla="*/ 3018902 w 3862373"/>
                <a:gd name="connsiteY1988" fmla="*/ 1291809 h 3682908"/>
                <a:gd name="connsiteX1989" fmla="*/ 2924263 w 3862373"/>
                <a:gd name="connsiteY1989" fmla="*/ 1291809 h 3682908"/>
                <a:gd name="connsiteX1990" fmla="*/ 2963349 w 3862373"/>
                <a:gd name="connsiteY1990" fmla="*/ 1330896 h 3682908"/>
                <a:gd name="connsiteX1991" fmla="*/ 2924263 w 3862373"/>
                <a:gd name="connsiteY1991" fmla="*/ 1369983 h 3682908"/>
                <a:gd name="connsiteX1992" fmla="*/ 2885175 w 3862373"/>
                <a:gd name="connsiteY1992" fmla="*/ 1330896 h 3682908"/>
                <a:gd name="connsiteX1993" fmla="*/ 2924263 w 3862373"/>
                <a:gd name="connsiteY1993" fmla="*/ 1291809 h 3682908"/>
                <a:gd name="connsiteX1994" fmla="*/ 2831988 w 3862373"/>
                <a:gd name="connsiteY1994" fmla="*/ 1291809 h 3682908"/>
                <a:gd name="connsiteX1995" fmla="*/ 2871075 w 3862373"/>
                <a:gd name="connsiteY1995" fmla="*/ 1330896 h 3682908"/>
                <a:gd name="connsiteX1996" fmla="*/ 2831988 w 3862373"/>
                <a:gd name="connsiteY1996" fmla="*/ 1369983 h 3682908"/>
                <a:gd name="connsiteX1997" fmla="*/ 2792901 w 3862373"/>
                <a:gd name="connsiteY1997" fmla="*/ 1330896 h 3682908"/>
                <a:gd name="connsiteX1998" fmla="*/ 2831988 w 3862373"/>
                <a:gd name="connsiteY1998" fmla="*/ 1291809 h 3682908"/>
                <a:gd name="connsiteX1999" fmla="*/ 2737365 w 3862373"/>
                <a:gd name="connsiteY1999" fmla="*/ 1291809 h 3682908"/>
                <a:gd name="connsiteX2000" fmla="*/ 2776435 w 3862373"/>
                <a:gd name="connsiteY2000" fmla="*/ 1330896 h 3682908"/>
                <a:gd name="connsiteX2001" fmla="*/ 2737365 w 3862373"/>
                <a:gd name="connsiteY2001" fmla="*/ 1369983 h 3682908"/>
                <a:gd name="connsiteX2002" fmla="*/ 2698269 w 3862373"/>
                <a:gd name="connsiteY2002" fmla="*/ 1330896 h 3682908"/>
                <a:gd name="connsiteX2003" fmla="*/ 2737365 w 3862373"/>
                <a:gd name="connsiteY2003" fmla="*/ 1291809 h 3682908"/>
                <a:gd name="connsiteX2004" fmla="*/ 2645074 w 3862373"/>
                <a:gd name="connsiteY2004" fmla="*/ 1291809 h 3682908"/>
                <a:gd name="connsiteX2005" fmla="*/ 2684165 w 3862373"/>
                <a:gd name="connsiteY2005" fmla="*/ 1330896 h 3682908"/>
                <a:gd name="connsiteX2006" fmla="*/ 2645074 w 3862373"/>
                <a:gd name="connsiteY2006" fmla="*/ 1369983 h 3682908"/>
                <a:gd name="connsiteX2007" fmla="*/ 2605987 w 3862373"/>
                <a:gd name="connsiteY2007" fmla="*/ 1330896 h 3682908"/>
                <a:gd name="connsiteX2008" fmla="*/ 2645074 w 3862373"/>
                <a:gd name="connsiteY2008" fmla="*/ 1291809 h 3682908"/>
                <a:gd name="connsiteX2009" fmla="*/ 2550437 w 3862373"/>
                <a:gd name="connsiteY2009" fmla="*/ 1291809 h 3682908"/>
                <a:gd name="connsiteX2010" fmla="*/ 2589523 w 3862373"/>
                <a:gd name="connsiteY2010" fmla="*/ 1330896 h 3682908"/>
                <a:gd name="connsiteX2011" fmla="*/ 2550437 w 3862373"/>
                <a:gd name="connsiteY2011" fmla="*/ 1369983 h 3682908"/>
                <a:gd name="connsiteX2012" fmla="*/ 2511355 w 3862373"/>
                <a:gd name="connsiteY2012" fmla="*/ 1330896 h 3682908"/>
                <a:gd name="connsiteX2013" fmla="*/ 2550437 w 3862373"/>
                <a:gd name="connsiteY2013" fmla="*/ 1291809 h 3682908"/>
                <a:gd name="connsiteX2014" fmla="*/ 1232635 w 3862373"/>
                <a:gd name="connsiteY2014" fmla="*/ 1291809 h 3682908"/>
                <a:gd name="connsiteX2015" fmla="*/ 1271713 w 3862373"/>
                <a:gd name="connsiteY2015" fmla="*/ 1330896 h 3682908"/>
                <a:gd name="connsiteX2016" fmla="*/ 1232635 w 3862373"/>
                <a:gd name="connsiteY2016" fmla="*/ 1369983 h 3682908"/>
                <a:gd name="connsiteX2017" fmla="*/ 1193549 w 3862373"/>
                <a:gd name="connsiteY2017" fmla="*/ 1330896 h 3682908"/>
                <a:gd name="connsiteX2018" fmla="*/ 1232635 w 3862373"/>
                <a:gd name="connsiteY2018" fmla="*/ 1291809 h 3682908"/>
                <a:gd name="connsiteX2019" fmla="*/ 1142722 w 3862373"/>
                <a:gd name="connsiteY2019" fmla="*/ 1291809 h 3682908"/>
                <a:gd name="connsiteX2020" fmla="*/ 1181812 w 3862373"/>
                <a:gd name="connsiteY2020" fmla="*/ 1330896 h 3682908"/>
                <a:gd name="connsiteX2021" fmla="*/ 1142722 w 3862373"/>
                <a:gd name="connsiteY2021" fmla="*/ 1369983 h 3682908"/>
                <a:gd name="connsiteX2022" fmla="*/ 1103625 w 3862373"/>
                <a:gd name="connsiteY2022" fmla="*/ 1330896 h 3682908"/>
                <a:gd name="connsiteX2023" fmla="*/ 1142722 w 3862373"/>
                <a:gd name="connsiteY2023" fmla="*/ 1291809 h 3682908"/>
                <a:gd name="connsiteX2024" fmla="*/ 1045702 w 3862373"/>
                <a:gd name="connsiteY2024" fmla="*/ 1291809 h 3682908"/>
                <a:gd name="connsiteX2025" fmla="*/ 1084791 w 3862373"/>
                <a:gd name="connsiteY2025" fmla="*/ 1330896 h 3682908"/>
                <a:gd name="connsiteX2026" fmla="*/ 1045702 w 3862373"/>
                <a:gd name="connsiteY2026" fmla="*/ 1369983 h 3682908"/>
                <a:gd name="connsiteX2027" fmla="*/ 1006620 w 3862373"/>
                <a:gd name="connsiteY2027" fmla="*/ 1330896 h 3682908"/>
                <a:gd name="connsiteX2028" fmla="*/ 1045702 w 3862373"/>
                <a:gd name="connsiteY2028" fmla="*/ 1291809 h 3682908"/>
                <a:gd name="connsiteX2029" fmla="*/ 951072 w 3862373"/>
                <a:gd name="connsiteY2029" fmla="*/ 1291809 h 3682908"/>
                <a:gd name="connsiteX2030" fmla="*/ 990154 w 3862373"/>
                <a:gd name="connsiteY2030" fmla="*/ 1330896 h 3682908"/>
                <a:gd name="connsiteX2031" fmla="*/ 951072 w 3862373"/>
                <a:gd name="connsiteY2031" fmla="*/ 1369983 h 3682908"/>
                <a:gd name="connsiteX2032" fmla="*/ 911989 w 3862373"/>
                <a:gd name="connsiteY2032" fmla="*/ 1330896 h 3682908"/>
                <a:gd name="connsiteX2033" fmla="*/ 951072 w 3862373"/>
                <a:gd name="connsiteY2033" fmla="*/ 1291809 h 3682908"/>
                <a:gd name="connsiteX2034" fmla="*/ 856442 w 3862373"/>
                <a:gd name="connsiteY2034" fmla="*/ 1291809 h 3682908"/>
                <a:gd name="connsiteX2035" fmla="*/ 895525 w 3862373"/>
                <a:gd name="connsiteY2035" fmla="*/ 1330896 h 3682908"/>
                <a:gd name="connsiteX2036" fmla="*/ 856442 w 3862373"/>
                <a:gd name="connsiteY2036" fmla="*/ 1369983 h 3682908"/>
                <a:gd name="connsiteX2037" fmla="*/ 817359 w 3862373"/>
                <a:gd name="connsiteY2037" fmla="*/ 1330896 h 3682908"/>
                <a:gd name="connsiteX2038" fmla="*/ 856442 w 3862373"/>
                <a:gd name="connsiteY2038" fmla="*/ 1291809 h 3682908"/>
                <a:gd name="connsiteX2039" fmla="*/ 764178 w 3862373"/>
                <a:gd name="connsiteY2039" fmla="*/ 1291809 h 3682908"/>
                <a:gd name="connsiteX2040" fmla="*/ 803262 w 3862373"/>
                <a:gd name="connsiteY2040" fmla="*/ 1330896 h 3682908"/>
                <a:gd name="connsiteX2041" fmla="*/ 764178 w 3862373"/>
                <a:gd name="connsiteY2041" fmla="*/ 1369983 h 3682908"/>
                <a:gd name="connsiteX2042" fmla="*/ 725094 w 3862373"/>
                <a:gd name="connsiteY2042" fmla="*/ 1330896 h 3682908"/>
                <a:gd name="connsiteX2043" fmla="*/ 764178 w 3862373"/>
                <a:gd name="connsiteY2043" fmla="*/ 1291809 h 3682908"/>
                <a:gd name="connsiteX2044" fmla="*/ 669534 w 3862373"/>
                <a:gd name="connsiteY2044" fmla="*/ 1291809 h 3682908"/>
                <a:gd name="connsiteX2045" fmla="*/ 708631 w 3862373"/>
                <a:gd name="connsiteY2045" fmla="*/ 1330896 h 3682908"/>
                <a:gd name="connsiteX2046" fmla="*/ 669534 w 3862373"/>
                <a:gd name="connsiteY2046" fmla="*/ 1369983 h 3682908"/>
                <a:gd name="connsiteX2047" fmla="*/ 630454 w 3862373"/>
                <a:gd name="connsiteY2047" fmla="*/ 1330896 h 3682908"/>
                <a:gd name="connsiteX2048" fmla="*/ 669534 w 3862373"/>
                <a:gd name="connsiteY2048" fmla="*/ 1291809 h 3682908"/>
                <a:gd name="connsiteX2049" fmla="*/ 577255 w 3862373"/>
                <a:gd name="connsiteY2049" fmla="*/ 1291809 h 3682908"/>
                <a:gd name="connsiteX2050" fmla="*/ 616350 w 3862373"/>
                <a:gd name="connsiteY2050" fmla="*/ 1330896 h 3682908"/>
                <a:gd name="connsiteX2051" fmla="*/ 577255 w 3862373"/>
                <a:gd name="connsiteY2051" fmla="*/ 1369983 h 3682908"/>
                <a:gd name="connsiteX2052" fmla="*/ 538159 w 3862373"/>
                <a:gd name="connsiteY2052" fmla="*/ 1330896 h 3682908"/>
                <a:gd name="connsiteX2053" fmla="*/ 577255 w 3862373"/>
                <a:gd name="connsiteY2053" fmla="*/ 1291809 h 3682908"/>
                <a:gd name="connsiteX2054" fmla="*/ 484969 w 3862373"/>
                <a:gd name="connsiteY2054" fmla="*/ 1291809 h 3682908"/>
                <a:gd name="connsiteX2055" fmla="*/ 524056 w 3862373"/>
                <a:gd name="connsiteY2055" fmla="*/ 1330896 h 3682908"/>
                <a:gd name="connsiteX2056" fmla="*/ 484969 w 3862373"/>
                <a:gd name="connsiteY2056" fmla="*/ 1369983 h 3682908"/>
                <a:gd name="connsiteX2057" fmla="*/ 445892 w 3862373"/>
                <a:gd name="connsiteY2057" fmla="*/ 1330896 h 3682908"/>
                <a:gd name="connsiteX2058" fmla="*/ 484969 w 3862373"/>
                <a:gd name="connsiteY2058" fmla="*/ 1291809 h 3682908"/>
                <a:gd name="connsiteX2059" fmla="*/ 390321 w 3862373"/>
                <a:gd name="connsiteY2059" fmla="*/ 1291809 h 3682908"/>
                <a:gd name="connsiteX2060" fmla="*/ 429422 w 3862373"/>
                <a:gd name="connsiteY2060" fmla="*/ 1330896 h 3682908"/>
                <a:gd name="connsiteX2061" fmla="*/ 390321 w 3862373"/>
                <a:gd name="connsiteY2061" fmla="*/ 1369983 h 3682908"/>
                <a:gd name="connsiteX2062" fmla="*/ 351252 w 3862373"/>
                <a:gd name="connsiteY2062" fmla="*/ 1330896 h 3682908"/>
                <a:gd name="connsiteX2063" fmla="*/ 390321 w 3862373"/>
                <a:gd name="connsiteY2063" fmla="*/ 1291809 h 3682908"/>
                <a:gd name="connsiteX2064" fmla="*/ 298056 w 3862373"/>
                <a:gd name="connsiteY2064" fmla="*/ 1291809 h 3682908"/>
                <a:gd name="connsiteX2065" fmla="*/ 337151 w 3862373"/>
                <a:gd name="connsiteY2065" fmla="*/ 1330896 h 3682908"/>
                <a:gd name="connsiteX2066" fmla="*/ 298056 w 3862373"/>
                <a:gd name="connsiteY2066" fmla="*/ 1369983 h 3682908"/>
                <a:gd name="connsiteX2067" fmla="*/ 258966 w 3862373"/>
                <a:gd name="connsiteY2067" fmla="*/ 1330896 h 3682908"/>
                <a:gd name="connsiteX2068" fmla="*/ 298056 w 3862373"/>
                <a:gd name="connsiteY2068" fmla="*/ 1291809 h 3682908"/>
                <a:gd name="connsiteX2069" fmla="*/ 203411 w 3862373"/>
                <a:gd name="connsiteY2069" fmla="*/ 1291809 h 3682908"/>
                <a:gd name="connsiteX2070" fmla="*/ 242500 w 3862373"/>
                <a:gd name="connsiteY2070" fmla="*/ 1330896 h 3682908"/>
                <a:gd name="connsiteX2071" fmla="*/ 203411 w 3862373"/>
                <a:gd name="connsiteY2071" fmla="*/ 1369983 h 3682908"/>
                <a:gd name="connsiteX2072" fmla="*/ 164325 w 3862373"/>
                <a:gd name="connsiteY2072" fmla="*/ 1330896 h 3682908"/>
                <a:gd name="connsiteX2073" fmla="*/ 203411 w 3862373"/>
                <a:gd name="connsiteY2073" fmla="*/ 1291809 h 3682908"/>
                <a:gd name="connsiteX2074" fmla="*/ 111138 w 3862373"/>
                <a:gd name="connsiteY2074" fmla="*/ 1291809 h 3682908"/>
                <a:gd name="connsiteX2075" fmla="*/ 150225 w 3862373"/>
                <a:gd name="connsiteY2075" fmla="*/ 1330896 h 3682908"/>
                <a:gd name="connsiteX2076" fmla="*/ 111138 w 3862373"/>
                <a:gd name="connsiteY2076" fmla="*/ 1369983 h 3682908"/>
                <a:gd name="connsiteX2077" fmla="*/ 72052 w 3862373"/>
                <a:gd name="connsiteY2077" fmla="*/ 1330896 h 3682908"/>
                <a:gd name="connsiteX2078" fmla="*/ 111138 w 3862373"/>
                <a:gd name="connsiteY2078" fmla="*/ 1291809 h 3682908"/>
                <a:gd name="connsiteX2079" fmla="*/ 2458171 w 3862373"/>
                <a:gd name="connsiteY2079" fmla="*/ 1291807 h 3682908"/>
                <a:gd name="connsiteX2080" fmla="*/ 2497259 w 3862373"/>
                <a:gd name="connsiteY2080" fmla="*/ 1330894 h 3682908"/>
                <a:gd name="connsiteX2081" fmla="*/ 2458171 w 3862373"/>
                <a:gd name="connsiteY2081" fmla="*/ 1369981 h 3682908"/>
                <a:gd name="connsiteX2082" fmla="*/ 2419089 w 3862373"/>
                <a:gd name="connsiteY2082" fmla="*/ 1330894 h 3682908"/>
                <a:gd name="connsiteX2083" fmla="*/ 2458171 w 3862373"/>
                <a:gd name="connsiteY2083" fmla="*/ 1291807 h 3682908"/>
                <a:gd name="connsiteX2084" fmla="*/ 2363519 w 3862373"/>
                <a:gd name="connsiteY2084" fmla="*/ 1291807 h 3682908"/>
                <a:gd name="connsiteX2085" fmla="*/ 2402607 w 3862373"/>
                <a:gd name="connsiteY2085" fmla="*/ 1330894 h 3682908"/>
                <a:gd name="connsiteX2086" fmla="*/ 2363519 w 3862373"/>
                <a:gd name="connsiteY2086" fmla="*/ 1369981 h 3682908"/>
                <a:gd name="connsiteX2087" fmla="*/ 2324432 w 3862373"/>
                <a:gd name="connsiteY2087" fmla="*/ 1330894 h 3682908"/>
                <a:gd name="connsiteX2088" fmla="*/ 2363519 w 3862373"/>
                <a:gd name="connsiteY2088" fmla="*/ 1291807 h 3682908"/>
                <a:gd name="connsiteX2089" fmla="*/ 3771293 w 3862373"/>
                <a:gd name="connsiteY2089" fmla="*/ 1208998 h 3682908"/>
                <a:gd name="connsiteX2090" fmla="*/ 3775177 w 3862373"/>
                <a:gd name="connsiteY2090" fmla="*/ 1210607 h 3682908"/>
                <a:gd name="connsiteX2091" fmla="*/ 3792595 w 3862373"/>
                <a:gd name="connsiteY2091" fmla="*/ 1278349 h 3682908"/>
                <a:gd name="connsiteX2092" fmla="*/ 3771293 w 3862373"/>
                <a:gd name="connsiteY2092" fmla="*/ 1287173 h 3682908"/>
                <a:gd name="connsiteX2093" fmla="*/ 3732205 w 3862373"/>
                <a:gd name="connsiteY2093" fmla="*/ 1248085 h 3682908"/>
                <a:gd name="connsiteX2094" fmla="*/ 3771293 w 3862373"/>
                <a:gd name="connsiteY2094" fmla="*/ 1208998 h 3682908"/>
                <a:gd name="connsiteX2095" fmla="*/ 3679017 w 3862373"/>
                <a:gd name="connsiteY2095" fmla="*/ 1208998 h 3682908"/>
                <a:gd name="connsiteX2096" fmla="*/ 3718103 w 3862373"/>
                <a:gd name="connsiteY2096" fmla="*/ 1248085 h 3682908"/>
                <a:gd name="connsiteX2097" fmla="*/ 3679017 w 3862373"/>
                <a:gd name="connsiteY2097" fmla="*/ 1287173 h 3682908"/>
                <a:gd name="connsiteX2098" fmla="*/ 3639929 w 3862373"/>
                <a:gd name="connsiteY2098" fmla="*/ 1248085 h 3682908"/>
                <a:gd name="connsiteX2099" fmla="*/ 3679017 w 3862373"/>
                <a:gd name="connsiteY2099" fmla="*/ 1208998 h 3682908"/>
                <a:gd name="connsiteX2100" fmla="*/ 3584377 w 3862373"/>
                <a:gd name="connsiteY2100" fmla="*/ 1208998 h 3682908"/>
                <a:gd name="connsiteX2101" fmla="*/ 3623463 w 3862373"/>
                <a:gd name="connsiteY2101" fmla="*/ 1248085 h 3682908"/>
                <a:gd name="connsiteX2102" fmla="*/ 3584377 w 3862373"/>
                <a:gd name="connsiteY2102" fmla="*/ 1287173 h 3682908"/>
                <a:gd name="connsiteX2103" fmla="*/ 3545289 w 3862373"/>
                <a:gd name="connsiteY2103" fmla="*/ 1248085 h 3682908"/>
                <a:gd name="connsiteX2104" fmla="*/ 3584377 w 3862373"/>
                <a:gd name="connsiteY2104" fmla="*/ 1208998 h 3682908"/>
                <a:gd name="connsiteX2105" fmla="*/ 3489737 w 3862373"/>
                <a:gd name="connsiteY2105" fmla="*/ 1208998 h 3682908"/>
                <a:gd name="connsiteX2106" fmla="*/ 3528823 w 3862373"/>
                <a:gd name="connsiteY2106" fmla="*/ 1248085 h 3682908"/>
                <a:gd name="connsiteX2107" fmla="*/ 3489737 w 3862373"/>
                <a:gd name="connsiteY2107" fmla="*/ 1287173 h 3682908"/>
                <a:gd name="connsiteX2108" fmla="*/ 3450649 w 3862373"/>
                <a:gd name="connsiteY2108" fmla="*/ 1248085 h 3682908"/>
                <a:gd name="connsiteX2109" fmla="*/ 3489737 w 3862373"/>
                <a:gd name="connsiteY2109" fmla="*/ 1208998 h 3682908"/>
                <a:gd name="connsiteX2110" fmla="*/ 3392731 w 3862373"/>
                <a:gd name="connsiteY2110" fmla="*/ 1208998 h 3682908"/>
                <a:gd name="connsiteX2111" fmla="*/ 3431819 w 3862373"/>
                <a:gd name="connsiteY2111" fmla="*/ 1248085 h 3682908"/>
                <a:gd name="connsiteX2112" fmla="*/ 3392731 w 3862373"/>
                <a:gd name="connsiteY2112" fmla="*/ 1287173 h 3682908"/>
                <a:gd name="connsiteX2113" fmla="*/ 3353644 w 3862373"/>
                <a:gd name="connsiteY2113" fmla="*/ 1248085 h 3682908"/>
                <a:gd name="connsiteX2114" fmla="*/ 3392731 w 3862373"/>
                <a:gd name="connsiteY2114" fmla="*/ 1208998 h 3682908"/>
                <a:gd name="connsiteX2115" fmla="*/ 3300457 w 3862373"/>
                <a:gd name="connsiteY2115" fmla="*/ 1208998 h 3682908"/>
                <a:gd name="connsiteX2116" fmla="*/ 3339544 w 3862373"/>
                <a:gd name="connsiteY2116" fmla="*/ 1248085 h 3682908"/>
                <a:gd name="connsiteX2117" fmla="*/ 3300457 w 3862373"/>
                <a:gd name="connsiteY2117" fmla="*/ 1287173 h 3682908"/>
                <a:gd name="connsiteX2118" fmla="*/ 3261369 w 3862373"/>
                <a:gd name="connsiteY2118" fmla="*/ 1248085 h 3682908"/>
                <a:gd name="connsiteX2119" fmla="*/ 3300457 w 3862373"/>
                <a:gd name="connsiteY2119" fmla="*/ 1208998 h 3682908"/>
                <a:gd name="connsiteX2120" fmla="*/ 3205817 w 3862373"/>
                <a:gd name="connsiteY2120" fmla="*/ 1208998 h 3682908"/>
                <a:gd name="connsiteX2121" fmla="*/ 3244904 w 3862373"/>
                <a:gd name="connsiteY2121" fmla="*/ 1248085 h 3682908"/>
                <a:gd name="connsiteX2122" fmla="*/ 3205817 w 3862373"/>
                <a:gd name="connsiteY2122" fmla="*/ 1287173 h 3682908"/>
                <a:gd name="connsiteX2123" fmla="*/ 3166729 w 3862373"/>
                <a:gd name="connsiteY2123" fmla="*/ 1248085 h 3682908"/>
                <a:gd name="connsiteX2124" fmla="*/ 3205817 w 3862373"/>
                <a:gd name="connsiteY2124" fmla="*/ 1208998 h 3682908"/>
                <a:gd name="connsiteX2125" fmla="*/ 3111177 w 3862373"/>
                <a:gd name="connsiteY2125" fmla="*/ 1208998 h 3682908"/>
                <a:gd name="connsiteX2126" fmla="*/ 3150264 w 3862373"/>
                <a:gd name="connsiteY2126" fmla="*/ 1248085 h 3682908"/>
                <a:gd name="connsiteX2127" fmla="*/ 3111177 w 3862373"/>
                <a:gd name="connsiteY2127" fmla="*/ 1287173 h 3682908"/>
                <a:gd name="connsiteX2128" fmla="*/ 3072089 w 3862373"/>
                <a:gd name="connsiteY2128" fmla="*/ 1248085 h 3682908"/>
                <a:gd name="connsiteX2129" fmla="*/ 3111177 w 3862373"/>
                <a:gd name="connsiteY2129" fmla="*/ 1208998 h 3682908"/>
                <a:gd name="connsiteX2130" fmla="*/ 3018902 w 3862373"/>
                <a:gd name="connsiteY2130" fmla="*/ 1208998 h 3682908"/>
                <a:gd name="connsiteX2131" fmla="*/ 3057989 w 3862373"/>
                <a:gd name="connsiteY2131" fmla="*/ 1248085 h 3682908"/>
                <a:gd name="connsiteX2132" fmla="*/ 3018902 w 3862373"/>
                <a:gd name="connsiteY2132" fmla="*/ 1287173 h 3682908"/>
                <a:gd name="connsiteX2133" fmla="*/ 2979815 w 3862373"/>
                <a:gd name="connsiteY2133" fmla="*/ 1248085 h 3682908"/>
                <a:gd name="connsiteX2134" fmla="*/ 3018902 w 3862373"/>
                <a:gd name="connsiteY2134" fmla="*/ 1208998 h 3682908"/>
                <a:gd name="connsiteX2135" fmla="*/ 2924263 w 3862373"/>
                <a:gd name="connsiteY2135" fmla="*/ 1208998 h 3682908"/>
                <a:gd name="connsiteX2136" fmla="*/ 2963349 w 3862373"/>
                <a:gd name="connsiteY2136" fmla="*/ 1248085 h 3682908"/>
                <a:gd name="connsiteX2137" fmla="*/ 2924263 w 3862373"/>
                <a:gd name="connsiteY2137" fmla="*/ 1287173 h 3682908"/>
                <a:gd name="connsiteX2138" fmla="*/ 2885175 w 3862373"/>
                <a:gd name="connsiteY2138" fmla="*/ 1248085 h 3682908"/>
                <a:gd name="connsiteX2139" fmla="*/ 2924263 w 3862373"/>
                <a:gd name="connsiteY2139" fmla="*/ 1208998 h 3682908"/>
                <a:gd name="connsiteX2140" fmla="*/ 2831988 w 3862373"/>
                <a:gd name="connsiteY2140" fmla="*/ 1208998 h 3682908"/>
                <a:gd name="connsiteX2141" fmla="*/ 2871075 w 3862373"/>
                <a:gd name="connsiteY2141" fmla="*/ 1248085 h 3682908"/>
                <a:gd name="connsiteX2142" fmla="*/ 2831988 w 3862373"/>
                <a:gd name="connsiteY2142" fmla="*/ 1287173 h 3682908"/>
                <a:gd name="connsiteX2143" fmla="*/ 2792901 w 3862373"/>
                <a:gd name="connsiteY2143" fmla="*/ 1248085 h 3682908"/>
                <a:gd name="connsiteX2144" fmla="*/ 2831988 w 3862373"/>
                <a:gd name="connsiteY2144" fmla="*/ 1208998 h 3682908"/>
                <a:gd name="connsiteX2145" fmla="*/ 2737366 w 3862373"/>
                <a:gd name="connsiteY2145" fmla="*/ 1208998 h 3682908"/>
                <a:gd name="connsiteX2146" fmla="*/ 2776435 w 3862373"/>
                <a:gd name="connsiteY2146" fmla="*/ 1248085 h 3682908"/>
                <a:gd name="connsiteX2147" fmla="*/ 2737366 w 3862373"/>
                <a:gd name="connsiteY2147" fmla="*/ 1287173 h 3682908"/>
                <a:gd name="connsiteX2148" fmla="*/ 2698269 w 3862373"/>
                <a:gd name="connsiteY2148" fmla="*/ 1248085 h 3682908"/>
                <a:gd name="connsiteX2149" fmla="*/ 2737366 w 3862373"/>
                <a:gd name="connsiteY2149" fmla="*/ 1208998 h 3682908"/>
                <a:gd name="connsiteX2150" fmla="*/ 2645076 w 3862373"/>
                <a:gd name="connsiteY2150" fmla="*/ 1208998 h 3682908"/>
                <a:gd name="connsiteX2151" fmla="*/ 2684167 w 3862373"/>
                <a:gd name="connsiteY2151" fmla="*/ 1248085 h 3682908"/>
                <a:gd name="connsiteX2152" fmla="*/ 2645076 w 3862373"/>
                <a:gd name="connsiteY2152" fmla="*/ 1287173 h 3682908"/>
                <a:gd name="connsiteX2153" fmla="*/ 2605987 w 3862373"/>
                <a:gd name="connsiteY2153" fmla="*/ 1248085 h 3682908"/>
                <a:gd name="connsiteX2154" fmla="*/ 2645076 w 3862373"/>
                <a:gd name="connsiteY2154" fmla="*/ 1208998 h 3682908"/>
                <a:gd name="connsiteX2155" fmla="*/ 2550439 w 3862373"/>
                <a:gd name="connsiteY2155" fmla="*/ 1208998 h 3682908"/>
                <a:gd name="connsiteX2156" fmla="*/ 2589523 w 3862373"/>
                <a:gd name="connsiteY2156" fmla="*/ 1248085 h 3682908"/>
                <a:gd name="connsiteX2157" fmla="*/ 2550439 w 3862373"/>
                <a:gd name="connsiteY2157" fmla="*/ 1287173 h 3682908"/>
                <a:gd name="connsiteX2158" fmla="*/ 2511356 w 3862373"/>
                <a:gd name="connsiteY2158" fmla="*/ 1248085 h 3682908"/>
                <a:gd name="connsiteX2159" fmla="*/ 2550439 w 3862373"/>
                <a:gd name="connsiteY2159" fmla="*/ 1208998 h 3682908"/>
                <a:gd name="connsiteX2160" fmla="*/ 1419546 w 3862373"/>
                <a:gd name="connsiteY2160" fmla="*/ 1208998 h 3682908"/>
                <a:gd name="connsiteX2161" fmla="*/ 1458634 w 3862373"/>
                <a:gd name="connsiteY2161" fmla="*/ 1248085 h 3682908"/>
                <a:gd name="connsiteX2162" fmla="*/ 1419546 w 3862373"/>
                <a:gd name="connsiteY2162" fmla="*/ 1287173 h 3682908"/>
                <a:gd name="connsiteX2163" fmla="*/ 1380453 w 3862373"/>
                <a:gd name="connsiteY2163" fmla="*/ 1248085 h 3682908"/>
                <a:gd name="connsiteX2164" fmla="*/ 1419546 w 3862373"/>
                <a:gd name="connsiteY2164" fmla="*/ 1208998 h 3682908"/>
                <a:gd name="connsiteX2165" fmla="*/ 1329634 w 3862373"/>
                <a:gd name="connsiteY2165" fmla="*/ 1208998 h 3682908"/>
                <a:gd name="connsiteX2166" fmla="*/ 1368722 w 3862373"/>
                <a:gd name="connsiteY2166" fmla="*/ 1248085 h 3682908"/>
                <a:gd name="connsiteX2167" fmla="*/ 1329634 w 3862373"/>
                <a:gd name="connsiteY2167" fmla="*/ 1287173 h 3682908"/>
                <a:gd name="connsiteX2168" fmla="*/ 1290553 w 3862373"/>
                <a:gd name="connsiteY2168" fmla="*/ 1248085 h 3682908"/>
                <a:gd name="connsiteX2169" fmla="*/ 1329634 w 3862373"/>
                <a:gd name="connsiteY2169" fmla="*/ 1208998 h 3682908"/>
                <a:gd name="connsiteX2170" fmla="*/ 1232640 w 3862373"/>
                <a:gd name="connsiteY2170" fmla="*/ 1208998 h 3682908"/>
                <a:gd name="connsiteX2171" fmla="*/ 1271716 w 3862373"/>
                <a:gd name="connsiteY2171" fmla="*/ 1248085 h 3682908"/>
                <a:gd name="connsiteX2172" fmla="*/ 1232640 w 3862373"/>
                <a:gd name="connsiteY2172" fmla="*/ 1287173 h 3682908"/>
                <a:gd name="connsiteX2173" fmla="*/ 1193553 w 3862373"/>
                <a:gd name="connsiteY2173" fmla="*/ 1248085 h 3682908"/>
                <a:gd name="connsiteX2174" fmla="*/ 1232640 w 3862373"/>
                <a:gd name="connsiteY2174" fmla="*/ 1208998 h 3682908"/>
                <a:gd name="connsiteX2175" fmla="*/ 1142726 w 3862373"/>
                <a:gd name="connsiteY2175" fmla="*/ 1208998 h 3682908"/>
                <a:gd name="connsiteX2176" fmla="*/ 1181817 w 3862373"/>
                <a:gd name="connsiteY2176" fmla="*/ 1248085 h 3682908"/>
                <a:gd name="connsiteX2177" fmla="*/ 1142726 w 3862373"/>
                <a:gd name="connsiteY2177" fmla="*/ 1287173 h 3682908"/>
                <a:gd name="connsiteX2178" fmla="*/ 1103630 w 3862373"/>
                <a:gd name="connsiteY2178" fmla="*/ 1248085 h 3682908"/>
                <a:gd name="connsiteX2179" fmla="*/ 1142726 w 3862373"/>
                <a:gd name="connsiteY2179" fmla="*/ 1208998 h 3682908"/>
                <a:gd name="connsiteX2180" fmla="*/ 1045706 w 3862373"/>
                <a:gd name="connsiteY2180" fmla="*/ 1208998 h 3682908"/>
                <a:gd name="connsiteX2181" fmla="*/ 1084795 w 3862373"/>
                <a:gd name="connsiteY2181" fmla="*/ 1248085 h 3682908"/>
                <a:gd name="connsiteX2182" fmla="*/ 1045706 w 3862373"/>
                <a:gd name="connsiteY2182" fmla="*/ 1287173 h 3682908"/>
                <a:gd name="connsiteX2183" fmla="*/ 1006623 w 3862373"/>
                <a:gd name="connsiteY2183" fmla="*/ 1248085 h 3682908"/>
                <a:gd name="connsiteX2184" fmla="*/ 1045706 w 3862373"/>
                <a:gd name="connsiteY2184" fmla="*/ 1208998 h 3682908"/>
                <a:gd name="connsiteX2185" fmla="*/ 951076 w 3862373"/>
                <a:gd name="connsiteY2185" fmla="*/ 1208998 h 3682908"/>
                <a:gd name="connsiteX2186" fmla="*/ 990159 w 3862373"/>
                <a:gd name="connsiteY2186" fmla="*/ 1248085 h 3682908"/>
                <a:gd name="connsiteX2187" fmla="*/ 951076 w 3862373"/>
                <a:gd name="connsiteY2187" fmla="*/ 1287173 h 3682908"/>
                <a:gd name="connsiteX2188" fmla="*/ 911993 w 3862373"/>
                <a:gd name="connsiteY2188" fmla="*/ 1248085 h 3682908"/>
                <a:gd name="connsiteX2189" fmla="*/ 951076 w 3862373"/>
                <a:gd name="connsiteY2189" fmla="*/ 1208998 h 3682908"/>
                <a:gd name="connsiteX2190" fmla="*/ 856447 w 3862373"/>
                <a:gd name="connsiteY2190" fmla="*/ 1208998 h 3682908"/>
                <a:gd name="connsiteX2191" fmla="*/ 895530 w 3862373"/>
                <a:gd name="connsiteY2191" fmla="*/ 1248085 h 3682908"/>
                <a:gd name="connsiteX2192" fmla="*/ 856447 w 3862373"/>
                <a:gd name="connsiteY2192" fmla="*/ 1287173 h 3682908"/>
                <a:gd name="connsiteX2193" fmla="*/ 817365 w 3862373"/>
                <a:gd name="connsiteY2193" fmla="*/ 1248085 h 3682908"/>
                <a:gd name="connsiteX2194" fmla="*/ 856447 w 3862373"/>
                <a:gd name="connsiteY2194" fmla="*/ 1208998 h 3682908"/>
                <a:gd name="connsiteX2195" fmla="*/ 764185 w 3862373"/>
                <a:gd name="connsiteY2195" fmla="*/ 1208998 h 3682908"/>
                <a:gd name="connsiteX2196" fmla="*/ 803268 w 3862373"/>
                <a:gd name="connsiteY2196" fmla="*/ 1248085 h 3682908"/>
                <a:gd name="connsiteX2197" fmla="*/ 764185 w 3862373"/>
                <a:gd name="connsiteY2197" fmla="*/ 1287173 h 3682908"/>
                <a:gd name="connsiteX2198" fmla="*/ 725101 w 3862373"/>
                <a:gd name="connsiteY2198" fmla="*/ 1248085 h 3682908"/>
                <a:gd name="connsiteX2199" fmla="*/ 764185 w 3862373"/>
                <a:gd name="connsiteY2199" fmla="*/ 1208998 h 3682908"/>
                <a:gd name="connsiteX2200" fmla="*/ 669534 w 3862373"/>
                <a:gd name="connsiteY2200" fmla="*/ 1208998 h 3682908"/>
                <a:gd name="connsiteX2201" fmla="*/ 708638 w 3862373"/>
                <a:gd name="connsiteY2201" fmla="*/ 1248085 h 3682908"/>
                <a:gd name="connsiteX2202" fmla="*/ 669534 w 3862373"/>
                <a:gd name="connsiteY2202" fmla="*/ 1287173 h 3682908"/>
                <a:gd name="connsiteX2203" fmla="*/ 630460 w 3862373"/>
                <a:gd name="connsiteY2203" fmla="*/ 1248085 h 3682908"/>
                <a:gd name="connsiteX2204" fmla="*/ 669534 w 3862373"/>
                <a:gd name="connsiteY2204" fmla="*/ 1208998 h 3682908"/>
                <a:gd name="connsiteX2205" fmla="*/ 577261 w 3862373"/>
                <a:gd name="connsiteY2205" fmla="*/ 1208998 h 3682908"/>
                <a:gd name="connsiteX2206" fmla="*/ 616357 w 3862373"/>
                <a:gd name="connsiteY2206" fmla="*/ 1248085 h 3682908"/>
                <a:gd name="connsiteX2207" fmla="*/ 577261 w 3862373"/>
                <a:gd name="connsiteY2207" fmla="*/ 1287173 h 3682908"/>
                <a:gd name="connsiteX2208" fmla="*/ 538164 w 3862373"/>
                <a:gd name="connsiteY2208" fmla="*/ 1248085 h 3682908"/>
                <a:gd name="connsiteX2209" fmla="*/ 577261 w 3862373"/>
                <a:gd name="connsiteY2209" fmla="*/ 1208998 h 3682908"/>
                <a:gd name="connsiteX2210" fmla="*/ 484976 w 3862373"/>
                <a:gd name="connsiteY2210" fmla="*/ 1208998 h 3682908"/>
                <a:gd name="connsiteX2211" fmla="*/ 524060 w 3862373"/>
                <a:gd name="connsiteY2211" fmla="*/ 1248085 h 3682908"/>
                <a:gd name="connsiteX2212" fmla="*/ 484976 w 3862373"/>
                <a:gd name="connsiteY2212" fmla="*/ 1287173 h 3682908"/>
                <a:gd name="connsiteX2213" fmla="*/ 445900 w 3862373"/>
                <a:gd name="connsiteY2213" fmla="*/ 1248085 h 3682908"/>
                <a:gd name="connsiteX2214" fmla="*/ 484976 w 3862373"/>
                <a:gd name="connsiteY2214" fmla="*/ 1208998 h 3682908"/>
                <a:gd name="connsiteX2215" fmla="*/ 390329 w 3862373"/>
                <a:gd name="connsiteY2215" fmla="*/ 1208998 h 3682908"/>
                <a:gd name="connsiteX2216" fmla="*/ 429427 w 3862373"/>
                <a:gd name="connsiteY2216" fmla="*/ 1248085 h 3682908"/>
                <a:gd name="connsiteX2217" fmla="*/ 390329 w 3862373"/>
                <a:gd name="connsiteY2217" fmla="*/ 1287173 h 3682908"/>
                <a:gd name="connsiteX2218" fmla="*/ 351257 w 3862373"/>
                <a:gd name="connsiteY2218" fmla="*/ 1248085 h 3682908"/>
                <a:gd name="connsiteX2219" fmla="*/ 390329 w 3862373"/>
                <a:gd name="connsiteY2219" fmla="*/ 1208998 h 3682908"/>
                <a:gd name="connsiteX2220" fmla="*/ 298060 w 3862373"/>
                <a:gd name="connsiteY2220" fmla="*/ 1208998 h 3682908"/>
                <a:gd name="connsiteX2221" fmla="*/ 337156 w 3862373"/>
                <a:gd name="connsiteY2221" fmla="*/ 1248085 h 3682908"/>
                <a:gd name="connsiteX2222" fmla="*/ 298060 w 3862373"/>
                <a:gd name="connsiteY2222" fmla="*/ 1287173 h 3682908"/>
                <a:gd name="connsiteX2223" fmla="*/ 258971 w 3862373"/>
                <a:gd name="connsiteY2223" fmla="*/ 1248085 h 3682908"/>
                <a:gd name="connsiteX2224" fmla="*/ 298060 w 3862373"/>
                <a:gd name="connsiteY2224" fmla="*/ 1208998 h 3682908"/>
                <a:gd name="connsiteX2225" fmla="*/ 203415 w 3862373"/>
                <a:gd name="connsiteY2225" fmla="*/ 1208998 h 3682908"/>
                <a:gd name="connsiteX2226" fmla="*/ 242504 w 3862373"/>
                <a:gd name="connsiteY2226" fmla="*/ 1248085 h 3682908"/>
                <a:gd name="connsiteX2227" fmla="*/ 203415 w 3862373"/>
                <a:gd name="connsiteY2227" fmla="*/ 1287173 h 3682908"/>
                <a:gd name="connsiteX2228" fmla="*/ 164330 w 3862373"/>
                <a:gd name="connsiteY2228" fmla="*/ 1248085 h 3682908"/>
                <a:gd name="connsiteX2229" fmla="*/ 203415 w 3862373"/>
                <a:gd name="connsiteY2229" fmla="*/ 1208998 h 3682908"/>
                <a:gd name="connsiteX2230" fmla="*/ 111142 w 3862373"/>
                <a:gd name="connsiteY2230" fmla="*/ 1208998 h 3682908"/>
                <a:gd name="connsiteX2231" fmla="*/ 150229 w 3862373"/>
                <a:gd name="connsiteY2231" fmla="*/ 1248085 h 3682908"/>
                <a:gd name="connsiteX2232" fmla="*/ 111142 w 3862373"/>
                <a:gd name="connsiteY2232" fmla="*/ 1287173 h 3682908"/>
                <a:gd name="connsiteX2233" fmla="*/ 72056 w 3862373"/>
                <a:gd name="connsiteY2233" fmla="*/ 1248085 h 3682908"/>
                <a:gd name="connsiteX2234" fmla="*/ 111142 w 3862373"/>
                <a:gd name="connsiteY2234" fmla="*/ 1208998 h 3682908"/>
                <a:gd name="connsiteX2235" fmla="*/ 3746476 w 3862373"/>
                <a:gd name="connsiteY2235" fmla="*/ 1129380 h 3682908"/>
                <a:gd name="connsiteX2236" fmla="*/ 3771318 w 3862373"/>
                <a:gd name="connsiteY2236" fmla="*/ 1197252 h 3682908"/>
                <a:gd name="connsiteX2237" fmla="*/ 3771293 w 3862373"/>
                <a:gd name="connsiteY2237" fmla="*/ 1197263 h 3682908"/>
                <a:gd name="connsiteX2238" fmla="*/ 3732205 w 3862373"/>
                <a:gd name="connsiteY2238" fmla="*/ 1158188 h 3682908"/>
                <a:gd name="connsiteX2239" fmla="*/ 3743654 w 3862373"/>
                <a:gd name="connsiteY2239" fmla="*/ 1130550 h 3682908"/>
                <a:gd name="connsiteX2240" fmla="*/ 577266 w 3862373"/>
                <a:gd name="connsiteY2240" fmla="*/ 1119103 h 3682908"/>
                <a:gd name="connsiteX2241" fmla="*/ 616362 w 3862373"/>
                <a:gd name="connsiteY2241" fmla="*/ 1158190 h 3682908"/>
                <a:gd name="connsiteX2242" fmla="*/ 577266 w 3862373"/>
                <a:gd name="connsiteY2242" fmla="*/ 1197265 h 3682908"/>
                <a:gd name="connsiteX2243" fmla="*/ 538168 w 3862373"/>
                <a:gd name="connsiteY2243" fmla="*/ 1158190 h 3682908"/>
                <a:gd name="connsiteX2244" fmla="*/ 577266 w 3862373"/>
                <a:gd name="connsiteY2244" fmla="*/ 1119103 h 3682908"/>
                <a:gd name="connsiteX2245" fmla="*/ 484978 w 3862373"/>
                <a:gd name="connsiteY2245" fmla="*/ 1119103 h 3682908"/>
                <a:gd name="connsiteX2246" fmla="*/ 524065 w 3862373"/>
                <a:gd name="connsiteY2246" fmla="*/ 1158190 h 3682908"/>
                <a:gd name="connsiteX2247" fmla="*/ 484978 w 3862373"/>
                <a:gd name="connsiteY2247" fmla="*/ 1197265 h 3682908"/>
                <a:gd name="connsiteX2248" fmla="*/ 445905 w 3862373"/>
                <a:gd name="connsiteY2248" fmla="*/ 1158190 h 3682908"/>
                <a:gd name="connsiteX2249" fmla="*/ 484978 w 3862373"/>
                <a:gd name="connsiteY2249" fmla="*/ 1119103 h 3682908"/>
                <a:gd name="connsiteX2250" fmla="*/ 390329 w 3862373"/>
                <a:gd name="connsiteY2250" fmla="*/ 1119103 h 3682908"/>
                <a:gd name="connsiteX2251" fmla="*/ 429432 w 3862373"/>
                <a:gd name="connsiteY2251" fmla="*/ 1158190 h 3682908"/>
                <a:gd name="connsiteX2252" fmla="*/ 390329 w 3862373"/>
                <a:gd name="connsiteY2252" fmla="*/ 1197265 h 3682908"/>
                <a:gd name="connsiteX2253" fmla="*/ 351262 w 3862373"/>
                <a:gd name="connsiteY2253" fmla="*/ 1158190 h 3682908"/>
                <a:gd name="connsiteX2254" fmla="*/ 390329 w 3862373"/>
                <a:gd name="connsiteY2254" fmla="*/ 1119103 h 3682908"/>
                <a:gd name="connsiteX2255" fmla="*/ 298063 w 3862373"/>
                <a:gd name="connsiteY2255" fmla="*/ 1119103 h 3682908"/>
                <a:gd name="connsiteX2256" fmla="*/ 337159 w 3862373"/>
                <a:gd name="connsiteY2256" fmla="*/ 1158190 h 3682908"/>
                <a:gd name="connsiteX2257" fmla="*/ 298063 w 3862373"/>
                <a:gd name="connsiteY2257" fmla="*/ 1197265 h 3682908"/>
                <a:gd name="connsiteX2258" fmla="*/ 258974 w 3862373"/>
                <a:gd name="connsiteY2258" fmla="*/ 1158190 h 3682908"/>
                <a:gd name="connsiteX2259" fmla="*/ 298063 w 3862373"/>
                <a:gd name="connsiteY2259" fmla="*/ 1119103 h 3682908"/>
                <a:gd name="connsiteX2260" fmla="*/ 203418 w 3862373"/>
                <a:gd name="connsiteY2260" fmla="*/ 1119103 h 3682908"/>
                <a:gd name="connsiteX2261" fmla="*/ 242508 w 3862373"/>
                <a:gd name="connsiteY2261" fmla="*/ 1158190 h 3682908"/>
                <a:gd name="connsiteX2262" fmla="*/ 203418 w 3862373"/>
                <a:gd name="connsiteY2262" fmla="*/ 1197265 h 3682908"/>
                <a:gd name="connsiteX2263" fmla="*/ 164333 w 3862373"/>
                <a:gd name="connsiteY2263" fmla="*/ 1158190 h 3682908"/>
                <a:gd name="connsiteX2264" fmla="*/ 203418 w 3862373"/>
                <a:gd name="connsiteY2264" fmla="*/ 1119103 h 3682908"/>
                <a:gd name="connsiteX2265" fmla="*/ 3679018 w 3862373"/>
                <a:gd name="connsiteY2265" fmla="*/ 1119102 h 3682908"/>
                <a:gd name="connsiteX2266" fmla="*/ 3718105 w 3862373"/>
                <a:gd name="connsiteY2266" fmla="*/ 1158188 h 3682908"/>
                <a:gd name="connsiteX2267" fmla="*/ 3679018 w 3862373"/>
                <a:gd name="connsiteY2267" fmla="*/ 1197263 h 3682908"/>
                <a:gd name="connsiteX2268" fmla="*/ 3639931 w 3862373"/>
                <a:gd name="connsiteY2268" fmla="*/ 1158188 h 3682908"/>
                <a:gd name="connsiteX2269" fmla="*/ 3679018 w 3862373"/>
                <a:gd name="connsiteY2269" fmla="*/ 1119102 h 3682908"/>
                <a:gd name="connsiteX2270" fmla="*/ 3584377 w 3862373"/>
                <a:gd name="connsiteY2270" fmla="*/ 1119102 h 3682908"/>
                <a:gd name="connsiteX2271" fmla="*/ 3623463 w 3862373"/>
                <a:gd name="connsiteY2271" fmla="*/ 1158188 h 3682908"/>
                <a:gd name="connsiteX2272" fmla="*/ 3584377 w 3862373"/>
                <a:gd name="connsiteY2272" fmla="*/ 1197263 h 3682908"/>
                <a:gd name="connsiteX2273" fmla="*/ 3545289 w 3862373"/>
                <a:gd name="connsiteY2273" fmla="*/ 1158188 h 3682908"/>
                <a:gd name="connsiteX2274" fmla="*/ 3584377 w 3862373"/>
                <a:gd name="connsiteY2274" fmla="*/ 1119102 h 3682908"/>
                <a:gd name="connsiteX2275" fmla="*/ 3489737 w 3862373"/>
                <a:gd name="connsiteY2275" fmla="*/ 1119102 h 3682908"/>
                <a:gd name="connsiteX2276" fmla="*/ 3528823 w 3862373"/>
                <a:gd name="connsiteY2276" fmla="*/ 1158188 h 3682908"/>
                <a:gd name="connsiteX2277" fmla="*/ 3489737 w 3862373"/>
                <a:gd name="connsiteY2277" fmla="*/ 1197263 h 3682908"/>
                <a:gd name="connsiteX2278" fmla="*/ 3450649 w 3862373"/>
                <a:gd name="connsiteY2278" fmla="*/ 1158188 h 3682908"/>
                <a:gd name="connsiteX2279" fmla="*/ 3489737 w 3862373"/>
                <a:gd name="connsiteY2279" fmla="*/ 1119102 h 3682908"/>
                <a:gd name="connsiteX2280" fmla="*/ 3392731 w 3862373"/>
                <a:gd name="connsiteY2280" fmla="*/ 1119102 h 3682908"/>
                <a:gd name="connsiteX2281" fmla="*/ 3431819 w 3862373"/>
                <a:gd name="connsiteY2281" fmla="*/ 1158188 h 3682908"/>
                <a:gd name="connsiteX2282" fmla="*/ 3392731 w 3862373"/>
                <a:gd name="connsiteY2282" fmla="*/ 1197263 h 3682908"/>
                <a:gd name="connsiteX2283" fmla="*/ 3353644 w 3862373"/>
                <a:gd name="connsiteY2283" fmla="*/ 1158188 h 3682908"/>
                <a:gd name="connsiteX2284" fmla="*/ 3392731 w 3862373"/>
                <a:gd name="connsiteY2284" fmla="*/ 1119102 h 3682908"/>
                <a:gd name="connsiteX2285" fmla="*/ 3300457 w 3862373"/>
                <a:gd name="connsiteY2285" fmla="*/ 1119102 h 3682908"/>
                <a:gd name="connsiteX2286" fmla="*/ 3339544 w 3862373"/>
                <a:gd name="connsiteY2286" fmla="*/ 1158188 h 3682908"/>
                <a:gd name="connsiteX2287" fmla="*/ 3300457 w 3862373"/>
                <a:gd name="connsiteY2287" fmla="*/ 1197263 h 3682908"/>
                <a:gd name="connsiteX2288" fmla="*/ 3261369 w 3862373"/>
                <a:gd name="connsiteY2288" fmla="*/ 1158188 h 3682908"/>
                <a:gd name="connsiteX2289" fmla="*/ 3300457 w 3862373"/>
                <a:gd name="connsiteY2289" fmla="*/ 1119102 h 3682908"/>
                <a:gd name="connsiteX2290" fmla="*/ 3205817 w 3862373"/>
                <a:gd name="connsiteY2290" fmla="*/ 1119102 h 3682908"/>
                <a:gd name="connsiteX2291" fmla="*/ 3244904 w 3862373"/>
                <a:gd name="connsiteY2291" fmla="*/ 1158188 h 3682908"/>
                <a:gd name="connsiteX2292" fmla="*/ 3205817 w 3862373"/>
                <a:gd name="connsiteY2292" fmla="*/ 1197263 h 3682908"/>
                <a:gd name="connsiteX2293" fmla="*/ 3166729 w 3862373"/>
                <a:gd name="connsiteY2293" fmla="*/ 1158188 h 3682908"/>
                <a:gd name="connsiteX2294" fmla="*/ 3205817 w 3862373"/>
                <a:gd name="connsiteY2294" fmla="*/ 1119102 h 3682908"/>
                <a:gd name="connsiteX2295" fmla="*/ 3018902 w 3862373"/>
                <a:gd name="connsiteY2295" fmla="*/ 1119102 h 3682908"/>
                <a:gd name="connsiteX2296" fmla="*/ 3057989 w 3862373"/>
                <a:gd name="connsiteY2296" fmla="*/ 1158188 h 3682908"/>
                <a:gd name="connsiteX2297" fmla="*/ 3018902 w 3862373"/>
                <a:gd name="connsiteY2297" fmla="*/ 1197263 h 3682908"/>
                <a:gd name="connsiteX2298" fmla="*/ 2979815 w 3862373"/>
                <a:gd name="connsiteY2298" fmla="*/ 1158188 h 3682908"/>
                <a:gd name="connsiteX2299" fmla="*/ 3018902 w 3862373"/>
                <a:gd name="connsiteY2299" fmla="*/ 1119102 h 3682908"/>
                <a:gd name="connsiteX2300" fmla="*/ 2924263 w 3862373"/>
                <a:gd name="connsiteY2300" fmla="*/ 1119102 h 3682908"/>
                <a:gd name="connsiteX2301" fmla="*/ 2963349 w 3862373"/>
                <a:gd name="connsiteY2301" fmla="*/ 1158188 h 3682908"/>
                <a:gd name="connsiteX2302" fmla="*/ 2924263 w 3862373"/>
                <a:gd name="connsiteY2302" fmla="*/ 1197263 h 3682908"/>
                <a:gd name="connsiteX2303" fmla="*/ 2885175 w 3862373"/>
                <a:gd name="connsiteY2303" fmla="*/ 1158188 h 3682908"/>
                <a:gd name="connsiteX2304" fmla="*/ 2924263 w 3862373"/>
                <a:gd name="connsiteY2304" fmla="*/ 1119102 h 3682908"/>
                <a:gd name="connsiteX2305" fmla="*/ 2831988 w 3862373"/>
                <a:gd name="connsiteY2305" fmla="*/ 1119102 h 3682908"/>
                <a:gd name="connsiteX2306" fmla="*/ 2871075 w 3862373"/>
                <a:gd name="connsiteY2306" fmla="*/ 1158188 h 3682908"/>
                <a:gd name="connsiteX2307" fmla="*/ 2831988 w 3862373"/>
                <a:gd name="connsiteY2307" fmla="*/ 1197263 h 3682908"/>
                <a:gd name="connsiteX2308" fmla="*/ 2792901 w 3862373"/>
                <a:gd name="connsiteY2308" fmla="*/ 1158188 h 3682908"/>
                <a:gd name="connsiteX2309" fmla="*/ 2831988 w 3862373"/>
                <a:gd name="connsiteY2309" fmla="*/ 1119102 h 3682908"/>
                <a:gd name="connsiteX2310" fmla="*/ 2737367 w 3862373"/>
                <a:gd name="connsiteY2310" fmla="*/ 1119102 h 3682908"/>
                <a:gd name="connsiteX2311" fmla="*/ 2776435 w 3862373"/>
                <a:gd name="connsiteY2311" fmla="*/ 1158188 h 3682908"/>
                <a:gd name="connsiteX2312" fmla="*/ 2737367 w 3862373"/>
                <a:gd name="connsiteY2312" fmla="*/ 1197263 h 3682908"/>
                <a:gd name="connsiteX2313" fmla="*/ 2698271 w 3862373"/>
                <a:gd name="connsiteY2313" fmla="*/ 1158188 h 3682908"/>
                <a:gd name="connsiteX2314" fmla="*/ 2737367 w 3862373"/>
                <a:gd name="connsiteY2314" fmla="*/ 1119102 h 3682908"/>
                <a:gd name="connsiteX2315" fmla="*/ 2645076 w 3862373"/>
                <a:gd name="connsiteY2315" fmla="*/ 1119102 h 3682908"/>
                <a:gd name="connsiteX2316" fmla="*/ 2684167 w 3862373"/>
                <a:gd name="connsiteY2316" fmla="*/ 1158188 h 3682908"/>
                <a:gd name="connsiteX2317" fmla="*/ 2645076 w 3862373"/>
                <a:gd name="connsiteY2317" fmla="*/ 1197263 h 3682908"/>
                <a:gd name="connsiteX2318" fmla="*/ 2605987 w 3862373"/>
                <a:gd name="connsiteY2318" fmla="*/ 1158188 h 3682908"/>
                <a:gd name="connsiteX2319" fmla="*/ 2645076 w 3862373"/>
                <a:gd name="connsiteY2319" fmla="*/ 1119102 h 3682908"/>
                <a:gd name="connsiteX2320" fmla="*/ 2550439 w 3862373"/>
                <a:gd name="connsiteY2320" fmla="*/ 1119102 h 3682908"/>
                <a:gd name="connsiteX2321" fmla="*/ 2589523 w 3862373"/>
                <a:gd name="connsiteY2321" fmla="*/ 1158188 h 3682908"/>
                <a:gd name="connsiteX2322" fmla="*/ 2550439 w 3862373"/>
                <a:gd name="connsiteY2322" fmla="*/ 1197263 h 3682908"/>
                <a:gd name="connsiteX2323" fmla="*/ 2511357 w 3862373"/>
                <a:gd name="connsiteY2323" fmla="*/ 1158188 h 3682908"/>
                <a:gd name="connsiteX2324" fmla="*/ 2550439 w 3862373"/>
                <a:gd name="connsiteY2324" fmla="*/ 1119102 h 3682908"/>
                <a:gd name="connsiteX2325" fmla="*/ 2458167 w 3862373"/>
                <a:gd name="connsiteY2325" fmla="*/ 1119102 h 3682908"/>
                <a:gd name="connsiteX2326" fmla="*/ 2497254 w 3862373"/>
                <a:gd name="connsiteY2326" fmla="*/ 1158188 h 3682908"/>
                <a:gd name="connsiteX2327" fmla="*/ 2458167 w 3862373"/>
                <a:gd name="connsiteY2327" fmla="*/ 1197263 h 3682908"/>
                <a:gd name="connsiteX2328" fmla="*/ 2419085 w 3862373"/>
                <a:gd name="connsiteY2328" fmla="*/ 1158188 h 3682908"/>
                <a:gd name="connsiteX2329" fmla="*/ 2458167 w 3862373"/>
                <a:gd name="connsiteY2329" fmla="*/ 1119102 h 3682908"/>
                <a:gd name="connsiteX2330" fmla="*/ 1419551 w 3862373"/>
                <a:gd name="connsiteY2330" fmla="*/ 1119102 h 3682908"/>
                <a:gd name="connsiteX2331" fmla="*/ 1458638 w 3862373"/>
                <a:gd name="connsiteY2331" fmla="*/ 1158188 h 3682908"/>
                <a:gd name="connsiteX2332" fmla="*/ 1419551 w 3862373"/>
                <a:gd name="connsiteY2332" fmla="*/ 1197263 h 3682908"/>
                <a:gd name="connsiteX2333" fmla="*/ 1380457 w 3862373"/>
                <a:gd name="connsiteY2333" fmla="*/ 1158188 h 3682908"/>
                <a:gd name="connsiteX2334" fmla="*/ 1419551 w 3862373"/>
                <a:gd name="connsiteY2334" fmla="*/ 1119102 h 3682908"/>
                <a:gd name="connsiteX2335" fmla="*/ 1329639 w 3862373"/>
                <a:gd name="connsiteY2335" fmla="*/ 1119102 h 3682908"/>
                <a:gd name="connsiteX2336" fmla="*/ 1368728 w 3862373"/>
                <a:gd name="connsiteY2336" fmla="*/ 1158188 h 3682908"/>
                <a:gd name="connsiteX2337" fmla="*/ 1329639 w 3862373"/>
                <a:gd name="connsiteY2337" fmla="*/ 1197263 h 3682908"/>
                <a:gd name="connsiteX2338" fmla="*/ 1290557 w 3862373"/>
                <a:gd name="connsiteY2338" fmla="*/ 1158188 h 3682908"/>
                <a:gd name="connsiteX2339" fmla="*/ 1329639 w 3862373"/>
                <a:gd name="connsiteY2339" fmla="*/ 1119102 h 3682908"/>
                <a:gd name="connsiteX2340" fmla="*/ 1232644 w 3862373"/>
                <a:gd name="connsiteY2340" fmla="*/ 1119102 h 3682908"/>
                <a:gd name="connsiteX2341" fmla="*/ 1271718 w 3862373"/>
                <a:gd name="connsiteY2341" fmla="*/ 1158188 h 3682908"/>
                <a:gd name="connsiteX2342" fmla="*/ 1232644 w 3862373"/>
                <a:gd name="connsiteY2342" fmla="*/ 1197263 h 3682908"/>
                <a:gd name="connsiteX2343" fmla="*/ 1193557 w 3862373"/>
                <a:gd name="connsiteY2343" fmla="*/ 1158188 h 3682908"/>
                <a:gd name="connsiteX2344" fmla="*/ 1232644 w 3862373"/>
                <a:gd name="connsiteY2344" fmla="*/ 1119102 h 3682908"/>
                <a:gd name="connsiteX2345" fmla="*/ 1142731 w 3862373"/>
                <a:gd name="connsiteY2345" fmla="*/ 1119102 h 3682908"/>
                <a:gd name="connsiteX2346" fmla="*/ 1181822 w 3862373"/>
                <a:gd name="connsiteY2346" fmla="*/ 1158188 h 3682908"/>
                <a:gd name="connsiteX2347" fmla="*/ 1142731 w 3862373"/>
                <a:gd name="connsiteY2347" fmla="*/ 1197263 h 3682908"/>
                <a:gd name="connsiteX2348" fmla="*/ 1103634 w 3862373"/>
                <a:gd name="connsiteY2348" fmla="*/ 1158188 h 3682908"/>
                <a:gd name="connsiteX2349" fmla="*/ 1142731 w 3862373"/>
                <a:gd name="connsiteY2349" fmla="*/ 1119102 h 3682908"/>
                <a:gd name="connsiteX2350" fmla="*/ 1045709 w 3862373"/>
                <a:gd name="connsiteY2350" fmla="*/ 1119102 h 3682908"/>
                <a:gd name="connsiteX2351" fmla="*/ 1084799 w 3862373"/>
                <a:gd name="connsiteY2351" fmla="*/ 1158188 h 3682908"/>
                <a:gd name="connsiteX2352" fmla="*/ 1045709 w 3862373"/>
                <a:gd name="connsiteY2352" fmla="*/ 1197263 h 3682908"/>
                <a:gd name="connsiteX2353" fmla="*/ 1006627 w 3862373"/>
                <a:gd name="connsiteY2353" fmla="*/ 1158188 h 3682908"/>
                <a:gd name="connsiteX2354" fmla="*/ 1045709 w 3862373"/>
                <a:gd name="connsiteY2354" fmla="*/ 1119102 h 3682908"/>
                <a:gd name="connsiteX2355" fmla="*/ 951081 w 3862373"/>
                <a:gd name="connsiteY2355" fmla="*/ 1119102 h 3682908"/>
                <a:gd name="connsiteX2356" fmla="*/ 990163 w 3862373"/>
                <a:gd name="connsiteY2356" fmla="*/ 1158188 h 3682908"/>
                <a:gd name="connsiteX2357" fmla="*/ 951081 w 3862373"/>
                <a:gd name="connsiteY2357" fmla="*/ 1197263 h 3682908"/>
                <a:gd name="connsiteX2358" fmla="*/ 911999 w 3862373"/>
                <a:gd name="connsiteY2358" fmla="*/ 1158188 h 3682908"/>
                <a:gd name="connsiteX2359" fmla="*/ 951081 w 3862373"/>
                <a:gd name="connsiteY2359" fmla="*/ 1119102 h 3682908"/>
                <a:gd name="connsiteX2360" fmla="*/ 856453 w 3862373"/>
                <a:gd name="connsiteY2360" fmla="*/ 1119102 h 3682908"/>
                <a:gd name="connsiteX2361" fmla="*/ 895535 w 3862373"/>
                <a:gd name="connsiteY2361" fmla="*/ 1158188 h 3682908"/>
                <a:gd name="connsiteX2362" fmla="*/ 856453 w 3862373"/>
                <a:gd name="connsiteY2362" fmla="*/ 1197263 h 3682908"/>
                <a:gd name="connsiteX2363" fmla="*/ 817371 w 3862373"/>
                <a:gd name="connsiteY2363" fmla="*/ 1158188 h 3682908"/>
                <a:gd name="connsiteX2364" fmla="*/ 856453 w 3862373"/>
                <a:gd name="connsiteY2364" fmla="*/ 1119102 h 3682908"/>
                <a:gd name="connsiteX2365" fmla="*/ 764190 w 3862373"/>
                <a:gd name="connsiteY2365" fmla="*/ 1119102 h 3682908"/>
                <a:gd name="connsiteX2366" fmla="*/ 803273 w 3862373"/>
                <a:gd name="connsiteY2366" fmla="*/ 1158188 h 3682908"/>
                <a:gd name="connsiteX2367" fmla="*/ 764190 w 3862373"/>
                <a:gd name="connsiteY2367" fmla="*/ 1197263 h 3682908"/>
                <a:gd name="connsiteX2368" fmla="*/ 725108 w 3862373"/>
                <a:gd name="connsiteY2368" fmla="*/ 1158188 h 3682908"/>
                <a:gd name="connsiteX2369" fmla="*/ 764190 w 3862373"/>
                <a:gd name="connsiteY2369" fmla="*/ 1119102 h 3682908"/>
                <a:gd name="connsiteX2370" fmla="*/ 669546 w 3862373"/>
                <a:gd name="connsiteY2370" fmla="*/ 1119102 h 3682908"/>
                <a:gd name="connsiteX2371" fmla="*/ 708645 w 3862373"/>
                <a:gd name="connsiteY2371" fmla="*/ 1158188 h 3682908"/>
                <a:gd name="connsiteX2372" fmla="*/ 669546 w 3862373"/>
                <a:gd name="connsiteY2372" fmla="*/ 1197263 h 3682908"/>
                <a:gd name="connsiteX2373" fmla="*/ 630466 w 3862373"/>
                <a:gd name="connsiteY2373" fmla="*/ 1158188 h 3682908"/>
                <a:gd name="connsiteX2374" fmla="*/ 669546 w 3862373"/>
                <a:gd name="connsiteY2374" fmla="*/ 1119102 h 3682908"/>
                <a:gd name="connsiteX2375" fmla="*/ 111145 w 3862373"/>
                <a:gd name="connsiteY2375" fmla="*/ 1119102 h 3682908"/>
                <a:gd name="connsiteX2376" fmla="*/ 150233 w 3862373"/>
                <a:gd name="connsiteY2376" fmla="*/ 1158188 h 3682908"/>
                <a:gd name="connsiteX2377" fmla="*/ 111145 w 3862373"/>
                <a:gd name="connsiteY2377" fmla="*/ 1197263 h 3682908"/>
                <a:gd name="connsiteX2378" fmla="*/ 72060 w 3862373"/>
                <a:gd name="connsiteY2378" fmla="*/ 1158188 h 3682908"/>
                <a:gd name="connsiteX2379" fmla="*/ 111145 w 3862373"/>
                <a:gd name="connsiteY2379" fmla="*/ 1119102 h 3682908"/>
                <a:gd name="connsiteX2380" fmla="*/ 24845 w 3862373"/>
                <a:gd name="connsiteY2380" fmla="*/ 1037379 h 3682908"/>
                <a:gd name="connsiteX2381" fmla="*/ 44149 w 3862373"/>
                <a:gd name="connsiteY2381" fmla="*/ 1045374 h 3682908"/>
                <a:gd name="connsiteX2382" fmla="*/ 55597 w 3862373"/>
                <a:gd name="connsiteY2382" fmla="*/ 1073013 h 3682908"/>
                <a:gd name="connsiteX2383" fmla="*/ 16510 w 3862373"/>
                <a:gd name="connsiteY2383" fmla="*/ 1112099 h 3682908"/>
                <a:gd name="connsiteX2384" fmla="*/ 0 w 3862373"/>
                <a:gd name="connsiteY2384" fmla="*/ 1105261 h 3682908"/>
                <a:gd name="connsiteX2385" fmla="*/ 3679017 w 3862373"/>
                <a:gd name="connsiteY2385" fmla="*/ 1033926 h 3682908"/>
                <a:gd name="connsiteX2386" fmla="*/ 3718103 w 3862373"/>
                <a:gd name="connsiteY2386" fmla="*/ 1073013 h 3682908"/>
                <a:gd name="connsiteX2387" fmla="*/ 3679017 w 3862373"/>
                <a:gd name="connsiteY2387" fmla="*/ 1112099 h 3682908"/>
                <a:gd name="connsiteX2388" fmla="*/ 3639929 w 3862373"/>
                <a:gd name="connsiteY2388" fmla="*/ 1073013 h 3682908"/>
                <a:gd name="connsiteX2389" fmla="*/ 3679017 w 3862373"/>
                <a:gd name="connsiteY2389" fmla="*/ 1033926 h 3682908"/>
                <a:gd name="connsiteX2390" fmla="*/ 3584377 w 3862373"/>
                <a:gd name="connsiteY2390" fmla="*/ 1033926 h 3682908"/>
                <a:gd name="connsiteX2391" fmla="*/ 3623463 w 3862373"/>
                <a:gd name="connsiteY2391" fmla="*/ 1073013 h 3682908"/>
                <a:gd name="connsiteX2392" fmla="*/ 3584377 w 3862373"/>
                <a:gd name="connsiteY2392" fmla="*/ 1112099 h 3682908"/>
                <a:gd name="connsiteX2393" fmla="*/ 3545289 w 3862373"/>
                <a:gd name="connsiteY2393" fmla="*/ 1073013 h 3682908"/>
                <a:gd name="connsiteX2394" fmla="*/ 3584377 w 3862373"/>
                <a:gd name="connsiteY2394" fmla="*/ 1033926 h 3682908"/>
                <a:gd name="connsiteX2395" fmla="*/ 3489737 w 3862373"/>
                <a:gd name="connsiteY2395" fmla="*/ 1033926 h 3682908"/>
                <a:gd name="connsiteX2396" fmla="*/ 3528823 w 3862373"/>
                <a:gd name="connsiteY2396" fmla="*/ 1073013 h 3682908"/>
                <a:gd name="connsiteX2397" fmla="*/ 3489737 w 3862373"/>
                <a:gd name="connsiteY2397" fmla="*/ 1112099 h 3682908"/>
                <a:gd name="connsiteX2398" fmla="*/ 3450649 w 3862373"/>
                <a:gd name="connsiteY2398" fmla="*/ 1073013 h 3682908"/>
                <a:gd name="connsiteX2399" fmla="*/ 3489737 w 3862373"/>
                <a:gd name="connsiteY2399" fmla="*/ 1033926 h 3682908"/>
                <a:gd name="connsiteX2400" fmla="*/ 3392731 w 3862373"/>
                <a:gd name="connsiteY2400" fmla="*/ 1033926 h 3682908"/>
                <a:gd name="connsiteX2401" fmla="*/ 3431819 w 3862373"/>
                <a:gd name="connsiteY2401" fmla="*/ 1073013 h 3682908"/>
                <a:gd name="connsiteX2402" fmla="*/ 3392731 w 3862373"/>
                <a:gd name="connsiteY2402" fmla="*/ 1112099 h 3682908"/>
                <a:gd name="connsiteX2403" fmla="*/ 3353644 w 3862373"/>
                <a:gd name="connsiteY2403" fmla="*/ 1073013 h 3682908"/>
                <a:gd name="connsiteX2404" fmla="*/ 3392731 w 3862373"/>
                <a:gd name="connsiteY2404" fmla="*/ 1033926 h 3682908"/>
                <a:gd name="connsiteX2405" fmla="*/ 3300455 w 3862373"/>
                <a:gd name="connsiteY2405" fmla="*/ 1033926 h 3682908"/>
                <a:gd name="connsiteX2406" fmla="*/ 3339543 w 3862373"/>
                <a:gd name="connsiteY2406" fmla="*/ 1073013 h 3682908"/>
                <a:gd name="connsiteX2407" fmla="*/ 3300455 w 3862373"/>
                <a:gd name="connsiteY2407" fmla="*/ 1112099 h 3682908"/>
                <a:gd name="connsiteX2408" fmla="*/ 3261368 w 3862373"/>
                <a:gd name="connsiteY2408" fmla="*/ 1073013 h 3682908"/>
                <a:gd name="connsiteX2409" fmla="*/ 3300455 w 3862373"/>
                <a:gd name="connsiteY2409" fmla="*/ 1033926 h 3682908"/>
                <a:gd name="connsiteX2410" fmla="*/ 3205815 w 3862373"/>
                <a:gd name="connsiteY2410" fmla="*/ 1033926 h 3682908"/>
                <a:gd name="connsiteX2411" fmla="*/ 3244903 w 3862373"/>
                <a:gd name="connsiteY2411" fmla="*/ 1073013 h 3682908"/>
                <a:gd name="connsiteX2412" fmla="*/ 3205815 w 3862373"/>
                <a:gd name="connsiteY2412" fmla="*/ 1112099 h 3682908"/>
                <a:gd name="connsiteX2413" fmla="*/ 3166728 w 3862373"/>
                <a:gd name="connsiteY2413" fmla="*/ 1073013 h 3682908"/>
                <a:gd name="connsiteX2414" fmla="*/ 3205815 w 3862373"/>
                <a:gd name="connsiteY2414" fmla="*/ 1033926 h 3682908"/>
                <a:gd name="connsiteX2415" fmla="*/ 3111175 w 3862373"/>
                <a:gd name="connsiteY2415" fmla="*/ 1033926 h 3682908"/>
                <a:gd name="connsiteX2416" fmla="*/ 3150263 w 3862373"/>
                <a:gd name="connsiteY2416" fmla="*/ 1073013 h 3682908"/>
                <a:gd name="connsiteX2417" fmla="*/ 3111175 w 3862373"/>
                <a:gd name="connsiteY2417" fmla="*/ 1112099 h 3682908"/>
                <a:gd name="connsiteX2418" fmla="*/ 3072088 w 3862373"/>
                <a:gd name="connsiteY2418" fmla="*/ 1073013 h 3682908"/>
                <a:gd name="connsiteX2419" fmla="*/ 3111175 w 3862373"/>
                <a:gd name="connsiteY2419" fmla="*/ 1033926 h 3682908"/>
                <a:gd name="connsiteX2420" fmla="*/ 3018902 w 3862373"/>
                <a:gd name="connsiteY2420" fmla="*/ 1033926 h 3682908"/>
                <a:gd name="connsiteX2421" fmla="*/ 3057989 w 3862373"/>
                <a:gd name="connsiteY2421" fmla="*/ 1073013 h 3682908"/>
                <a:gd name="connsiteX2422" fmla="*/ 3018902 w 3862373"/>
                <a:gd name="connsiteY2422" fmla="*/ 1112099 h 3682908"/>
                <a:gd name="connsiteX2423" fmla="*/ 2979815 w 3862373"/>
                <a:gd name="connsiteY2423" fmla="*/ 1073013 h 3682908"/>
                <a:gd name="connsiteX2424" fmla="*/ 3018902 w 3862373"/>
                <a:gd name="connsiteY2424" fmla="*/ 1033926 h 3682908"/>
                <a:gd name="connsiteX2425" fmla="*/ 2924263 w 3862373"/>
                <a:gd name="connsiteY2425" fmla="*/ 1033926 h 3682908"/>
                <a:gd name="connsiteX2426" fmla="*/ 2963349 w 3862373"/>
                <a:gd name="connsiteY2426" fmla="*/ 1073013 h 3682908"/>
                <a:gd name="connsiteX2427" fmla="*/ 2924263 w 3862373"/>
                <a:gd name="connsiteY2427" fmla="*/ 1112099 h 3682908"/>
                <a:gd name="connsiteX2428" fmla="*/ 2885175 w 3862373"/>
                <a:gd name="connsiteY2428" fmla="*/ 1073013 h 3682908"/>
                <a:gd name="connsiteX2429" fmla="*/ 2924263 w 3862373"/>
                <a:gd name="connsiteY2429" fmla="*/ 1033926 h 3682908"/>
                <a:gd name="connsiteX2430" fmla="*/ 2831987 w 3862373"/>
                <a:gd name="connsiteY2430" fmla="*/ 1033926 h 3682908"/>
                <a:gd name="connsiteX2431" fmla="*/ 2871074 w 3862373"/>
                <a:gd name="connsiteY2431" fmla="*/ 1073013 h 3682908"/>
                <a:gd name="connsiteX2432" fmla="*/ 2831987 w 3862373"/>
                <a:gd name="connsiteY2432" fmla="*/ 1112099 h 3682908"/>
                <a:gd name="connsiteX2433" fmla="*/ 2792900 w 3862373"/>
                <a:gd name="connsiteY2433" fmla="*/ 1073013 h 3682908"/>
                <a:gd name="connsiteX2434" fmla="*/ 2831987 w 3862373"/>
                <a:gd name="connsiteY2434" fmla="*/ 1033926 h 3682908"/>
                <a:gd name="connsiteX2435" fmla="*/ 2737368 w 3862373"/>
                <a:gd name="connsiteY2435" fmla="*/ 1033926 h 3682908"/>
                <a:gd name="connsiteX2436" fmla="*/ 2776434 w 3862373"/>
                <a:gd name="connsiteY2436" fmla="*/ 1073013 h 3682908"/>
                <a:gd name="connsiteX2437" fmla="*/ 2737368 w 3862373"/>
                <a:gd name="connsiteY2437" fmla="*/ 1112099 h 3682908"/>
                <a:gd name="connsiteX2438" fmla="*/ 2698271 w 3862373"/>
                <a:gd name="connsiteY2438" fmla="*/ 1073013 h 3682908"/>
                <a:gd name="connsiteX2439" fmla="*/ 2737368 w 3862373"/>
                <a:gd name="connsiteY2439" fmla="*/ 1033926 h 3682908"/>
                <a:gd name="connsiteX2440" fmla="*/ 2645074 w 3862373"/>
                <a:gd name="connsiteY2440" fmla="*/ 1033926 h 3682908"/>
                <a:gd name="connsiteX2441" fmla="*/ 2684167 w 3862373"/>
                <a:gd name="connsiteY2441" fmla="*/ 1073013 h 3682908"/>
                <a:gd name="connsiteX2442" fmla="*/ 2645074 w 3862373"/>
                <a:gd name="connsiteY2442" fmla="*/ 1112099 h 3682908"/>
                <a:gd name="connsiteX2443" fmla="*/ 2605987 w 3862373"/>
                <a:gd name="connsiteY2443" fmla="*/ 1073013 h 3682908"/>
                <a:gd name="connsiteX2444" fmla="*/ 2645074 w 3862373"/>
                <a:gd name="connsiteY2444" fmla="*/ 1033926 h 3682908"/>
                <a:gd name="connsiteX2445" fmla="*/ 2550439 w 3862373"/>
                <a:gd name="connsiteY2445" fmla="*/ 1033926 h 3682908"/>
                <a:gd name="connsiteX2446" fmla="*/ 2589524 w 3862373"/>
                <a:gd name="connsiteY2446" fmla="*/ 1073013 h 3682908"/>
                <a:gd name="connsiteX2447" fmla="*/ 2550439 w 3862373"/>
                <a:gd name="connsiteY2447" fmla="*/ 1112099 h 3682908"/>
                <a:gd name="connsiteX2448" fmla="*/ 2511357 w 3862373"/>
                <a:gd name="connsiteY2448" fmla="*/ 1073013 h 3682908"/>
                <a:gd name="connsiteX2449" fmla="*/ 2550439 w 3862373"/>
                <a:gd name="connsiteY2449" fmla="*/ 1033926 h 3682908"/>
                <a:gd name="connsiteX2450" fmla="*/ 2458167 w 3862373"/>
                <a:gd name="connsiteY2450" fmla="*/ 1033926 h 3682908"/>
                <a:gd name="connsiteX2451" fmla="*/ 2497254 w 3862373"/>
                <a:gd name="connsiteY2451" fmla="*/ 1073013 h 3682908"/>
                <a:gd name="connsiteX2452" fmla="*/ 2458167 w 3862373"/>
                <a:gd name="connsiteY2452" fmla="*/ 1112099 h 3682908"/>
                <a:gd name="connsiteX2453" fmla="*/ 2419085 w 3862373"/>
                <a:gd name="connsiteY2453" fmla="*/ 1073013 h 3682908"/>
                <a:gd name="connsiteX2454" fmla="*/ 2458167 w 3862373"/>
                <a:gd name="connsiteY2454" fmla="*/ 1033926 h 3682908"/>
                <a:gd name="connsiteX2455" fmla="*/ 2363531 w 3862373"/>
                <a:gd name="connsiteY2455" fmla="*/ 1033926 h 3682908"/>
                <a:gd name="connsiteX2456" fmla="*/ 2402615 w 3862373"/>
                <a:gd name="connsiteY2456" fmla="*/ 1073013 h 3682908"/>
                <a:gd name="connsiteX2457" fmla="*/ 2363531 w 3862373"/>
                <a:gd name="connsiteY2457" fmla="*/ 1112099 h 3682908"/>
                <a:gd name="connsiteX2458" fmla="*/ 2324444 w 3862373"/>
                <a:gd name="connsiteY2458" fmla="*/ 1073013 h 3682908"/>
                <a:gd name="connsiteX2459" fmla="*/ 2363531 w 3862373"/>
                <a:gd name="connsiteY2459" fmla="*/ 1033926 h 3682908"/>
                <a:gd name="connsiteX2460" fmla="*/ 1419556 w 3862373"/>
                <a:gd name="connsiteY2460" fmla="*/ 1033926 h 3682908"/>
                <a:gd name="connsiteX2461" fmla="*/ 1458643 w 3862373"/>
                <a:gd name="connsiteY2461" fmla="*/ 1073013 h 3682908"/>
                <a:gd name="connsiteX2462" fmla="*/ 1419556 w 3862373"/>
                <a:gd name="connsiteY2462" fmla="*/ 1112099 h 3682908"/>
                <a:gd name="connsiteX2463" fmla="*/ 1380461 w 3862373"/>
                <a:gd name="connsiteY2463" fmla="*/ 1073013 h 3682908"/>
                <a:gd name="connsiteX2464" fmla="*/ 1419556 w 3862373"/>
                <a:gd name="connsiteY2464" fmla="*/ 1033926 h 3682908"/>
                <a:gd name="connsiteX2465" fmla="*/ 1329642 w 3862373"/>
                <a:gd name="connsiteY2465" fmla="*/ 1033926 h 3682908"/>
                <a:gd name="connsiteX2466" fmla="*/ 1368731 w 3862373"/>
                <a:gd name="connsiteY2466" fmla="*/ 1073013 h 3682908"/>
                <a:gd name="connsiteX2467" fmla="*/ 1329642 w 3862373"/>
                <a:gd name="connsiteY2467" fmla="*/ 1112099 h 3682908"/>
                <a:gd name="connsiteX2468" fmla="*/ 1290561 w 3862373"/>
                <a:gd name="connsiteY2468" fmla="*/ 1073013 h 3682908"/>
                <a:gd name="connsiteX2469" fmla="*/ 1329642 w 3862373"/>
                <a:gd name="connsiteY2469" fmla="*/ 1033926 h 3682908"/>
                <a:gd name="connsiteX2470" fmla="*/ 1232649 w 3862373"/>
                <a:gd name="connsiteY2470" fmla="*/ 1033926 h 3682908"/>
                <a:gd name="connsiteX2471" fmla="*/ 1271722 w 3862373"/>
                <a:gd name="connsiteY2471" fmla="*/ 1073013 h 3682908"/>
                <a:gd name="connsiteX2472" fmla="*/ 1232649 w 3862373"/>
                <a:gd name="connsiteY2472" fmla="*/ 1112099 h 3682908"/>
                <a:gd name="connsiteX2473" fmla="*/ 1193565 w 3862373"/>
                <a:gd name="connsiteY2473" fmla="*/ 1073013 h 3682908"/>
                <a:gd name="connsiteX2474" fmla="*/ 1232649 w 3862373"/>
                <a:gd name="connsiteY2474" fmla="*/ 1033926 h 3682908"/>
                <a:gd name="connsiteX2475" fmla="*/ 1142736 w 3862373"/>
                <a:gd name="connsiteY2475" fmla="*/ 1033926 h 3682908"/>
                <a:gd name="connsiteX2476" fmla="*/ 1181828 w 3862373"/>
                <a:gd name="connsiteY2476" fmla="*/ 1073013 h 3682908"/>
                <a:gd name="connsiteX2477" fmla="*/ 1142736 w 3862373"/>
                <a:gd name="connsiteY2477" fmla="*/ 1112099 h 3682908"/>
                <a:gd name="connsiteX2478" fmla="*/ 1103639 w 3862373"/>
                <a:gd name="connsiteY2478" fmla="*/ 1073013 h 3682908"/>
                <a:gd name="connsiteX2479" fmla="*/ 1142736 w 3862373"/>
                <a:gd name="connsiteY2479" fmla="*/ 1033926 h 3682908"/>
                <a:gd name="connsiteX2480" fmla="*/ 1045712 w 3862373"/>
                <a:gd name="connsiteY2480" fmla="*/ 1033926 h 3682908"/>
                <a:gd name="connsiteX2481" fmla="*/ 1084802 w 3862373"/>
                <a:gd name="connsiteY2481" fmla="*/ 1073013 h 3682908"/>
                <a:gd name="connsiteX2482" fmla="*/ 1045712 w 3862373"/>
                <a:gd name="connsiteY2482" fmla="*/ 1112099 h 3682908"/>
                <a:gd name="connsiteX2483" fmla="*/ 1006631 w 3862373"/>
                <a:gd name="connsiteY2483" fmla="*/ 1073013 h 3682908"/>
                <a:gd name="connsiteX2484" fmla="*/ 1045712 w 3862373"/>
                <a:gd name="connsiteY2484" fmla="*/ 1033926 h 3682908"/>
                <a:gd name="connsiteX2485" fmla="*/ 951085 w 3862373"/>
                <a:gd name="connsiteY2485" fmla="*/ 1033926 h 3682908"/>
                <a:gd name="connsiteX2486" fmla="*/ 990166 w 3862373"/>
                <a:gd name="connsiteY2486" fmla="*/ 1073013 h 3682908"/>
                <a:gd name="connsiteX2487" fmla="*/ 951085 w 3862373"/>
                <a:gd name="connsiteY2487" fmla="*/ 1112099 h 3682908"/>
                <a:gd name="connsiteX2488" fmla="*/ 912003 w 3862373"/>
                <a:gd name="connsiteY2488" fmla="*/ 1073013 h 3682908"/>
                <a:gd name="connsiteX2489" fmla="*/ 951085 w 3862373"/>
                <a:gd name="connsiteY2489" fmla="*/ 1033926 h 3682908"/>
                <a:gd name="connsiteX2490" fmla="*/ 856458 w 3862373"/>
                <a:gd name="connsiteY2490" fmla="*/ 1033926 h 3682908"/>
                <a:gd name="connsiteX2491" fmla="*/ 895540 w 3862373"/>
                <a:gd name="connsiteY2491" fmla="*/ 1073013 h 3682908"/>
                <a:gd name="connsiteX2492" fmla="*/ 856458 w 3862373"/>
                <a:gd name="connsiteY2492" fmla="*/ 1112099 h 3682908"/>
                <a:gd name="connsiteX2493" fmla="*/ 817376 w 3862373"/>
                <a:gd name="connsiteY2493" fmla="*/ 1073013 h 3682908"/>
                <a:gd name="connsiteX2494" fmla="*/ 856458 w 3862373"/>
                <a:gd name="connsiteY2494" fmla="*/ 1033926 h 3682908"/>
                <a:gd name="connsiteX2495" fmla="*/ 764197 w 3862373"/>
                <a:gd name="connsiteY2495" fmla="*/ 1033926 h 3682908"/>
                <a:gd name="connsiteX2496" fmla="*/ 803279 w 3862373"/>
                <a:gd name="connsiteY2496" fmla="*/ 1073013 h 3682908"/>
                <a:gd name="connsiteX2497" fmla="*/ 764197 w 3862373"/>
                <a:gd name="connsiteY2497" fmla="*/ 1112099 h 3682908"/>
                <a:gd name="connsiteX2498" fmla="*/ 725113 w 3862373"/>
                <a:gd name="connsiteY2498" fmla="*/ 1073013 h 3682908"/>
                <a:gd name="connsiteX2499" fmla="*/ 764197 w 3862373"/>
                <a:gd name="connsiteY2499" fmla="*/ 1033926 h 3682908"/>
                <a:gd name="connsiteX2500" fmla="*/ 669546 w 3862373"/>
                <a:gd name="connsiteY2500" fmla="*/ 1033926 h 3682908"/>
                <a:gd name="connsiteX2501" fmla="*/ 708650 w 3862373"/>
                <a:gd name="connsiteY2501" fmla="*/ 1073013 h 3682908"/>
                <a:gd name="connsiteX2502" fmla="*/ 669546 w 3862373"/>
                <a:gd name="connsiteY2502" fmla="*/ 1112099 h 3682908"/>
                <a:gd name="connsiteX2503" fmla="*/ 630473 w 3862373"/>
                <a:gd name="connsiteY2503" fmla="*/ 1073013 h 3682908"/>
                <a:gd name="connsiteX2504" fmla="*/ 669546 w 3862373"/>
                <a:gd name="connsiteY2504" fmla="*/ 1033926 h 3682908"/>
                <a:gd name="connsiteX2505" fmla="*/ 577271 w 3862373"/>
                <a:gd name="connsiteY2505" fmla="*/ 1033926 h 3682908"/>
                <a:gd name="connsiteX2506" fmla="*/ 616368 w 3862373"/>
                <a:gd name="connsiteY2506" fmla="*/ 1073013 h 3682908"/>
                <a:gd name="connsiteX2507" fmla="*/ 577271 w 3862373"/>
                <a:gd name="connsiteY2507" fmla="*/ 1112099 h 3682908"/>
                <a:gd name="connsiteX2508" fmla="*/ 538174 w 3862373"/>
                <a:gd name="connsiteY2508" fmla="*/ 1073013 h 3682908"/>
                <a:gd name="connsiteX2509" fmla="*/ 577271 w 3862373"/>
                <a:gd name="connsiteY2509" fmla="*/ 1033926 h 3682908"/>
                <a:gd name="connsiteX2510" fmla="*/ 484984 w 3862373"/>
                <a:gd name="connsiteY2510" fmla="*/ 1033926 h 3682908"/>
                <a:gd name="connsiteX2511" fmla="*/ 524069 w 3862373"/>
                <a:gd name="connsiteY2511" fmla="*/ 1073013 h 3682908"/>
                <a:gd name="connsiteX2512" fmla="*/ 484984 w 3862373"/>
                <a:gd name="connsiteY2512" fmla="*/ 1112099 h 3682908"/>
                <a:gd name="connsiteX2513" fmla="*/ 445908 w 3862373"/>
                <a:gd name="connsiteY2513" fmla="*/ 1073013 h 3682908"/>
                <a:gd name="connsiteX2514" fmla="*/ 484984 w 3862373"/>
                <a:gd name="connsiteY2514" fmla="*/ 1033926 h 3682908"/>
                <a:gd name="connsiteX2515" fmla="*/ 390337 w 3862373"/>
                <a:gd name="connsiteY2515" fmla="*/ 1033926 h 3682908"/>
                <a:gd name="connsiteX2516" fmla="*/ 429437 w 3862373"/>
                <a:gd name="connsiteY2516" fmla="*/ 1073013 h 3682908"/>
                <a:gd name="connsiteX2517" fmla="*/ 390337 w 3862373"/>
                <a:gd name="connsiteY2517" fmla="*/ 1112099 h 3682908"/>
                <a:gd name="connsiteX2518" fmla="*/ 351267 w 3862373"/>
                <a:gd name="connsiteY2518" fmla="*/ 1073013 h 3682908"/>
                <a:gd name="connsiteX2519" fmla="*/ 390337 w 3862373"/>
                <a:gd name="connsiteY2519" fmla="*/ 1033926 h 3682908"/>
                <a:gd name="connsiteX2520" fmla="*/ 298068 w 3862373"/>
                <a:gd name="connsiteY2520" fmla="*/ 1033926 h 3682908"/>
                <a:gd name="connsiteX2521" fmla="*/ 337166 w 3862373"/>
                <a:gd name="connsiteY2521" fmla="*/ 1073013 h 3682908"/>
                <a:gd name="connsiteX2522" fmla="*/ 298068 w 3862373"/>
                <a:gd name="connsiteY2522" fmla="*/ 1112099 h 3682908"/>
                <a:gd name="connsiteX2523" fmla="*/ 258978 w 3862373"/>
                <a:gd name="connsiteY2523" fmla="*/ 1073013 h 3682908"/>
                <a:gd name="connsiteX2524" fmla="*/ 298068 w 3862373"/>
                <a:gd name="connsiteY2524" fmla="*/ 1033926 h 3682908"/>
                <a:gd name="connsiteX2525" fmla="*/ 203423 w 3862373"/>
                <a:gd name="connsiteY2525" fmla="*/ 1033926 h 3682908"/>
                <a:gd name="connsiteX2526" fmla="*/ 242512 w 3862373"/>
                <a:gd name="connsiteY2526" fmla="*/ 1073013 h 3682908"/>
                <a:gd name="connsiteX2527" fmla="*/ 203423 w 3862373"/>
                <a:gd name="connsiteY2527" fmla="*/ 1112099 h 3682908"/>
                <a:gd name="connsiteX2528" fmla="*/ 164337 w 3862373"/>
                <a:gd name="connsiteY2528" fmla="*/ 1073013 h 3682908"/>
                <a:gd name="connsiteX2529" fmla="*/ 203423 w 3862373"/>
                <a:gd name="connsiteY2529" fmla="*/ 1033926 h 3682908"/>
                <a:gd name="connsiteX2530" fmla="*/ 111150 w 3862373"/>
                <a:gd name="connsiteY2530" fmla="*/ 1033926 h 3682908"/>
                <a:gd name="connsiteX2531" fmla="*/ 150237 w 3862373"/>
                <a:gd name="connsiteY2531" fmla="*/ 1073013 h 3682908"/>
                <a:gd name="connsiteX2532" fmla="*/ 111150 w 3862373"/>
                <a:gd name="connsiteY2532" fmla="*/ 1112099 h 3682908"/>
                <a:gd name="connsiteX2533" fmla="*/ 72064 w 3862373"/>
                <a:gd name="connsiteY2533" fmla="*/ 1073013 h 3682908"/>
                <a:gd name="connsiteX2534" fmla="*/ 111150 w 3862373"/>
                <a:gd name="connsiteY2534" fmla="*/ 1033926 h 3682908"/>
                <a:gd name="connsiteX2535" fmla="*/ 51905 w 3862373"/>
                <a:gd name="connsiteY2535" fmla="*/ 976551 h 3682908"/>
                <a:gd name="connsiteX2536" fmla="*/ 55600 w 3862373"/>
                <a:gd name="connsiteY2536" fmla="*/ 985473 h 3682908"/>
                <a:gd name="connsiteX2537" fmla="*/ 44152 w 3862373"/>
                <a:gd name="connsiteY2537" fmla="*/ 1013112 h 3682908"/>
                <a:gd name="connsiteX2538" fmla="*/ 31864 w 3862373"/>
                <a:gd name="connsiteY2538" fmla="*/ 1018202 h 3682908"/>
                <a:gd name="connsiteX2539" fmla="*/ 31938 w 3862373"/>
                <a:gd name="connsiteY2539" fmla="*/ 1017999 h 3682908"/>
                <a:gd name="connsiteX2540" fmla="*/ 3672511 w 3862373"/>
                <a:gd name="connsiteY2540" fmla="*/ 949081 h 3682908"/>
                <a:gd name="connsiteX2541" fmla="*/ 3703905 w 3862373"/>
                <a:gd name="connsiteY2541" fmla="*/ 1014251 h 3682908"/>
                <a:gd name="connsiteX2542" fmla="*/ 3679017 w 3862373"/>
                <a:gd name="connsiteY2542" fmla="*/ 1024560 h 3682908"/>
                <a:gd name="connsiteX2543" fmla="*/ 3639929 w 3862373"/>
                <a:gd name="connsiteY2543" fmla="*/ 985473 h 3682908"/>
                <a:gd name="connsiteX2544" fmla="*/ 3651378 w 3862373"/>
                <a:gd name="connsiteY2544" fmla="*/ 957835 h 3682908"/>
                <a:gd name="connsiteX2545" fmla="*/ 3584377 w 3862373"/>
                <a:gd name="connsiteY2545" fmla="*/ 946387 h 3682908"/>
                <a:gd name="connsiteX2546" fmla="*/ 3623463 w 3862373"/>
                <a:gd name="connsiteY2546" fmla="*/ 985473 h 3682908"/>
                <a:gd name="connsiteX2547" fmla="*/ 3584377 w 3862373"/>
                <a:gd name="connsiteY2547" fmla="*/ 1024560 h 3682908"/>
                <a:gd name="connsiteX2548" fmla="*/ 3545289 w 3862373"/>
                <a:gd name="connsiteY2548" fmla="*/ 985473 h 3682908"/>
                <a:gd name="connsiteX2549" fmla="*/ 3584377 w 3862373"/>
                <a:gd name="connsiteY2549" fmla="*/ 946387 h 3682908"/>
                <a:gd name="connsiteX2550" fmla="*/ 3489737 w 3862373"/>
                <a:gd name="connsiteY2550" fmla="*/ 946387 h 3682908"/>
                <a:gd name="connsiteX2551" fmla="*/ 3528823 w 3862373"/>
                <a:gd name="connsiteY2551" fmla="*/ 985473 h 3682908"/>
                <a:gd name="connsiteX2552" fmla="*/ 3489737 w 3862373"/>
                <a:gd name="connsiteY2552" fmla="*/ 1024560 h 3682908"/>
                <a:gd name="connsiteX2553" fmla="*/ 3450649 w 3862373"/>
                <a:gd name="connsiteY2553" fmla="*/ 985473 h 3682908"/>
                <a:gd name="connsiteX2554" fmla="*/ 3489737 w 3862373"/>
                <a:gd name="connsiteY2554" fmla="*/ 946387 h 3682908"/>
                <a:gd name="connsiteX2555" fmla="*/ 3392731 w 3862373"/>
                <a:gd name="connsiteY2555" fmla="*/ 946387 h 3682908"/>
                <a:gd name="connsiteX2556" fmla="*/ 3431819 w 3862373"/>
                <a:gd name="connsiteY2556" fmla="*/ 985473 h 3682908"/>
                <a:gd name="connsiteX2557" fmla="*/ 3392731 w 3862373"/>
                <a:gd name="connsiteY2557" fmla="*/ 1024560 h 3682908"/>
                <a:gd name="connsiteX2558" fmla="*/ 3353644 w 3862373"/>
                <a:gd name="connsiteY2558" fmla="*/ 985473 h 3682908"/>
                <a:gd name="connsiteX2559" fmla="*/ 3392731 w 3862373"/>
                <a:gd name="connsiteY2559" fmla="*/ 946387 h 3682908"/>
                <a:gd name="connsiteX2560" fmla="*/ 3300455 w 3862373"/>
                <a:gd name="connsiteY2560" fmla="*/ 946387 h 3682908"/>
                <a:gd name="connsiteX2561" fmla="*/ 3339543 w 3862373"/>
                <a:gd name="connsiteY2561" fmla="*/ 985473 h 3682908"/>
                <a:gd name="connsiteX2562" fmla="*/ 3300455 w 3862373"/>
                <a:gd name="connsiteY2562" fmla="*/ 1024560 h 3682908"/>
                <a:gd name="connsiteX2563" fmla="*/ 3261368 w 3862373"/>
                <a:gd name="connsiteY2563" fmla="*/ 985473 h 3682908"/>
                <a:gd name="connsiteX2564" fmla="*/ 3300455 w 3862373"/>
                <a:gd name="connsiteY2564" fmla="*/ 946387 h 3682908"/>
                <a:gd name="connsiteX2565" fmla="*/ 3205815 w 3862373"/>
                <a:gd name="connsiteY2565" fmla="*/ 946387 h 3682908"/>
                <a:gd name="connsiteX2566" fmla="*/ 3244903 w 3862373"/>
                <a:gd name="connsiteY2566" fmla="*/ 985473 h 3682908"/>
                <a:gd name="connsiteX2567" fmla="*/ 3205815 w 3862373"/>
                <a:gd name="connsiteY2567" fmla="*/ 1024560 h 3682908"/>
                <a:gd name="connsiteX2568" fmla="*/ 3166728 w 3862373"/>
                <a:gd name="connsiteY2568" fmla="*/ 985473 h 3682908"/>
                <a:gd name="connsiteX2569" fmla="*/ 3205815 w 3862373"/>
                <a:gd name="connsiteY2569" fmla="*/ 946387 h 3682908"/>
                <a:gd name="connsiteX2570" fmla="*/ 3111175 w 3862373"/>
                <a:gd name="connsiteY2570" fmla="*/ 946387 h 3682908"/>
                <a:gd name="connsiteX2571" fmla="*/ 3150263 w 3862373"/>
                <a:gd name="connsiteY2571" fmla="*/ 985473 h 3682908"/>
                <a:gd name="connsiteX2572" fmla="*/ 3111175 w 3862373"/>
                <a:gd name="connsiteY2572" fmla="*/ 1024560 h 3682908"/>
                <a:gd name="connsiteX2573" fmla="*/ 3072088 w 3862373"/>
                <a:gd name="connsiteY2573" fmla="*/ 985473 h 3682908"/>
                <a:gd name="connsiteX2574" fmla="*/ 3111175 w 3862373"/>
                <a:gd name="connsiteY2574" fmla="*/ 946387 h 3682908"/>
                <a:gd name="connsiteX2575" fmla="*/ 3018902 w 3862373"/>
                <a:gd name="connsiteY2575" fmla="*/ 946387 h 3682908"/>
                <a:gd name="connsiteX2576" fmla="*/ 3057989 w 3862373"/>
                <a:gd name="connsiteY2576" fmla="*/ 985473 h 3682908"/>
                <a:gd name="connsiteX2577" fmla="*/ 3018902 w 3862373"/>
                <a:gd name="connsiteY2577" fmla="*/ 1024560 h 3682908"/>
                <a:gd name="connsiteX2578" fmla="*/ 2979815 w 3862373"/>
                <a:gd name="connsiteY2578" fmla="*/ 985473 h 3682908"/>
                <a:gd name="connsiteX2579" fmla="*/ 3018902 w 3862373"/>
                <a:gd name="connsiteY2579" fmla="*/ 946387 h 3682908"/>
                <a:gd name="connsiteX2580" fmla="*/ 2737369 w 3862373"/>
                <a:gd name="connsiteY2580" fmla="*/ 946387 h 3682908"/>
                <a:gd name="connsiteX2581" fmla="*/ 2776434 w 3862373"/>
                <a:gd name="connsiteY2581" fmla="*/ 985473 h 3682908"/>
                <a:gd name="connsiteX2582" fmla="*/ 2737369 w 3862373"/>
                <a:gd name="connsiteY2582" fmla="*/ 1024560 h 3682908"/>
                <a:gd name="connsiteX2583" fmla="*/ 2698271 w 3862373"/>
                <a:gd name="connsiteY2583" fmla="*/ 985473 h 3682908"/>
                <a:gd name="connsiteX2584" fmla="*/ 2737369 w 3862373"/>
                <a:gd name="connsiteY2584" fmla="*/ 946387 h 3682908"/>
                <a:gd name="connsiteX2585" fmla="*/ 2458167 w 3862373"/>
                <a:gd name="connsiteY2585" fmla="*/ 946387 h 3682908"/>
                <a:gd name="connsiteX2586" fmla="*/ 2497255 w 3862373"/>
                <a:gd name="connsiteY2586" fmla="*/ 985473 h 3682908"/>
                <a:gd name="connsiteX2587" fmla="*/ 2458167 w 3862373"/>
                <a:gd name="connsiteY2587" fmla="*/ 1024560 h 3682908"/>
                <a:gd name="connsiteX2588" fmla="*/ 2419086 w 3862373"/>
                <a:gd name="connsiteY2588" fmla="*/ 985473 h 3682908"/>
                <a:gd name="connsiteX2589" fmla="*/ 2458167 w 3862373"/>
                <a:gd name="connsiteY2589" fmla="*/ 946387 h 3682908"/>
                <a:gd name="connsiteX2590" fmla="*/ 1329646 w 3862373"/>
                <a:gd name="connsiteY2590" fmla="*/ 946387 h 3682908"/>
                <a:gd name="connsiteX2591" fmla="*/ 1368735 w 3862373"/>
                <a:gd name="connsiteY2591" fmla="*/ 985473 h 3682908"/>
                <a:gd name="connsiteX2592" fmla="*/ 1329646 w 3862373"/>
                <a:gd name="connsiteY2592" fmla="*/ 1024560 h 3682908"/>
                <a:gd name="connsiteX2593" fmla="*/ 1290566 w 3862373"/>
                <a:gd name="connsiteY2593" fmla="*/ 985473 h 3682908"/>
                <a:gd name="connsiteX2594" fmla="*/ 1329646 w 3862373"/>
                <a:gd name="connsiteY2594" fmla="*/ 946387 h 3682908"/>
                <a:gd name="connsiteX2595" fmla="*/ 1232653 w 3862373"/>
                <a:gd name="connsiteY2595" fmla="*/ 946387 h 3682908"/>
                <a:gd name="connsiteX2596" fmla="*/ 1271726 w 3862373"/>
                <a:gd name="connsiteY2596" fmla="*/ 985473 h 3682908"/>
                <a:gd name="connsiteX2597" fmla="*/ 1232653 w 3862373"/>
                <a:gd name="connsiteY2597" fmla="*/ 1024560 h 3682908"/>
                <a:gd name="connsiteX2598" fmla="*/ 1193568 w 3862373"/>
                <a:gd name="connsiteY2598" fmla="*/ 985473 h 3682908"/>
                <a:gd name="connsiteX2599" fmla="*/ 1232653 w 3862373"/>
                <a:gd name="connsiteY2599" fmla="*/ 946387 h 3682908"/>
                <a:gd name="connsiteX2600" fmla="*/ 1142740 w 3862373"/>
                <a:gd name="connsiteY2600" fmla="*/ 946387 h 3682908"/>
                <a:gd name="connsiteX2601" fmla="*/ 1181832 w 3862373"/>
                <a:gd name="connsiteY2601" fmla="*/ 985473 h 3682908"/>
                <a:gd name="connsiteX2602" fmla="*/ 1142740 w 3862373"/>
                <a:gd name="connsiteY2602" fmla="*/ 1024560 h 3682908"/>
                <a:gd name="connsiteX2603" fmla="*/ 1103643 w 3862373"/>
                <a:gd name="connsiteY2603" fmla="*/ 985473 h 3682908"/>
                <a:gd name="connsiteX2604" fmla="*/ 1142740 w 3862373"/>
                <a:gd name="connsiteY2604" fmla="*/ 946387 h 3682908"/>
                <a:gd name="connsiteX2605" fmla="*/ 1045716 w 3862373"/>
                <a:gd name="connsiteY2605" fmla="*/ 946387 h 3682908"/>
                <a:gd name="connsiteX2606" fmla="*/ 1084805 w 3862373"/>
                <a:gd name="connsiteY2606" fmla="*/ 985473 h 3682908"/>
                <a:gd name="connsiteX2607" fmla="*/ 1045716 w 3862373"/>
                <a:gd name="connsiteY2607" fmla="*/ 1024560 h 3682908"/>
                <a:gd name="connsiteX2608" fmla="*/ 1006635 w 3862373"/>
                <a:gd name="connsiteY2608" fmla="*/ 985473 h 3682908"/>
                <a:gd name="connsiteX2609" fmla="*/ 1045716 w 3862373"/>
                <a:gd name="connsiteY2609" fmla="*/ 946387 h 3682908"/>
                <a:gd name="connsiteX2610" fmla="*/ 764201 w 3862373"/>
                <a:gd name="connsiteY2610" fmla="*/ 946387 h 3682908"/>
                <a:gd name="connsiteX2611" fmla="*/ 803284 w 3862373"/>
                <a:gd name="connsiteY2611" fmla="*/ 985473 h 3682908"/>
                <a:gd name="connsiteX2612" fmla="*/ 764201 w 3862373"/>
                <a:gd name="connsiteY2612" fmla="*/ 1024560 h 3682908"/>
                <a:gd name="connsiteX2613" fmla="*/ 725120 w 3862373"/>
                <a:gd name="connsiteY2613" fmla="*/ 985473 h 3682908"/>
                <a:gd name="connsiteX2614" fmla="*/ 764201 w 3862373"/>
                <a:gd name="connsiteY2614" fmla="*/ 946387 h 3682908"/>
                <a:gd name="connsiteX2615" fmla="*/ 669559 w 3862373"/>
                <a:gd name="connsiteY2615" fmla="*/ 946387 h 3682908"/>
                <a:gd name="connsiteX2616" fmla="*/ 708656 w 3862373"/>
                <a:gd name="connsiteY2616" fmla="*/ 985473 h 3682908"/>
                <a:gd name="connsiteX2617" fmla="*/ 669559 w 3862373"/>
                <a:gd name="connsiteY2617" fmla="*/ 1024560 h 3682908"/>
                <a:gd name="connsiteX2618" fmla="*/ 630479 w 3862373"/>
                <a:gd name="connsiteY2618" fmla="*/ 985473 h 3682908"/>
                <a:gd name="connsiteX2619" fmla="*/ 669559 w 3862373"/>
                <a:gd name="connsiteY2619" fmla="*/ 946387 h 3682908"/>
                <a:gd name="connsiteX2620" fmla="*/ 577276 w 3862373"/>
                <a:gd name="connsiteY2620" fmla="*/ 946387 h 3682908"/>
                <a:gd name="connsiteX2621" fmla="*/ 616374 w 3862373"/>
                <a:gd name="connsiteY2621" fmla="*/ 985473 h 3682908"/>
                <a:gd name="connsiteX2622" fmla="*/ 577276 w 3862373"/>
                <a:gd name="connsiteY2622" fmla="*/ 1024560 h 3682908"/>
                <a:gd name="connsiteX2623" fmla="*/ 538178 w 3862373"/>
                <a:gd name="connsiteY2623" fmla="*/ 985473 h 3682908"/>
                <a:gd name="connsiteX2624" fmla="*/ 577276 w 3862373"/>
                <a:gd name="connsiteY2624" fmla="*/ 946387 h 3682908"/>
                <a:gd name="connsiteX2625" fmla="*/ 484989 w 3862373"/>
                <a:gd name="connsiteY2625" fmla="*/ 946387 h 3682908"/>
                <a:gd name="connsiteX2626" fmla="*/ 524074 w 3862373"/>
                <a:gd name="connsiteY2626" fmla="*/ 985473 h 3682908"/>
                <a:gd name="connsiteX2627" fmla="*/ 484989 w 3862373"/>
                <a:gd name="connsiteY2627" fmla="*/ 1024560 h 3682908"/>
                <a:gd name="connsiteX2628" fmla="*/ 445913 w 3862373"/>
                <a:gd name="connsiteY2628" fmla="*/ 985473 h 3682908"/>
                <a:gd name="connsiteX2629" fmla="*/ 484989 w 3862373"/>
                <a:gd name="connsiteY2629" fmla="*/ 946387 h 3682908"/>
                <a:gd name="connsiteX2630" fmla="*/ 390337 w 3862373"/>
                <a:gd name="connsiteY2630" fmla="*/ 946387 h 3682908"/>
                <a:gd name="connsiteX2631" fmla="*/ 429441 w 3862373"/>
                <a:gd name="connsiteY2631" fmla="*/ 985473 h 3682908"/>
                <a:gd name="connsiteX2632" fmla="*/ 390337 w 3862373"/>
                <a:gd name="connsiteY2632" fmla="*/ 1024560 h 3682908"/>
                <a:gd name="connsiteX2633" fmla="*/ 351272 w 3862373"/>
                <a:gd name="connsiteY2633" fmla="*/ 985473 h 3682908"/>
                <a:gd name="connsiteX2634" fmla="*/ 390337 w 3862373"/>
                <a:gd name="connsiteY2634" fmla="*/ 946387 h 3682908"/>
                <a:gd name="connsiteX2635" fmla="*/ 298073 w 3862373"/>
                <a:gd name="connsiteY2635" fmla="*/ 946387 h 3682908"/>
                <a:gd name="connsiteX2636" fmla="*/ 337170 w 3862373"/>
                <a:gd name="connsiteY2636" fmla="*/ 985473 h 3682908"/>
                <a:gd name="connsiteX2637" fmla="*/ 298073 w 3862373"/>
                <a:gd name="connsiteY2637" fmla="*/ 1024560 h 3682908"/>
                <a:gd name="connsiteX2638" fmla="*/ 258982 w 3862373"/>
                <a:gd name="connsiteY2638" fmla="*/ 985473 h 3682908"/>
                <a:gd name="connsiteX2639" fmla="*/ 298073 w 3862373"/>
                <a:gd name="connsiteY2639" fmla="*/ 946387 h 3682908"/>
                <a:gd name="connsiteX2640" fmla="*/ 203426 w 3862373"/>
                <a:gd name="connsiteY2640" fmla="*/ 946387 h 3682908"/>
                <a:gd name="connsiteX2641" fmla="*/ 242516 w 3862373"/>
                <a:gd name="connsiteY2641" fmla="*/ 985473 h 3682908"/>
                <a:gd name="connsiteX2642" fmla="*/ 203426 w 3862373"/>
                <a:gd name="connsiteY2642" fmla="*/ 1024560 h 3682908"/>
                <a:gd name="connsiteX2643" fmla="*/ 164342 w 3862373"/>
                <a:gd name="connsiteY2643" fmla="*/ 985473 h 3682908"/>
                <a:gd name="connsiteX2644" fmla="*/ 203426 w 3862373"/>
                <a:gd name="connsiteY2644" fmla="*/ 946387 h 3682908"/>
                <a:gd name="connsiteX2645" fmla="*/ 111154 w 3862373"/>
                <a:gd name="connsiteY2645" fmla="*/ 946387 h 3682908"/>
                <a:gd name="connsiteX2646" fmla="*/ 150240 w 3862373"/>
                <a:gd name="connsiteY2646" fmla="*/ 985473 h 3682908"/>
                <a:gd name="connsiteX2647" fmla="*/ 111154 w 3862373"/>
                <a:gd name="connsiteY2647" fmla="*/ 1024560 h 3682908"/>
                <a:gd name="connsiteX2648" fmla="*/ 72068 w 3862373"/>
                <a:gd name="connsiteY2648" fmla="*/ 985473 h 3682908"/>
                <a:gd name="connsiteX2649" fmla="*/ 111154 w 3862373"/>
                <a:gd name="connsiteY2649" fmla="*/ 946387 h 3682908"/>
                <a:gd name="connsiteX2650" fmla="*/ 3644655 w 3862373"/>
                <a:gd name="connsiteY2650" fmla="*/ 891256 h 3682908"/>
                <a:gd name="connsiteX2651" fmla="*/ 3666478 w 3862373"/>
                <a:gd name="connsiteY2651" fmla="*/ 936557 h 3682908"/>
                <a:gd name="connsiteX2652" fmla="*/ 3651378 w 3862373"/>
                <a:gd name="connsiteY2652" fmla="*/ 930303 h 3682908"/>
                <a:gd name="connsiteX2653" fmla="*/ 3639929 w 3862373"/>
                <a:gd name="connsiteY2653" fmla="*/ 902664 h 3682908"/>
                <a:gd name="connsiteX2654" fmla="*/ 3584377 w 3862373"/>
                <a:gd name="connsiteY2654" fmla="*/ 863578 h 3682908"/>
                <a:gd name="connsiteX2655" fmla="*/ 3623463 w 3862373"/>
                <a:gd name="connsiteY2655" fmla="*/ 902664 h 3682908"/>
                <a:gd name="connsiteX2656" fmla="*/ 3584377 w 3862373"/>
                <a:gd name="connsiteY2656" fmla="*/ 941751 h 3682908"/>
                <a:gd name="connsiteX2657" fmla="*/ 3545289 w 3862373"/>
                <a:gd name="connsiteY2657" fmla="*/ 902664 h 3682908"/>
                <a:gd name="connsiteX2658" fmla="*/ 3584377 w 3862373"/>
                <a:gd name="connsiteY2658" fmla="*/ 863578 h 3682908"/>
                <a:gd name="connsiteX2659" fmla="*/ 3489737 w 3862373"/>
                <a:gd name="connsiteY2659" fmla="*/ 863578 h 3682908"/>
                <a:gd name="connsiteX2660" fmla="*/ 3528823 w 3862373"/>
                <a:gd name="connsiteY2660" fmla="*/ 902664 h 3682908"/>
                <a:gd name="connsiteX2661" fmla="*/ 3489737 w 3862373"/>
                <a:gd name="connsiteY2661" fmla="*/ 941751 h 3682908"/>
                <a:gd name="connsiteX2662" fmla="*/ 3450649 w 3862373"/>
                <a:gd name="connsiteY2662" fmla="*/ 902664 h 3682908"/>
                <a:gd name="connsiteX2663" fmla="*/ 3489737 w 3862373"/>
                <a:gd name="connsiteY2663" fmla="*/ 863578 h 3682908"/>
                <a:gd name="connsiteX2664" fmla="*/ 3392731 w 3862373"/>
                <a:gd name="connsiteY2664" fmla="*/ 863578 h 3682908"/>
                <a:gd name="connsiteX2665" fmla="*/ 3431819 w 3862373"/>
                <a:gd name="connsiteY2665" fmla="*/ 902664 h 3682908"/>
                <a:gd name="connsiteX2666" fmla="*/ 3392731 w 3862373"/>
                <a:gd name="connsiteY2666" fmla="*/ 941751 h 3682908"/>
                <a:gd name="connsiteX2667" fmla="*/ 3353644 w 3862373"/>
                <a:gd name="connsiteY2667" fmla="*/ 902664 h 3682908"/>
                <a:gd name="connsiteX2668" fmla="*/ 3392731 w 3862373"/>
                <a:gd name="connsiteY2668" fmla="*/ 863578 h 3682908"/>
                <a:gd name="connsiteX2669" fmla="*/ 3300455 w 3862373"/>
                <a:gd name="connsiteY2669" fmla="*/ 863578 h 3682908"/>
                <a:gd name="connsiteX2670" fmla="*/ 3339543 w 3862373"/>
                <a:gd name="connsiteY2670" fmla="*/ 902664 h 3682908"/>
                <a:gd name="connsiteX2671" fmla="*/ 3300455 w 3862373"/>
                <a:gd name="connsiteY2671" fmla="*/ 941751 h 3682908"/>
                <a:gd name="connsiteX2672" fmla="*/ 3261368 w 3862373"/>
                <a:gd name="connsiteY2672" fmla="*/ 902664 h 3682908"/>
                <a:gd name="connsiteX2673" fmla="*/ 3300455 w 3862373"/>
                <a:gd name="connsiteY2673" fmla="*/ 863578 h 3682908"/>
                <a:gd name="connsiteX2674" fmla="*/ 3205815 w 3862373"/>
                <a:gd name="connsiteY2674" fmla="*/ 863578 h 3682908"/>
                <a:gd name="connsiteX2675" fmla="*/ 3244903 w 3862373"/>
                <a:gd name="connsiteY2675" fmla="*/ 902664 h 3682908"/>
                <a:gd name="connsiteX2676" fmla="*/ 3205815 w 3862373"/>
                <a:gd name="connsiteY2676" fmla="*/ 941751 h 3682908"/>
                <a:gd name="connsiteX2677" fmla="*/ 3166728 w 3862373"/>
                <a:gd name="connsiteY2677" fmla="*/ 902664 h 3682908"/>
                <a:gd name="connsiteX2678" fmla="*/ 3205815 w 3862373"/>
                <a:gd name="connsiteY2678" fmla="*/ 863578 h 3682908"/>
                <a:gd name="connsiteX2679" fmla="*/ 3111175 w 3862373"/>
                <a:gd name="connsiteY2679" fmla="*/ 863578 h 3682908"/>
                <a:gd name="connsiteX2680" fmla="*/ 3150263 w 3862373"/>
                <a:gd name="connsiteY2680" fmla="*/ 902664 h 3682908"/>
                <a:gd name="connsiteX2681" fmla="*/ 3111175 w 3862373"/>
                <a:gd name="connsiteY2681" fmla="*/ 941751 h 3682908"/>
                <a:gd name="connsiteX2682" fmla="*/ 3072088 w 3862373"/>
                <a:gd name="connsiteY2682" fmla="*/ 902664 h 3682908"/>
                <a:gd name="connsiteX2683" fmla="*/ 3111175 w 3862373"/>
                <a:gd name="connsiteY2683" fmla="*/ 863578 h 3682908"/>
                <a:gd name="connsiteX2684" fmla="*/ 3018902 w 3862373"/>
                <a:gd name="connsiteY2684" fmla="*/ 863578 h 3682908"/>
                <a:gd name="connsiteX2685" fmla="*/ 3057989 w 3862373"/>
                <a:gd name="connsiteY2685" fmla="*/ 902664 h 3682908"/>
                <a:gd name="connsiteX2686" fmla="*/ 3018902 w 3862373"/>
                <a:gd name="connsiteY2686" fmla="*/ 941751 h 3682908"/>
                <a:gd name="connsiteX2687" fmla="*/ 2979815 w 3862373"/>
                <a:gd name="connsiteY2687" fmla="*/ 902664 h 3682908"/>
                <a:gd name="connsiteX2688" fmla="*/ 3018902 w 3862373"/>
                <a:gd name="connsiteY2688" fmla="*/ 863578 h 3682908"/>
                <a:gd name="connsiteX2689" fmla="*/ 2831987 w 3862373"/>
                <a:gd name="connsiteY2689" fmla="*/ 863578 h 3682908"/>
                <a:gd name="connsiteX2690" fmla="*/ 2871074 w 3862373"/>
                <a:gd name="connsiteY2690" fmla="*/ 902664 h 3682908"/>
                <a:gd name="connsiteX2691" fmla="*/ 2831987 w 3862373"/>
                <a:gd name="connsiteY2691" fmla="*/ 941751 h 3682908"/>
                <a:gd name="connsiteX2692" fmla="*/ 2792900 w 3862373"/>
                <a:gd name="connsiteY2692" fmla="*/ 902664 h 3682908"/>
                <a:gd name="connsiteX2693" fmla="*/ 2831987 w 3862373"/>
                <a:gd name="connsiteY2693" fmla="*/ 863578 h 3682908"/>
                <a:gd name="connsiteX2694" fmla="*/ 2737371 w 3862373"/>
                <a:gd name="connsiteY2694" fmla="*/ 863578 h 3682908"/>
                <a:gd name="connsiteX2695" fmla="*/ 2776434 w 3862373"/>
                <a:gd name="connsiteY2695" fmla="*/ 902664 h 3682908"/>
                <a:gd name="connsiteX2696" fmla="*/ 2737371 w 3862373"/>
                <a:gd name="connsiteY2696" fmla="*/ 941751 h 3682908"/>
                <a:gd name="connsiteX2697" fmla="*/ 2698272 w 3862373"/>
                <a:gd name="connsiteY2697" fmla="*/ 902664 h 3682908"/>
                <a:gd name="connsiteX2698" fmla="*/ 2737371 w 3862373"/>
                <a:gd name="connsiteY2698" fmla="*/ 863578 h 3682908"/>
                <a:gd name="connsiteX2699" fmla="*/ 2645074 w 3862373"/>
                <a:gd name="connsiteY2699" fmla="*/ 863578 h 3682908"/>
                <a:gd name="connsiteX2700" fmla="*/ 2684168 w 3862373"/>
                <a:gd name="connsiteY2700" fmla="*/ 902664 h 3682908"/>
                <a:gd name="connsiteX2701" fmla="*/ 2645074 w 3862373"/>
                <a:gd name="connsiteY2701" fmla="*/ 941751 h 3682908"/>
                <a:gd name="connsiteX2702" fmla="*/ 2605987 w 3862373"/>
                <a:gd name="connsiteY2702" fmla="*/ 902664 h 3682908"/>
                <a:gd name="connsiteX2703" fmla="*/ 2645074 w 3862373"/>
                <a:gd name="connsiteY2703" fmla="*/ 863578 h 3682908"/>
                <a:gd name="connsiteX2704" fmla="*/ 2458167 w 3862373"/>
                <a:gd name="connsiteY2704" fmla="*/ 863577 h 3682908"/>
                <a:gd name="connsiteX2705" fmla="*/ 2497256 w 3862373"/>
                <a:gd name="connsiteY2705" fmla="*/ 902664 h 3682908"/>
                <a:gd name="connsiteX2706" fmla="*/ 2458167 w 3862373"/>
                <a:gd name="connsiteY2706" fmla="*/ 941750 h 3682908"/>
                <a:gd name="connsiteX2707" fmla="*/ 2419089 w 3862373"/>
                <a:gd name="connsiteY2707" fmla="*/ 902664 h 3682908"/>
                <a:gd name="connsiteX2708" fmla="*/ 2458167 w 3862373"/>
                <a:gd name="connsiteY2708" fmla="*/ 863577 h 3682908"/>
                <a:gd name="connsiteX2709" fmla="*/ 1232658 w 3862373"/>
                <a:gd name="connsiteY2709" fmla="*/ 863577 h 3682908"/>
                <a:gd name="connsiteX2710" fmla="*/ 1271731 w 3862373"/>
                <a:gd name="connsiteY2710" fmla="*/ 902664 h 3682908"/>
                <a:gd name="connsiteX2711" fmla="*/ 1232658 w 3862373"/>
                <a:gd name="connsiteY2711" fmla="*/ 941750 h 3682908"/>
                <a:gd name="connsiteX2712" fmla="*/ 1193572 w 3862373"/>
                <a:gd name="connsiteY2712" fmla="*/ 902664 h 3682908"/>
                <a:gd name="connsiteX2713" fmla="*/ 1232658 w 3862373"/>
                <a:gd name="connsiteY2713" fmla="*/ 863577 h 3682908"/>
                <a:gd name="connsiteX2714" fmla="*/ 1142744 w 3862373"/>
                <a:gd name="connsiteY2714" fmla="*/ 863577 h 3682908"/>
                <a:gd name="connsiteX2715" fmla="*/ 1181836 w 3862373"/>
                <a:gd name="connsiteY2715" fmla="*/ 902664 h 3682908"/>
                <a:gd name="connsiteX2716" fmla="*/ 1142744 w 3862373"/>
                <a:gd name="connsiteY2716" fmla="*/ 941750 h 3682908"/>
                <a:gd name="connsiteX2717" fmla="*/ 1103646 w 3862373"/>
                <a:gd name="connsiteY2717" fmla="*/ 902664 h 3682908"/>
                <a:gd name="connsiteX2718" fmla="*/ 1142744 w 3862373"/>
                <a:gd name="connsiteY2718" fmla="*/ 863577 h 3682908"/>
                <a:gd name="connsiteX2719" fmla="*/ 1045719 w 3862373"/>
                <a:gd name="connsiteY2719" fmla="*/ 863577 h 3682908"/>
                <a:gd name="connsiteX2720" fmla="*/ 1084808 w 3862373"/>
                <a:gd name="connsiteY2720" fmla="*/ 902664 h 3682908"/>
                <a:gd name="connsiteX2721" fmla="*/ 1045719 w 3862373"/>
                <a:gd name="connsiteY2721" fmla="*/ 941750 h 3682908"/>
                <a:gd name="connsiteX2722" fmla="*/ 1006638 w 3862373"/>
                <a:gd name="connsiteY2722" fmla="*/ 902664 h 3682908"/>
                <a:gd name="connsiteX2723" fmla="*/ 1045719 w 3862373"/>
                <a:gd name="connsiteY2723" fmla="*/ 863577 h 3682908"/>
                <a:gd name="connsiteX2724" fmla="*/ 669559 w 3862373"/>
                <a:gd name="connsiteY2724" fmla="*/ 863577 h 3682908"/>
                <a:gd name="connsiteX2725" fmla="*/ 708661 w 3862373"/>
                <a:gd name="connsiteY2725" fmla="*/ 902664 h 3682908"/>
                <a:gd name="connsiteX2726" fmla="*/ 669559 w 3862373"/>
                <a:gd name="connsiteY2726" fmla="*/ 941750 h 3682908"/>
                <a:gd name="connsiteX2727" fmla="*/ 630484 w 3862373"/>
                <a:gd name="connsiteY2727" fmla="*/ 902664 h 3682908"/>
                <a:gd name="connsiteX2728" fmla="*/ 669559 w 3862373"/>
                <a:gd name="connsiteY2728" fmla="*/ 863577 h 3682908"/>
                <a:gd name="connsiteX2729" fmla="*/ 577280 w 3862373"/>
                <a:gd name="connsiteY2729" fmla="*/ 863577 h 3682908"/>
                <a:gd name="connsiteX2730" fmla="*/ 616379 w 3862373"/>
                <a:gd name="connsiteY2730" fmla="*/ 902664 h 3682908"/>
                <a:gd name="connsiteX2731" fmla="*/ 577280 w 3862373"/>
                <a:gd name="connsiteY2731" fmla="*/ 941750 h 3682908"/>
                <a:gd name="connsiteX2732" fmla="*/ 538181 w 3862373"/>
                <a:gd name="connsiteY2732" fmla="*/ 902664 h 3682908"/>
                <a:gd name="connsiteX2733" fmla="*/ 577280 w 3862373"/>
                <a:gd name="connsiteY2733" fmla="*/ 863577 h 3682908"/>
                <a:gd name="connsiteX2734" fmla="*/ 484994 w 3862373"/>
                <a:gd name="connsiteY2734" fmla="*/ 863577 h 3682908"/>
                <a:gd name="connsiteX2735" fmla="*/ 524078 w 3862373"/>
                <a:gd name="connsiteY2735" fmla="*/ 902664 h 3682908"/>
                <a:gd name="connsiteX2736" fmla="*/ 484994 w 3862373"/>
                <a:gd name="connsiteY2736" fmla="*/ 941750 h 3682908"/>
                <a:gd name="connsiteX2737" fmla="*/ 445922 w 3862373"/>
                <a:gd name="connsiteY2737" fmla="*/ 902664 h 3682908"/>
                <a:gd name="connsiteX2738" fmla="*/ 484994 w 3862373"/>
                <a:gd name="connsiteY2738" fmla="*/ 863577 h 3682908"/>
                <a:gd name="connsiteX2739" fmla="*/ 390347 w 3862373"/>
                <a:gd name="connsiteY2739" fmla="*/ 863577 h 3682908"/>
                <a:gd name="connsiteX2740" fmla="*/ 429445 w 3862373"/>
                <a:gd name="connsiteY2740" fmla="*/ 902664 h 3682908"/>
                <a:gd name="connsiteX2741" fmla="*/ 390347 w 3862373"/>
                <a:gd name="connsiteY2741" fmla="*/ 941750 h 3682908"/>
                <a:gd name="connsiteX2742" fmla="*/ 351276 w 3862373"/>
                <a:gd name="connsiteY2742" fmla="*/ 902664 h 3682908"/>
                <a:gd name="connsiteX2743" fmla="*/ 390347 w 3862373"/>
                <a:gd name="connsiteY2743" fmla="*/ 863577 h 3682908"/>
                <a:gd name="connsiteX2744" fmla="*/ 298076 w 3862373"/>
                <a:gd name="connsiteY2744" fmla="*/ 863577 h 3682908"/>
                <a:gd name="connsiteX2745" fmla="*/ 337175 w 3862373"/>
                <a:gd name="connsiteY2745" fmla="*/ 902664 h 3682908"/>
                <a:gd name="connsiteX2746" fmla="*/ 298076 w 3862373"/>
                <a:gd name="connsiteY2746" fmla="*/ 941750 h 3682908"/>
                <a:gd name="connsiteX2747" fmla="*/ 258986 w 3862373"/>
                <a:gd name="connsiteY2747" fmla="*/ 902664 h 3682908"/>
                <a:gd name="connsiteX2748" fmla="*/ 298076 w 3862373"/>
                <a:gd name="connsiteY2748" fmla="*/ 863577 h 3682908"/>
                <a:gd name="connsiteX2749" fmla="*/ 203430 w 3862373"/>
                <a:gd name="connsiteY2749" fmla="*/ 863577 h 3682908"/>
                <a:gd name="connsiteX2750" fmla="*/ 242520 w 3862373"/>
                <a:gd name="connsiteY2750" fmla="*/ 902664 h 3682908"/>
                <a:gd name="connsiteX2751" fmla="*/ 203430 w 3862373"/>
                <a:gd name="connsiteY2751" fmla="*/ 941750 h 3682908"/>
                <a:gd name="connsiteX2752" fmla="*/ 164345 w 3862373"/>
                <a:gd name="connsiteY2752" fmla="*/ 902664 h 3682908"/>
                <a:gd name="connsiteX2753" fmla="*/ 203430 w 3862373"/>
                <a:gd name="connsiteY2753" fmla="*/ 863577 h 3682908"/>
                <a:gd name="connsiteX2754" fmla="*/ 111158 w 3862373"/>
                <a:gd name="connsiteY2754" fmla="*/ 863577 h 3682908"/>
                <a:gd name="connsiteX2755" fmla="*/ 150245 w 3862373"/>
                <a:gd name="connsiteY2755" fmla="*/ 902664 h 3682908"/>
                <a:gd name="connsiteX2756" fmla="*/ 111158 w 3862373"/>
                <a:gd name="connsiteY2756" fmla="*/ 941750 h 3682908"/>
                <a:gd name="connsiteX2757" fmla="*/ 83520 w 3862373"/>
                <a:gd name="connsiteY2757" fmla="*/ 930302 h 3682908"/>
                <a:gd name="connsiteX2758" fmla="*/ 79204 w 3862373"/>
                <a:gd name="connsiteY2758" fmla="*/ 919881 h 3682908"/>
                <a:gd name="connsiteX2759" fmla="*/ 105123 w 3862373"/>
                <a:gd name="connsiteY2759" fmla="*/ 866077 h 3682908"/>
                <a:gd name="connsiteX2760" fmla="*/ 142783 w 3862373"/>
                <a:gd name="connsiteY2760" fmla="*/ 799461 h 3682908"/>
                <a:gd name="connsiteX2761" fmla="*/ 150250 w 3862373"/>
                <a:gd name="connsiteY2761" fmla="*/ 817487 h 3682908"/>
                <a:gd name="connsiteX2762" fmla="*/ 111162 w 3862373"/>
                <a:gd name="connsiteY2762" fmla="*/ 856575 h 3682908"/>
                <a:gd name="connsiteX2763" fmla="*/ 109944 w 3862373"/>
                <a:gd name="connsiteY2763" fmla="*/ 856070 h 3682908"/>
                <a:gd name="connsiteX2764" fmla="*/ 115886 w 3862373"/>
                <a:gd name="connsiteY2764" fmla="*/ 843734 h 3682908"/>
                <a:gd name="connsiteX2765" fmla="*/ 3582534 w 3862373"/>
                <a:gd name="connsiteY2765" fmla="*/ 779163 h 3682908"/>
                <a:gd name="connsiteX2766" fmla="*/ 3616309 w 3862373"/>
                <a:gd name="connsiteY2766" fmla="*/ 834758 h 3682908"/>
                <a:gd name="connsiteX2767" fmla="*/ 3612015 w 3862373"/>
                <a:gd name="connsiteY2767" fmla="*/ 845126 h 3682908"/>
                <a:gd name="connsiteX2768" fmla="*/ 3584375 w 3862373"/>
                <a:gd name="connsiteY2768" fmla="*/ 856575 h 3682908"/>
                <a:gd name="connsiteX2769" fmla="*/ 3545289 w 3862373"/>
                <a:gd name="connsiteY2769" fmla="*/ 817487 h 3682908"/>
                <a:gd name="connsiteX2770" fmla="*/ 3556737 w 3862373"/>
                <a:gd name="connsiteY2770" fmla="*/ 789849 h 3682908"/>
                <a:gd name="connsiteX2771" fmla="*/ 3489735 w 3862373"/>
                <a:gd name="connsiteY2771" fmla="*/ 778400 h 3682908"/>
                <a:gd name="connsiteX2772" fmla="*/ 3528823 w 3862373"/>
                <a:gd name="connsiteY2772" fmla="*/ 817487 h 3682908"/>
                <a:gd name="connsiteX2773" fmla="*/ 3489735 w 3862373"/>
                <a:gd name="connsiteY2773" fmla="*/ 856575 h 3682908"/>
                <a:gd name="connsiteX2774" fmla="*/ 3450649 w 3862373"/>
                <a:gd name="connsiteY2774" fmla="*/ 817487 h 3682908"/>
                <a:gd name="connsiteX2775" fmla="*/ 3489735 w 3862373"/>
                <a:gd name="connsiteY2775" fmla="*/ 778400 h 3682908"/>
                <a:gd name="connsiteX2776" fmla="*/ 3392730 w 3862373"/>
                <a:gd name="connsiteY2776" fmla="*/ 778400 h 3682908"/>
                <a:gd name="connsiteX2777" fmla="*/ 3431817 w 3862373"/>
                <a:gd name="connsiteY2777" fmla="*/ 817487 h 3682908"/>
                <a:gd name="connsiteX2778" fmla="*/ 3392730 w 3862373"/>
                <a:gd name="connsiteY2778" fmla="*/ 856575 h 3682908"/>
                <a:gd name="connsiteX2779" fmla="*/ 3353643 w 3862373"/>
                <a:gd name="connsiteY2779" fmla="*/ 817487 h 3682908"/>
                <a:gd name="connsiteX2780" fmla="*/ 3392730 w 3862373"/>
                <a:gd name="connsiteY2780" fmla="*/ 778400 h 3682908"/>
                <a:gd name="connsiteX2781" fmla="*/ 3300455 w 3862373"/>
                <a:gd name="connsiteY2781" fmla="*/ 778400 h 3682908"/>
                <a:gd name="connsiteX2782" fmla="*/ 3339543 w 3862373"/>
                <a:gd name="connsiteY2782" fmla="*/ 817487 h 3682908"/>
                <a:gd name="connsiteX2783" fmla="*/ 3300455 w 3862373"/>
                <a:gd name="connsiteY2783" fmla="*/ 856575 h 3682908"/>
                <a:gd name="connsiteX2784" fmla="*/ 3261368 w 3862373"/>
                <a:gd name="connsiteY2784" fmla="*/ 817487 h 3682908"/>
                <a:gd name="connsiteX2785" fmla="*/ 3300455 w 3862373"/>
                <a:gd name="connsiteY2785" fmla="*/ 778400 h 3682908"/>
                <a:gd name="connsiteX2786" fmla="*/ 3205815 w 3862373"/>
                <a:gd name="connsiteY2786" fmla="*/ 778400 h 3682908"/>
                <a:gd name="connsiteX2787" fmla="*/ 3244902 w 3862373"/>
                <a:gd name="connsiteY2787" fmla="*/ 817487 h 3682908"/>
                <a:gd name="connsiteX2788" fmla="*/ 3205815 w 3862373"/>
                <a:gd name="connsiteY2788" fmla="*/ 856575 h 3682908"/>
                <a:gd name="connsiteX2789" fmla="*/ 3166728 w 3862373"/>
                <a:gd name="connsiteY2789" fmla="*/ 817487 h 3682908"/>
                <a:gd name="connsiteX2790" fmla="*/ 3205815 w 3862373"/>
                <a:gd name="connsiteY2790" fmla="*/ 778400 h 3682908"/>
                <a:gd name="connsiteX2791" fmla="*/ 3111175 w 3862373"/>
                <a:gd name="connsiteY2791" fmla="*/ 778400 h 3682908"/>
                <a:gd name="connsiteX2792" fmla="*/ 3150262 w 3862373"/>
                <a:gd name="connsiteY2792" fmla="*/ 817487 h 3682908"/>
                <a:gd name="connsiteX2793" fmla="*/ 3111175 w 3862373"/>
                <a:gd name="connsiteY2793" fmla="*/ 856575 h 3682908"/>
                <a:gd name="connsiteX2794" fmla="*/ 3072088 w 3862373"/>
                <a:gd name="connsiteY2794" fmla="*/ 817487 h 3682908"/>
                <a:gd name="connsiteX2795" fmla="*/ 3111175 w 3862373"/>
                <a:gd name="connsiteY2795" fmla="*/ 778400 h 3682908"/>
                <a:gd name="connsiteX2796" fmla="*/ 3018901 w 3862373"/>
                <a:gd name="connsiteY2796" fmla="*/ 778400 h 3682908"/>
                <a:gd name="connsiteX2797" fmla="*/ 3057988 w 3862373"/>
                <a:gd name="connsiteY2797" fmla="*/ 817487 h 3682908"/>
                <a:gd name="connsiteX2798" fmla="*/ 3018901 w 3862373"/>
                <a:gd name="connsiteY2798" fmla="*/ 856575 h 3682908"/>
                <a:gd name="connsiteX2799" fmla="*/ 2979813 w 3862373"/>
                <a:gd name="connsiteY2799" fmla="*/ 817487 h 3682908"/>
                <a:gd name="connsiteX2800" fmla="*/ 3018901 w 3862373"/>
                <a:gd name="connsiteY2800" fmla="*/ 778400 h 3682908"/>
                <a:gd name="connsiteX2801" fmla="*/ 2831986 w 3862373"/>
                <a:gd name="connsiteY2801" fmla="*/ 778400 h 3682908"/>
                <a:gd name="connsiteX2802" fmla="*/ 2871073 w 3862373"/>
                <a:gd name="connsiteY2802" fmla="*/ 817487 h 3682908"/>
                <a:gd name="connsiteX2803" fmla="*/ 2831986 w 3862373"/>
                <a:gd name="connsiteY2803" fmla="*/ 856575 h 3682908"/>
                <a:gd name="connsiteX2804" fmla="*/ 2792899 w 3862373"/>
                <a:gd name="connsiteY2804" fmla="*/ 817487 h 3682908"/>
                <a:gd name="connsiteX2805" fmla="*/ 2831986 w 3862373"/>
                <a:gd name="connsiteY2805" fmla="*/ 778400 h 3682908"/>
                <a:gd name="connsiteX2806" fmla="*/ 2737371 w 3862373"/>
                <a:gd name="connsiteY2806" fmla="*/ 778400 h 3682908"/>
                <a:gd name="connsiteX2807" fmla="*/ 2776433 w 3862373"/>
                <a:gd name="connsiteY2807" fmla="*/ 817487 h 3682908"/>
                <a:gd name="connsiteX2808" fmla="*/ 2737371 w 3862373"/>
                <a:gd name="connsiteY2808" fmla="*/ 856575 h 3682908"/>
                <a:gd name="connsiteX2809" fmla="*/ 2698271 w 3862373"/>
                <a:gd name="connsiteY2809" fmla="*/ 817487 h 3682908"/>
                <a:gd name="connsiteX2810" fmla="*/ 2737371 w 3862373"/>
                <a:gd name="connsiteY2810" fmla="*/ 778400 h 3682908"/>
                <a:gd name="connsiteX2811" fmla="*/ 2645073 w 3862373"/>
                <a:gd name="connsiteY2811" fmla="*/ 778400 h 3682908"/>
                <a:gd name="connsiteX2812" fmla="*/ 2684167 w 3862373"/>
                <a:gd name="connsiteY2812" fmla="*/ 817487 h 3682908"/>
                <a:gd name="connsiteX2813" fmla="*/ 2645073 w 3862373"/>
                <a:gd name="connsiteY2813" fmla="*/ 856575 h 3682908"/>
                <a:gd name="connsiteX2814" fmla="*/ 2605987 w 3862373"/>
                <a:gd name="connsiteY2814" fmla="*/ 817487 h 3682908"/>
                <a:gd name="connsiteX2815" fmla="*/ 2645073 w 3862373"/>
                <a:gd name="connsiteY2815" fmla="*/ 778400 h 3682908"/>
                <a:gd name="connsiteX2816" fmla="*/ 1703431 w 3862373"/>
                <a:gd name="connsiteY2816" fmla="*/ 778400 h 3682908"/>
                <a:gd name="connsiteX2817" fmla="*/ 1742522 w 3862373"/>
                <a:gd name="connsiteY2817" fmla="*/ 817487 h 3682908"/>
                <a:gd name="connsiteX2818" fmla="*/ 1703431 w 3862373"/>
                <a:gd name="connsiteY2818" fmla="*/ 856575 h 3682908"/>
                <a:gd name="connsiteX2819" fmla="*/ 1664349 w 3862373"/>
                <a:gd name="connsiteY2819" fmla="*/ 817487 h 3682908"/>
                <a:gd name="connsiteX2820" fmla="*/ 1703431 w 3862373"/>
                <a:gd name="connsiteY2820" fmla="*/ 778400 h 3682908"/>
                <a:gd name="connsiteX2821" fmla="*/ 1045724 w 3862373"/>
                <a:gd name="connsiteY2821" fmla="*/ 778400 h 3682908"/>
                <a:gd name="connsiteX2822" fmla="*/ 1084813 w 3862373"/>
                <a:gd name="connsiteY2822" fmla="*/ 817487 h 3682908"/>
                <a:gd name="connsiteX2823" fmla="*/ 1045724 w 3862373"/>
                <a:gd name="connsiteY2823" fmla="*/ 856575 h 3682908"/>
                <a:gd name="connsiteX2824" fmla="*/ 1006642 w 3862373"/>
                <a:gd name="connsiteY2824" fmla="*/ 817487 h 3682908"/>
                <a:gd name="connsiteX2825" fmla="*/ 1045724 w 3862373"/>
                <a:gd name="connsiteY2825" fmla="*/ 778400 h 3682908"/>
                <a:gd name="connsiteX2826" fmla="*/ 669571 w 3862373"/>
                <a:gd name="connsiteY2826" fmla="*/ 778400 h 3682908"/>
                <a:gd name="connsiteX2827" fmla="*/ 708668 w 3862373"/>
                <a:gd name="connsiteY2827" fmla="*/ 817487 h 3682908"/>
                <a:gd name="connsiteX2828" fmla="*/ 669571 w 3862373"/>
                <a:gd name="connsiteY2828" fmla="*/ 856575 h 3682908"/>
                <a:gd name="connsiteX2829" fmla="*/ 630491 w 3862373"/>
                <a:gd name="connsiteY2829" fmla="*/ 817487 h 3682908"/>
                <a:gd name="connsiteX2830" fmla="*/ 669571 w 3862373"/>
                <a:gd name="connsiteY2830" fmla="*/ 778400 h 3682908"/>
                <a:gd name="connsiteX2831" fmla="*/ 577286 w 3862373"/>
                <a:gd name="connsiteY2831" fmla="*/ 778400 h 3682908"/>
                <a:gd name="connsiteX2832" fmla="*/ 616386 w 3862373"/>
                <a:gd name="connsiteY2832" fmla="*/ 817487 h 3682908"/>
                <a:gd name="connsiteX2833" fmla="*/ 577286 w 3862373"/>
                <a:gd name="connsiteY2833" fmla="*/ 856575 h 3682908"/>
                <a:gd name="connsiteX2834" fmla="*/ 538187 w 3862373"/>
                <a:gd name="connsiteY2834" fmla="*/ 817487 h 3682908"/>
                <a:gd name="connsiteX2835" fmla="*/ 577286 w 3862373"/>
                <a:gd name="connsiteY2835" fmla="*/ 778400 h 3682908"/>
                <a:gd name="connsiteX2836" fmla="*/ 484999 w 3862373"/>
                <a:gd name="connsiteY2836" fmla="*/ 778400 h 3682908"/>
                <a:gd name="connsiteX2837" fmla="*/ 524083 w 3862373"/>
                <a:gd name="connsiteY2837" fmla="*/ 817487 h 3682908"/>
                <a:gd name="connsiteX2838" fmla="*/ 484999 w 3862373"/>
                <a:gd name="connsiteY2838" fmla="*/ 856575 h 3682908"/>
                <a:gd name="connsiteX2839" fmla="*/ 445926 w 3862373"/>
                <a:gd name="connsiteY2839" fmla="*/ 817487 h 3682908"/>
                <a:gd name="connsiteX2840" fmla="*/ 484999 w 3862373"/>
                <a:gd name="connsiteY2840" fmla="*/ 778400 h 3682908"/>
                <a:gd name="connsiteX2841" fmla="*/ 390347 w 3862373"/>
                <a:gd name="connsiteY2841" fmla="*/ 778400 h 3682908"/>
                <a:gd name="connsiteX2842" fmla="*/ 429451 w 3862373"/>
                <a:gd name="connsiteY2842" fmla="*/ 817487 h 3682908"/>
                <a:gd name="connsiteX2843" fmla="*/ 390347 w 3862373"/>
                <a:gd name="connsiteY2843" fmla="*/ 856575 h 3682908"/>
                <a:gd name="connsiteX2844" fmla="*/ 351281 w 3862373"/>
                <a:gd name="connsiteY2844" fmla="*/ 817487 h 3682908"/>
                <a:gd name="connsiteX2845" fmla="*/ 390347 w 3862373"/>
                <a:gd name="connsiteY2845" fmla="*/ 778400 h 3682908"/>
                <a:gd name="connsiteX2846" fmla="*/ 298081 w 3862373"/>
                <a:gd name="connsiteY2846" fmla="*/ 778400 h 3682908"/>
                <a:gd name="connsiteX2847" fmla="*/ 337179 w 3862373"/>
                <a:gd name="connsiteY2847" fmla="*/ 817487 h 3682908"/>
                <a:gd name="connsiteX2848" fmla="*/ 298081 w 3862373"/>
                <a:gd name="connsiteY2848" fmla="*/ 856575 h 3682908"/>
                <a:gd name="connsiteX2849" fmla="*/ 258991 w 3862373"/>
                <a:gd name="connsiteY2849" fmla="*/ 817487 h 3682908"/>
                <a:gd name="connsiteX2850" fmla="*/ 298081 w 3862373"/>
                <a:gd name="connsiteY2850" fmla="*/ 778400 h 3682908"/>
                <a:gd name="connsiteX2851" fmla="*/ 203435 w 3862373"/>
                <a:gd name="connsiteY2851" fmla="*/ 778400 h 3682908"/>
                <a:gd name="connsiteX2852" fmla="*/ 242524 w 3862373"/>
                <a:gd name="connsiteY2852" fmla="*/ 817487 h 3682908"/>
                <a:gd name="connsiteX2853" fmla="*/ 203435 w 3862373"/>
                <a:gd name="connsiteY2853" fmla="*/ 856575 h 3682908"/>
                <a:gd name="connsiteX2854" fmla="*/ 164349 w 3862373"/>
                <a:gd name="connsiteY2854" fmla="*/ 817487 h 3682908"/>
                <a:gd name="connsiteX2855" fmla="*/ 203435 w 3862373"/>
                <a:gd name="connsiteY2855" fmla="*/ 778400 h 3682908"/>
                <a:gd name="connsiteX2856" fmla="*/ 3548266 w 3862373"/>
                <a:gd name="connsiteY2856" fmla="*/ 722756 h 3682908"/>
                <a:gd name="connsiteX2857" fmla="*/ 3573690 w 3862373"/>
                <a:gd name="connsiteY2857" fmla="*/ 764605 h 3682908"/>
                <a:gd name="connsiteX2858" fmla="*/ 3556737 w 3862373"/>
                <a:gd name="connsiteY2858" fmla="*/ 757582 h 3682908"/>
                <a:gd name="connsiteX2859" fmla="*/ 3545289 w 3862373"/>
                <a:gd name="connsiteY2859" fmla="*/ 729943 h 3682908"/>
                <a:gd name="connsiteX2860" fmla="*/ 207691 w 3862373"/>
                <a:gd name="connsiteY2860" fmla="*/ 692618 h 3682908"/>
                <a:gd name="connsiteX2861" fmla="*/ 231082 w 3862373"/>
                <a:gd name="connsiteY2861" fmla="*/ 702305 h 3682908"/>
                <a:gd name="connsiteX2862" fmla="*/ 242530 w 3862373"/>
                <a:gd name="connsiteY2862" fmla="*/ 729943 h 3682908"/>
                <a:gd name="connsiteX2863" fmla="*/ 203440 w 3862373"/>
                <a:gd name="connsiteY2863" fmla="*/ 769031 h 3682908"/>
                <a:gd name="connsiteX2864" fmla="*/ 175804 w 3862373"/>
                <a:gd name="connsiteY2864" fmla="*/ 757582 h 3682908"/>
                <a:gd name="connsiteX2865" fmla="*/ 172731 w 3862373"/>
                <a:gd name="connsiteY2865" fmla="*/ 750164 h 3682908"/>
                <a:gd name="connsiteX2866" fmla="*/ 3489735 w 3862373"/>
                <a:gd name="connsiteY2866" fmla="*/ 690857 h 3682908"/>
                <a:gd name="connsiteX2867" fmla="*/ 3528822 w 3862373"/>
                <a:gd name="connsiteY2867" fmla="*/ 729943 h 3682908"/>
                <a:gd name="connsiteX2868" fmla="*/ 3489735 w 3862373"/>
                <a:gd name="connsiteY2868" fmla="*/ 769031 h 3682908"/>
                <a:gd name="connsiteX2869" fmla="*/ 3450647 w 3862373"/>
                <a:gd name="connsiteY2869" fmla="*/ 729943 h 3682908"/>
                <a:gd name="connsiteX2870" fmla="*/ 3489735 w 3862373"/>
                <a:gd name="connsiteY2870" fmla="*/ 690857 h 3682908"/>
                <a:gd name="connsiteX2871" fmla="*/ 3392730 w 3862373"/>
                <a:gd name="connsiteY2871" fmla="*/ 690857 h 3682908"/>
                <a:gd name="connsiteX2872" fmla="*/ 3431817 w 3862373"/>
                <a:gd name="connsiteY2872" fmla="*/ 729943 h 3682908"/>
                <a:gd name="connsiteX2873" fmla="*/ 3392730 w 3862373"/>
                <a:gd name="connsiteY2873" fmla="*/ 769031 h 3682908"/>
                <a:gd name="connsiteX2874" fmla="*/ 3353643 w 3862373"/>
                <a:gd name="connsiteY2874" fmla="*/ 729943 h 3682908"/>
                <a:gd name="connsiteX2875" fmla="*/ 3392730 w 3862373"/>
                <a:gd name="connsiteY2875" fmla="*/ 690857 h 3682908"/>
                <a:gd name="connsiteX2876" fmla="*/ 3300455 w 3862373"/>
                <a:gd name="connsiteY2876" fmla="*/ 690857 h 3682908"/>
                <a:gd name="connsiteX2877" fmla="*/ 3339542 w 3862373"/>
                <a:gd name="connsiteY2877" fmla="*/ 729944 h 3682908"/>
                <a:gd name="connsiteX2878" fmla="*/ 3300455 w 3862373"/>
                <a:gd name="connsiteY2878" fmla="*/ 769031 h 3682908"/>
                <a:gd name="connsiteX2879" fmla="*/ 3261368 w 3862373"/>
                <a:gd name="connsiteY2879" fmla="*/ 729944 h 3682908"/>
                <a:gd name="connsiteX2880" fmla="*/ 3300455 w 3862373"/>
                <a:gd name="connsiteY2880" fmla="*/ 690857 h 3682908"/>
                <a:gd name="connsiteX2881" fmla="*/ 3205815 w 3862373"/>
                <a:gd name="connsiteY2881" fmla="*/ 690857 h 3682908"/>
                <a:gd name="connsiteX2882" fmla="*/ 3244902 w 3862373"/>
                <a:gd name="connsiteY2882" fmla="*/ 729943 h 3682908"/>
                <a:gd name="connsiteX2883" fmla="*/ 3205815 w 3862373"/>
                <a:gd name="connsiteY2883" fmla="*/ 769031 h 3682908"/>
                <a:gd name="connsiteX2884" fmla="*/ 3166728 w 3862373"/>
                <a:gd name="connsiteY2884" fmla="*/ 729943 h 3682908"/>
                <a:gd name="connsiteX2885" fmla="*/ 3205815 w 3862373"/>
                <a:gd name="connsiteY2885" fmla="*/ 690857 h 3682908"/>
                <a:gd name="connsiteX2886" fmla="*/ 3111175 w 3862373"/>
                <a:gd name="connsiteY2886" fmla="*/ 690857 h 3682908"/>
                <a:gd name="connsiteX2887" fmla="*/ 3150262 w 3862373"/>
                <a:gd name="connsiteY2887" fmla="*/ 729944 h 3682908"/>
                <a:gd name="connsiteX2888" fmla="*/ 3111175 w 3862373"/>
                <a:gd name="connsiteY2888" fmla="*/ 769031 h 3682908"/>
                <a:gd name="connsiteX2889" fmla="*/ 3072088 w 3862373"/>
                <a:gd name="connsiteY2889" fmla="*/ 729944 h 3682908"/>
                <a:gd name="connsiteX2890" fmla="*/ 3111175 w 3862373"/>
                <a:gd name="connsiteY2890" fmla="*/ 690857 h 3682908"/>
                <a:gd name="connsiteX2891" fmla="*/ 3018901 w 3862373"/>
                <a:gd name="connsiteY2891" fmla="*/ 690857 h 3682908"/>
                <a:gd name="connsiteX2892" fmla="*/ 3057988 w 3862373"/>
                <a:gd name="connsiteY2892" fmla="*/ 729944 h 3682908"/>
                <a:gd name="connsiteX2893" fmla="*/ 3018901 w 3862373"/>
                <a:gd name="connsiteY2893" fmla="*/ 769031 h 3682908"/>
                <a:gd name="connsiteX2894" fmla="*/ 2979813 w 3862373"/>
                <a:gd name="connsiteY2894" fmla="*/ 729944 h 3682908"/>
                <a:gd name="connsiteX2895" fmla="*/ 3018901 w 3862373"/>
                <a:gd name="connsiteY2895" fmla="*/ 690857 h 3682908"/>
                <a:gd name="connsiteX2896" fmla="*/ 2924262 w 3862373"/>
                <a:gd name="connsiteY2896" fmla="*/ 690857 h 3682908"/>
                <a:gd name="connsiteX2897" fmla="*/ 2963349 w 3862373"/>
                <a:gd name="connsiteY2897" fmla="*/ 729943 h 3682908"/>
                <a:gd name="connsiteX2898" fmla="*/ 2924262 w 3862373"/>
                <a:gd name="connsiteY2898" fmla="*/ 769031 h 3682908"/>
                <a:gd name="connsiteX2899" fmla="*/ 2885175 w 3862373"/>
                <a:gd name="connsiteY2899" fmla="*/ 729943 h 3682908"/>
                <a:gd name="connsiteX2900" fmla="*/ 2924262 w 3862373"/>
                <a:gd name="connsiteY2900" fmla="*/ 690857 h 3682908"/>
                <a:gd name="connsiteX2901" fmla="*/ 2831986 w 3862373"/>
                <a:gd name="connsiteY2901" fmla="*/ 690857 h 3682908"/>
                <a:gd name="connsiteX2902" fmla="*/ 2871073 w 3862373"/>
                <a:gd name="connsiteY2902" fmla="*/ 729944 h 3682908"/>
                <a:gd name="connsiteX2903" fmla="*/ 2831986 w 3862373"/>
                <a:gd name="connsiteY2903" fmla="*/ 769031 h 3682908"/>
                <a:gd name="connsiteX2904" fmla="*/ 2792899 w 3862373"/>
                <a:gd name="connsiteY2904" fmla="*/ 729944 h 3682908"/>
                <a:gd name="connsiteX2905" fmla="*/ 2831986 w 3862373"/>
                <a:gd name="connsiteY2905" fmla="*/ 690857 h 3682908"/>
                <a:gd name="connsiteX2906" fmla="*/ 2737373 w 3862373"/>
                <a:gd name="connsiteY2906" fmla="*/ 690857 h 3682908"/>
                <a:gd name="connsiteX2907" fmla="*/ 2776434 w 3862373"/>
                <a:gd name="connsiteY2907" fmla="*/ 729944 h 3682908"/>
                <a:gd name="connsiteX2908" fmla="*/ 2737373 w 3862373"/>
                <a:gd name="connsiteY2908" fmla="*/ 769031 h 3682908"/>
                <a:gd name="connsiteX2909" fmla="*/ 2698271 w 3862373"/>
                <a:gd name="connsiteY2909" fmla="*/ 729944 h 3682908"/>
                <a:gd name="connsiteX2910" fmla="*/ 2737373 w 3862373"/>
                <a:gd name="connsiteY2910" fmla="*/ 690857 h 3682908"/>
                <a:gd name="connsiteX2911" fmla="*/ 2266534 w 3862373"/>
                <a:gd name="connsiteY2911" fmla="*/ 690857 h 3682908"/>
                <a:gd name="connsiteX2912" fmla="*/ 2305617 w 3862373"/>
                <a:gd name="connsiteY2912" fmla="*/ 729943 h 3682908"/>
                <a:gd name="connsiteX2913" fmla="*/ 2266534 w 3862373"/>
                <a:gd name="connsiteY2913" fmla="*/ 769031 h 3682908"/>
                <a:gd name="connsiteX2914" fmla="*/ 2227440 w 3862373"/>
                <a:gd name="connsiteY2914" fmla="*/ 729943 h 3682908"/>
                <a:gd name="connsiteX2915" fmla="*/ 2266534 w 3862373"/>
                <a:gd name="connsiteY2915" fmla="*/ 690857 h 3682908"/>
                <a:gd name="connsiteX2916" fmla="*/ 2171886 w 3862373"/>
                <a:gd name="connsiteY2916" fmla="*/ 690857 h 3682908"/>
                <a:gd name="connsiteX2917" fmla="*/ 2210979 w 3862373"/>
                <a:gd name="connsiteY2917" fmla="*/ 729944 h 3682908"/>
                <a:gd name="connsiteX2918" fmla="*/ 2171886 w 3862373"/>
                <a:gd name="connsiteY2918" fmla="*/ 769031 h 3682908"/>
                <a:gd name="connsiteX2919" fmla="*/ 2132800 w 3862373"/>
                <a:gd name="connsiteY2919" fmla="*/ 729944 h 3682908"/>
                <a:gd name="connsiteX2920" fmla="*/ 2171886 w 3862373"/>
                <a:gd name="connsiteY2920" fmla="*/ 690857 h 3682908"/>
                <a:gd name="connsiteX2921" fmla="*/ 2079612 w 3862373"/>
                <a:gd name="connsiteY2921" fmla="*/ 690857 h 3682908"/>
                <a:gd name="connsiteX2922" fmla="*/ 2118698 w 3862373"/>
                <a:gd name="connsiteY2922" fmla="*/ 729944 h 3682908"/>
                <a:gd name="connsiteX2923" fmla="*/ 2079612 w 3862373"/>
                <a:gd name="connsiteY2923" fmla="*/ 769031 h 3682908"/>
                <a:gd name="connsiteX2924" fmla="*/ 2040529 w 3862373"/>
                <a:gd name="connsiteY2924" fmla="*/ 729944 h 3682908"/>
                <a:gd name="connsiteX2925" fmla="*/ 2079612 w 3862373"/>
                <a:gd name="connsiteY2925" fmla="*/ 690857 h 3682908"/>
                <a:gd name="connsiteX2926" fmla="*/ 1703432 w 3862373"/>
                <a:gd name="connsiteY2926" fmla="*/ 690857 h 3682908"/>
                <a:gd name="connsiteX2927" fmla="*/ 1742522 w 3862373"/>
                <a:gd name="connsiteY2927" fmla="*/ 729943 h 3682908"/>
                <a:gd name="connsiteX2928" fmla="*/ 1703432 w 3862373"/>
                <a:gd name="connsiteY2928" fmla="*/ 769031 h 3682908"/>
                <a:gd name="connsiteX2929" fmla="*/ 1664351 w 3862373"/>
                <a:gd name="connsiteY2929" fmla="*/ 729943 h 3682908"/>
                <a:gd name="connsiteX2930" fmla="*/ 1703432 w 3862373"/>
                <a:gd name="connsiteY2930" fmla="*/ 690857 h 3682908"/>
                <a:gd name="connsiteX2931" fmla="*/ 1611147 w 3862373"/>
                <a:gd name="connsiteY2931" fmla="*/ 690857 h 3682908"/>
                <a:gd name="connsiteX2932" fmla="*/ 1650245 w 3862373"/>
                <a:gd name="connsiteY2932" fmla="*/ 729944 h 3682908"/>
                <a:gd name="connsiteX2933" fmla="*/ 1611147 w 3862373"/>
                <a:gd name="connsiteY2933" fmla="*/ 769031 h 3682908"/>
                <a:gd name="connsiteX2934" fmla="*/ 1572133 w 3862373"/>
                <a:gd name="connsiteY2934" fmla="*/ 729944 h 3682908"/>
                <a:gd name="connsiteX2935" fmla="*/ 1611147 w 3862373"/>
                <a:gd name="connsiteY2935" fmla="*/ 690857 h 3682908"/>
                <a:gd name="connsiteX2936" fmla="*/ 1232669 w 3862373"/>
                <a:gd name="connsiteY2936" fmla="*/ 690857 h 3682908"/>
                <a:gd name="connsiteX2937" fmla="*/ 1271741 w 3862373"/>
                <a:gd name="connsiteY2937" fmla="*/ 729943 h 3682908"/>
                <a:gd name="connsiteX2938" fmla="*/ 1232669 w 3862373"/>
                <a:gd name="connsiteY2938" fmla="*/ 769031 h 3682908"/>
                <a:gd name="connsiteX2939" fmla="*/ 1193583 w 3862373"/>
                <a:gd name="connsiteY2939" fmla="*/ 729943 h 3682908"/>
                <a:gd name="connsiteX2940" fmla="*/ 1232669 w 3862373"/>
                <a:gd name="connsiteY2940" fmla="*/ 690857 h 3682908"/>
                <a:gd name="connsiteX2941" fmla="*/ 1142756 w 3862373"/>
                <a:gd name="connsiteY2941" fmla="*/ 690857 h 3682908"/>
                <a:gd name="connsiteX2942" fmla="*/ 1181847 w 3862373"/>
                <a:gd name="connsiteY2942" fmla="*/ 729944 h 3682908"/>
                <a:gd name="connsiteX2943" fmla="*/ 1142756 w 3862373"/>
                <a:gd name="connsiteY2943" fmla="*/ 769031 h 3682908"/>
                <a:gd name="connsiteX2944" fmla="*/ 1103656 w 3862373"/>
                <a:gd name="connsiteY2944" fmla="*/ 729944 h 3682908"/>
                <a:gd name="connsiteX2945" fmla="*/ 1142756 w 3862373"/>
                <a:gd name="connsiteY2945" fmla="*/ 690857 h 3682908"/>
                <a:gd name="connsiteX2946" fmla="*/ 856480 w 3862373"/>
                <a:gd name="connsiteY2946" fmla="*/ 690857 h 3682908"/>
                <a:gd name="connsiteX2947" fmla="*/ 895560 w 3862373"/>
                <a:gd name="connsiteY2947" fmla="*/ 729943 h 3682908"/>
                <a:gd name="connsiteX2948" fmla="*/ 856480 w 3862373"/>
                <a:gd name="connsiteY2948" fmla="*/ 769031 h 3682908"/>
                <a:gd name="connsiteX2949" fmla="*/ 817401 w 3862373"/>
                <a:gd name="connsiteY2949" fmla="*/ 729943 h 3682908"/>
                <a:gd name="connsiteX2950" fmla="*/ 856480 w 3862373"/>
                <a:gd name="connsiteY2950" fmla="*/ 690857 h 3682908"/>
                <a:gd name="connsiteX2951" fmla="*/ 764220 w 3862373"/>
                <a:gd name="connsiteY2951" fmla="*/ 690857 h 3682908"/>
                <a:gd name="connsiteX2952" fmla="*/ 803302 w 3862373"/>
                <a:gd name="connsiteY2952" fmla="*/ 729944 h 3682908"/>
                <a:gd name="connsiteX2953" fmla="*/ 764220 w 3862373"/>
                <a:gd name="connsiteY2953" fmla="*/ 769031 h 3682908"/>
                <a:gd name="connsiteX2954" fmla="*/ 725137 w 3862373"/>
                <a:gd name="connsiteY2954" fmla="*/ 729944 h 3682908"/>
                <a:gd name="connsiteX2955" fmla="*/ 764220 w 3862373"/>
                <a:gd name="connsiteY2955" fmla="*/ 690857 h 3682908"/>
                <a:gd name="connsiteX2956" fmla="*/ 669571 w 3862373"/>
                <a:gd name="connsiteY2956" fmla="*/ 690857 h 3682908"/>
                <a:gd name="connsiteX2957" fmla="*/ 708675 w 3862373"/>
                <a:gd name="connsiteY2957" fmla="*/ 729943 h 3682908"/>
                <a:gd name="connsiteX2958" fmla="*/ 669571 w 3862373"/>
                <a:gd name="connsiteY2958" fmla="*/ 769031 h 3682908"/>
                <a:gd name="connsiteX2959" fmla="*/ 630497 w 3862373"/>
                <a:gd name="connsiteY2959" fmla="*/ 729943 h 3682908"/>
                <a:gd name="connsiteX2960" fmla="*/ 669571 w 3862373"/>
                <a:gd name="connsiteY2960" fmla="*/ 690857 h 3682908"/>
                <a:gd name="connsiteX2961" fmla="*/ 577293 w 3862373"/>
                <a:gd name="connsiteY2961" fmla="*/ 690857 h 3682908"/>
                <a:gd name="connsiteX2962" fmla="*/ 616393 w 3862373"/>
                <a:gd name="connsiteY2962" fmla="*/ 729943 h 3682908"/>
                <a:gd name="connsiteX2963" fmla="*/ 577293 w 3862373"/>
                <a:gd name="connsiteY2963" fmla="*/ 769031 h 3682908"/>
                <a:gd name="connsiteX2964" fmla="*/ 538195 w 3862373"/>
                <a:gd name="connsiteY2964" fmla="*/ 729943 h 3682908"/>
                <a:gd name="connsiteX2965" fmla="*/ 577293 w 3862373"/>
                <a:gd name="connsiteY2965" fmla="*/ 690857 h 3682908"/>
                <a:gd name="connsiteX2966" fmla="*/ 485003 w 3862373"/>
                <a:gd name="connsiteY2966" fmla="*/ 690857 h 3682908"/>
                <a:gd name="connsiteX2967" fmla="*/ 524091 w 3862373"/>
                <a:gd name="connsiteY2967" fmla="*/ 729943 h 3682908"/>
                <a:gd name="connsiteX2968" fmla="*/ 485003 w 3862373"/>
                <a:gd name="connsiteY2968" fmla="*/ 769031 h 3682908"/>
                <a:gd name="connsiteX2969" fmla="*/ 445934 w 3862373"/>
                <a:gd name="connsiteY2969" fmla="*/ 729943 h 3682908"/>
                <a:gd name="connsiteX2970" fmla="*/ 485003 w 3862373"/>
                <a:gd name="connsiteY2970" fmla="*/ 690857 h 3682908"/>
                <a:gd name="connsiteX2971" fmla="*/ 390354 w 3862373"/>
                <a:gd name="connsiteY2971" fmla="*/ 690857 h 3682908"/>
                <a:gd name="connsiteX2972" fmla="*/ 429457 w 3862373"/>
                <a:gd name="connsiteY2972" fmla="*/ 729943 h 3682908"/>
                <a:gd name="connsiteX2973" fmla="*/ 390354 w 3862373"/>
                <a:gd name="connsiteY2973" fmla="*/ 769031 h 3682908"/>
                <a:gd name="connsiteX2974" fmla="*/ 351287 w 3862373"/>
                <a:gd name="connsiteY2974" fmla="*/ 729943 h 3682908"/>
                <a:gd name="connsiteX2975" fmla="*/ 390354 w 3862373"/>
                <a:gd name="connsiteY2975" fmla="*/ 690857 h 3682908"/>
                <a:gd name="connsiteX2976" fmla="*/ 298087 w 3862373"/>
                <a:gd name="connsiteY2976" fmla="*/ 690857 h 3682908"/>
                <a:gd name="connsiteX2977" fmla="*/ 337188 w 3862373"/>
                <a:gd name="connsiteY2977" fmla="*/ 729943 h 3682908"/>
                <a:gd name="connsiteX2978" fmla="*/ 298087 w 3862373"/>
                <a:gd name="connsiteY2978" fmla="*/ 769031 h 3682908"/>
                <a:gd name="connsiteX2979" fmla="*/ 258997 w 3862373"/>
                <a:gd name="connsiteY2979" fmla="*/ 729943 h 3682908"/>
                <a:gd name="connsiteX2980" fmla="*/ 298087 w 3862373"/>
                <a:gd name="connsiteY2980" fmla="*/ 690857 h 3682908"/>
                <a:gd name="connsiteX2981" fmla="*/ 242207 w 3862373"/>
                <a:gd name="connsiteY2981" fmla="*/ 643975 h 3682908"/>
                <a:gd name="connsiteX2982" fmla="*/ 242535 w 3862373"/>
                <a:gd name="connsiteY2982" fmla="*/ 644768 h 3682908"/>
                <a:gd name="connsiteX2983" fmla="*/ 231087 w 3862373"/>
                <a:gd name="connsiteY2983" fmla="*/ 672407 h 3682908"/>
                <a:gd name="connsiteX2984" fmla="*/ 216396 w 3862373"/>
                <a:gd name="connsiteY2984" fmla="*/ 678492 h 3682908"/>
                <a:gd name="connsiteX2985" fmla="*/ 3472229 w 3862373"/>
                <a:gd name="connsiteY2985" fmla="*/ 612933 h 3682908"/>
                <a:gd name="connsiteX2986" fmla="*/ 3516862 w 3862373"/>
                <a:gd name="connsiteY2986" fmla="*/ 672620 h 3682908"/>
                <a:gd name="connsiteX2987" fmla="*/ 3489735 w 3862373"/>
                <a:gd name="connsiteY2987" fmla="*/ 683855 h 3682908"/>
                <a:gd name="connsiteX2988" fmla="*/ 3450649 w 3862373"/>
                <a:gd name="connsiteY2988" fmla="*/ 644768 h 3682908"/>
                <a:gd name="connsiteX2989" fmla="*/ 3462097 w 3862373"/>
                <a:gd name="connsiteY2989" fmla="*/ 617130 h 3682908"/>
                <a:gd name="connsiteX2990" fmla="*/ 3392730 w 3862373"/>
                <a:gd name="connsiteY2990" fmla="*/ 605682 h 3682908"/>
                <a:gd name="connsiteX2991" fmla="*/ 3431817 w 3862373"/>
                <a:gd name="connsiteY2991" fmla="*/ 644768 h 3682908"/>
                <a:gd name="connsiteX2992" fmla="*/ 3392730 w 3862373"/>
                <a:gd name="connsiteY2992" fmla="*/ 683855 h 3682908"/>
                <a:gd name="connsiteX2993" fmla="*/ 3353643 w 3862373"/>
                <a:gd name="connsiteY2993" fmla="*/ 644768 h 3682908"/>
                <a:gd name="connsiteX2994" fmla="*/ 3392730 w 3862373"/>
                <a:gd name="connsiteY2994" fmla="*/ 605682 h 3682908"/>
                <a:gd name="connsiteX2995" fmla="*/ 3300455 w 3862373"/>
                <a:gd name="connsiteY2995" fmla="*/ 605682 h 3682908"/>
                <a:gd name="connsiteX2996" fmla="*/ 3339543 w 3862373"/>
                <a:gd name="connsiteY2996" fmla="*/ 644768 h 3682908"/>
                <a:gd name="connsiteX2997" fmla="*/ 3300455 w 3862373"/>
                <a:gd name="connsiteY2997" fmla="*/ 683855 h 3682908"/>
                <a:gd name="connsiteX2998" fmla="*/ 3261368 w 3862373"/>
                <a:gd name="connsiteY2998" fmla="*/ 644768 h 3682908"/>
                <a:gd name="connsiteX2999" fmla="*/ 3300455 w 3862373"/>
                <a:gd name="connsiteY2999" fmla="*/ 605682 h 3682908"/>
                <a:gd name="connsiteX3000" fmla="*/ 3205815 w 3862373"/>
                <a:gd name="connsiteY3000" fmla="*/ 605682 h 3682908"/>
                <a:gd name="connsiteX3001" fmla="*/ 3244903 w 3862373"/>
                <a:gd name="connsiteY3001" fmla="*/ 644768 h 3682908"/>
                <a:gd name="connsiteX3002" fmla="*/ 3205815 w 3862373"/>
                <a:gd name="connsiteY3002" fmla="*/ 683855 h 3682908"/>
                <a:gd name="connsiteX3003" fmla="*/ 3166728 w 3862373"/>
                <a:gd name="connsiteY3003" fmla="*/ 644768 h 3682908"/>
                <a:gd name="connsiteX3004" fmla="*/ 3205815 w 3862373"/>
                <a:gd name="connsiteY3004" fmla="*/ 605682 h 3682908"/>
                <a:gd name="connsiteX3005" fmla="*/ 3111175 w 3862373"/>
                <a:gd name="connsiteY3005" fmla="*/ 605682 h 3682908"/>
                <a:gd name="connsiteX3006" fmla="*/ 3150263 w 3862373"/>
                <a:gd name="connsiteY3006" fmla="*/ 644768 h 3682908"/>
                <a:gd name="connsiteX3007" fmla="*/ 3111175 w 3862373"/>
                <a:gd name="connsiteY3007" fmla="*/ 683855 h 3682908"/>
                <a:gd name="connsiteX3008" fmla="*/ 3072088 w 3862373"/>
                <a:gd name="connsiteY3008" fmla="*/ 644768 h 3682908"/>
                <a:gd name="connsiteX3009" fmla="*/ 3111175 w 3862373"/>
                <a:gd name="connsiteY3009" fmla="*/ 605682 h 3682908"/>
                <a:gd name="connsiteX3010" fmla="*/ 3018901 w 3862373"/>
                <a:gd name="connsiteY3010" fmla="*/ 605682 h 3682908"/>
                <a:gd name="connsiteX3011" fmla="*/ 3057988 w 3862373"/>
                <a:gd name="connsiteY3011" fmla="*/ 644768 h 3682908"/>
                <a:gd name="connsiteX3012" fmla="*/ 3018901 w 3862373"/>
                <a:gd name="connsiteY3012" fmla="*/ 683855 h 3682908"/>
                <a:gd name="connsiteX3013" fmla="*/ 2979813 w 3862373"/>
                <a:gd name="connsiteY3013" fmla="*/ 644768 h 3682908"/>
                <a:gd name="connsiteX3014" fmla="*/ 3018901 w 3862373"/>
                <a:gd name="connsiteY3014" fmla="*/ 605682 h 3682908"/>
                <a:gd name="connsiteX3015" fmla="*/ 2924262 w 3862373"/>
                <a:gd name="connsiteY3015" fmla="*/ 605682 h 3682908"/>
                <a:gd name="connsiteX3016" fmla="*/ 2963349 w 3862373"/>
                <a:gd name="connsiteY3016" fmla="*/ 644768 h 3682908"/>
                <a:gd name="connsiteX3017" fmla="*/ 2924262 w 3862373"/>
                <a:gd name="connsiteY3017" fmla="*/ 683855 h 3682908"/>
                <a:gd name="connsiteX3018" fmla="*/ 2885175 w 3862373"/>
                <a:gd name="connsiteY3018" fmla="*/ 644768 h 3682908"/>
                <a:gd name="connsiteX3019" fmla="*/ 2924262 w 3862373"/>
                <a:gd name="connsiteY3019" fmla="*/ 605682 h 3682908"/>
                <a:gd name="connsiteX3020" fmla="*/ 2831987 w 3862373"/>
                <a:gd name="connsiteY3020" fmla="*/ 605682 h 3682908"/>
                <a:gd name="connsiteX3021" fmla="*/ 2871074 w 3862373"/>
                <a:gd name="connsiteY3021" fmla="*/ 644768 h 3682908"/>
                <a:gd name="connsiteX3022" fmla="*/ 2831987 w 3862373"/>
                <a:gd name="connsiteY3022" fmla="*/ 683855 h 3682908"/>
                <a:gd name="connsiteX3023" fmla="*/ 2792900 w 3862373"/>
                <a:gd name="connsiteY3023" fmla="*/ 644768 h 3682908"/>
                <a:gd name="connsiteX3024" fmla="*/ 2831987 w 3862373"/>
                <a:gd name="connsiteY3024" fmla="*/ 605682 h 3682908"/>
                <a:gd name="connsiteX3025" fmla="*/ 2171887 w 3862373"/>
                <a:gd name="connsiteY3025" fmla="*/ 605682 h 3682908"/>
                <a:gd name="connsiteX3026" fmla="*/ 2210979 w 3862373"/>
                <a:gd name="connsiteY3026" fmla="*/ 644768 h 3682908"/>
                <a:gd name="connsiteX3027" fmla="*/ 2171887 w 3862373"/>
                <a:gd name="connsiteY3027" fmla="*/ 683855 h 3682908"/>
                <a:gd name="connsiteX3028" fmla="*/ 2132800 w 3862373"/>
                <a:gd name="connsiteY3028" fmla="*/ 644768 h 3682908"/>
                <a:gd name="connsiteX3029" fmla="*/ 2171887 w 3862373"/>
                <a:gd name="connsiteY3029" fmla="*/ 605682 h 3682908"/>
                <a:gd name="connsiteX3030" fmla="*/ 1798073 w 3862373"/>
                <a:gd name="connsiteY3030" fmla="*/ 605682 h 3682908"/>
                <a:gd name="connsiteX3031" fmla="*/ 1837146 w 3862373"/>
                <a:gd name="connsiteY3031" fmla="*/ 644768 h 3682908"/>
                <a:gd name="connsiteX3032" fmla="*/ 1798073 w 3862373"/>
                <a:gd name="connsiteY3032" fmla="*/ 683855 h 3682908"/>
                <a:gd name="connsiteX3033" fmla="*/ 1758966 w 3862373"/>
                <a:gd name="connsiteY3033" fmla="*/ 644768 h 3682908"/>
                <a:gd name="connsiteX3034" fmla="*/ 1798073 w 3862373"/>
                <a:gd name="connsiteY3034" fmla="*/ 605682 h 3682908"/>
                <a:gd name="connsiteX3035" fmla="*/ 1703432 w 3862373"/>
                <a:gd name="connsiteY3035" fmla="*/ 605682 h 3682908"/>
                <a:gd name="connsiteX3036" fmla="*/ 1742522 w 3862373"/>
                <a:gd name="connsiteY3036" fmla="*/ 644768 h 3682908"/>
                <a:gd name="connsiteX3037" fmla="*/ 1703432 w 3862373"/>
                <a:gd name="connsiteY3037" fmla="*/ 683855 h 3682908"/>
                <a:gd name="connsiteX3038" fmla="*/ 1664351 w 3862373"/>
                <a:gd name="connsiteY3038" fmla="*/ 644768 h 3682908"/>
                <a:gd name="connsiteX3039" fmla="*/ 1703432 w 3862373"/>
                <a:gd name="connsiteY3039" fmla="*/ 605682 h 3682908"/>
                <a:gd name="connsiteX3040" fmla="*/ 1611147 w 3862373"/>
                <a:gd name="connsiteY3040" fmla="*/ 605682 h 3682908"/>
                <a:gd name="connsiteX3041" fmla="*/ 1650245 w 3862373"/>
                <a:gd name="connsiteY3041" fmla="*/ 644768 h 3682908"/>
                <a:gd name="connsiteX3042" fmla="*/ 1611147 w 3862373"/>
                <a:gd name="connsiteY3042" fmla="*/ 683855 h 3682908"/>
                <a:gd name="connsiteX3043" fmla="*/ 1572140 w 3862373"/>
                <a:gd name="connsiteY3043" fmla="*/ 644768 h 3682908"/>
                <a:gd name="connsiteX3044" fmla="*/ 1611147 w 3862373"/>
                <a:gd name="connsiteY3044" fmla="*/ 605682 h 3682908"/>
                <a:gd name="connsiteX3045" fmla="*/ 1232676 w 3862373"/>
                <a:gd name="connsiteY3045" fmla="*/ 605682 h 3682908"/>
                <a:gd name="connsiteX3046" fmla="*/ 1271747 w 3862373"/>
                <a:gd name="connsiteY3046" fmla="*/ 644768 h 3682908"/>
                <a:gd name="connsiteX3047" fmla="*/ 1232676 w 3862373"/>
                <a:gd name="connsiteY3047" fmla="*/ 683855 h 3682908"/>
                <a:gd name="connsiteX3048" fmla="*/ 1193590 w 3862373"/>
                <a:gd name="connsiteY3048" fmla="*/ 644768 h 3682908"/>
                <a:gd name="connsiteX3049" fmla="*/ 1232676 w 3862373"/>
                <a:gd name="connsiteY3049" fmla="*/ 605682 h 3682908"/>
                <a:gd name="connsiteX3050" fmla="*/ 1142761 w 3862373"/>
                <a:gd name="connsiteY3050" fmla="*/ 605682 h 3682908"/>
                <a:gd name="connsiteX3051" fmla="*/ 1181853 w 3862373"/>
                <a:gd name="connsiteY3051" fmla="*/ 644768 h 3682908"/>
                <a:gd name="connsiteX3052" fmla="*/ 1142761 w 3862373"/>
                <a:gd name="connsiteY3052" fmla="*/ 683855 h 3682908"/>
                <a:gd name="connsiteX3053" fmla="*/ 1103661 w 3862373"/>
                <a:gd name="connsiteY3053" fmla="*/ 644768 h 3682908"/>
                <a:gd name="connsiteX3054" fmla="*/ 1142761 w 3862373"/>
                <a:gd name="connsiteY3054" fmla="*/ 605682 h 3682908"/>
                <a:gd name="connsiteX3055" fmla="*/ 1045734 w 3862373"/>
                <a:gd name="connsiteY3055" fmla="*/ 605682 h 3682908"/>
                <a:gd name="connsiteX3056" fmla="*/ 1084825 w 3862373"/>
                <a:gd name="connsiteY3056" fmla="*/ 644768 h 3682908"/>
                <a:gd name="connsiteX3057" fmla="*/ 1045734 w 3862373"/>
                <a:gd name="connsiteY3057" fmla="*/ 683855 h 3682908"/>
                <a:gd name="connsiteX3058" fmla="*/ 1006653 w 3862373"/>
                <a:gd name="connsiteY3058" fmla="*/ 644768 h 3682908"/>
                <a:gd name="connsiteX3059" fmla="*/ 1045734 w 3862373"/>
                <a:gd name="connsiteY3059" fmla="*/ 605682 h 3682908"/>
                <a:gd name="connsiteX3060" fmla="*/ 856487 w 3862373"/>
                <a:gd name="connsiteY3060" fmla="*/ 605682 h 3682908"/>
                <a:gd name="connsiteX3061" fmla="*/ 895566 w 3862373"/>
                <a:gd name="connsiteY3061" fmla="*/ 644768 h 3682908"/>
                <a:gd name="connsiteX3062" fmla="*/ 856487 w 3862373"/>
                <a:gd name="connsiteY3062" fmla="*/ 683855 h 3682908"/>
                <a:gd name="connsiteX3063" fmla="*/ 817405 w 3862373"/>
                <a:gd name="connsiteY3063" fmla="*/ 644768 h 3682908"/>
                <a:gd name="connsiteX3064" fmla="*/ 856487 w 3862373"/>
                <a:gd name="connsiteY3064" fmla="*/ 605682 h 3682908"/>
                <a:gd name="connsiteX3065" fmla="*/ 764226 w 3862373"/>
                <a:gd name="connsiteY3065" fmla="*/ 605682 h 3682908"/>
                <a:gd name="connsiteX3066" fmla="*/ 803309 w 3862373"/>
                <a:gd name="connsiteY3066" fmla="*/ 644768 h 3682908"/>
                <a:gd name="connsiteX3067" fmla="*/ 764226 w 3862373"/>
                <a:gd name="connsiteY3067" fmla="*/ 683855 h 3682908"/>
                <a:gd name="connsiteX3068" fmla="*/ 725145 w 3862373"/>
                <a:gd name="connsiteY3068" fmla="*/ 644768 h 3682908"/>
                <a:gd name="connsiteX3069" fmla="*/ 764226 w 3862373"/>
                <a:gd name="connsiteY3069" fmla="*/ 605682 h 3682908"/>
                <a:gd name="connsiteX3070" fmla="*/ 669584 w 3862373"/>
                <a:gd name="connsiteY3070" fmla="*/ 605682 h 3682908"/>
                <a:gd name="connsiteX3071" fmla="*/ 708684 w 3862373"/>
                <a:gd name="connsiteY3071" fmla="*/ 644768 h 3682908"/>
                <a:gd name="connsiteX3072" fmla="*/ 669584 w 3862373"/>
                <a:gd name="connsiteY3072" fmla="*/ 683855 h 3682908"/>
                <a:gd name="connsiteX3073" fmla="*/ 630505 w 3862373"/>
                <a:gd name="connsiteY3073" fmla="*/ 644768 h 3682908"/>
                <a:gd name="connsiteX3074" fmla="*/ 669584 w 3862373"/>
                <a:gd name="connsiteY3074" fmla="*/ 605682 h 3682908"/>
                <a:gd name="connsiteX3075" fmla="*/ 577298 w 3862373"/>
                <a:gd name="connsiteY3075" fmla="*/ 605682 h 3682908"/>
                <a:gd name="connsiteX3076" fmla="*/ 616400 w 3862373"/>
                <a:gd name="connsiteY3076" fmla="*/ 644768 h 3682908"/>
                <a:gd name="connsiteX3077" fmla="*/ 577298 w 3862373"/>
                <a:gd name="connsiteY3077" fmla="*/ 683855 h 3682908"/>
                <a:gd name="connsiteX3078" fmla="*/ 538200 w 3862373"/>
                <a:gd name="connsiteY3078" fmla="*/ 644768 h 3682908"/>
                <a:gd name="connsiteX3079" fmla="*/ 577298 w 3862373"/>
                <a:gd name="connsiteY3079" fmla="*/ 605682 h 3682908"/>
                <a:gd name="connsiteX3080" fmla="*/ 485012 w 3862373"/>
                <a:gd name="connsiteY3080" fmla="*/ 605682 h 3682908"/>
                <a:gd name="connsiteX3081" fmla="*/ 524097 w 3862373"/>
                <a:gd name="connsiteY3081" fmla="*/ 644768 h 3682908"/>
                <a:gd name="connsiteX3082" fmla="*/ 485012 w 3862373"/>
                <a:gd name="connsiteY3082" fmla="*/ 683855 h 3682908"/>
                <a:gd name="connsiteX3083" fmla="*/ 445938 w 3862373"/>
                <a:gd name="connsiteY3083" fmla="*/ 644768 h 3682908"/>
                <a:gd name="connsiteX3084" fmla="*/ 485012 w 3862373"/>
                <a:gd name="connsiteY3084" fmla="*/ 605682 h 3682908"/>
                <a:gd name="connsiteX3085" fmla="*/ 390363 w 3862373"/>
                <a:gd name="connsiteY3085" fmla="*/ 605682 h 3682908"/>
                <a:gd name="connsiteX3086" fmla="*/ 429464 w 3862373"/>
                <a:gd name="connsiteY3086" fmla="*/ 644768 h 3682908"/>
                <a:gd name="connsiteX3087" fmla="*/ 390363 w 3862373"/>
                <a:gd name="connsiteY3087" fmla="*/ 683855 h 3682908"/>
                <a:gd name="connsiteX3088" fmla="*/ 351296 w 3862373"/>
                <a:gd name="connsiteY3088" fmla="*/ 644768 h 3682908"/>
                <a:gd name="connsiteX3089" fmla="*/ 390363 w 3862373"/>
                <a:gd name="connsiteY3089" fmla="*/ 605682 h 3682908"/>
                <a:gd name="connsiteX3090" fmla="*/ 298093 w 3862373"/>
                <a:gd name="connsiteY3090" fmla="*/ 605682 h 3682908"/>
                <a:gd name="connsiteX3091" fmla="*/ 337193 w 3862373"/>
                <a:gd name="connsiteY3091" fmla="*/ 644768 h 3682908"/>
                <a:gd name="connsiteX3092" fmla="*/ 298093 w 3862373"/>
                <a:gd name="connsiteY3092" fmla="*/ 683855 h 3682908"/>
                <a:gd name="connsiteX3093" fmla="*/ 259002 w 3862373"/>
                <a:gd name="connsiteY3093" fmla="*/ 644768 h 3682908"/>
                <a:gd name="connsiteX3094" fmla="*/ 298093 w 3862373"/>
                <a:gd name="connsiteY3094" fmla="*/ 605682 h 3682908"/>
                <a:gd name="connsiteX3095" fmla="*/ 327714 w 3862373"/>
                <a:gd name="connsiteY3095" fmla="*/ 529629 h 3682908"/>
                <a:gd name="connsiteX3096" fmla="*/ 337200 w 3862373"/>
                <a:gd name="connsiteY3096" fmla="*/ 552513 h 3682908"/>
                <a:gd name="connsiteX3097" fmla="*/ 298099 w 3862373"/>
                <a:gd name="connsiteY3097" fmla="*/ 591582 h 3682908"/>
                <a:gd name="connsiteX3098" fmla="*/ 285337 w 3862373"/>
                <a:gd name="connsiteY3098" fmla="*/ 586297 h 3682908"/>
                <a:gd name="connsiteX3099" fmla="*/ 3205817 w 3862373"/>
                <a:gd name="connsiteY3099" fmla="*/ 513426 h 3682908"/>
                <a:gd name="connsiteX3100" fmla="*/ 3244904 w 3862373"/>
                <a:gd name="connsiteY3100" fmla="*/ 552512 h 3682908"/>
                <a:gd name="connsiteX3101" fmla="*/ 3205817 w 3862373"/>
                <a:gd name="connsiteY3101" fmla="*/ 591582 h 3682908"/>
                <a:gd name="connsiteX3102" fmla="*/ 3166729 w 3862373"/>
                <a:gd name="connsiteY3102" fmla="*/ 552512 h 3682908"/>
                <a:gd name="connsiteX3103" fmla="*/ 3205817 w 3862373"/>
                <a:gd name="connsiteY3103" fmla="*/ 513426 h 3682908"/>
                <a:gd name="connsiteX3104" fmla="*/ 3111175 w 3862373"/>
                <a:gd name="connsiteY3104" fmla="*/ 513426 h 3682908"/>
                <a:gd name="connsiteX3105" fmla="*/ 3150263 w 3862373"/>
                <a:gd name="connsiteY3105" fmla="*/ 552512 h 3682908"/>
                <a:gd name="connsiteX3106" fmla="*/ 3111175 w 3862373"/>
                <a:gd name="connsiteY3106" fmla="*/ 591582 h 3682908"/>
                <a:gd name="connsiteX3107" fmla="*/ 3072088 w 3862373"/>
                <a:gd name="connsiteY3107" fmla="*/ 552512 h 3682908"/>
                <a:gd name="connsiteX3108" fmla="*/ 3111175 w 3862373"/>
                <a:gd name="connsiteY3108" fmla="*/ 513426 h 3682908"/>
                <a:gd name="connsiteX3109" fmla="*/ 3018902 w 3862373"/>
                <a:gd name="connsiteY3109" fmla="*/ 513426 h 3682908"/>
                <a:gd name="connsiteX3110" fmla="*/ 3057989 w 3862373"/>
                <a:gd name="connsiteY3110" fmla="*/ 552512 h 3682908"/>
                <a:gd name="connsiteX3111" fmla="*/ 3018902 w 3862373"/>
                <a:gd name="connsiteY3111" fmla="*/ 591582 h 3682908"/>
                <a:gd name="connsiteX3112" fmla="*/ 2979815 w 3862373"/>
                <a:gd name="connsiteY3112" fmla="*/ 552512 h 3682908"/>
                <a:gd name="connsiteX3113" fmla="*/ 3018902 w 3862373"/>
                <a:gd name="connsiteY3113" fmla="*/ 513426 h 3682908"/>
                <a:gd name="connsiteX3114" fmla="*/ 2924263 w 3862373"/>
                <a:gd name="connsiteY3114" fmla="*/ 513426 h 3682908"/>
                <a:gd name="connsiteX3115" fmla="*/ 2963349 w 3862373"/>
                <a:gd name="connsiteY3115" fmla="*/ 552512 h 3682908"/>
                <a:gd name="connsiteX3116" fmla="*/ 2924263 w 3862373"/>
                <a:gd name="connsiteY3116" fmla="*/ 591582 h 3682908"/>
                <a:gd name="connsiteX3117" fmla="*/ 2885175 w 3862373"/>
                <a:gd name="connsiteY3117" fmla="*/ 552512 h 3682908"/>
                <a:gd name="connsiteX3118" fmla="*/ 2924263 w 3862373"/>
                <a:gd name="connsiteY3118" fmla="*/ 513426 h 3682908"/>
                <a:gd name="connsiteX3119" fmla="*/ 2831988 w 3862373"/>
                <a:gd name="connsiteY3119" fmla="*/ 513426 h 3682908"/>
                <a:gd name="connsiteX3120" fmla="*/ 2871075 w 3862373"/>
                <a:gd name="connsiteY3120" fmla="*/ 552512 h 3682908"/>
                <a:gd name="connsiteX3121" fmla="*/ 2831988 w 3862373"/>
                <a:gd name="connsiteY3121" fmla="*/ 591582 h 3682908"/>
                <a:gd name="connsiteX3122" fmla="*/ 2792901 w 3862373"/>
                <a:gd name="connsiteY3122" fmla="*/ 552512 h 3682908"/>
                <a:gd name="connsiteX3123" fmla="*/ 2831988 w 3862373"/>
                <a:gd name="connsiteY3123" fmla="*/ 513426 h 3682908"/>
                <a:gd name="connsiteX3124" fmla="*/ 1984971 w 3862373"/>
                <a:gd name="connsiteY3124" fmla="*/ 513426 h 3682908"/>
                <a:gd name="connsiteX3125" fmla="*/ 2024068 w 3862373"/>
                <a:gd name="connsiteY3125" fmla="*/ 552513 h 3682908"/>
                <a:gd name="connsiteX3126" fmla="*/ 1984971 w 3862373"/>
                <a:gd name="connsiteY3126" fmla="*/ 591582 h 3682908"/>
                <a:gd name="connsiteX3127" fmla="*/ 1945873 w 3862373"/>
                <a:gd name="connsiteY3127" fmla="*/ 552513 h 3682908"/>
                <a:gd name="connsiteX3128" fmla="*/ 1984971 w 3862373"/>
                <a:gd name="connsiteY3128" fmla="*/ 513426 h 3682908"/>
                <a:gd name="connsiteX3129" fmla="*/ 1890340 w 3862373"/>
                <a:gd name="connsiteY3129" fmla="*/ 513426 h 3682908"/>
                <a:gd name="connsiteX3130" fmla="*/ 1929413 w 3862373"/>
                <a:gd name="connsiteY3130" fmla="*/ 552513 h 3682908"/>
                <a:gd name="connsiteX3131" fmla="*/ 1890340 w 3862373"/>
                <a:gd name="connsiteY3131" fmla="*/ 591582 h 3682908"/>
                <a:gd name="connsiteX3132" fmla="*/ 1851255 w 3862373"/>
                <a:gd name="connsiteY3132" fmla="*/ 552513 h 3682908"/>
                <a:gd name="connsiteX3133" fmla="*/ 1890340 w 3862373"/>
                <a:gd name="connsiteY3133" fmla="*/ 513426 h 3682908"/>
                <a:gd name="connsiteX3134" fmla="*/ 1798073 w 3862373"/>
                <a:gd name="connsiteY3134" fmla="*/ 513426 h 3682908"/>
                <a:gd name="connsiteX3135" fmla="*/ 1837149 w 3862373"/>
                <a:gd name="connsiteY3135" fmla="*/ 552513 h 3682908"/>
                <a:gd name="connsiteX3136" fmla="*/ 1798073 w 3862373"/>
                <a:gd name="connsiteY3136" fmla="*/ 591582 h 3682908"/>
                <a:gd name="connsiteX3137" fmla="*/ 1758966 w 3862373"/>
                <a:gd name="connsiteY3137" fmla="*/ 552513 h 3682908"/>
                <a:gd name="connsiteX3138" fmla="*/ 1798073 w 3862373"/>
                <a:gd name="connsiteY3138" fmla="*/ 513426 h 3682908"/>
                <a:gd name="connsiteX3139" fmla="*/ 1703432 w 3862373"/>
                <a:gd name="connsiteY3139" fmla="*/ 513426 h 3682908"/>
                <a:gd name="connsiteX3140" fmla="*/ 1742522 w 3862373"/>
                <a:gd name="connsiteY3140" fmla="*/ 552513 h 3682908"/>
                <a:gd name="connsiteX3141" fmla="*/ 1703432 w 3862373"/>
                <a:gd name="connsiteY3141" fmla="*/ 591582 h 3682908"/>
                <a:gd name="connsiteX3142" fmla="*/ 1664351 w 3862373"/>
                <a:gd name="connsiteY3142" fmla="*/ 552513 h 3682908"/>
                <a:gd name="connsiteX3143" fmla="*/ 1703432 w 3862373"/>
                <a:gd name="connsiteY3143" fmla="*/ 513426 h 3682908"/>
                <a:gd name="connsiteX3144" fmla="*/ 1611151 w 3862373"/>
                <a:gd name="connsiteY3144" fmla="*/ 513426 h 3682908"/>
                <a:gd name="connsiteX3145" fmla="*/ 1650245 w 3862373"/>
                <a:gd name="connsiteY3145" fmla="*/ 552513 h 3682908"/>
                <a:gd name="connsiteX3146" fmla="*/ 1611151 w 3862373"/>
                <a:gd name="connsiteY3146" fmla="*/ 591582 h 3682908"/>
                <a:gd name="connsiteX3147" fmla="*/ 1572147 w 3862373"/>
                <a:gd name="connsiteY3147" fmla="*/ 552513 h 3682908"/>
                <a:gd name="connsiteX3148" fmla="*/ 1611151 w 3862373"/>
                <a:gd name="connsiteY3148" fmla="*/ 513426 h 3682908"/>
                <a:gd name="connsiteX3149" fmla="*/ 1232682 w 3862373"/>
                <a:gd name="connsiteY3149" fmla="*/ 513426 h 3682908"/>
                <a:gd name="connsiteX3150" fmla="*/ 1271755 w 3862373"/>
                <a:gd name="connsiteY3150" fmla="*/ 552513 h 3682908"/>
                <a:gd name="connsiteX3151" fmla="*/ 1232682 w 3862373"/>
                <a:gd name="connsiteY3151" fmla="*/ 591582 h 3682908"/>
                <a:gd name="connsiteX3152" fmla="*/ 1193598 w 3862373"/>
                <a:gd name="connsiteY3152" fmla="*/ 552513 h 3682908"/>
                <a:gd name="connsiteX3153" fmla="*/ 1232682 w 3862373"/>
                <a:gd name="connsiteY3153" fmla="*/ 513426 h 3682908"/>
                <a:gd name="connsiteX3154" fmla="*/ 1142769 w 3862373"/>
                <a:gd name="connsiteY3154" fmla="*/ 513426 h 3682908"/>
                <a:gd name="connsiteX3155" fmla="*/ 1181859 w 3862373"/>
                <a:gd name="connsiteY3155" fmla="*/ 552513 h 3682908"/>
                <a:gd name="connsiteX3156" fmla="*/ 1142769 w 3862373"/>
                <a:gd name="connsiteY3156" fmla="*/ 591582 h 3682908"/>
                <a:gd name="connsiteX3157" fmla="*/ 1103669 w 3862373"/>
                <a:gd name="connsiteY3157" fmla="*/ 552513 h 3682908"/>
                <a:gd name="connsiteX3158" fmla="*/ 1142769 w 3862373"/>
                <a:gd name="connsiteY3158" fmla="*/ 513426 h 3682908"/>
                <a:gd name="connsiteX3159" fmla="*/ 1045741 w 3862373"/>
                <a:gd name="connsiteY3159" fmla="*/ 513426 h 3682908"/>
                <a:gd name="connsiteX3160" fmla="*/ 1084832 w 3862373"/>
                <a:gd name="connsiteY3160" fmla="*/ 552513 h 3682908"/>
                <a:gd name="connsiteX3161" fmla="*/ 1045741 w 3862373"/>
                <a:gd name="connsiteY3161" fmla="*/ 591582 h 3682908"/>
                <a:gd name="connsiteX3162" fmla="*/ 1006661 w 3862373"/>
                <a:gd name="connsiteY3162" fmla="*/ 552513 h 3682908"/>
                <a:gd name="connsiteX3163" fmla="*/ 1045741 w 3862373"/>
                <a:gd name="connsiteY3163" fmla="*/ 513426 h 3682908"/>
                <a:gd name="connsiteX3164" fmla="*/ 951119 w 3862373"/>
                <a:gd name="connsiteY3164" fmla="*/ 513426 h 3682908"/>
                <a:gd name="connsiteX3165" fmla="*/ 990197 w 3862373"/>
                <a:gd name="connsiteY3165" fmla="*/ 552513 h 3682908"/>
                <a:gd name="connsiteX3166" fmla="*/ 951119 w 3862373"/>
                <a:gd name="connsiteY3166" fmla="*/ 591582 h 3682908"/>
                <a:gd name="connsiteX3167" fmla="*/ 912036 w 3862373"/>
                <a:gd name="connsiteY3167" fmla="*/ 552513 h 3682908"/>
                <a:gd name="connsiteX3168" fmla="*/ 951119 w 3862373"/>
                <a:gd name="connsiteY3168" fmla="*/ 513426 h 3682908"/>
                <a:gd name="connsiteX3169" fmla="*/ 856494 w 3862373"/>
                <a:gd name="connsiteY3169" fmla="*/ 513426 h 3682908"/>
                <a:gd name="connsiteX3170" fmla="*/ 895574 w 3862373"/>
                <a:gd name="connsiteY3170" fmla="*/ 552513 h 3682908"/>
                <a:gd name="connsiteX3171" fmla="*/ 856494 w 3862373"/>
                <a:gd name="connsiteY3171" fmla="*/ 591582 h 3682908"/>
                <a:gd name="connsiteX3172" fmla="*/ 817413 w 3862373"/>
                <a:gd name="connsiteY3172" fmla="*/ 552513 h 3682908"/>
                <a:gd name="connsiteX3173" fmla="*/ 856494 w 3862373"/>
                <a:gd name="connsiteY3173" fmla="*/ 513426 h 3682908"/>
                <a:gd name="connsiteX3174" fmla="*/ 764235 w 3862373"/>
                <a:gd name="connsiteY3174" fmla="*/ 513426 h 3682908"/>
                <a:gd name="connsiteX3175" fmla="*/ 803316 w 3862373"/>
                <a:gd name="connsiteY3175" fmla="*/ 552513 h 3682908"/>
                <a:gd name="connsiteX3176" fmla="*/ 764235 w 3862373"/>
                <a:gd name="connsiteY3176" fmla="*/ 591582 h 3682908"/>
                <a:gd name="connsiteX3177" fmla="*/ 725152 w 3862373"/>
                <a:gd name="connsiteY3177" fmla="*/ 552513 h 3682908"/>
                <a:gd name="connsiteX3178" fmla="*/ 764235 w 3862373"/>
                <a:gd name="connsiteY3178" fmla="*/ 513426 h 3682908"/>
                <a:gd name="connsiteX3179" fmla="*/ 669584 w 3862373"/>
                <a:gd name="connsiteY3179" fmla="*/ 513426 h 3682908"/>
                <a:gd name="connsiteX3180" fmla="*/ 708691 w 3862373"/>
                <a:gd name="connsiteY3180" fmla="*/ 552513 h 3682908"/>
                <a:gd name="connsiteX3181" fmla="*/ 669584 w 3862373"/>
                <a:gd name="connsiteY3181" fmla="*/ 591582 h 3682908"/>
                <a:gd name="connsiteX3182" fmla="*/ 630513 w 3862373"/>
                <a:gd name="connsiteY3182" fmla="*/ 552513 h 3682908"/>
                <a:gd name="connsiteX3183" fmla="*/ 669584 w 3862373"/>
                <a:gd name="connsiteY3183" fmla="*/ 513426 h 3682908"/>
                <a:gd name="connsiteX3184" fmla="*/ 577307 w 3862373"/>
                <a:gd name="connsiteY3184" fmla="*/ 513426 h 3682908"/>
                <a:gd name="connsiteX3185" fmla="*/ 616408 w 3862373"/>
                <a:gd name="connsiteY3185" fmla="*/ 552513 h 3682908"/>
                <a:gd name="connsiteX3186" fmla="*/ 577307 w 3862373"/>
                <a:gd name="connsiteY3186" fmla="*/ 591582 h 3682908"/>
                <a:gd name="connsiteX3187" fmla="*/ 538207 w 3862373"/>
                <a:gd name="connsiteY3187" fmla="*/ 552513 h 3682908"/>
                <a:gd name="connsiteX3188" fmla="*/ 577307 w 3862373"/>
                <a:gd name="connsiteY3188" fmla="*/ 513426 h 3682908"/>
                <a:gd name="connsiteX3189" fmla="*/ 485015 w 3862373"/>
                <a:gd name="connsiteY3189" fmla="*/ 513426 h 3682908"/>
                <a:gd name="connsiteX3190" fmla="*/ 524104 w 3862373"/>
                <a:gd name="connsiteY3190" fmla="*/ 552513 h 3682908"/>
                <a:gd name="connsiteX3191" fmla="*/ 485015 w 3862373"/>
                <a:gd name="connsiteY3191" fmla="*/ 591582 h 3682908"/>
                <a:gd name="connsiteX3192" fmla="*/ 445948 w 3862373"/>
                <a:gd name="connsiteY3192" fmla="*/ 552513 h 3682908"/>
                <a:gd name="connsiteX3193" fmla="*/ 485015 w 3862373"/>
                <a:gd name="connsiteY3193" fmla="*/ 513426 h 3682908"/>
                <a:gd name="connsiteX3194" fmla="*/ 390371 w 3862373"/>
                <a:gd name="connsiteY3194" fmla="*/ 513426 h 3682908"/>
                <a:gd name="connsiteX3195" fmla="*/ 429471 w 3862373"/>
                <a:gd name="connsiteY3195" fmla="*/ 552513 h 3682908"/>
                <a:gd name="connsiteX3196" fmla="*/ 390371 w 3862373"/>
                <a:gd name="connsiteY3196" fmla="*/ 591582 h 3682908"/>
                <a:gd name="connsiteX3197" fmla="*/ 351303 w 3862373"/>
                <a:gd name="connsiteY3197" fmla="*/ 552513 h 3682908"/>
                <a:gd name="connsiteX3198" fmla="*/ 390371 w 3862373"/>
                <a:gd name="connsiteY3198" fmla="*/ 513426 h 3682908"/>
                <a:gd name="connsiteX3199" fmla="*/ 409794 w 3862373"/>
                <a:gd name="connsiteY3199" fmla="*/ 438656 h 3682908"/>
                <a:gd name="connsiteX3200" fmla="*/ 418018 w 3862373"/>
                <a:gd name="connsiteY3200" fmla="*/ 442062 h 3682908"/>
                <a:gd name="connsiteX3201" fmla="*/ 429475 w 3862373"/>
                <a:gd name="connsiteY3201" fmla="*/ 469700 h 3682908"/>
                <a:gd name="connsiteX3202" fmla="*/ 390371 w 3862373"/>
                <a:gd name="connsiteY3202" fmla="*/ 508788 h 3682908"/>
                <a:gd name="connsiteX3203" fmla="*/ 362754 w 3862373"/>
                <a:gd name="connsiteY3203" fmla="*/ 497339 h 3682908"/>
                <a:gd name="connsiteX3204" fmla="*/ 360783 w 3862373"/>
                <a:gd name="connsiteY3204" fmla="*/ 492581 h 3682908"/>
                <a:gd name="connsiteX3205" fmla="*/ 3111175 w 3862373"/>
                <a:gd name="connsiteY3205" fmla="*/ 430614 h 3682908"/>
                <a:gd name="connsiteX3206" fmla="*/ 3150263 w 3862373"/>
                <a:gd name="connsiteY3206" fmla="*/ 469701 h 3682908"/>
                <a:gd name="connsiteX3207" fmla="*/ 3111175 w 3862373"/>
                <a:gd name="connsiteY3207" fmla="*/ 508790 h 3682908"/>
                <a:gd name="connsiteX3208" fmla="*/ 3072088 w 3862373"/>
                <a:gd name="connsiteY3208" fmla="*/ 469701 h 3682908"/>
                <a:gd name="connsiteX3209" fmla="*/ 3111175 w 3862373"/>
                <a:gd name="connsiteY3209" fmla="*/ 430614 h 3682908"/>
                <a:gd name="connsiteX3210" fmla="*/ 3018902 w 3862373"/>
                <a:gd name="connsiteY3210" fmla="*/ 430614 h 3682908"/>
                <a:gd name="connsiteX3211" fmla="*/ 3057989 w 3862373"/>
                <a:gd name="connsiteY3211" fmla="*/ 469701 h 3682908"/>
                <a:gd name="connsiteX3212" fmla="*/ 3018902 w 3862373"/>
                <a:gd name="connsiteY3212" fmla="*/ 508790 h 3682908"/>
                <a:gd name="connsiteX3213" fmla="*/ 2979815 w 3862373"/>
                <a:gd name="connsiteY3213" fmla="*/ 469701 h 3682908"/>
                <a:gd name="connsiteX3214" fmla="*/ 3018902 w 3862373"/>
                <a:gd name="connsiteY3214" fmla="*/ 430614 h 3682908"/>
                <a:gd name="connsiteX3215" fmla="*/ 2924263 w 3862373"/>
                <a:gd name="connsiteY3215" fmla="*/ 430613 h 3682908"/>
                <a:gd name="connsiteX3216" fmla="*/ 2963349 w 3862373"/>
                <a:gd name="connsiteY3216" fmla="*/ 469699 h 3682908"/>
                <a:gd name="connsiteX3217" fmla="*/ 2924263 w 3862373"/>
                <a:gd name="connsiteY3217" fmla="*/ 508788 h 3682908"/>
                <a:gd name="connsiteX3218" fmla="*/ 2885175 w 3862373"/>
                <a:gd name="connsiteY3218" fmla="*/ 469699 h 3682908"/>
                <a:gd name="connsiteX3219" fmla="*/ 2924263 w 3862373"/>
                <a:gd name="connsiteY3219" fmla="*/ 430613 h 3682908"/>
                <a:gd name="connsiteX3220" fmla="*/ 2079618 w 3862373"/>
                <a:gd name="connsiteY3220" fmla="*/ 430613 h 3682908"/>
                <a:gd name="connsiteX3221" fmla="*/ 2118703 w 3862373"/>
                <a:gd name="connsiteY3221" fmla="*/ 469699 h 3682908"/>
                <a:gd name="connsiteX3222" fmla="*/ 2079618 w 3862373"/>
                <a:gd name="connsiteY3222" fmla="*/ 508788 h 3682908"/>
                <a:gd name="connsiteX3223" fmla="*/ 2040537 w 3862373"/>
                <a:gd name="connsiteY3223" fmla="*/ 469699 h 3682908"/>
                <a:gd name="connsiteX3224" fmla="*/ 2079618 w 3862373"/>
                <a:gd name="connsiteY3224" fmla="*/ 430613 h 3682908"/>
                <a:gd name="connsiteX3225" fmla="*/ 1984971 w 3862373"/>
                <a:gd name="connsiteY3225" fmla="*/ 430613 h 3682908"/>
                <a:gd name="connsiteX3226" fmla="*/ 2024068 w 3862373"/>
                <a:gd name="connsiteY3226" fmla="*/ 469699 h 3682908"/>
                <a:gd name="connsiteX3227" fmla="*/ 1984971 w 3862373"/>
                <a:gd name="connsiteY3227" fmla="*/ 508788 h 3682908"/>
                <a:gd name="connsiteX3228" fmla="*/ 1945873 w 3862373"/>
                <a:gd name="connsiteY3228" fmla="*/ 469699 h 3682908"/>
                <a:gd name="connsiteX3229" fmla="*/ 1984971 w 3862373"/>
                <a:gd name="connsiteY3229" fmla="*/ 430613 h 3682908"/>
                <a:gd name="connsiteX3230" fmla="*/ 1890340 w 3862373"/>
                <a:gd name="connsiteY3230" fmla="*/ 430613 h 3682908"/>
                <a:gd name="connsiteX3231" fmla="*/ 1929413 w 3862373"/>
                <a:gd name="connsiteY3231" fmla="*/ 469699 h 3682908"/>
                <a:gd name="connsiteX3232" fmla="*/ 1890340 w 3862373"/>
                <a:gd name="connsiteY3232" fmla="*/ 508788 h 3682908"/>
                <a:gd name="connsiteX3233" fmla="*/ 1851255 w 3862373"/>
                <a:gd name="connsiteY3233" fmla="*/ 469699 h 3682908"/>
                <a:gd name="connsiteX3234" fmla="*/ 1890340 w 3862373"/>
                <a:gd name="connsiteY3234" fmla="*/ 430613 h 3682908"/>
                <a:gd name="connsiteX3235" fmla="*/ 1798073 w 3862373"/>
                <a:gd name="connsiteY3235" fmla="*/ 430613 h 3682908"/>
                <a:gd name="connsiteX3236" fmla="*/ 1837149 w 3862373"/>
                <a:gd name="connsiteY3236" fmla="*/ 469699 h 3682908"/>
                <a:gd name="connsiteX3237" fmla="*/ 1798073 w 3862373"/>
                <a:gd name="connsiteY3237" fmla="*/ 508788 h 3682908"/>
                <a:gd name="connsiteX3238" fmla="*/ 1758966 w 3862373"/>
                <a:gd name="connsiteY3238" fmla="*/ 469699 h 3682908"/>
                <a:gd name="connsiteX3239" fmla="*/ 1798073 w 3862373"/>
                <a:gd name="connsiteY3239" fmla="*/ 430613 h 3682908"/>
                <a:gd name="connsiteX3240" fmla="*/ 1703435 w 3862373"/>
                <a:gd name="connsiteY3240" fmla="*/ 430613 h 3682908"/>
                <a:gd name="connsiteX3241" fmla="*/ 1742524 w 3862373"/>
                <a:gd name="connsiteY3241" fmla="*/ 469699 h 3682908"/>
                <a:gd name="connsiteX3242" fmla="*/ 1703435 w 3862373"/>
                <a:gd name="connsiteY3242" fmla="*/ 508788 h 3682908"/>
                <a:gd name="connsiteX3243" fmla="*/ 1664351 w 3862373"/>
                <a:gd name="connsiteY3243" fmla="*/ 469699 h 3682908"/>
                <a:gd name="connsiteX3244" fmla="*/ 1703435 w 3862373"/>
                <a:gd name="connsiteY3244" fmla="*/ 430613 h 3682908"/>
                <a:gd name="connsiteX3245" fmla="*/ 1611151 w 3862373"/>
                <a:gd name="connsiteY3245" fmla="*/ 430613 h 3682908"/>
                <a:gd name="connsiteX3246" fmla="*/ 1650245 w 3862373"/>
                <a:gd name="connsiteY3246" fmla="*/ 469699 h 3682908"/>
                <a:gd name="connsiteX3247" fmla="*/ 1611151 w 3862373"/>
                <a:gd name="connsiteY3247" fmla="*/ 508788 h 3682908"/>
                <a:gd name="connsiteX3248" fmla="*/ 1572151 w 3862373"/>
                <a:gd name="connsiteY3248" fmla="*/ 469699 h 3682908"/>
                <a:gd name="connsiteX3249" fmla="*/ 1611151 w 3862373"/>
                <a:gd name="connsiteY3249" fmla="*/ 430613 h 3682908"/>
                <a:gd name="connsiteX3250" fmla="*/ 1516598 w 3862373"/>
                <a:gd name="connsiteY3250" fmla="*/ 430613 h 3682908"/>
                <a:gd name="connsiteX3251" fmla="*/ 1555687 w 3862373"/>
                <a:gd name="connsiteY3251" fmla="*/ 469699 h 3682908"/>
                <a:gd name="connsiteX3252" fmla="*/ 1516598 w 3862373"/>
                <a:gd name="connsiteY3252" fmla="*/ 508788 h 3682908"/>
                <a:gd name="connsiteX3253" fmla="*/ 1477507 w 3862373"/>
                <a:gd name="connsiteY3253" fmla="*/ 469699 h 3682908"/>
                <a:gd name="connsiteX3254" fmla="*/ 1516598 w 3862373"/>
                <a:gd name="connsiteY3254" fmla="*/ 430613 h 3682908"/>
                <a:gd name="connsiteX3255" fmla="*/ 1045749 w 3862373"/>
                <a:gd name="connsiteY3255" fmla="*/ 430613 h 3682908"/>
                <a:gd name="connsiteX3256" fmla="*/ 1084837 w 3862373"/>
                <a:gd name="connsiteY3256" fmla="*/ 469699 h 3682908"/>
                <a:gd name="connsiteX3257" fmla="*/ 1045749 w 3862373"/>
                <a:gd name="connsiteY3257" fmla="*/ 508788 h 3682908"/>
                <a:gd name="connsiteX3258" fmla="*/ 1006666 w 3862373"/>
                <a:gd name="connsiteY3258" fmla="*/ 469699 h 3682908"/>
                <a:gd name="connsiteX3259" fmla="*/ 1045749 w 3862373"/>
                <a:gd name="connsiteY3259" fmla="*/ 430613 h 3682908"/>
                <a:gd name="connsiteX3260" fmla="*/ 951124 w 3862373"/>
                <a:gd name="connsiteY3260" fmla="*/ 430613 h 3682908"/>
                <a:gd name="connsiteX3261" fmla="*/ 990202 w 3862373"/>
                <a:gd name="connsiteY3261" fmla="*/ 469699 h 3682908"/>
                <a:gd name="connsiteX3262" fmla="*/ 951124 w 3862373"/>
                <a:gd name="connsiteY3262" fmla="*/ 508788 h 3682908"/>
                <a:gd name="connsiteX3263" fmla="*/ 912041 w 3862373"/>
                <a:gd name="connsiteY3263" fmla="*/ 469699 h 3682908"/>
                <a:gd name="connsiteX3264" fmla="*/ 951124 w 3862373"/>
                <a:gd name="connsiteY3264" fmla="*/ 430613 h 3682908"/>
                <a:gd name="connsiteX3265" fmla="*/ 856499 w 3862373"/>
                <a:gd name="connsiteY3265" fmla="*/ 430613 h 3682908"/>
                <a:gd name="connsiteX3266" fmla="*/ 895578 w 3862373"/>
                <a:gd name="connsiteY3266" fmla="*/ 469699 h 3682908"/>
                <a:gd name="connsiteX3267" fmla="*/ 856499 w 3862373"/>
                <a:gd name="connsiteY3267" fmla="*/ 508788 h 3682908"/>
                <a:gd name="connsiteX3268" fmla="*/ 817418 w 3862373"/>
                <a:gd name="connsiteY3268" fmla="*/ 469699 h 3682908"/>
                <a:gd name="connsiteX3269" fmla="*/ 856499 w 3862373"/>
                <a:gd name="connsiteY3269" fmla="*/ 430613 h 3682908"/>
                <a:gd name="connsiteX3270" fmla="*/ 764240 w 3862373"/>
                <a:gd name="connsiteY3270" fmla="*/ 430613 h 3682908"/>
                <a:gd name="connsiteX3271" fmla="*/ 803321 w 3862373"/>
                <a:gd name="connsiteY3271" fmla="*/ 469699 h 3682908"/>
                <a:gd name="connsiteX3272" fmla="*/ 764240 w 3862373"/>
                <a:gd name="connsiteY3272" fmla="*/ 508788 h 3682908"/>
                <a:gd name="connsiteX3273" fmla="*/ 725157 w 3862373"/>
                <a:gd name="connsiteY3273" fmla="*/ 469699 h 3682908"/>
                <a:gd name="connsiteX3274" fmla="*/ 764240 w 3862373"/>
                <a:gd name="connsiteY3274" fmla="*/ 430613 h 3682908"/>
                <a:gd name="connsiteX3275" fmla="*/ 669597 w 3862373"/>
                <a:gd name="connsiteY3275" fmla="*/ 430613 h 3682908"/>
                <a:gd name="connsiteX3276" fmla="*/ 708695 w 3862373"/>
                <a:gd name="connsiteY3276" fmla="*/ 469699 h 3682908"/>
                <a:gd name="connsiteX3277" fmla="*/ 669597 w 3862373"/>
                <a:gd name="connsiteY3277" fmla="*/ 508788 h 3682908"/>
                <a:gd name="connsiteX3278" fmla="*/ 630517 w 3862373"/>
                <a:gd name="connsiteY3278" fmla="*/ 469699 h 3682908"/>
                <a:gd name="connsiteX3279" fmla="*/ 669597 w 3862373"/>
                <a:gd name="connsiteY3279" fmla="*/ 430613 h 3682908"/>
                <a:gd name="connsiteX3280" fmla="*/ 577311 w 3862373"/>
                <a:gd name="connsiteY3280" fmla="*/ 430613 h 3682908"/>
                <a:gd name="connsiteX3281" fmla="*/ 616412 w 3862373"/>
                <a:gd name="connsiteY3281" fmla="*/ 469700 h 3682908"/>
                <a:gd name="connsiteX3282" fmla="*/ 577311 w 3862373"/>
                <a:gd name="connsiteY3282" fmla="*/ 508788 h 3682908"/>
                <a:gd name="connsiteX3283" fmla="*/ 538213 w 3862373"/>
                <a:gd name="connsiteY3283" fmla="*/ 469700 h 3682908"/>
                <a:gd name="connsiteX3284" fmla="*/ 577311 w 3862373"/>
                <a:gd name="connsiteY3284" fmla="*/ 430613 h 3682908"/>
                <a:gd name="connsiteX3285" fmla="*/ 485025 w 3862373"/>
                <a:gd name="connsiteY3285" fmla="*/ 430613 h 3682908"/>
                <a:gd name="connsiteX3286" fmla="*/ 524109 w 3862373"/>
                <a:gd name="connsiteY3286" fmla="*/ 469700 h 3682908"/>
                <a:gd name="connsiteX3287" fmla="*/ 485025 w 3862373"/>
                <a:gd name="connsiteY3287" fmla="*/ 508788 h 3682908"/>
                <a:gd name="connsiteX3288" fmla="*/ 445951 w 3862373"/>
                <a:gd name="connsiteY3288" fmla="*/ 469700 h 3682908"/>
                <a:gd name="connsiteX3289" fmla="*/ 485025 w 3862373"/>
                <a:gd name="connsiteY3289" fmla="*/ 430613 h 3682908"/>
                <a:gd name="connsiteX3290" fmla="*/ 493081 w 3862373"/>
                <a:gd name="connsiteY3290" fmla="*/ 353508 h 3682908"/>
                <a:gd name="connsiteX3291" fmla="*/ 512664 w 3862373"/>
                <a:gd name="connsiteY3291" fmla="*/ 361620 h 3682908"/>
                <a:gd name="connsiteX3292" fmla="*/ 524111 w 3862373"/>
                <a:gd name="connsiteY3292" fmla="*/ 389259 h 3682908"/>
                <a:gd name="connsiteX3293" fmla="*/ 485026 w 3862373"/>
                <a:gd name="connsiteY3293" fmla="*/ 428346 h 3682908"/>
                <a:gd name="connsiteX3294" fmla="*/ 457392 w 3862373"/>
                <a:gd name="connsiteY3294" fmla="*/ 416897 h 3682908"/>
                <a:gd name="connsiteX3295" fmla="*/ 448688 w 3862373"/>
                <a:gd name="connsiteY3295" fmla="*/ 395861 h 3682908"/>
                <a:gd name="connsiteX3296" fmla="*/ 459172 w 3862373"/>
                <a:gd name="connsiteY3296" fmla="*/ 384326 h 3682908"/>
                <a:gd name="connsiteX3297" fmla="*/ 2079618 w 3862373"/>
                <a:gd name="connsiteY3297" fmla="*/ 350171 h 3682908"/>
                <a:gd name="connsiteX3298" fmla="*/ 2118703 w 3862373"/>
                <a:gd name="connsiteY3298" fmla="*/ 389259 h 3682908"/>
                <a:gd name="connsiteX3299" fmla="*/ 2079618 w 3862373"/>
                <a:gd name="connsiteY3299" fmla="*/ 428346 h 3682908"/>
                <a:gd name="connsiteX3300" fmla="*/ 2040537 w 3862373"/>
                <a:gd name="connsiteY3300" fmla="*/ 389259 h 3682908"/>
                <a:gd name="connsiteX3301" fmla="*/ 2079618 w 3862373"/>
                <a:gd name="connsiteY3301" fmla="*/ 350171 h 3682908"/>
                <a:gd name="connsiteX3302" fmla="*/ 1984971 w 3862373"/>
                <a:gd name="connsiteY3302" fmla="*/ 350171 h 3682908"/>
                <a:gd name="connsiteX3303" fmla="*/ 2024068 w 3862373"/>
                <a:gd name="connsiteY3303" fmla="*/ 389259 h 3682908"/>
                <a:gd name="connsiteX3304" fmla="*/ 1984971 w 3862373"/>
                <a:gd name="connsiteY3304" fmla="*/ 428346 h 3682908"/>
                <a:gd name="connsiteX3305" fmla="*/ 1945873 w 3862373"/>
                <a:gd name="connsiteY3305" fmla="*/ 389259 h 3682908"/>
                <a:gd name="connsiteX3306" fmla="*/ 1984971 w 3862373"/>
                <a:gd name="connsiteY3306" fmla="*/ 350171 h 3682908"/>
                <a:gd name="connsiteX3307" fmla="*/ 1890340 w 3862373"/>
                <a:gd name="connsiteY3307" fmla="*/ 350171 h 3682908"/>
                <a:gd name="connsiteX3308" fmla="*/ 1929413 w 3862373"/>
                <a:gd name="connsiteY3308" fmla="*/ 389259 h 3682908"/>
                <a:gd name="connsiteX3309" fmla="*/ 1890340 w 3862373"/>
                <a:gd name="connsiteY3309" fmla="*/ 428346 h 3682908"/>
                <a:gd name="connsiteX3310" fmla="*/ 1851255 w 3862373"/>
                <a:gd name="connsiteY3310" fmla="*/ 389259 h 3682908"/>
                <a:gd name="connsiteX3311" fmla="*/ 1890340 w 3862373"/>
                <a:gd name="connsiteY3311" fmla="*/ 350171 h 3682908"/>
                <a:gd name="connsiteX3312" fmla="*/ 1798073 w 3862373"/>
                <a:gd name="connsiteY3312" fmla="*/ 350171 h 3682908"/>
                <a:gd name="connsiteX3313" fmla="*/ 1837149 w 3862373"/>
                <a:gd name="connsiteY3313" fmla="*/ 389259 h 3682908"/>
                <a:gd name="connsiteX3314" fmla="*/ 1798073 w 3862373"/>
                <a:gd name="connsiteY3314" fmla="*/ 428346 h 3682908"/>
                <a:gd name="connsiteX3315" fmla="*/ 1758966 w 3862373"/>
                <a:gd name="connsiteY3315" fmla="*/ 389259 h 3682908"/>
                <a:gd name="connsiteX3316" fmla="*/ 1798073 w 3862373"/>
                <a:gd name="connsiteY3316" fmla="*/ 350171 h 3682908"/>
                <a:gd name="connsiteX3317" fmla="*/ 1703435 w 3862373"/>
                <a:gd name="connsiteY3317" fmla="*/ 350171 h 3682908"/>
                <a:gd name="connsiteX3318" fmla="*/ 1742524 w 3862373"/>
                <a:gd name="connsiteY3318" fmla="*/ 389259 h 3682908"/>
                <a:gd name="connsiteX3319" fmla="*/ 1703435 w 3862373"/>
                <a:gd name="connsiteY3319" fmla="*/ 428346 h 3682908"/>
                <a:gd name="connsiteX3320" fmla="*/ 1664351 w 3862373"/>
                <a:gd name="connsiteY3320" fmla="*/ 389259 h 3682908"/>
                <a:gd name="connsiteX3321" fmla="*/ 1703435 w 3862373"/>
                <a:gd name="connsiteY3321" fmla="*/ 350171 h 3682908"/>
                <a:gd name="connsiteX3322" fmla="*/ 1611151 w 3862373"/>
                <a:gd name="connsiteY3322" fmla="*/ 350171 h 3682908"/>
                <a:gd name="connsiteX3323" fmla="*/ 1650245 w 3862373"/>
                <a:gd name="connsiteY3323" fmla="*/ 389259 h 3682908"/>
                <a:gd name="connsiteX3324" fmla="*/ 1611151 w 3862373"/>
                <a:gd name="connsiteY3324" fmla="*/ 428346 h 3682908"/>
                <a:gd name="connsiteX3325" fmla="*/ 1572155 w 3862373"/>
                <a:gd name="connsiteY3325" fmla="*/ 389259 h 3682908"/>
                <a:gd name="connsiteX3326" fmla="*/ 1611151 w 3862373"/>
                <a:gd name="connsiteY3326" fmla="*/ 350171 h 3682908"/>
                <a:gd name="connsiteX3327" fmla="*/ 1516602 w 3862373"/>
                <a:gd name="connsiteY3327" fmla="*/ 350171 h 3682908"/>
                <a:gd name="connsiteX3328" fmla="*/ 1555690 w 3862373"/>
                <a:gd name="connsiteY3328" fmla="*/ 389259 h 3682908"/>
                <a:gd name="connsiteX3329" fmla="*/ 1516602 w 3862373"/>
                <a:gd name="connsiteY3329" fmla="*/ 428346 h 3682908"/>
                <a:gd name="connsiteX3330" fmla="*/ 1477510 w 3862373"/>
                <a:gd name="connsiteY3330" fmla="*/ 389259 h 3682908"/>
                <a:gd name="connsiteX3331" fmla="*/ 1516602 w 3862373"/>
                <a:gd name="connsiteY3331" fmla="*/ 350171 h 3682908"/>
                <a:gd name="connsiteX3332" fmla="*/ 951124 w 3862373"/>
                <a:gd name="connsiteY3332" fmla="*/ 350171 h 3682908"/>
                <a:gd name="connsiteX3333" fmla="*/ 990204 w 3862373"/>
                <a:gd name="connsiteY3333" fmla="*/ 389259 h 3682908"/>
                <a:gd name="connsiteX3334" fmla="*/ 951124 w 3862373"/>
                <a:gd name="connsiteY3334" fmla="*/ 428346 h 3682908"/>
                <a:gd name="connsiteX3335" fmla="*/ 912042 w 3862373"/>
                <a:gd name="connsiteY3335" fmla="*/ 389259 h 3682908"/>
                <a:gd name="connsiteX3336" fmla="*/ 951124 w 3862373"/>
                <a:gd name="connsiteY3336" fmla="*/ 350171 h 3682908"/>
                <a:gd name="connsiteX3337" fmla="*/ 856501 w 3862373"/>
                <a:gd name="connsiteY3337" fmla="*/ 350171 h 3682908"/>
                <a:gd name="connsiteX3338" fmla="*/ 895581 w 3862373"/>
                <a:gd name="connsiteY3338" fmla="*/ 389259 h 3682908"/>
                <a:gd name="connsiteX3339" fmla="*/ 856501 w 3862373"/>
                <a:gd name="connsiteY3339" fmla="*/ 428346 h 3682908"/>
                <a:gd name="connsiteX3340" fmla="*/ 817421 w 3862373"/>
                <a:gd name="connsiteY3340" fmla="*/ 389259 h 3682908"/>
                <a:gd name="connsiteX3341" fmla="*/ 856501 w 3862373"/>
                <a:gd name="connsiteY3341" fmla="*/ 350171 h 3682908"/>
                <a:gd name="connsiteX3342" fmla="*/ 764243 w 3862373"/>
                <a:gd name="connsiteY3342" fmla="*/ 350171 h 3682908"/>
                <a:gd name="connsiteX3343" fmla="*/ 803324 w 3862373"/>
                <a:gd name="connsiteY3343" fmla="*/ 389259 h 3682908"/>
                <a:gd name="connsiteX3344" fmla="*/ 764243 w 3862373"/>
                <a:gd name="connsiteY3344" fmla="*/ 428346 h 3682908"/>
                <a:gd name="connsiteX3345" fmla="*/ 725160 w 3862373"/>
                <a:gd name="connsiteY3345" fmla="*/ 389259 h 3682908"/>
                <a:gd name="connsiteX3346" fmla="*/ 764243 w 3862373"/>
                <a:gd name="connsiteY3346" fmla="*/ 350171 h 3682908"/>
                <a:gd name="connsiteX3347" fmla="*/ 669597 w 3862373"/>
                <a:gd name="connsiteY3347" fmla="*/ 350171 h 3682908"/>
                <a:gd name="connsiteX3348" fmla="*/ 708698 w 3862373"/>
                <a:gd name="connsiteY3348" fmla="*/ 389259 h 3682908"/>
                <a:gd name="connsiteX3349" fmla="*/ 669597 w 3862373"/>
                <a:gd name="connsiteY3349" fmla="*/ 428346 h 3682908"/>
                <a:gd name="connsiteX3350" fmla="*/ 630519 w 3862373"/>
                <a:gd name="connsiteY3350" fmla="*/ 389259 h 3682908"/>
                <a:gd name="connsiteX3351" fmla="*/ 669597 w 3862373"/>
                <a:gd name="connsiteY3351" fmla="*/ 350171 h 3682908"/>
                <a:gd name="connsiteX3352" fmla="*/ 577316 w 3862373"/>
                <a:gd name="connsiteY3352" fmla="*/ 350171 h 3682908"/>
                <a:gd name="connsiteX3353" fmla="*/ 616414 w 3862373"/>
                <a:gd name="connsiteY3353" fmla="*/ 389259 h 3682908"/>
                <a:gd name="connsiteX3354" fmla="*/ 577316 w 3862373"/>
                <a:gd name="connsiteY3354" fmla="*/ 428346 h 3682908"/>
                <a:gd name="connsiteX3355" fmla="*/ 538216 w 3862373"/>
                <a:gd name="connsiteY3355" fmla="*/ 389259 h 3682908"/>
                <a:gd name="connsiteX3356" fmla="*/ 577316 w 3862373"/>
                <a:gd name="connsiteY3356" fmla="*/ 350171 h 3682908"/>
                <a:gd name="connsiteX3357" fmla="*/ 591716 w 3862373"/>
                <a:gd name="connsiteY3357" fmla="*/ 263862 h 3682908"/>
                <a:gd name="connsiteX3358" fmla="*/ 604964 w 3862373"/>
                <a:gd name="connsiteY3358" fmla="*/ 269347 h 3682908"/>
                <a:gd name="connsiteX3359" fmla="*/ 616416 w 3862373"/>
                <a:gd name="connsiteY3359" fmla="*/ 296985 h 3682908"/>
                <a:gd name="connsiteX3360" fmla="*/ 577316 w 3862373"/>
                <a:gd name="connsiteY3360" fmla="*/ 336071 h 3682908"/>
                <a:gd name="connsiteX3361" fmla="*/ 549670 w 3862373"/>
                <a:gd name="connsiteY3361" fmla="*/ 324623 h 3682908"/>
                <a:gd name="connsiteX3362" fmla="*/ 542883 w 3862373"/>
                <a:gd name="connsiteY3362" fmla="*/ 308244 h 3682908"/>
                <a:gd name="connsiteX3363" fmla="*/ 951129 w 3862373"/>
                <a:gd name="connsiteY3363" fmla="*/ 257899 h 3682908"/>
                <a:gd name="connsiteX3364" fmla="*/ 990205 w 3862373"/>
                <a:gd name="connsiteY3364" fmla="*/ 296985 h 3682908"/>
                <a:gd name="connsiteX3365" fmla="*/ 951129 w 3862373"/>
                <a:gd name="connsiteY3365" fmla="*/ 336070 h 3682908"/>
                <a:gd name="connsiteX3366" fmla="*/ 912045 w 3862373"/>
                <a:gd name="connsiteY3366" fmla="*/ 296985 h 3682908"/>
                <a:gd name="connsiteX3367" fmla="*/ 951129 w 3862373"/>
                <a:gd name="connsiteY3367" fmla="*/ 257899 h 3682908"/>
                <a:gd name="connsiteX3368" fmla="*/ 856503 w 3862373"/>
                <a:gd name="connsiteY3368" fmla="*/ 257899 h 3682908"/>
                <a:gd name="connsiteX3369" fmla="*/ 895582 w 3862373"/>
                <a:gd name="connsiteY3369" fmla="*/ 296985 h 3682908"/>
                <a:gd name="connsiteX3370" fmla="*/ 856503 w 3862373"/>
                <a:gd name="connsiteY3370" fmla="*/ 336070 h 3682908"/>
                <a:gd name="connsiteX3371" fmla="*/ 817422 w 3862373"/>
                <a:gd name="connsiteY3371" fmla="*/ 296985 h 3682908"/>
                <a:gd name="connsiteX3372" fmla="*/ 856503 w 3862373"/>
                <a:gd name="connsiteY3372" fmla="*/ 257899 h 3682908"/>
                <a:gd name="connsiteX3373" fmla="*/ 764243 w 3862373"/>
                <a:gd name="connsiteY3373" fmla="*/ 257899 h 3682908"/>
                <a:gd name="connsiteX3374" fmla="*/ 803326 w 3862373"/>
                <a:gd name="connsiteY3374" fmla="*/ 296985 h 3682908"/>
                <a:gd name="connsiteX3375" fmla="*/ 764243 w 3862373"/>
                <a:gd name="connsiteY3375" fmla="*/ 336070 h 3682908"/>
                <a:gd name="connsiteX3376" fmla="*/ 725161 w 3862373"/>
                <a:gd name="connsiteY3376" fmla="*/ 296985 h 3682908"/>
                <a:gd name="connsiteX3377" fmla="*/ 764243 w 3862373"/>
                <a:gd name="connsiteY3377" fmla="*/ 257899 h 3682908"/>
                <a:gd name="connsiteX3378" fmla="*/ 669597 w 3862373"/>
                <a:gd name="connsiteY3378" fmla="*/ 257899 h 3682908"/>
                <a:gd name="connsiteX3379" fmla="*/ 708698 w 3862373"/>
                <a:gd name="connsiteY3379" fmla="*/ 296985 h 3682908"/>
                <a:gd name="connsiteX3380" fmla="*/ 669597 w 3862373"/>
                <a:gd name="connsiteY3380" fmla="*/ 336070 h 3682908"/>
                <a:gd name="connsiteX3381" fmla="*/ 630520 w 3862373"/>
                <a:gd name="connsiteY3381" fmla="*/ 296985 h 3682908"/>
                <a:gd name="connsiteX3382" fmla="*/ 669597 w 3862373"/>
                <a:gd name="connsiteY3382" fmla="*/ 257899 h 3682908"/>
                <a:gd name="connsiteX3383" fmla="*/ 2079618 w 3862373"/>
                <a:gd name="connsiteY3383" fmla="*/ 257899 h 3682908"/>
                <a:gd name="connsiteX3384" fmla="*/ 2118703 w 3862373"/>
                <a:gd name="connsiteY3384" fmla="*/ 296984 h 3682908"/>
                <a:gd name="connsiteX3385" fmla="*/ 2079618 w 3862373"/>
                <a:gd name="connsiteY3385" fmla="*/ 336070 h 3682908"/>
                <a:gd name="connsiteX3386" fmla="*/ 2040537 w 3862373"/>
                <a:gd name="connsiteY3386" fmla="*/ 296984 h 3682908"/>
                <a:gd name="connsiteX3387" fmla="*/ 2079618 w 3862373"/>
                <a:gd name="connsiteY3387" fmla="*/ 257899 h 3682908"/>
                <a:gd name="connsiteX3388" fmla="*/ 1984971 w 3862373"/>
                <a:gd name="connsiteY3388" fmla="*/ 257899 h 3682908"/>
                <a:gd name="connsiteX3389" fmla="*/ 2024068 w 3862373"/>
                <a:gd name="connsiteY3389" fmla="*/ 296984 h 3682908"/>
                <a:gd name="connsiteX3390" fmla="*/ 1984971 w 3862373"/>
                <a:gd name="connsiteY3390" fmla="*/ 336070 h 3682908"/>
                <a:gd name="connsiteX3391" fmla="*/ 1945873 w 3862373"/>
                <a:gd name="connsiteY3391" fmla="*/ 296984 h 3682908"/>
                <a:gd name="connsiteX3392" fmla="*/ 1984971 w 3862373"/>
                <a:gd name="connsiteY3392" fmla="*/ 257899 h 3682908"/>
                <a:gd name="connsiteX3393" fmla="*/ 1890340 w 3862373"/>
                <a:gd name="connsiteY3393" fmla="*/ 257899 h 3682908"/>
                <a:gd name="connsiteX3394" fmla="*/ 1929413 w 3862373"/>
                <a:gd name="connsiteY3394" fmla="*/ 296984 h 3682908"/>
                <a:gd name="connsiteX3395" fmla="*/ 1890340 w 3862373"/>
                <a:gd name="connsiteY3395" fmla="*/ 336070 h 3682908"/>
                <a:gd name="connsiteX3396" fmla="*/ 1851255 w 3862373"/>
                <a:gd name="connsiteY3396" fmla="*/ 296984 h 3682908"/>
                <a:gd name="connsiteX3397" fmla="*/ 1890340 w 3862373"/>
                <a:gd name="connsiteY3397" fmla="*/ 257899 h 3682908"/>
                <a:gd name="connsiteX3398" fmla="*/ 1798073 w 3862373"/>
                <a:gd name="connsiteY3398" fmla="*/ 257899 h 3682908"/>
                <a:gd name="connsiteX3399" fmla="*/ 1837149 w 3862373"/>
                <a:gd name="connsiteY3399" fmla="*/ 296984 h 3682908"/>
                <a:gd name="connsiteX3400" fmla="*/ 1798073 w 3862373"/>
                <a:gd name="connsiteY3400" fmla="*/ 336070 h 3682908"/>
                <a:gd name="connsiteX3401" fmla="*/ 1758966 w 3862373"/>
                <a:gd name="connsiteY3401" fmla="*/ 296984 h 3682908"/>
                <a:gd name="connsiteX3402" fmla="*/ 1798073 w 3862373"/>
                <a:gd name="connsiteY3402" fmla="*/ 257899 h 3682908"/>
                <a:gd name="connsiteX3403" fmla="*/ 1703435 w 3862373"/>
                <a:gd name="connsiteY3403" fmla="*/ 257899 h 3682908"/>
                <a:gd name="connsiteX3404" fmla="*/ 1742524 w 3862373"/>
                <a:gd name="connsiteY3404" fmla="*/ 296984 h 3682908"/>
                <a:gd name="connsiteX3405" fmla="*/ 1703435 w 3862373"/>
                <a:gd name="connsiteY3405" fmla="*/ 336070 h 3682908"/>
                <a:gd name="connsiteX3406" fmla="*/ 1664351 w 3862373"/>
                <a:gd name="connsiteY3406" fmla="*/ 296984 h 3682908"/>
                <a:gd name="connsiteX3407" fmla="*/ 1703435 w 3862373"/>
                <a:gd name="connsiteY3407" fmla="*/ 257899 h 3682908"/>
                <a:gd name="connsiteX3408" fmla="*/ 1611151 w 3862373"/>
                <a:gd name="connsiteY3408" fmla="*/ 257899 h 3682908"/>
                <a:gd name="connsiteX3409" fmla="*/ 1650245 w 3862373"/>
                <a:gd name="connsiteY3409" fmla="*/ 296984 h 3682908"/>
                <a:gd name="connsiteX3410" fmla="*/ 1611151 w 3862373"/>
                <a:gd name="connsiteY3410" fmla="*/ 336070 h 3682908"/>
                <a:gd name="connsiteX3411" fmla="*/ 1572155 w 3862373"/>
                <a:gd name="connsiteY3411" fmla="*/ 296984 h 3682908"/>
                <a:gd name="connsiteX3412" fmla="*/ 1611151 w 3862373"/>
                <a:gd name="connsiteY3412" fmla="*/ 257899 h 3682908"/>
                <a:gd name="connsiteX3413" fmla="*/ 1516605 w 3862373"/>
                <a:gd name="connsiteY3413" fmla="*/ 257899 h 3682908"/>
                <a:gd name="connsiteX3414" fmla="*/ 1555690 w 3862373"/>
                <a:gd name="connsiteY3414" fmla="*/ 296984 h 3682908"/>
                <a:gd name="connsiteX3415" fmla="*/ 1516605 w 3862373"/>
                <a:gd name="connsiteY3415" fmla="*/ 336070 h 3682908"/>
                <a:gd name="connsiteX3416" fmla="*/ 1477512 w 3862373"/>
                <a:gd name="connsiteY3416" fmla="*/ 296984 h 3682908"/>
                <a:gd name="connsiteX3417" fmla="*/ 1516605 w 3862373"/>
                <a:gd name="connsiteY3417" fmla="*/ 257899 h 3682908"/>
                <a:gd name="connsiteX3418" fmla="*/ 1419597 w 3862373"/>
                <a:gd name="connsiteY3418" fmla="*/ 257899 h 3682908"/>
                <a:gd name="connsiteX3419" fmla="*/ 1458689 w 3862373"/>
                <a:gd name="connsiteY3419" fmla="*/ 296984 h 3682908"/>
                <a:gd name="connsiteX3420" fmla="*/ 1419597 w 3862373"/>
                <a:gd name="connsiteY3420" fmla="*/ 336070 h 3682908"/>
                <a:gd name="connsiteX3421" fmla="*/ 1380501 w 3862373"/>
                <a:gd name="connsiteY3421" fmla="*/ 296984 h 3682908"/>
                <a:gd name="connsiteX3422" fmla="*/ 1419597 w 3862373"/>
                <a:gd name="connsiteY3422" fmla="*/ 257899 h 3682908"/>
                <a:gd name="connsiteX3423" fmla="*/ 1329683 w 3862373"/>
                <a:gd name="connsiteY3423" fmla="*/ 257899 h 3682908"/>
                <a:gd name="connsiteX3424" fmla="*/ 1368775 w 3862373"/>
                <a:gd name="connsiteY3424" fmla="*/ 296984 h 3682908"/>
                <a:gd name="connsiteX3425" fmla="*/ 1329683 w 3862373"/>
                <a:gd name="connsiteY3425" fmla="*/ 336070 h 3682908"/>
                <a:gd name="connsiteX3426" fmla="*/ 1290601 w 3862373"/>
                <a:gd name="connsiteY3426" fmla="*/ 296984 h 3682908"/>
                <a:gd name="connsiteX3427" fmla="*/ 1329683 w 3862373"/>
                <a:gd name="connsiteY3427" fmla="*/ 257899 h 3682908"/>
                <a:gd name="connsiteX3428" fmla="*/ 1232690 w 3862373"/>
                <a:gd name="connsiteY3428" fmla="*/ 257899 h 3682908"/>
                <a:gd name="connsiteX3429" fmla="*/ 1271764 w 3862373"/>
                <a:gd name="connsiteY3429" fmla="*/ 296985 h 3682908"/>
                <a:gd name="connsiteX3430" fmla="*/ 1232690 w 3862373"/>
                <a:gd name="connsiteY3430" fmla="*/ 336070 h 3682908"/>
                <a:gd name="connsiteX3431" fmla="*/ 1193607 w 3862373"/>
                <a:gd name="connsiteY3431" fmla="*/ 296985 h 3682908"/>
                <a:gd name="connsiteX3432" fmla="*/ 1232690 w 3862373"/>
                <a:gd name="connsiteY3432" fmla="*/ 257899 h 3682908"/>
                <a:gd name="connsiteX3433" fmla="*/ 1516605 w 3862373"/>
                <a:gd name="connsiteY3433" fmla="*/ 175085 h 3682908"/>
                <a:gd name="connsiteX3434" fmla="*/ 1555690 w 3862373"/>
                <a:gd name="connsiteY3434" fmla="*/ 214170 h 3682908"/>
                <a:gd name="connsiteX3435" fmla="*/ 1516605 w 3862373"/>
                <a:gd name="connsiteY3435" fmla="*/ 253265 h 3682908"/>
                <a:gd name="connsiteX3436" fmla="*/ 1477512 w 3862373"/>
                <a:gd name="connsiteY3436" fmla="*/ 214170 h 3682908"/>
                <a:gd name="connsiteX3437" fmla="*/ 1516605 w 3862373"/>
                <a:gd name="connsiteY3437" fmla="*/ 175085 h 3682908"/>
                <a:gd name="connsiteX3438" fmla="*/ 1419600 w 3862373"/>
                <a:gd name="connsiteY3438" fmla="*/ 175085 h 3682908"/>
                <a:gd name="connsiteX3439" fmla="*/ 1458689 w 3862373"/>
                <a:gd name="connsiteY3439" fmla="*/ 214170 h 3682908"/>
                <a:gd name="connsiteX3440" fmla="*/ 1419600 w 3862373"/>
                <a:gd name="connsiteY3440" fmla="*/ 253265 h 3682908"/>
                <a:gd name="connsiteX3441" fmla="*/ 1380502 w 3862373"/>
                <a:gd name="connsiteY3441" fmla="*/ 214170 h 3682908"/>
                <a:gd name="connsiteX3442" fmla="*/ 1419600 w 3862373"/>
                <a:gd name="connsiteY3442" fmla="*/ 175085 h 3682908"/>
                <a:gd name="connsiteX3443" fmla="*/ 1329683 w 3862373"/>
                <a:gd name="connsiteY3443" fmla="*/ 175085 h 3682908"/>
                <a:gd name="connsiteX3444" fmla="*/ 1368775 w 3862373"/>
                <a:gd name="connsiteY3444" fmla="*/ 214170 h 3682908"/>
                <a:gd name="connsiteX3445" fmla="*/ 1329683 w 3862373"/>
                <a:gd name="connsiteY3445" fmla="*/ 253265 h 3682908"/>
                <a:gd name="connsiteX3446" fmla="*/ 1290601 w 3862373"/>
                <a:gd name="connsiteY3446" fmla="*/ 214170 h 3682908"/>
                <a:gd name="connsiteX3447" fmla="*/ 1329683 w 3862373"/>
                <a:gd name="connsiteY3447" fmla="*/ 175085 h 3682908"/>
                <a:gd name="connsiteX3448" fmla="*/ 1232690 w 3862373"/>
                <a:gd name="connsiteY3448" fmla="*/ 175085 h 3682908"/>
                <a:gd name="connsiteX3449" fmla="*/ 1271764 w 3862373"/>
                <a:gd name="connsiteY3449" fmla="*/ 214170 h 3682908"/>
                <a:gd name="connsiteX3450" fmla="*/ 1232690 w 3862373"/>
                <a:gd name="connsiteY3450" fmla="*/ 253265 h 3682908"/>
                <a:gd name="connsiteX3451" fmla="*/ 1193607 w 3862373"/>
                <a:gd name="connsiteY3451" fmla="*/ 214170 h 3682908"/>
                <a:gd name="connsiteX3452" fmla="*/ 1232690 w 3862373"/>
                <a:gd name="connsiteY3452" fmla="*/ 175085 h 3682908"/>
                <a:gd name="connsiteX3453" fmla="*/ 1045751 w 3862373"/>
                <a:gd name="connsiteY3453" fmla="*/ 175085 h 3682908"/>
                <a:gd name="connsiteX3454" fmla="*/ 1084842 w 3862373"/>
                <a:gd name="connsiteY3454" fmla="*/ 214172 h 3682908"/>
                <a:gd name="connsiteX3455" fmla="*/ 1045751 w 3862373"/>
                <a:gd name="connsiteY3455" fmla="*/ 253265 h 3682908"/>
                <a:gd name="connsiteX3456" fmla="*/ 1006670 w 3862373"/>
                <a:gd name="connsiteY3456" fmla="*/ 214172 h 3682908"/>
                <a:gd name="connsiteX3457" fmla="*/ 1045751 w 3862373"/>
                <a:gd name="connsiteY3457" fmla="*/ 175085 h 3682908"/>
                <a:gd name="connsiteX3458" fmla="*/ 951129 w 3862373"/>
                <a:gd name="connsiteY3458" fmla="*/ 175085 h 3682908"/>
                <a:gd name="connsiteX3459" fmla="*/ 990205 w 3862373"/>
                <a:gd name="connsiteY3459" fmla="*/ 214172 h 3682908"/>
                <a:gd name="connsiteX3460" fmla="*/ 951129 w 3862373"/>
                <a:gd name="connsiteY3460" fmla="*/ 253265 h 3682908"/>
                <a:gd name="connsiteX3461" fmla="*/ 912045 w 3862373"/>
                <a:gd name="connsiteY3461" fmla="*/ 214172 h 3682908"/>
                <a:gd name="connsiteX3462" fmla="*/ 951129 w 3862373"/>
                <a:gd name="connsiteY3462" fmla="*/ 175085 h 3682908"/>
                <a:gd name="connsiteX3463" fmla="*/ 856503 w 3862373"/>
                <a:gd name="connsiteY3463" fmla="*/ 175085 h 3682908"/>
                <a:gd name="connsiteX3464" fmla="*/ 895582 w 3862373"/>
                <a:gd name="connsiteY3464" fmla="*/ 214172 h 3682908"/>
                <a:gd name="connsiteX3465" fmla="*/ 856503 w 3862373"/>
                <a:gd name="connsiteY3465" fmla="*/ 253265 h 3682908"/>
                <a:gd name="connsiteX3466" fmla="*/ 817422 w 3862373"/>
                <a:gd name="connsiteY3466" fmla="*/ 214172 h 3682908"/>
                <a:gd name="connsiteX3467" fmla="*/ 856503 w 3862373"/>
                <a:gd name="connsiteY3467" fmla="*/ 175085 h 3682908"/>
                <a:gd name="connsiteX3468" fmla="*/ 764243 w 3862373"/>
                <a:gd name="connsiteY3468" fmla="*/ 175085 h 3682908"/>
                <a:gd name="connsiteX3469" fmla="*/ 803326 w 3862373"/>
                <a:gd name="connsiteY3469" fmla="*/ 214172 h 3682908"/>
                <a:gd name="connsiteX3470" fmla="*/ 764243 w 3862373"/>
                <a:gd name="connsiteY3470" fmla="*/ 253265 h 3682908"/>
                <a:gd name="connsiteX3471" fmla="*/ 725161 w 3862373"/>
                <a:gd name="connsiteY3471" fmla="*/ 214172 h 3682908"/>
                <a:gd name="connsiteX3472" fmla="*/ 764243 w 3862373"/>
                <a:gd name="connsiteY3472" fmla="*/ 175085 h 3682908"/>
                <a:gd name="connsiteX3473" fmla="*/ 2831988 w 3862373"/>
                <a:gd name="connsiteY3473" fmla="*/ 175085 h 3682908"/>
                <a:gd name="connsiteX3474" fmla="*/ 2871075 w 3862373"/>
                <a:gd name="connsiteY3474" fmla="*/ 214170 h 3682908"/>
                <a:gd name="connsiteX3475" fmla="*/ 2831988 w 3862373"/>
                <a:gd name="connsiteY3475" fmla="*/ 253265 h 3682908"/>
                <a:gd name="connsiteX3476" fmla="*/ 2792901 w 3862373"/>
                <a:gd name="connsiteY3476" fmla="*/ 214170 h 3682908"/>
                <a:gd name="connsiteX3477" fmla="*/ 2831988 w 3862373"/>
                <a:gd name="connsiteY3477" fmla="*/ 175085 h 3682908"/>
                <a:gd name="connsiteX3478" fmla="*/ 2079618 w 3862373"/>
                <a:gd name="connsiteY3478" fmla="*/ 175085 h 3682908"/>
                <a:gd name="connsiteX3479" fmla="*/ 2118703 w 3862373"/>
                <a:gd name="connsiteY3479" fmla="*/ 214170 h 3682908"/>
                <a:gd name="connsiteX3480" fmla="*/ 2079618 w 3862373"/>
                <a:gd name="connsiteY3480" fmla="*/ 253265 h 3682908"/>
                <a:gd name="connsiteX3481" fmla="*/ 2040537 w 3862373"/>
                <a:gd name="connsiteY3481" fmla="*/ 214170 h 3682908"/>
                <a:gd name="connsiteX3482" fmla="*/ 2079618 w 3862373"/>
                <a:gd name="connsiteY3482" fmla="*/ 175085 h 3682908"/>
                <a:gd name="connsiteX3483" fmla="*/ 1984973 w 3862373"/>
                <a:gd name="connsiteY3483" fmla="*/ 175085 h 3682908"/>
                <a:gd name="connsiteX3484" fmla="*/ 2024073 w 3862373"/>
                <a:gd name="connsiteY3484" fmla="*/ 214170 h 3682908"/>
                <a:gd name="connsiteX3485" fmla="*/ 1984973 w 3862373"/>
                <a:gd name="connsiteY3485" fmla="*/ 253265 h 3682908"/>
                <a:gd name="connsiteX3486" fmla="*/ 1945875 w 3862373"/>
                <a:gd name="connsiteY3486" fmla="*/ 214170 h 3682908"/>
                <a:gd name="connsiteX3487" fmla="*/ 1984973 w 3862373"/>
                <a:gd name="connsiteY3487" fmla="*/ 175085 h 3682908"/>
                <a:gd name="connsiteX3488" fmla="*/ 1890340 w 3862373"/>
                <a:gd name="connsiteY3488" fmla="*/ 175085 h 3682908"/>
                <a:gd name="connsiteX3489" fmla="*/ 1929413 w 3862373"/>
                <a:gd name="connsiteY3489" fmla="*/ 214170 h 3682908"/>
                <a:gd name="connsiteX3490" fmla="*/ 1890340 w 3862373"/>
                <a:gd name="connsiteY3490" fmla="*/ 253265 h 3682908"/>
                <a:gd name="connsiteX3491" fmla="*/ 1851255 w 3862373"/>
                <a:gd name="connsiteY3491" fmla="*/ 214170 h 3682908"/>
                <a:gd name="connsiteX3492" fmla="*/ 1890340 w 3862373"/>
                <a:gd name="connsiteY3492" fmla="*/ 175085 h 3682908"/>
                <a:gd name="connsiteX3493" fmla="*/ 1798073 w 3862373"/>
                <a:gd name="connsiteY3493" fmla="*/ 175085 h 3682908"/>
                <a:gd name="connsiteX3494" fmla="*/ 1837149 w 3862373"/>
                <a:gd name="connsiteY3494" fmla="*/ 214170 h 3682908"/>
                <a:gd name="connsiteX3495" fmla="*/ 1798073 w 3862373"/>
                <a:gd name="connsiteY3495" fmla="*/ 253265 h 3682908"/>
                <a:gd name="connsiteX3496" fmla="*/ 1758966 w 3862373"/>
                <a:gd name="connsiteY3496" fmla="*/ 214170 h 3682908"/>
                <a:gd name="connsiteX3497" fmla="*/ 1798073 w 3862373"/>
                <a:gd name="connsiteY3497" fmla="*/ 175085 h 3682908"/>
                <a:gd name="connsiteX3498" fmla="*/ 1703435 w 3862373"/>
                <a:gd name="connsiteY3498" fmla="*/ 175085 h 3682908"/>
                <a:gd name="connsiteX3499" fmla="*/ 1742524 w 3862373"/>
                <a:gd name="connsiteY3499" fmla="*/ 214170 h 3682908"/>
                <a:gd name="connsiteX3500" fmla="*/ 1703435 w 3862373"/>
                <a:gd name="connsiteY3500" fmla="*/ 253265 h 3682908"/>
                <a:gd name="connsiteX3501" fmla="*/ 1664351 w 3862373"/>
                <a:gd name="connsiteY3501" fmla="*/ 214170 h 3682908"/>
                <a:gd name="connsiteX3502" fmla="*/ 1703435 w 3862373"/>
                <a:gd name="connsiteY3502" fmla="*/ 175085 h 3682908"/>
                <a:gd name="connsiteX3503" fmla="*/ 1611151 w 3862373"/>
                <a:gd name="connsiteY3503" fmla="*/ 175085 h 3682908"/>
                <a:gd name="connsiteX3504" fmla="*/ 1650245 w 3862373"/>
                <a:gd name="connsiteY3504" fmla="*/ 214170 h 3682908"/>
                <a:gd name="connsiteX3505" fmla="*/ 1611151 w 3862373"/>
                <a:gd name="connsiteY3505" fmla="*/ 253265 h 3682908"/>
                <a:gd name="connsiteX3506" fmla="*/ 1572158 w 3862373"/>
                <a:gd name="connsiteY3506" fmla="*/ 214170 h 3682908"/>
                <a:gd name="connsiteX3507" fmla="*/ 1611151 w 3862373"/>
                <a:gd name="connsiteY3507" fmla="*/ 175085 h 3682908"/>
                <a:gd name="connsiteX3508" fmla="*/ 798955 w 3862373"/>
                <a:gd name="connsiteY3508" fmla="*/ 113714 h 3682908"/>
                <a:gd name="connsiteX3509" fmla="*/ 803326 w 3862373"/>
                <a:gd name="connsiteY3509" fmla="*/ 124268 h 3682908"/>
                <a:gd name="connsiteX3510" fmla="*/ 764243 w 3862373"/>
                <a:gd name="connsiteY3510" fmla="*/ 163353 h 3682908"/>
                <a:gd name="connsiteX3511" fmla="*/ 738461 w 3862373"/>
                <a:gd name="connsiteY3511" fmla="*/ 152674 h 3682908"/>
                <a:gd name="connsiteX3512" fmla="*/ 754212 w 3862373"/>
                <a:gd name="connsiteY3512" fmla="*/ 140896 h 3682908"/>
                <a:gd name="connsiteX3513" fmla="*/ 2904918 w 3862373"/>
                <a:gd name="connsiteY3513" fmla="*/ 93195 h 3682908"/>
                <a:gd name="connsiteX3514" fmla="*/ 2961886 w 3862373"/>
                <a:gd name="connsiteY3514" fmla="*/ 127804 h 3682908"/>
                <a:gd name="connsiteX3515" fmla="*/ 2951903 w 3862373"/>
                <a:gd name="connsiteY3515" fmla="*/ 151905 h 3682908"/>
                <a:gd name="connsiteX3516" fmla="*/ 2924264 w 3862373"/>
                <a:gd name="connsiteY3516" fmla="*/ 163353 h 3682908"/>
                <a:gd name="connsiteX3517" fmla="*/ 2885177 w 3862373"/>
                <a:gd name="connsiteY3517" fmla="*/ 124267 h 3682908"/>
                <a:gd name="connsiteX3518" fmla="*/ 2896625 w 3862373"/>
                <a:gd name="connsiteY3518" fmla="*/ 96630 h 3682908"/>
                <a:gd name="connsiteX3519" fmla="*/ 2831988 w 3862373"/>
                <a:gd name="connsiteY3519" fmla="*/ 85181 h 3682908"/>
                <a:gd name="connsiteX3520" fmla="*/ 2871075 w 3862373"/>
                <a:gd name="connsiteY3520" fmla="*/ 124267 h 3682908"/>
                <a:gd name="connsiteX3521" fmla="*/ 2831988 w 3862373"/>
                <a:gd name="connsiteY3521" fmla="*/ 163353 h 3682908"/>
                <a:gd name="connsiteX3522" fmla="*/ 2792901 w 3862373"/>
                <a:gd name="connsiteY3522" fmla="*/ 124267 h 3682908"/>
                <a:gd name="connsiteX3523" fmla="*/ 2831988 w 3862373"/>
                <a:gd name="connsiteY3523" fmla="*/ 85181 h 3682908"/>
                <a:gd name="connsiteX3524" fmla="*/ 2171887 w 3862373"/>
                <a:gd name="connsiteY3524" fmla="*/ 85181 h 3682908"/>
                <a:gd name="connsiteX3525" fmla="*/ 2210981 w 3862373"/>
                <a:gd name="connsiteY3525" fmla="*/ 124267 h 3682908"/>
                <a:gd name="connsiteX3526" fmla="*/ 2171887 w 3862373"/>
                <a:gd name="connsiteY3526" fmla="*/ 163353 h 3682908"/>
                <a:gd name="connsiteX3527" fmla="*/ 2132800 w 3862373"/>
                <a:gd name="connsiteY3527" fmla="*/ 124267 h 3682908"/>
                <a:gd name="connsiteX3528" fmla="*/ 2171887 w 3862373"/>
                <a:gd name="connsiteY3528" fmla="*/ 85181 h 3682908"/>
                <a:gd name="connsiteX3529" fmla="*/ 2079618 w 3862373"/>
                <a:gd name="connsiteY3529" fmla="*/ 85181 h 3682908"/>
                <a:gd name="connsiteX3530" fmla="*/ 2118703 w 3862373"/>
                <a:gd name="connsiteY3530" fmla="*/ 124267 h 3682908"/>
                <a:gd name="connsiteX3531" fmla="*/ 2079618 w 3862373"/>
                <a:gd name="connsiteY3531" fmla="*/ 163353 h 3682908"/>
                <a:gd name="connsiteX3532" fmla="*/ 2040537 w 3862373"/>
                <a:gd name="connsiteY3532" fmla="*/ 124267 h 3682908"/>
                <a:gd name="connsiteX3533" fmla="*/ 2079618 w 3862373"/>
                <a:gd name="connsiteY3533" fmla="*/ 85181 h 3682908"/>
                <a:gd name="connsiteX3534" fmla="*/ 1984973 w 3862373"/>
                <a:gd name="connsiteY3534" fmla="*/ 85181 h 3682908"/>
                <a:gd name="connsiteX3535" fmla="*/ 2024073 w 3862373"/>
                <a:gd name="connsiteY3535" fmla="*/ 124268 h 3682908"/>
                <a:gd name="connsiteX3536" fmla="*/ 1984973 w 3862373"/>
                <a:gd name="connsiteY3536" fmla="*/ 163353 h 3682908"/>
                <a:gd name="connsiteX3537" fmla="*/ 1945875 w 3862373"/>
                <a:gd name="connsiteY3537" fmla="*/ 124268 h 3682908"/>
                <a:gd name="connsiteX3538" fmla="*/ 1984973 w 3862373"/>
                <a:gd name="connsiteY3538" fmla="*/ 85181 h 3682908"/>
                <a:gd name="connsiteX3539" fmla="*/ 1890340 w 3862373"/>
                <a:gd name="connsiteY3539" fmla="*/ 85181 h 3682908"/>
                <a:gd name="connsiteX3540" fmla="*/ 1929413 w 3862373"/>
                <a:gd name="connsiteY3540" fmla="*/ 124268 h 3682908"/>
                <a:gd name="connsiteX3541" fmla="*/ 1890340 w 3862373"/>
                <a:gd name="connsiteY3541" fmla="*/ 163353 h 3682908"/>
                <a:gd name="connsiteX3542" fmla="*/ 1851255 w 3862373"/>
                <a:gd name="connsiteY3542" fmla="*/ 124268 h 3682908"/>
                <a:gd name="connsiteX3543" fmla="*/ 1890340 w 3862373"/>
                <a:gd name="connsiteY3543" fmla="*/ 85181 h 3682908"/>
                <a:gd name="connsiteX3544" fmla="*/ 1798073 w 3862373"/>
                <a:gd name="connsiteY3544" fmla="*/ 85181 h 3682908"/>
                <a:gd name="connsiteX3545" fmla="*/ 1837149 w 3862373"/>
                <a:gd name="connsiteY3545" fmla="*/ 124268 h 3682908"/>
                <a:gd name="connsiteX3546" fmla="*/ 1798073 w 3862373"/>
                <a:gd name="connsiteY3546" fmla="*/ 163353 h 3682908"/>
                <a:gd name="connsiteX3547" fmla="*/ 1758966 w 3862373"/>
                <a:gd name="connsiteY3547" fmla="*/ 124268 h 3682908"/>
                <a:gd name="connsiteX3548" fmla="*/ 1798073 w 3862373"/>
                <a:gd name="connsiteY3548" fmla="*/ 85181 h 3682908"/>
                <a:gd name="connsiteX3549" fmla="*/ 1703435 w 3862373"/>
                <a:gd name="connsiteY3549" fmla="*/ 85181 h 3682908"/>
                <a:gd name="connsiteX3550" fmla="*/ 1742524 w 3862373"/>
                <a:gd name="connsiteY3550" fmla="*/ 124268 h 3682908"/>
                <a:gd name="connsiteX3551" fmla="*/ 1703435 w 3862373"/>
                <a:gd name="connsiteY3551" fmla="*/ 163353 h 3682908"/>
                <a:gd name="connsiteX3552" fmla="*/ 1664351 w 3862373"/>
                <a:gd name="connsiteY3552" fmla="*/ 124268 h 3682908"/>
                <a:gd name="connsiteX3553" fmla="*/ 1703435 w 3862373"/>
                <a:gd name="connsiteY3553" fmla="*/ 85181 h 3682908"/>
                <a:gd name="connsiteX3554" fmla="*/ 1611151 w 3862373"/>
                <a:gd name="connsiteY3554" fmla="*/ 85181 h 3682908"/>
                <a:gd name="connsiteX3555" fmla="*/ 1650245 w 3862373"/>
                <a:gd name="connsiteY3555" fmla="*/ 124268 h 3682908"/>
                <a:gd name="connsiteX3556" fmla="*/ 1611151 w 3862373"/>
                <a:gd name="connsiteY3556" fmla="*/ 163353 h 3682908"/>
                <a:gd name="connsiteX3557" fmla="*/ 1572160 w 3862373"/>
                <a:gd name="connsiteY3557" fmla="*/ 124268 h 3682908"/>
                <a:gd name="connsiteX3558" fmla="*/ 1611151 w 3862373"/>
                <a:gd name="connsiteY3558" fmla="*/ 85181 h 3682908"/>
                <a:gd name="connsiteX3559" fmla="*/ 1516607 w 3862373"/>
                <a:gd name="connsiteY3559" fmla="*/ 85181 h 3682908"/>
                <a:gd name="connsiteX3560" fmla="*/ 1555693 w 3862373"/>
                <a:gd name="connsiteY3560" fmla="*/ 124268 h 3682908"/>
                <a:gd name="connsiteX3561" fmla="*/ 1516607 w 3862373"/>
                <a:gd name="connsiteY3561" fmla="*/ 163353 h 3682908"/>
                <a:gd name="connsiteX3562" fmla="*/ 1477512 w 3862373"/>
                <a:gd name="connsiteY3562" fmla="*/ 124268 h 3682908"/>
                <a:gd name="connsiteX3563" fmla="*/ 1516607 w 3862373"/>
                <a:gd name="connsiteY3563" fmla="*/ 85181 h 3682908"/>
                <a:gd name="connsiteX3564" fmla="*/ 1419600 w 3862373"/>
                <a:gd name="connsiteY3564" fmla="*/ 85181 h 3682908"/>
                <a:gd name="connsiteX3565" fmla="*/ 1458689 w 3862373"/>
                <a:gd name="connsiteY3565" fmla="*/ 124268 h 3682908"/>
                <a:gd name="connsiteX3566" fmla="*/ 1419600 w 3862373"/>
                <a:gd name="connsiteY3566" fmla="*/ 163353 h 3682908"/>
                <a:gd name="connsiteX3567" fmla="*/ 1380504 w 3862373"/>
                <a:gd name="connsiteY3567" fmla="*/ 124268 h 3682908"/>
                <a:gd name="connsiteX3568" fmla="*/ 1419600 w 3862373"/>
                <a:gd name="connsiteY3568" fmla="*/ 85181 h 3682908"/>
                <a:gd name="connsiteX3569" fmla="*/ 1329684 w 3862373"/>
                <a:gd name="connsiteY3569" fmla="*/ 85181 h 3682908"/>
                <a:gd name="connsiteX3570" fmla="*/ 1368775 w 3862373"/>
                <a:gd name="connsiteY3570" fmla="*/ 124268 h 3682908"/>
                <a:gd name="connsiteX3571" fmla="*/ 1329684 w 3862373"/>
                <a:gd name="connsiteY3571" fmla="*/ 163353 h 3682908"/>
                <a:gd name="connsiteX3572" fmla="*/ 1290604 w 3862373"/>
                <a:gd name="connsiteY3572" fmla="*/ 124268 h 3682908"/>
                <a:gd name="connsiteX3573" fmla="*/ 1329684 w 3862373"/>
                <a:gd name="connsiteY3573" fmla="*/ 85181 h 3682908"/>
                <a:gd name="connsiteX3574" fmla="*/ 1142780 w 3862373"/>
                <a:gd name="connsiteY3574" fmla="*/ 85181 h 3682908"/>
                <a:gd name="connsiteX3575" fmla="*/ 1181872 w 3862373"/>
                <a:gd name="connsiteY3575" fmla="*/ 124268 h 3682908"/>
                <a:gd name="connsiteX3576" fmla="*/ 1142780 w 3862373"/>
                <a:gd name="connsiteY3576" fmla="*/ 163353 h 3682908"/>
                <a:gd name="connsiteX3577" fmla="*/ 1103680 w 3862373"/>
                <a:gd name="connsiteY3577" fmla="*/ 124268 h 3682908"/>
                <a:gd name="connsiteX3578" fmla="*/ 1142780 w 3862373"/>
                <a:gd name="connsiteY3578" fmla="*/ 85181 h 3682908"/>
                <a:gd name="connsiteX3579" fmla="*/ 1045753 w 3862373"/>
                <a:gd name="connsiteY3579" fmla="*/ 85181 h 3682908"/>
                <a:gd name="connsiteX3580" fmla="*/ 1084842 w 3862373"/>
                <a:gd name="connsiteY3580" fmla="*/ 124268 h 3682908"/>
                <a:gd name="connsiteX3581" fmla="*/ 1045753 w 3862373"/>
                <a:gd name="connsiteY3581" fmla="*/ 163353 h 3682908"/>
                <a:gd name="connsiteX3582" fmla="*/ 1006670 w 3862373"/>
                <a:gd name="connsiteY3582" fmla="*/ 124268 h 3682908"/>
                <a:gd name="connsiteX3583" fmla="*/ 1045753 w 3862373"/>
                <a:gd name="connsiteY3583" fmla="*/ 85181 h 3682908"/>
                <a:gd name="connsiteX3584" fmla="*/ 951129 w 3862373"/>
                <a:gd name="connsiteY3584" fmla="*/ 85181 h 3682908"/>
                <a:gd name="connsiteX3585" fmla="*/ 990205 w 3862373"/>
                <a:gd name="connsiteY3585" fmla="*/ 124268 h 3682908"/>
                <a:gd name="connsiteX3586" fmla="*/ 951129 w 3862373"/>
                <a:gd name="connsiteY3586" fmla="*/ 163353 h 3682908"/>
                <a:gd name="connsiteX3587" fmla="*/ 912045 w 3862373"/>
                <a:gd name="connsiteY3587" fmla="*/ 124268 h 3682908"/>
                <a:gd name="connsiteX3588" fmla="*/ 951129 w 3862373"/>
                <a:gd name="connsiteY3588" fmla="*/ 85181 h 3682908"/>
                <a:gd name="connsiteX3589" fmla="*/ 856503 w 3862373"/>
                <a:gd name="connsiteY3589" fmla="*/ 85181 h 3682908"/>
                <a:gd name="connsiteX3590" fmla="*/ 895582 w 3862373"/>
                <a:gd name="connsiteY3590" fmla="*/ 124268 h 3682908"/>
                <a:gd name="connsiteX3591" fmla="*/ 856503 w 3862373"/>
                <a:gd name="connsiteY3591" fmla="*/ 163353 h 3682908"/>
                <a:gd name="connsiteX3592" fmla="*/ 817424 w 3862373"/>
                <a:gd name="connsiteY3592" fmla="*/ 124268 h 3682908"/>
                <a:gd name="connsiteX3593" fmla="*/ 856503 w 3862373"/>
                <a:gd name="connsiteY3593" fmla="*/ 85181 h 3682908"/>
                <a:gd name="connsiteX3594" fmla="*/ 978967 w 3862373"/>
                <a:gd name="connsiteY3594" fmla="*/ 11950 h 3682908"/>
                <a:gd name="connsiteX3595" fmla="*/ 990205 w 3862373"/>
                <a:gd name="connsiteY3595" fmla="*/ 39087 h 3682908"/>
                <a:gd name="connsiteX3596" fmla="*/ 951129 w 3862373"/>
                <a:gd name="connsiteY3596" fmla="*/ 78173 h 3682908"/>
                <a:gd name="connsiteX3597" fmla="*/ 923492 w 3862373"/>
                <a:gd name="connsiteY3597" fmla="*/ 66725 h 3682908"/>
                <a:gd name="connsiteX3598" fmla="*/ 914005 w 3862373"/>
                <a:gd name="connsiteY3598" fmla="*/ 43819 h 3682908"/>
                <a:gd name="connsiteX3599" fmla="*/ 918580 w 3862373"/>
                <a:gd name="connsiteY3599" fmla="*/ 41040 h 3682908"/>
                <a:gd name="connsiteX3600" fmla="*/ 2266537 w 3862373"/>
                <a:gd name="connsiteY3600" fmla="*/ 0 h 3682908"/>
                <a:gd name="connsiteX3601" fmla="*/ 2305619 w 3862373"/>
                <a:gd name="connsiteY3601" fmla="*/ 39087 h 3682908"/>
                <a:gd name="connsiteX3602" fmla="*/ 2266537 w 3862373"/>
                <a:gd name="connsiteY3602" fmla="*/ 78173 h 3682908"/>
                <a:gd name="connsiteX3603" fmla="*/ 2227443 w 3862373"/>
                <a:gd name="connsiteY3603" fmla="*/ 39087 h 3682908"/>
                <a:gd name="connsiteX3604" fmla="*/ 2266537 w 3862373"/>
                <a:gd name="connsiteY3604" fmla="*/ 0 h 3682908"/>
                <a:gd name="connsiteX3605" fmla="*/ 2171887 w 3862373"/>
                <a:gd name="connsiteY3605" fmla="*/ 0 h 3682908"/>
                <a:gd name="connsiteX3606" fmla="*/ 2210981 w 3862373"/>
                <a:gd name="connsiteY3606" fmla="*/ 39087 h 3682908"/>
                <a:gd name="connsiteX3607" fmla="*/ 2171887 w 3862373"/>
                <a:gd name="connsiteY3607" fmla="*/ 78173 h 3682908"/>
                <a:gd name="connsiteX3608" fmla="*/ 2132800 w 3862373"/>
                <a:gd name="connsiteY3608" fmla="*/ 39087 h 3682908"/>
                <a:gd name="connsiteX3609" fmla="*/ 2171887 w 3862373"/>
                <a:gd name="connsiteY3609" fmla="*/ 0 h 3682908"/>
                <a:gd name="connsiteX3610" fmla="*/ 2079618 w 3862373"/>
                <a:gd name="connsiteY3610" fmla="*/ 0 h 3682908"/>
                <a:gd name="connsiteX3611" fmla="*/ 2118703 w 3862373"/>
                <a:gd name="connsiteY3611" fmla="*/ 39087 h 3682908"/>
                <a:gd name="connsiteX3612" fmla="*/ 2079618 w 3862373"/>
                <a:gd name="connsiteY3612" fmla="*/ 78173 h 3682908"/>
                <a:gd name="connsiteX3613" fmla="*/ 2040537 w 3862373"/>
                <a:gd name="connsiteY3613" fmla="*/ 39087 h 3682908"/>
                <a:gd name="connsiteX3614" fmla="*/ 2079618 w 3862373"/>
                <a:gd name="connsiteY3614" fmla="*/ 0 h 3682908"/>
                <a:gd name="connsiteX3615" fmla="*/ 1984973 w 3862373"/>
                <a:gd name="connsiteY3615" fmla="*/ 0 h 3682908"/>
                <a:gd name="connsiteX3616" fmla="*/ 2024073 w 3862373"/>
                <a:gd name="connsiteY3616" fmla="*/ 39087 h 3682908"/>
                <a:gd name="connsiteX3617" fmla="*/ 1984973 w 3862373"/>
                <a:gd name="connsiteY3617" fmla="*/ 78173 h 3682908"/>
                <a:gd name="connsiteX3618" fmla="*/ 1945875 w 3862373"/>
                <a:gd name="connsiteY3618" fmla="*/ 39087 h 3682908"/>
                <a:gd name="connsiteX3619" fmla="*/ 1984973 w 3862373"/>
                <a:gd name="connsiteY3619" fmla="*/ 0 h 3682908"/>
                <a:gd name="connsiteX3620" fmla="*/ 1890340 w 3862373"/>
                <a:gd name="connsiteY3620" fmla="*/ 0 h 3682908"/>
                <a:gd name="connsiteX3621" fmla="*/ 1929413 w 3862373"/>
                <a:gd name="connsiteY3621" fmla="*/ 39087 h 3682908"/>
                <a:gd name="connsiteX3622" fmla="*/ 1890340 w 3862373"/>
                <a:gd name="connsiteY3622" fmla="*/ 78173 h 3682908"/>
                <a:gd name="connsiteX3623" fmla="*/ 1851255 w 3862373"/>
                <a:gd name="connsiteY3623" fmla="*/ 39087 h 3682908"/>
                <a:gd name="connsiteX3624" fmla="*/ 1890340 w 3862373"/>
                <a:gd name="connsiteY3624" fmla="*/ 0 h 3682908"/>
                <a:gd name="connsiteX3625" fmla="*/ 1798073 w 3862373"/>
                <a:gd name="connsiteY3625" fmla="*/ 0 h 3682908"/>
                <a:gd name="connsiteX3626" fmla="*/ 1837149 w 3862373"/>
                <a:gd name="connsiteY3626" fmla="*/ 39087 h 3682908"/>
                <a:gd name="connsiteX3627" fmla="*/ 1798073 w 3862373"/>
                <a:gd name="connsiteY3627" fmla="*/ 78173 h 3682908"/>
                <a:gd name="connsiteX3628" fmla="*/ 1758966 w 3862373"/>
                <a:gd name="connsiteY3628" fmla="*/ 39087 h 3682908"/>
                <a:gd name="connsiteX3629" fmla="*/ 1798073 w 3862373"/>
                <a:gd name="connsiteY3629" fmla="*/ 0 h 3682908"/>
                <a:gd name="connsiteX3630" fmla="*/ 1703435 w 3862373"/>
                <a:gd name="connsiteY3630" fmla="*/ 0 h 3682908"/>
                <a:gd name="connsiteX3631" fmla="*/ 1742524 w 3862373"/>
                <a:gd name="connsiteY3631" fmla="*/ 39087 h 3682908"/>
                <a:gd name="connsiteX3632" fmla="*/ 1703435 w 3862373"/>
                <a:gd name="connsiteY3632" fmla="*/ 78173 h 3682908"/>
                <a:gd name="connsiteX3633" fmla="*/ 1664351 w 3862373"/>
                <a:gd name="connsiteY3633" fmla="*/ 39087 h 3682908"/>
                <a:gd name="connsiteX3634" fmla="*/ 1703435 w 3862373"/>
                <a:gd name="connsiteY3634" fmla="*/ 0 h 3682908"/>
                <a:gd name="connsiteX3635" fmla="*/ 1611151 w 3862373"/>
                <a:gd name="connsiteY3635" fmla="*/ 0 h 3682908"/>
                <a:gd name="connsiteX3636" fmla="*/ 1650245 w 3862373"/>
                <a:gd name="connsiteY3636" fmla="*/ 39087 h 3682908"/>
                <a:gd name="connsiteX3637" fmla="*/ 1611151 w 3862373"/>
                <a:gd name="connsiteY3637" fmla="*/ 78173 h 3682908"/>
                <a:gd name="connsiteX3638" fmla="*/ 1572160 w 3862373"/>
                <a:gd name="connsiteY3638" fmla="*/ 39087 h 3682908"/>
                <a:gd name="connsiteX3639" fmla="*/ 1611151 w 3862373"/>
                <a:gd name="connsiteY3639" fmla="*/ 0 h 3682908"/>
                <a:gd name="connsiteX3640" fmla="*/ 1516607 w 3862373"/>
                <a:gd name="connsiteY3640" fmla="*/ 0 h 3682908"/>
                <a:gd name="connsiteX3641" fmla="*/ 1555693 w 3862373"/>
                <a:gd name="connsiteY3641" fmla="*/ 39087 h 3682908"/>
                <a:gd name="connsiteX3642" fmla="*/ 1516607 w 3862373"/>
                <a:gd name="connsiteY3642" fmla="*/ 78173 h 3682908"/>
                <a:gd name="connsiteX3643" fmla="*/ 1477512 w 3862373"/>
                <a:gd name="connsiteY3643" fmla="*/ 39087 h 3682908"/>
                <a:gd name="connsiteX3644" fmla="*/ 1516607 w 3862373"/>
                <a:gd name="connsiteY3644" fmla="*/ 0 h 3682908"/>
                <a:gd name="connsiteX3645" fmla="*/ 1232692 w 3862373"/>
                <a:gd name="connsiteY3645" fmla="*/ 0 h 3682908"/>
                <a:gd name="connsiteX3646" fmla="*/ 1271765 w 3862373"/>
                <a:gd name="connsiteY3646" fmla="*/ 39087 h 3682908"/>
                <a:gd name="connsiteX3647" fmla="*/ 1232692 w 3862373"/>
                <a:gd name="connsiteY3647" fmla="*/ 78173 h 3682908"/>
                <a:gd name="connsiteX3648" fmla="*/ 1193607 w 3862373"/>
                <a:gd name="connsiteY3648" fmla="*/ 39087 h 3682908"/>
                <a:gd name="connsiteX3649" fmla="*/ 1232692 w 3862373"/>
                <a:gd name="connsiteY3649" fmla="*/ 0 h 3682908"/>
                <a:gd name="connsiteX3650" fmla="*/ 1142780 w 3862373"/>
                <a:gd name="connsiteY3650" fmla="*/ 0 h 3682908"/>
                <a:gd name="connsiteX3651" fmla="*/ 1181872 w 3862373"/>
                <a:gd name="connsiteY3651" fmla="*/ 39087 h 3682908"/>
                <a:gd name="connsiteX3652" fmla="*/ 1142780 w 3862373"/>
                <a:gd name="connsiteY3652" fmla="*/ 78173 h 3682908"/>
                <a:gd name="connsiteX3653" fmla="*/ 1103680 w 3862373"/>
                <a:gd name="connsiteY3653" fmla="*/ 39087 h 3682908"/>
                <a:gd name="connsiteX3654" fmla="*/ 1142780 w 3862373"/>
                <a:gd name="connsiteY3654" fmla="*/ 0 h 3682908"/>
                <a:gd name="connsiteX3655" fmla="*/ 1045753 w 3862373"/>
                <a:gd name="connsiteY3655" fmla="*/ 0 h 3682908"/>
                <a:gd name="connsiteX3656" fmla="*/ 1084842 w 3862373"/>
                <a:gd name="connsiteY3656" fmla="*/ 39087 h 3682908"/>
                <a:gd name="connsiteX3657" fmla="*/ 1045753 w 3862373"/>
                <a:gd name="connsiteY3657" fmla="*/ 78173 h 3682908"/>
                <a:gd name="connsiteX3658" fmla="*/ 1006670 w 3862373"/>
                <a:gd name="connsiteY3658" fmla="*/ 39087 h 3682908"/>
                <a:gd name="connsiteX3659" fmla="*/ 1045753 w 3862373"/>
                <a:gd name="connsiteY3659" fmla="*/ 0 h 36829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 ang="0">
                  <a:pos x="connsiteX2048" y="connsiteY2048"/>
                </a:cxn>
                <a:cxn ang="0">
                  <a:pos x="connsiteX2049" y="connsiteY2049"/>
                </a:cxn>
                <a:cxn ang="0">
                  <a:pos x="connsiteX2050" y="connsiteY2050"/>
                </a:cxn>
                <a:cxn ang="0">
                  <a:pos x="connsiteX2051" y="connsiteY2051"/>
                </a:cxn>
                <a:cxn ang="0">
                  <a:pos x="connsiteX2052" y="connsiteY2052"/>
                </a:cxn>
                <a:cxn ang="0">
                  <a:pos x="connsiteX2053" y="connsiteY2053"/>
                </a:cxn>
                <a:cxn ang="0">
                  <a:pos x="connsiteX2054" y="connsiteY2054"/>
                </a:cxn>
                <a:cxn ang="0">
                  <a:pos x="connsiteX2055" y="connsiteY2055"/>
                </a:cxn>
                <a:cxn ang="0">
                  <a:pos x="connsiteX2056" y="connsiteY2056"/>
                </a:cxn>
                <a:cxn ang="0">
                  <a:pos x="connsiteX2057" y="connsiteY2057"/>
                </a:cxn>
                <a:cxn ang="0">
                  <a:pos x="connsiteX2058" y="connsiteY2058"/>
                </a:cxn>
                <a:cxn ang="0">
                  <a:pos x="connsiteX2059" y="connsiteY2059"/>
                </a:cxn>
                <a:cxn ang="0">
                  <a:pos x="connsiteX2060" y="connsiteY2060"/>
                </a:cxn>
                <a:cxn ang="0">
                  <a:pos x="connsiteX2061" y="connsiteY2061"/>
                </a:cxn>
                <a:cxn ang="0">
                  <a:pos x="connsiteX2062" y="connsiteY2062"/>
                </a:cxn>
                <a:cxn ang="0">
                  <a:pos x="connsiteX2063" y="connsiteY2063"/>
                </a:cxn>
                <a:cxn ang="0">
                  <a:pos x="connsiteX2064" y="connsiteY2064"/>
                </a:cxn>
                <a:cxn ang="0">
                  <a:pos x="connsiteX2065" y="connsiteY2065"/>
                </a:cxn>
                <a:cxn ang="0">
                  <a:pos x="connsiteX2066" y="connsiteY2066"/>
                </a:cxn>
                <a:cxn ang="0">
                  <a:pos x="connsiteX2067" y="connsiteY2067"/>
                </a:cxn>
                <a:cxn ang="0">
                  <a:pos x="connsiteX2068" y="connsiteY2068"/>
                </a:cxn>
                <a:cxn ang="0">
                  <a:pos x="connsiteX2069" y="connsiteY2069"/>
                </a:cxn>
                <a:cxn ang="0">
                  <a:pos x="connsiteX2070" y="connsiteY2070"/>
                </a:cxn>
                <a:cxn ang="0">
                  <a:pos x="connsiteX2071" y="connsiteY2071"/>
                </a:cxn>
                <a:cxn ang="0">
                  <a:pos x="connsiteX2072" y="connsiteY2072"/>
                </a:cxn>
                <a:cxn ang="0">
                  <a:pos x="connsiteX2073" y="connsiteY2073"/>
                </a:cxn>
                <a:cxn ang="0">
                  <a:pos x="connsiteX2074" y="connsiteY2074"/>
                </a:cxn>
                <a:cxn ang="0">
                  <a:pos x="connsiteX2075" y="connsiteY2075"/>
                </a:cxn>
                <a:cxn ang="0">
                  <a:pos x="connsiteX2076" y="connsiteY2076"/>
                </a:cxn>
                <a:cxn ang="0">
                  <a:pos x="connsiteX2077" y="connsiteY2077"/>
                </a:cxn>
                <a:cxn ang="0">
                  <a:pos x="connsiteX2078" y="connsiteY2078"/>
                </a:cxn>
                <a:cxn ang="0">
                  <a:pos x="connsiteX2079" y="connsiteY2079"/>
                </a:cxn>
                <a:cxn ang="0">
                  <a:pos x="connsiteX2080" y="connsiteY2080"/>
                </a:cxn>
                <a:cxn ang="0">
                  <a:pos x="connsiteX2081" y="connsiteY2081"/>
                </a:cxn>
                <a:cxn ang="0">
                  <a:pos x="connsiteX2082" y="connsiteY2082"/>
                </a:cxn>
                <a:cxn ang="0">
                  <a:pos x="connsiteX2083" y="connsiteY2083"/>
                </a:cxn>
                <a:cxn ang="0">
                  <a:pos x="connsiteX2084" y="connsiteY2084"/>
                </a:cxn>
                <a:cxn ang="0">
                  <a:pos x="connsiteX2085" y="connsiteY2085"/>
                </a:cxn>
                <a:cxn ang="0">
                  <a:pos x="connsiteX2086" y="connsiteY2086"/>
                </a:cxn>
                <a:cxn ang="0">
                  <a:pos x="connsiteX2087" y="connsiteY2087"/>
                </a:cxn>
                <a:cxn ang="0">
                  <a:pos x="connsiteX2088" y="connsiteY2088"/>
                </a:cxn>
                <a:cxn ang="0">
                  <a:pos x="connsiteX2089" y="connsiteY2089"/>
                </a:cxn>
                <a:cxn ang="0">
                  <a:pos x="connsiteX2090" y="connsiteY2090"/>
                </a:cxn>
                <a:cxn ang="0">
                  <a:pos x="connsiteX2091" y="connsiteY2091"/>
                </a:cxn>
                <a:cxn ang="0">
                  <a:pos x="connsiteX2092" y="connsiteY2092"/>
                </a:cxn>
                <a:cxn ang="0">
                  <a:pos x="connsiteX2093" y="connsiteY2093"/>
                </a:cxn>
                <a:cxn ang="0">
                  <a:pos x="connsiteX2094" y="connsiteY2094"/>
                </a:cxn>
                <a:cxn ang="0">
                  <a:pos x="connsiteX2095" y="connsiteY2095"/>
                </a:cxn>
                <a:cxn ang="0">
                  <a:pos x="connsiteX2096" y="connsiteY2096"/>
                </a:cxn>
                <a:cxn ang="0">
                  <a:pos x="connsiteX2097" y="connsiteY2097"/>
                </a:cxn>
                <a:cxn ang="0">
                  <a:pos x="connsiteX2098" y="connsiteY2098"/>
                </a:cxn>
                <a:cxn ang="0">
                  <a:pos x="connsiteX2099" y="connsiteY2099"/>
                </a:cxn>
                <a:cxn ang="0">
                  <a:pos x="connsiteX2100" y="connsiteY2100"/>
                </a:cxn>
                <a:cxn ang="0">
                  <a:pos x="connsiteX2101" y="connsiteY2101"/>
                </a:cxn>
                <a:cxn ang="0">
                  <a:pos x="connsiteX2102" y="connsiteY2102"/>
                </a:cxn>
                <a:cxn ang="0">
                  <a:pos x="connsiteX2103" y="connsiteY2103"/>
                </a:cxn>
                <a:cxn ang="0">
                  <a:pos x="connsiteX2104" y="connsiteY2104"/>
                </a:cxn>
                <a:cxn ang="0">
                  <a:pos x="connsiteX2105" y="connsiteY2105"/>
                </a:cxn>
                <a:cxn ang="0">
                  <a:pos x="connsiteX2106" y="connsiteY2106"/>
                </a:cxn>
                <a:cxn ang="0">
                  <a:pos x="connsiteX2107" y="connsiteY2107"/>
                </a:cxn>
                <a:cxn ang="0">
                  <a:pos x="connsiteX2108" y="connsiteY2108"/>
                </a:cxn>
                <a:cxn ang="0">
                  <a:pos x="connsiteX2109" y="connsiteY2109"/>
                </a:cxn>
                <a:cxn ang="0">
                  <a:pos x="connsiteX2110" y="connsiteY2110"/>
                </a:cxn>
                <a:cxn ang="0">
                  <a:pos x="connsiteX2111" y="connsiteY2111"/>
                </a:cxn>
                <a:cxn ang="0">
                  <a:pos x="connsiteX2112" y="connsiteY2112"/>
                </a:cxn>
                <a:cxn ang="0">
                  <a:pos x="connsiteX2113" y="connsiteY2113"/>
                </a:cxn>
                <a:cxn ang="0">
                  <a:pos x="connsiteX2114" y="connsiteY2114"/>
                </a:cxn>
                <a:cxn ang="0">
                  <a:pos x="connsiteX2115" y="connsiteY2115"/>
                </a:cxn>
                <a:cxn ang="0">
                  <a:pos x="connsiteX2116" y="connsiteY2116"/>
                </a:cxn>
                <a:cxn ang="0">
                  <a:pos x="connsiteX2117" y="connsiteY2117"/>
                </a:cxn>
                <a:cxn ang="0">
                  <a:pos x="connsiteX2118" y="connsiteY2118"/>
                </a:cxn>
                <a:cxn ang="0">
                  <a:pos x="connsiteX2119" y="connsiteY2119"/>
                </a:cxn>
                <a:cxn ang="0">
                  <a:pos x="connsiteX2120" y="connsiteY2120"/>
                </a:cxn>
                <a:cxn ang="0">
                  <a:pos x="connsiteX2121" y="connsiteY2121"/>
                </a:cxn>
                <a:cxn ang="0">
                  <a:pos x="connsiteX2122" y="connsiteY2122"/>
                </a:cxn>
                <a:cxn ang="0">
                  <a:pos x="connsiteX2123" y="connsiteY2123"/>
                </a:cxn>
                <a:cxn ang="0">
                  <a:pos x="connsiteX2124" y="connsiteY2124"/>
                </a:cxn>
                <a:cxn ang="0">
                  <a:pos x="connsiteX2125" y="connsiteY2125"/>
                </a:cxn>
                <a:cxn ang="0">
                  <a:pos x="connsiteX2126" y="connsiteY2126"/>
                </a:cxn>
                <a:cxn ang="0">
                  <a:pos x="connsiteX2127" y="connsiteY2127"/>
                </a:cxn>
                <a:cxn ang="0">
                  <a:pos x="connsiteX2128" y="connsiteY2128"/>
                </a:cxn>
                <a:cxn ang="0">
                  <a:pos x="connsiteX2129" y="connsiteY2129"/>
                </a:cxn>
                <a:cxn ang="0">
                  <a:pos x="connsiteX2130" y="connsiteY2130"/>
                </a:cxn>
                <a:cxn ang="0">
                  <a:pos x="connsiteX2131" y="connsiteY2131"/>
                </a:cxn>
                <a:cxn ang="0">
                  <a:pos x="connsiteX2132" y="connsiteY2132"/>
                </a:cxn>
                <a:cxn ang="0">
                  <a:pos x="connsiteX2133" y="connsiteY2133"/>
                </a:cxn>
                <a:cxn ang="0">
                  <a:pos x="connsiteX2134" y="connsiteY2134"/>
                </a:cxn>
                <a:cxn ang="0">
                  <a:pos x="connsiteX2135" y="connsiteY2135"/>
                </a:cxn>
                <a:cxn ang="0">
                  <a:pos x="connsiteX2136" y="connsiteY2136"/>
                </a:cxn>
                <a:cxn ang="0">
                  <a:pos x="connsiteX2137" y="connsiteY2137"/>
                </a:cxn>
                <a:cxn ang="0">
                  <a:pos x="connsiteX2138" y="connsiteY2138"/>
                </a:cxn>
                <a:cxn ang="0">
                  <a:pos x="connsiteX2139" y="connsiteY2139"/>
                </a:cxn>
                <a:cxn ang="0">
                  <a:pos x="connsiteX2140" y="connsiteY2140"/>
                </a:cxn>
                <a:cxn ang="0">
                  <a:pos x="connsiteX2141" y="connsiteY2141"/>
                </a:cxn>
                <a:cxn ang="0">
                  <a:pos x="connsiteX2142" y="connsiteY2142"/>
                </a:cxn>
                <a:cxn ang="0">
                  <a:pos x="connsiteX2143" y="connsiteY2143"/>
                </a:cxn>
                <a:cxn ang="0">
                  <a:pos x="connsiteX2144" y="connsiteY2144"/>
                </a:cxn>
                <a:cxn ang="0">
                  <a:pos x="connsiteX2145" y="connsiteY2145"/>
                </a:cxn>
                <a:cxn ang="0">
                  <a:pos x="connsiteX2146" y="connsiteY2146"/>
                </a:cxn>
                <a:cxn ang="0">
                  <a:pos x="connsiteX2147" y="connsiteY2147"/>
                </a:cxn>
                <a:cxn ang="0">
                  <a:pos x="connsiteX2148" y="connsiteY2148"/>
                </a:cxn>
                <a:cxn ang="0">
                  <a:pos x="connsiteX2149" y="connsiteY2149"/>
                </a:cxn>
                <a:cxn ang="0">
                  <a:pos x="connsiteX2150" y="connsiteY2150"/>
                </a:cxn>
                <a:cxn ang="0">
                  <a:pos x="connsiteX2151" y="connsiteY2151"/>
                </a:cxn>
                <a:cxn ang="0">
                  <a:pos x="connsiteX2152" y="connsiteY2152"/>
                </a:cxn>
                <a:cxn ang="0">
                  <a:pos x="connsiteX2153" y="connsiteY2153"/>
                </a:cxn>
                <a:cxn ang="0">
                  <a:pos x="connsiteX2154" y="connsiteY2154"/>
                </a:cxn>
                <a:cxn ang="0">
                  <a:pos x="connsiteX2155" y="connsiteY2155"/>
                </a:cxn>
                <a:cxn ang="0">
                  <a:pos x="connsiteX2156" y="connsiteY2156"/>
                </a:cxn>
                <a:cxn ang="0">
                  <a:pos x="connsiteX2157" y="connsiteY2157"/>
                </a:cxn>
                <a:cxn ang="0">
                  <a:pos x="connsiteX2158" y="connsiteY2158"/>
                </a:cxn>
                <a:cxn ang="0">
                  <a:pos x="connsiteX2159" y="connsiteY2159"/>
                </a:cxn>
                <a:cxn ang="0">
                  <a:pos x="connsiteX2160" y="connsiteY2160"/>
                </a:cxn>
                <a:cxn ang="0">
                  <a:pos x="connsiteX2161" y="connsiteY2161"/>
                </a:cxn>
                <a:cxn ang="0">
                  <a:pos x="connsiteX2162" y="connsiteY2162"/>
                </a:cxn>
                <a:cxn ang="0">
                  <a:pos x="connsiteX2163" y="connsiteY2163"/>
                </a:cxn>
                <a:cxn ang="0">
                  <a:pos x="connsiteX2164" y="connsiteY2164"/>
                </a:cxn>
                <a:cxn ang="0">
                  <a:pos x="connsiteX2165" y="connsiteY2165"/>
                </a:cxn>
                <a:cxn ang="0">
                  <a:pos x="connsiteX2166" y="connsiteY2166"/>
                </a:cxn>
                <a:cxn ang="0">
                  <a:pos x="connsiteX2167" y="connsiteY2167"/>
                </a:cxn>
                <a:cxn ang="0">
                  <a:pos x="connsiteX2168" y="connsiteY2168"/>
                </a:cxn>
                <a:cxn ang="0">
                  <a:pos x="connsiteX2169" y="connsiteY2169"/>
                </a:cxn>
                <a:cxn ang="0">
                  <a:pos x="connsiteX2170" y="connsiteY2170"/>
                </a:cxn>
                <a:cxn ang="0">
                  <a:pos x="connsiteX2171" y="connsiteY2171"/>
                </a:cxn>
                <a:cxn ang="0">
                  <a:pos x="connsiteX2172" y="connsiteY2172"/>
                </a:cxn>
                <a:cxn ang="0">
                  <a:pos x="connsiteX2173" y="connsiteY2173"/>
                </a:cxn>
                <a:cxn ang="0">
                  <a:pos x="connsiteX2174" y="connsiteY2174"/>
                </a:cxn>
                <a:cxn ang="0">
                  <a:pos x="connsiteX2175" y="connsiteY2175"/>
                </a:cxn>
                <a:cxn ang="0">
                  <a:pos x="connsiteX2176" y="connsiteY2176"/>
                </a:cxn>
                <a:cxn ang="0">
                  <a:pos x="connsiteX2177" y="connsiteY2177"/>
                </a:cxn>
                <a:cxn ang="0">
                  <a:pos x="connsiteX2178" y="connsiteY2178"/>
                </a:cxn>
                <a:cxn ang="0">
                  <a:pos x="connsiteX2179" y="connsiteY2179"/>
                </a:cxn>
                <a:cxn ang="0">
                  <a:pos x="connsiteX2180" y="connsiteY2180"/>
                </a:cxn>
                <a:cxn ang="0">
                  <a:pos x="connsiteX2181" y="connsiteY2181"/>
                </a:cxn>
                <a:cxn ang="0">
                  <a:pos x="connsiteX2182" y="connsiteY2182"/>
                </a:cxn>
                <a:cxn ang="0">
                  <a:pos x="connsiteX2183" y="connsiteY2183"/>
                </a:cxn>
                <a:cxn ang="0">
                  <a:pos x="connsiteX2184" y="connsiteY2184"/>
                </a:cxn>
                <a:cxn ang="0">
                  <a:pos x="connsiteX2185" y="connsiteY2185"/>
                </a:cxn>
                <a:cxn ang="0">
                  <a:pos x="connsiteX2186" y="connsiteY2186"/>
                </a:cxn>
                <a:cxn ang="0">
                  <a:pos x="connsiteX2187" y="connsiteY2187"/>
                </a:cxn>
                <a:cxn ang="0">
                  <a:pos x="connsiteX2188" y="connsiteY2188"/>
                </a:cxn>
                <a:cxn ang="0">
                  <a:pos x="connsiteX2189" y="connsiteY2189"/>
                </a:cxn>
                <a:cxn ang="0">
                  <a:pos x="connsiteX2190" y="connsiteY2190"/>
                </a:cxn>
                <a:cxn ang="0">
                  <a:pos x="connsiteX2191" y="connsiteY2191"/>
                </a:cxn>
                <a:cxn ang="0">
                  <a:pos x="connsiteX2192" y="connsiteY2192"/>
                </a:cxn>
                <a:cxn ang="0">
                  <a:pos x="connsiteX2193" y="connsiteY2193"/>
                </a:cxn>
                <a:cxn ang="0">
                  <a:pos x="connsiteX2194" y="connsiteY2194"/>
                </a:cxn>
                <a:cxn ang="0">
                  <a:pos x="connsiteX2195" y="connsiteY2195"/>
                </a:cxn>
                <a:cxn ang="0">
                  <a:pos x="connsiteX2196" y="connsiteY2196"/>
                </a:cxn>
                <a:cxn ang="0">
                  <a:pos x="connsiteX2197" y="connsiteY2197"/>
                </a:cxn>
                <a:cxn ang="0">
                  <a:pos x="connsiteX2198" y="connsiteY2198"/>
                </a:cxn>
                <a:cxn ang="0">
                  <a:pos x="connsiteX2199" y="connsiteY2199"/>
                </a:cxn>
                <a:cxn ang="0">
                  <a:pos x="connsiteX2200" y="connsiteY2200"/>
                </a:cxn>
                <a:cxn ang="0">
                  <a:pos x="connsiteX2201" y="connsiteY2201"/>
                </a:cxn>
                <a:cxn ang="0">
                  <a:pos x="connsiteX2202" y="connsiteY2202"/>
                </a:cxn>
                <a:cxn ang="0">
                  <a:pos x="connsiteX2203" y="connsiteY2203"/>
                </a:cxn>
                <a:cxn ang="0">
                  <a:pos x="connsiteX2204" y="connsiteY2204"/>
                </a:cxn>
                <a:cxn ang="0">
                  <a:pos x="connsiteX2205" y="connsiteY2205"/>
                </a:cxn>
                <a:cxn ang="0">
                  <a:pos x="connsiteX2206" y="connsiteY2206"/>
                </a:cxn>
                <a:cxn ang="0">
                  <a:pos x="connsiteX2207" y="connsiteY2207"/>
                </a:cxn>
                <a:cxn ang="0">
                  <a:pos x="connsiteX2208" y="connsiteY2208"/>
                </a:cxn>
                <a:cxn ang="0">
                  <a:pos x="connsiteX2209" y="connsiteY2209"/>
                </a:cxn>
                <a:cxn ang="0">
                  <a:pos x="connsiteX2210" y="connsiteY2210"/>
                </a:cxn>
                <a:cxn ang="0">
                  <a:pos x="connsiteX2211" y="connsiteY2211"/>
                </a:cxn>
                <a:cxn ang="0">
                  <a:pos x="connsiteX2212" y="connsiteY2212"/>
                </a:cxn>
                <a:cxn ang="0">
                  <a:pos x="connsiteX2213" y="connsiteY2213"/>
                </a:cxn>
                <a:cxn ang="0">
                  <a:pos x="connsiteX2214" y="connsiteY2214"/>
                </a:cxn>
                <a:cxn ang="0">
                  <a:pos x="connsiteX2215" y="connsiteY2215"/>
                </a:cxn>
                <a:cxn ang="0">
                  <a:pos x="connsiteX2216" y="connsiteY2216"/>
                </a:cxn>
                <a:cxn ang="0">
                  <a:pos x="connsiteX2217" y="connsiteY2217"/>
                </a:cxn>
                <a:cxn ang="0">
                  <a:pos x="connsiteX2218" y="connsiteY2218"/>
                </a:cxn>
                <a:cxn ang="0">
                  <a:pos x="connsiteX2219" y="connsiteY2219"/>
                </a:cxn>
                <a:cxn ang="0">
                  <a:pos x="connsiteX2220" y="connsiteY2220"/>
                </a:cxn>
                <a:cxn ang="0">
                  <a:pos x="connsiteX2221" y="connsiteY2221"/>
                </a:cxn>
                <a:cxn ang="0">
                  <a:pos x="connsiteX2222" y="connsiteY2222"/>
                </a:cxn>
                <a:cxn ang="0">
                  <a:pos x="connsiteX2223" y="connsiteY2223"/>
                </a:cxn>
                <a:cxn ang="0">
                  <a:pos x="connsiteX2224" y="connsiteY2224"/>
                </a:cxn>
                <a:cxn ang="0">
                  <a:pos x="connsiteX2225" y="connsiteY2225"/>
                </a:cxn>
                <a:cxn ang="0">
                  <a:pos x="connsiteX2226" y="connsiteY2226"/>
                </a:cxn>
                <a:cxn ang="0">
                  <a:pos x="connsiteX2227" y="connsiteY2227"/>
                </a:cxn>
                <a:cxn ang="0">
                  <a:pos x="connsiteX2228" y="connsiteY2228"/>
                </a:cxn>
                <a:cxn ang="0">
                  <a:pos x="connsiteX2229" y="connsiteY2229"/>
                </a:cxn>
                <a:cxn ang="0">
                  <a:pos x="connsiteX2230" y="connsiteY2230"/>
                </a:cxn>
                <a:cxn ang="0">
                  <a:pos x="connsiteX2231" y="connsiteY2231"/>
                </a:cxn>
                <a:cxn ang="0">
                  <a:pos x="connsiteX2232" y="connsiteY2232"/>
                </a:cxn>
                <a:cxn ang="0">
                  <a:pos x="connsiteX2233" y="connsiteY2233"/>
                </a:cxn>
                <a:cxn ang="0">
                  <a:pos x="connsiteX2234" y="connsiteY2234"/>
                </a:cxn>
                <a:cxn ang="0">
                  <a:pos x="connsiteX2235" y="connsiteY2235"/>
                </a:cxn>
                <a:cxn ang="0">
                  <a:pos x="connsiteX2236" y="connsiteY2236"/>
                </a:cxn>
                <a:cxn ang="0">
                  <a:pos x="connsiteX2237" y="connsiteY2237"/>
                </a:cxn>
                <a:cxn ang="0">
                  <a:pos x="connsiteX2238" y="connsiteY2238"/>
                </a:cxn>
                <a:cxn ang="0">
                  <a:pos x="connsiteX2239" y="connsiteY2239"/>
                </a:cxn>
                <a:cxn ang="0">
                  <a:pos x="connsiteX2240" y="connsiteY2240"/>
                </a:cxn>
                <a:cxn ang="0">
                  <a:pos x="connsiteX2241" y="connsiteY2241"/>
                </a:cxn>
                <a:cxn ang="0">
                  <a:pos x="connsiteX2242" y="connsiteY2242"/>
                </a:cxn>
                <a:cxn ang="0">
                  <a:pos x="connsiteX2243" y="connsiteY2243"/>
                </a:cxn>
                <a:cxn ang="0">
                  <a:pos x="connsiteX2244" y="connsiteY2244"/>
                </a:cxn>
                <a:cxn ang="0">
                  <a:pos x="connsiteX2245" y="connsiteY2245"/>
                </a:cxn>
                <a:cxn ang="0">
                  <a:pos x="connsiteX2246" y="connsiteY2246"/>
                </a:cxn>
                <a:cxn ang="0">
                  <a:pos x="connsiteX2247" y="connsiteY2247"/>
                </a:cxn>
                <a:cxn ang="0">
                  <a:pos x="connsiteX2248" y="connsiteY2248"/>
                </a:cxn>
                <a:cxn ang="0">
                  <a:pos x="connsiteX2249" y="connsiteY2249"/>
                </a:cxn>
                <a:cxn ang="0">
                  <a:pos x="connsiteX2250" y="connsiteY2250"/>
                </a:cxn>
                <a:cxn ang="0">
                  <a:pos x="connsiteX2251" y="connsiteY2251"/>
                </a:cxn>
                <a:cxn ang="0">
                  <a:pos x="connsiteX2252" y="connsiteY2252"/>
                </a:cxn>
                <a:cxn ang="0">
                  <a:pos x="connsiteX2253" y="connsiteY2253"/>
                </a:cxn>
                <a:cxn ang="0">
                  <a:pos x="connsiteX2254" y="connsiteY2254"/>
                </a:cxn>
                <a:cxn ang="0">
                  <a:pos x="connsiteX2255" y="connsiteY2255"/>
                </a:cxn>
                <a:cxn ang="0">
                  <a:pos x="connsiteX2256" y="connsiteY2256"/>
                </a:cxn>
                <a:cxn ang="0">
                  <a:pos x="connsiteX2257" y="connsiteY2257"/>
                </a:cxn>
                <a:cxn ang="0">
                  <a:pos x="connsiteX2258" y="connsiteY2258"/>
                </a:cxn>
                <a:cxn ang="0">
                  <a:pos x="connsiteX2259" y="connsiteY2259"/>
                </a:cxn>
                <a:cxn ang="0">
                  <a:pos x="connsiteX2260" y="connsiteY2260"/>
                </a:cxn>
                <a:cxn ang="0">
                  <a:pos x="connsiteX2261" y="connsiteY2261"/>
                </a:cxn>
                <a:cxn ang="0">
                  <a:pos x="connsiteX2262" y="connsiteY2262"/>
                </a:cxn>
                <a:cxn ang="0">
                  <a:pos x="connsiteX2263" y="connsiteY2263"/>
                </a:cxn>
                <a:cxn ang="0">
                  <a:pos x="connsiteX2264" y="connsiteY2264"/>
                </a:cxn>
                <a:cxn ang="0">
                  <a:pos x="connsiteX2265" y="connsiteY2265"/>
                </a:cxn>
                <a:cxn ang="0">
                  <a:pos x="connsiteX2266" y="connsiteY2266"/>
                </a:cxn>
                <a:cxn ang="0">
                  <a:pos x="connsiteX2267" y="connsiteY2267"/>
                </a:cxn>
                <a:cxn ang="0">
                  <a:pos x="connsiteX2268" y="connsiteY2268"/>
                </a:cxn>
                <a:cxn ang="0">
                  <a:pos x="connsiteX2269" y="connsiteY2269"/>
                </a:cxn>
                <a:cxn ang="0">
                  <a:pos x="connsiteX2270" y="connsiteY2270"/>
                </a:cxn>
                <a:cxn ang="0">
                  <a:pos x="connsiteX2271" y="connsiteY2271"/>
                </a:cxn>
                <a:cxn ang="0">
                  <a:pos x="connsiteX2272" y="connsiteY2272"/>
                </a:cxn>
                <a:cxn ang="0">
                  <a:pos x="connsiteX2273" y="connsiteY2273"/>
                </a:cxn>
                <a:cxn ang="0">
                  <a:pos x="connsiteX2274" y="connsiteY2274"/>
                </a:cxn>
                <a:cxn ang="0">
                  <a:pos x="connsiteX2275" y="connsiteY2275"/>
                </a:cxn>
                <a:cxn ang="0">
                  <a:pos x="connsiteX2276" y="connsiteY2276"/>
                </a:cxn>
                <a:cxn ang="0">
                  <a:pos x="connsiteX2277" y="connsiteY2277"/>
                </a:cxn>
                <a:cxn ang="0">
                  <a:pos x="connsiteX2278" y="connsiteY2278"/>
                </a:cxn>
                <a:cxn ang="0">
                  <a:pos x="connsiteX2279" y="connsiteY2279"/>
                </a:cxn>
                <a:cxn ang="0">
                  <a:pos x="connsiteX2280" y="connsiteY2280"/>
                </a:cxn>
                <a:cxn ang="0">
                  <a:pos x="connsiteX2281" y="connsiteY2281"/>
                </a:cxn>
                <a:cxn ang="0">
                  <a:pos x="connsiteX2282" y="connsiteY2282"/>
                </a:cxn>
                <a:cxn ang="0">
                  <a:pos x="connsiteX2283" y="connsiteY2283"/>
                </a:cxn>
                <a:cxn ang="0">
                  <a:pos x="connsiteX2284" y="connsiteY2284"/>
                </a:cxn>
                <a:cxn ang="0">
                  <a:pos x="connsiteX2285" y="connsiteY2285"/>
                </a:cxn>
                <a:cxn ang="0">
                  <a:pos x="connsiteX2286" y="connsiteY2286"/>
                </a:cxn>
                <a:cxn ang="0">
                  <a:pos x="connsiteX2287" y="connsiteY2287"/>
                </a:cxn>
                <a:cxn ang="0">
                  <a:pos x="connsiteX2288" y="connsiteY2288"/>
                </a:cxn>
                <a:cxn ang="0">
                  <a:pos x="connsiteX2289" y="connsiteY2289"/>
                </a:cxn>
                <a:cxn ang="0">
                  <a:pos x="connsiteX2290" y="connsiteY2290"/>
                </a:cxn>
                <a:cxn ang="0">
                  <a:pos x="connsiteX2291" y="connsiteY2291"/>
                </a:cxn>
                <a:cxn ang="0">
                  <a:pos x="connsiteX2292" y="connsiteY2292"/>
                </a:cxn>
                <a:cxn ang="0">
                  <a:pos x="connsiteX2293" y="connsiteY2293"/>
                </a:cxn>
                <a:cxn ang="0">
                  <a:pos x="connsiteX2294" y="connsiteY2294"/>
                </a:cxn>
                <a:cxn ang="0">
                  <a:pos x="connsiteX2295" y="connsiteY2295"/>
                </a:cxn>
                <a:cxn ang="0">
                  <a:pos x="connsiteX2296" y="connsiteY2296"/>
                </a:cxn>
                <a:cxn ang="0">
                  <a:pos x="connsiteX2297" y="connsiteY2297"/>
                </a:cxn>
                <a:cxn ang="0">
                  <a:pos x="connsiteX2298" y="connsiteY2298"/>
                </a:cxn>
                <a:cxn ang="0">
                  <a:pos x="connsiteX2299" y="connsiteY2299"/>
                </a:cxn>
                <a:cxn ang="0">
                  <a:pos x="connsiteX2300" y="connsiteY2300"/>
                </a:cxn>
                <a:cxn ang="0">
                  <a:pos x="connsiteX2301" y="connsiteY2301"/>
                </a:cxn>
                <a:cxn ang="0">
                  <a:pos x="connsiteX2302" y="connsiteY2302"/>
                </a:cxn>
                <a:cxn ang="0">
                  <a:pos x="connsiteX2303" y="connsiteY2303"/>
                </a:cxn>
                <a:cxn ang="0">
                  <a:pos x="connsiteX2304" y="connsiteY2304"/>
                </a:cxn>
                <a:cxn ang="0">
                  <a:pos x="connsiteX2305" y="connsiteY2305"/>
                </a:cxn>
                <a:cxn ang="0">
                  <a:pos x="connsiteX2306" y="connsiteY2306"/>
                </a:cxn>
                <a:cxn ang="0">
                  <a:pos x="connsiteX2307" y="connsiteY2307"/>
                </a:cxn>
                <a:cxn ang="0">
                  <a:pos x="connsiteX2308" y="connsiteY2308"/>
                </a:cxn>
                <a:cxn ang="0">
                  <a:pos x="connsiteX2309" y="connsiteY2309"/>
                </a:cxn>
                <a:cxn ang="0">
                  <a:pos x="connsiteX2310" y="connsiteY2310"/>
                </a:cxn>
                <a:cxn ang="0">
                  <a:pos x="connsiteX2311" y="connsiteY2311"/>
                </a:cxn>
                <a:cxn ang="0">
                  <a:pos x="connsiteX2312" y="connsiteY2312"/>
                </a:cxn>
                <a:cxn ang="0">
                  <a:pos x="connsiteX2313" y="connsiteY2313"/>
                </a:cxn>
                <a:cxn ang="0">
                  <a:pos x="connsiteX2314" y="connsiteY2314"/>
                </a:cxn>
                <a:cxn ang="0">
                  <a:pos x="connsiteX2315" y="connsiteY2315"/>
                </a:cxn>
                <a:cxn ang="0">
                  <a:pos x="connsiteX2316" y="connsiteY2316"/>
                </a:cxn>
                <a:cxn ang="0">
                  <a:pos x="connsiteX2317" y="connsiteY2317"/>
                </a:cxn>
                <a:cxn ang="0">
                  <a:pos x="connsiteX2318" y="connsiteY2318"/>
                </a:cxn>
                <a:cxn ang="0">
                  <a:pos x="connsiteX2319" y="connsiteY2319"/>
                </a:cxn>
                <a:cxn ang="0">
                  <a:pos x="connsiteX2320" y="connsiteY2320"/>
                </a:cxn>
                <a:cxn ang="0">
                  <a:pos x="connsiteX2321" y="connsiteY2321"/>
                </a:cxn>
                <a:cxn ang="0">
                  <a:pos x="connsiteX2322" y="connsiteY2322"/>
                </a:cxn>
                <a:cxn ang="0">
                  <a:pos x="connsiteX2323" y="connsiteY2323"/>
                </a:cxn>
                <a:cxn ang="0">
                  <a:pos x="connsiteX2324" y="connsiteY2324"/>
                </a:cxn>
                <a:cxn ang="0">
                  <a:pos x="connsiteX2325" y="connsiteY2325"/>
                </a:cxn>
                <a:cxn ang="0">
                  <a:pos x="connsiteX2326" y="connsiteY2326"/>
                </a:cxn>
                <a:cxn ang="0">
                  <a:pos x="connsiteX2327" y="connsiteY2327"/>
                </a:cxn>
                <a:cxn ang="0">
                  <a:pos x="connsiteX2328" y="connsiteY2328"/>
                </a:cxn>
                <a:cxn ang="0">
                  <a:pos x="connsiteX2329" y="connsiteY2329"/>
                </a:cxn>
                <a:cxn ang="0">
                  <a:pos x="connsiteX2330" y="connsiteY2330"/>
                </a:cxn>
                <a:cxn ang="0">
                  <a:pos x="connsiteX2331" y="connsiteY2331"/>
                </a:cxn>
                <a:cxn ang="0">
                  <a:pos x="connsiteX2332" y="connsiteY2332"/>
                </a:cxn>
                <a:cxn ang="0">
                  <a:pos x="connsiteX2333" y="connsiteY2333"/>
                </a:cxn>
                <a:cxn ang="0">
                  <a:pos x="connsiteX2334" y="connsiteY2334"/>
                </a:cxn>
                <a:cxn ang="0">
                  <a:pos x="connsiteX2335" y="connsiteY2335"/>
                </a:cxn>
                <a:cxn ang="0">
                  <a:pos x="connsiteX2336" y="connsiteY2336"/>
                </a:cxn>
                <a:cxn ang="0">
                  <a:pos x="connsiteX2337" y="connsiteY2337"/>
                </a:cxn>
                <a:cxn ang="0">
                  <a:pos x="connsiteX2338" y="connsiteY2338"/>
                </a:cxn>
                <a:cxn ang="0">
                  <a:pos x="connsiteX2339" y="connsiteY2339"/>
                </a:cxn>
                <a:cxn ang="0">
                  <a:pos x="connsiteX2340" y="connsiteY2340"/>
                </a:cxn>
                <a:cxn ang="0">
                  <a:pos x="connsiteX2341" y="connsiteY2341"/>
                </a:cxn>
                <a:cxn ang="0">
                  <a:pos x="connsiteX2342" y="connsiteY2342"/>
                </a:cxn>
                <a:cxn ang="0">
                  <a:pos x="connsiteX2343" y="connsiteY2343"/>
                </a:cxn>
                <a:cxn ang="0">
                  <a:pos x="connsiteX2344" y="connsiteY2344"/>
                </a:cxn>
                <a:cxn ang="0">
                  <a:pos x="connsiteX2345" y="connsiteY2345"/>
                </a:cxn>
                <a:cxn ang="0">
                  <a:pos x="connsiteX2346" y="connsiteY2346"/>
                </a:cxn>
                <a:cxn ang="0">
                  <a:pos x="connsiteX2347" y="connsiteY2347"/>
                </a:cxn>
                <a:cxn ang="0">
                  <a:pos x="connsiteX2348" y="connsiteY2348"/>
                </a:cxn>
                <a:cxn ang="0">
                  <a:pos x="connsiteX2349" y="connsiteY2349"/>
                </a:cxn>
                <a:cxn ang="0">
                  <a:pos x="connsiteX2350" y="connsiteY2350"/>
                </a:cxn>
                <a:cxn ang="0">
                  <a:pos x="connsiteX2351" y="connsiteY2351"/>
                </a:cxn>
                <a:cxn ang="0">
                  <a:pos x="connsiteX2352" y="connsiteY2352"/>
                </a:cxn>
                <a:cxn ang="0">
                  <a:pos x="connsiteX2353" y="connsiteY2353"/>
                </a:cxn>
                <a:cxn ang="0">
                  <a:pos x="connsiteX2354" y="connsiteY2354"/>
                </a:cxn>
                <a:cxn ang="0">
                  <a:pos x="connsiteX2355" y="connsiteY2355"/>
                </a:cxn>
                <a:cxn ang="0">
                  <a:pos x="connsiteX2356" y="connsiteY2356"/>
                </a:cxn>
                <a:cxn ang="0">
                  <a:pos x="connsiteX2357" y="connsiteY2357"/>
                </a:cxn>
                <a:cxn ang="0">
                  <a:pos x="connsiteX2358" y="connsiteY2358"/>
                </a:cxn>
                <a:cxn ang="0">
                  <a:pos x="connsiteX2359" y="connsiteY2359"/>
                </a:cxn>
                <a:cxn ang="0">
                  <a:pos x="connsiteX2360" y="connsiteY2360"/>
                </a:cxn>
                <a:cxn ang="0">
                  <a:pos x="connsiteX2361" y="connsiteY2361"/>
                </a:cxn>
                <a:cxn ang="0">
                  <a:pos x="connsiteX2362" y="connsiteY2362"/>
                </a:cxn>
                <a:cxn ang="0">
                  <a:pos x="connsiteX2363" y="connsiteY2363"/>
                </a:cxn>
                <a:cxn ang="0">
                  <a:pos x="connsiteX2364" y="connsiteY2364"/>
                </a:cxn>
                <a:cxn ang="0">
                  <a:pos x="connsiteX2365" y="connsiteY2365"/>
                </a:cxn>
                <a:cxn ang="0">
                  <a:pos x="connsiteX2366" y="connsiteY2366"/>
                </a:cxn>
                <a:cxn ang="0">
                  <a:pos x="connsiteX2367" y="connsiteY2367"/>
                </a:cxn>
                <a:cxn ang="0">
                  <a:pos x="connsiteX2368" y="connsiteY2368"/>
                </a:cxn>
                <a:cxn ang="0">
                  <a:pos x="connsiteX2369" y="connsiteY2369"/>
                </a:cxn>
                <a:cxn ang="0">
                  <a:pos x="connsiteX2370" y="connsiteY2370"/>
                </a:cxn>
                <a:cxn ang="0">
                  <a:pos x="connsiteX2371" y="connsiteY2371"/>
                </a:cxn>
                <a:cxn ang="0">
                  <a:pos x="connsiteX2372" y="connsiteY2372"/>
                </a:cxn>
                <a:cxn ang="0">
                  <a:pos x="connsiteX2373" y="connsiteY2373"/>
                </a:cxn>
                <a:cxn ang="0">
                  <a:pos x="connsiteX2374" y="connsiteY2374"/>
                </a:cxn>
                <a:cxn ang="0">
                  <a:pos x="connsiteX2375" y="connsiteY2375"/>
                </a:cxn>
                <a:cxn ang="0">
                  <a:pos x="connsiteX2376" y="connsiteY2376"/>
                </a:cxn>
                <a:cxn ang="0">
                  <a:pos x="connsiteX2377" y="connsiteY2377"/>
                </a:cxn>
                <a:cxn ang="0">
                  <a:pos x="connsiteX2378" y="connsiteY2378"/>
                </a:cxn>
                <a:cxn ang="0">
                  <a:pos x="connsiteX2379" y="connsiteY2379"/>
                </a:cxn>
                <a:cxn ang="0">
                  <a:pos x="connsiteX2380" y="connsiteY2380"/>
                </a:cxn>
                <a:cxn ang="0">
                  <a:pos x="connsiteX2381" y="connsiteY2381"/>
                </a:cxn>
                <a:cxn ang="0">
                  <a:pos x="connsiteX2382" y="connsiteY2382"/>
                </a:cxn>
                <a:cxn ang="0">
                  <a:pos x="connsiteX2383" y="connsiteY2383"/>
                </a:cxn>
                <a:cxn ang="0">
                  <a:pos x="connsiteX2384" y="connsiteY2384"/>
                </a:cxn>
                <a:cxn ang="0">
                  <a:pos x="connsiteX2385" y="connsiteY2385"/>
                </a:cxn>
                <a:cxn ang="0">
                  <a:pos x="connsiteX2386" y="connsiteY2386"/>
                </a:cxn>
                <a:cxn ang="0">
                  <a:pos x="connsiteX2387" y="connsiteY2387"/>
                </a:cxn>
                <a:cxn ang="0">
                  <a:pos x="connsiteX2388" y="connsiteY2388"/>
                </a:cxn>
                <a:cxn ang="0">
                  <a:pos x="connsiteX2389" y="connsiteY2389"/>
                </a:cxn>
                <a:cxn ang="0">
                  <a:pos x="connsiteX2390" y="connsiteY2390"/>
                </a:cxn>
                <a:cxn ang="0">
                  <a:pos x="connsiteX2391" y="connsiteY2391"/>
                </a:cxn>
                <a:cxn ang="0">
                  <a:pos x="connsiteX2392" y="connsiteY2392"/>
                </a:cxn>
                <a:cxn ang="0">
                  <a:pos x="connsiteX2393" y="connsiteY2393"/>
                </a:cxn>
                <a:cxn ang="0">
                  <a:pos x="connsiteX2394" y="connsiteY2394"/>
                </a:cxn>
                <a:cxn ang="0">
                  <a:pos x="connsiteX2395" y="connsiteY2395"/>
                </a:cxn>
                <a:cxn ang="0">
                  <a:pos x="connsiteX2396" y="connsiteY2396"/>
                </a:cxn>
                <a:cxn ang="0">
                  <a:pos x="connsiteX2397" y="connsiteY2397"/>
                </a:cxn>
                <a:cxn ang="0">
                  <a:pos x="connsiteX2398" y="connsiteY2398"/>
                </a:cxn>
                <a:cxn ang="0">
                  <a:pos x="connsiteX2399" y="connsiteY2399"/>
                </a:cxn>
                <a:cxn ang="0">
                  <a:pos x="connsiteX2400" y="connsiteY2400"/>
                </a:cxn>
                <a:cxn ang="0">
                  <a:pos x="connsiteX2401" y="connsiteY2401"/>
                </a:cxn>
                <a:cxn ang="0">
                  <a:pos x="connsiteX2402" y="connsiteY2402"/>
                </a:cxn>
                <a:cxn ang="0">
                  <a:pos x="connsiteX2403" y="connsiteY2403"/>
                </a:cxn>
                <a:cxn ang="0">
                  <a:pos x="connsiteX2404" y="connsiteY2404"/>
                </a:cxn>
                <a:cxn ang="0">
                  <a:pos x="connsiteX2405" y="connsiteY2405"/>
                </a:cxn>
                <a:cxn ang="0">
                  <a:pos x="connsiteX2406" y="connsiteY2406"/>
                </a:cxn>
                <a:cxn ang="0">
                  <a:pos x="connsiteX2407" y="connsiteY2407"/>
                </a:cxn>
                <a:cxn ang="0">
                  <a:pos x="connsiteX2408" y="connsiteY2408"/>
                </a:cxn>
                <a:cxn ang="0">
                  <a:pos x="connsiteX2409" y="connsiteY2409"/>
                </a:cxn>
                <a:cxn ang="0">
                  <a:pos x="connsiteX2410" y="connsiteY2410"/>
                </a:cxn>
                <a:cxn ang="0">
                  <a:pos x="connsiteX2411" y="connsiteY2411"/>
                </a:cxn>
                <a:cxn ang="0">
                  <a:pos x="connsiteX2412" y="connsiteY2412"/>
                </a:cxn>
                <a:cxn ang="0">
                  <a:pos x="connsiteX2413" y="connsiteY2413"/>
                </a:cxn>
                <a:cxn ang="0">
                  <a:pos x="connsiteX2414" y="connsiteY2414"/>
                </a:cxn>
                <a:cxn ang="0">
                  <a:pos x="connsiteX2415" y="connsiteY2415"/>
                </a:cxn>
                <a:cxn ang="0">
                  <a:pos x="connsiteX2416" y="connsiteY2416"/>
                </a:cxn>
                <a:cxn ang="0">
                  <a:pos x="connsiteX2417" y="connsiteY2417"/>
                </a:cxn>
                <a:cxn ang="0">
                  <a:pos x="connsiteX2418" y="connsiteY2418"/>
                </a:cxn>
                <a:cxn ang="0">
                  <a:pos x="connsiteX2419" y="connsiteY2419"/>
                </a:cxn>
                <a:cxn ang="0">
                  <a:pos x="connsiteX2420" y="connsiteY2420"/>
                </a:cxn>
                <a:cxn ang="0">
                  <a:pos x="connsiteX2421" y="connsiteY2421"/>
                </a:cxn>
                <a:cxn ang="0">
                  <a:pos x="connsiteX2422" y="connsiteY2422"/>
                </a:cxn>
                <a:cxn ang="0">
                  <a:pos x="connsiteX2423" y="connsiteY2423"/>
                </a:cxn>
                <a:cxn ang="0">
                  <a:pos x="connsiteX2424" y="connsiteY2424"/>
                </a:cxn>
                <a:cxn ang="0">
                  <a:pos x="connsiteX2425" y="connsiteY2425"/>
                </a:cxn>
                <a:cxn ang="0">
                  <a:pos x="connsiteX2426" y="connsiteY2426"/>
                </a:cxn>
                <a:cxn ang="0">
                  <a:pos x="connsiteX2427" y="connsiteY2427"/>
                </a:cxn>
                <a:cxn ang="0">
                  <a:pos x="connsiteX2428" y="connsiteY2428"/>
                </a:cxn>
                <a:cxn ang="0">
                  <a:pos x="connsiteX2429" y="connsiteY2429"/>
                </a:cxn>
                <a:cxn ang="0">
                  <a:pos x="connsiteX2430" y="connsiteY2430"/>
                </a:cxn>
                <a:cxn ang="0">
                  <a:pos x="connsiteX2431" y="connsiteY2431"/>
                </a:cxn>
                <a:cxn ang="0">
                  <a:pos x="connsiteX2432" y="connsiteY2432"/>
                </a:cxn>
                <a:cxn ang="0">
                  <a:pos x="connsiteX2433" y="connsiteY2433"/>
                </a:cxn>
                <a:cxn ang="0">
                  <a:pos x="connsiteX2434" y="connsiteY2434"/>
                </a:cxn>
                <a:cxn ang="0">
                  <a:pos x="connsiteX2435" y="connsiteY2435"/>
                </a:cxn>
                <a:cxn ang="0">
                  <a:pos x="connsiteX2436" y="connsiteY2436"/>
                </a:cxn>
                <a:cxn ang="0">
                  <a:pos x="connsiteX2437" y="connsiteY2437"/>
                </a:cxn>
                <a:cxn ang="0">
                  <a:pos x="connsiteX2438" y="connsiteY2438"/>
                </a:cxn>
                <a:cxn ang="0">
                  <a:pos x="connsiteX2439" y="connsiteY2439"/>
                </a:cxn>
                <a:cxn ang="0">
                  <a:pos x="connsiteX2440" y="connsiteY2440"/>
                </a:cxn>
                <a:cxn ang="0">
                  <a:pos x="connsiteX2441" y="connsiteY2441"/>
                </a:cxn>
                <a:cxn ang="0">
                  <a:pos x="connsiteX2442" y="connsiteY2442"/>
                </a:cxn>
                <a:cxn ang="0">
                  <a:pos x="connsiteX2443" y="connsiteY2443"/>
                </a:cxn>
                <a:cxn ang="0">
                  <a:pos x="connsiteX2444" y="connsiteY2444"/>
                </a:cxn>
                <a:cxn ang="0">
                  <a:pos x="connsiteX2445" y="connsiteY2445"/>
                </a:cxn>
                <a:cxn ang="0">
                  <a:pos x="connsiteX2446" y="connsiteY2446"/>
                </a:cxn>
                <a:cxn ang="0">
                  <a:pos x="connsiteX2447" y="connsiteY2447"/>
                </a:cxn>
                <a:cxn ang="0">
                  <a:pos x="connsiteX2448" y="connsiteY2448"/>
                </a:cxn>
                <a:cxn ang="0">
                  <a:pos x="connsiteX2449" y="connsiteY2449"/>
                </a:cxn>
                <a:cxn ang="0">
                  <a:pos x="connsiteX2450" y="connsiteY2450"/>
                </a:cxn>
                <a:cxn ang="0">
                  <a:pos x="connsiteX2451" y="connsiteY2451"/>
                </a:cxn>
                <a:cxn ang="0">
                  <a:pos x="connsiteX2452" y="connsiteY2452"/>
                </a:cxn>
                <a:cxn ang="0">
                  <a:pos x="connsiteX2453" y="connsiteY2453"/>
                </a:cxn>
                <a:cxn ang="0">
                  <a:pos x="connsiteX2454" y="connsiteY2454"/>
                </a:cxn>
                <a:cxn ang="0">
                  <a:pos x="connsiteX2455" y="connsiteY2455"/>
                </a:cxn>
                <a:cxn ang="0">
                  <a:pos x="connsiteX2456" y="connsiteY2456"/>
                </a:cxn>
                <a:cxn ang="0">
                  <a:pos x="connsiteX2457" y="connsiteY2457"/>
                </a:cxn>
                <a:cxn ang="0">
                  <a:pos x="connsiteX2458" y="connsiteY2458"/>
                </a:cxn>
                <a:cxn ang="0">
                  <a:pos x="connsiteX2459" y="connsiteY2459"/>
                </a:cxn>
                <a:cxn ang="0">
                  <a:pos x="connsiteX2460" y="connsiteY2460"/>
                </a:cxn>
                <a:cxn ang="0">
                  <a:pos x="connsiteX2461" y="connsiteY2461"/>
                </a:cxn>
                <a:cxn ang="0">
                  <a:pos x="connsiteX2462" y="connsiteY2462"/>
                </a:cxn>
                <a:cxn ang="0">
                  <a:pos x="connsiteX2463" y="connsiteY2463"/>
                </a:cxn>
                <a:cxn ang="0">
                  <a:pos x="connsiteX2464" y="connsiteY2464"/>
                </a:cxn>
                <a:cxn ang="0">
                  <a:pos x="connsiteX2465" y="connsiteY2465"/>
                </a:cxn>
                <a:cxn ang="0">
                  <a:pos x="connsiteX2466" y="connsiteY2466"/>
                </a:cxn>
                <a:cxn ang="0">
                  <a:pos x="connsiteX2467" y="connsiteY2467"/>
                </a:cxn>
                <a:cxn ang="0">
                  <a:pos x="connsiteX2468" y="connsiteY2468"/>
                </a:cxn>
                <a:cxn ang="0">
                  <a:pos x="connsiteX2469" y="connsiteY2469"/>
                </a:cxn>
                <a:cxn ang="0">
                  <a:pos x="connsiteX2470" y="connsiteY2470"/>
                </a:cxn>
                <a:cxn ang="0">
                  <a:pos x="connsiteX2471" y="connsiteY2471"/>
                </a:cxn>
                <a:cxn ang="0">
                  <a:pos x="connsiteX2472" y="connsiteY2472"/>
                </a:cxn>
                <a:cxn ang="0">
                  <a:pos x="connsiteX2473" y="connsiteY2473"/>
                </a:cxn>
                <a:cxn ang="0">
                  <a:pos x="connsiteX2474" y="connsiteY2474"/>
                </a:cxn>
                <a:cxn ang="0">
                  <a:pos x="connsiteX2475" y="connsiteY2475"/>
                </a:cxn>
                <a:cxn ang="0">
                  <a:pos x="connsiteX2476" y="connsiteY2476"/>
                </a:cxn>
                <a:cxn ang="0">
                  <a:pos x="connsiteX2477" y="connsiteY2477"/>
                </a:cxn>
                <a:cxn ang="0">
                  <a:pos x="connsiteX2478" y="connsiteY2478"/>
                </a:cxn>
                <a:cxn ang="0">
                  <a:pos x="connsiteX2479" y="connsiteY2479"/>
                </a:cxn>
                <a:cxn ang="0">
                  <a:pos x="connsiteX2480" y="connsiteY2480"/>
                </a:cxn>
                <a:cxn ang="0">
                  <a:pos x="connsiteX2481" y="connsiteY2481"/>
                </a:cxn>
                <a:cxn ang="0">
                  <a:pos x="connsiteX2482" y="connsiteY2482"/>
                </a:cxn>
                <a:cxn ang="0">
                  <a:pos x="connsiteX2483" y="connsiteY2483"/>
                </a:cxn>
                <a:cxn ang="0">
                  <a:pos x="connsiteX2484" y="connsiteY2484"/>
                </a:cxn>
                <a:cxn ang="0">
                  <a:pos x="connsiteX2485" y="connsiteY2485"/>
                </a:cxn>
                <a:cxn ang="0">
                  <a:pos x="connsiteX2486" y="connsiteY2486"/>
                </a:cxn>
                <a:cxn ang="0">
                  <a:pos x="connsiteX2487" y="connsiteY2487"/>
                </a:cxn>
                <a:cxn ang="0">
                  <a:pos x="connsiteX2488" y="connsiteY2488"/>
                </a:cxn>
                <a:cxn ang="0">
                  <a:pos x="connsiteX2489" y="connsiteY2489"/>
                </a:cxn>
                <a:cxn ang="0">
                  <a:pos x="connsiteX2490" y="connsiteY2490"/>
                </a:cxn>
                <a:cxn ang="0">
                  <a:pos x="connsiteX2491" y="connsiteY2491"/>
                </a:cxn>
                <a:cxn ang="0">
                  <a:pos x="connsiteX2492" y="connsiteY2492"/>
                </a:cxn>
                <a:cxn ang="0">
                  <a:pos x="connsiteX2493" y="connsiteY2493"/>
                </a:cxn>
                <a:cxn ang="0">
                  <a:pos x="connsiteX2494" y="connsiteY2494"/>
                </a:cxn>
                <a:cxn ang="0">
                  <a:pos x="connsiteX2495" y="connsiteY2495"/>
                </a:cxn>
                <a:cxn ang="0">
                  <a:pos x="connsiteX2496" y="connsiteY2496"/>
                </a:cxn>
                <a:cxn ang="0">
                  <a:pos x="connsiteX2497" y="connsiteY2497"/>
                </a:cxn>
                <a:cxn ang="0">
                  <a:pos x="connsiteX2498" y="connsiteY2498"/>
                </a:cxn>
                <a:cxn ang="0">
                  <a:pos x="connsiteX2499" y="connsiteY2499"/>
                </a:cxn>
                <a:cxn ang="0">
                  <a:pos x="connsiteX2500" y="connsiteY2500"/>
                </a:cxn>
                <a:cxn ang="0">
                  <a:pos x="connsiteX2501" y="connsiteY2501"/>
                </a:cxn>
                <a:cxn ang="0">
                  <a:pos x="connsiteX2502" y="connsiteY2502"/>
                </a:cxn>
                <a:cxn ang="0">
                  <a:pos x="connsiteX2503" y="connsiteY2503"/>
                </a:cxn>
                <a:cxn ang="0">
                  <a:pos x="connsiteX2504" y="connsiteY2504"/>
                </a:cxn>
                <a:cxn ang="0">
                  <a:pos x="connsiteX2505" y="connsiteY2505"/>
                </a:cxn>
                <a:cxn ang="0">
                  <a:pos x="connsiteX2506" y="connsiteY2506"/>
                </a:cxn>
                <a:cxn ang="0">
                  <a:pos x="connsiteX2507" y="connsiteY2507"/>
                </a:cxn>
                <a:cxn ang="0">
                  <a:pos x="connsiteX2508" y="connsiteY2508"/>
                </a:cxn>
                <a:cxn ang="0">
                  <a:pos x="connsiteX2509" y="connsiteY2509"/>
                </a:cxn>
                <a:cxn ang="0">
                  <a:pos x="connsiteX2510" y="connsiteY2510"/>
                </a:cxn>
                <a:cxn ang="0">
                  <a:pos x="connsiteX2511" y="connsiteY2511"/>
                </a:cxn>
                <a:cxn ang="0">
                  <a:pos x="connsiteX2512" y="connsiteY2512"/>
                </a:cxn>
                <a:cxn ang="0">
                  <a:pos x="connsiteX2513" y="connsiteY2513"/>
                </a:cxn>
                <a:cxn ang="0">
                  <a:pos x="connsiteX2514" y="connsiteY2514"/>
                </a:cxn>
                <a:cxn ang="0">
                  <a:pos x="connsiteX2515" y="connsiteY2515"/>
                </a:cxn>
                <a:cxn ang="0">
                  <a:pos x="connsiteX2516" y="connsiteY2516"/>
                </a:cxn>
                <a:cxn ang="0">
                  <a:pos x="connsiteX2517" y="connsiteY2517"/>
                </a:cxn>
                <a:cxn ang="0">
                  <a:pos x="connsiteX2518" y="connsiteY2518"/>
                </a:cxn>
                <a:cxn ang="0">
                  <a:pos x="connsiteX2519" y="connsiteY2519"/>
                </a:cxn>
                <a:cxn ang="0">
                  <a:pos x="connsiteX2520" y="connsiteY2520"/>
                </a:cxn>
                <a:cxn ang="0">
                  <a:pos x="connsiteX2521" y="connsiteY2521"/>
                </a:cxn>
                <a:cxn ang="0">
                  <a:pos x="connsiteX2522" y="connsiteY2522"/>
                </a:cxn>
                <a:cxn ang="0">
                  <a:pos x="connsiteX2523" y="connsiteY2523"/>
                </a:cxn>
                <a:cxn ang="0">
                  <a:pos x="connsiteX2524" y="connsiteY2524"/>
                </a:cxn>
                <a:cxn ang="0">
                  <a:pos x="connsiteX2525" y="connsiteY2525"/>
                </a:cxn>
                <a:cxn ang="0">
                  <a:pos x="connsiteX2526" y="connsiteY2526"/>
                </a:cxn>
                <a:cxn ang="0">
                  <a:pos x="connsiteX2527" y="connsiteY2527"/>
                </a:cxn>
                <a:cxn ang="0">
                  <a:pos x="connsiteX2528" y="connsiteY2528"/>
                </a:cxn>
                <a:cxn ang="0">
                  <a:pos x="connsiteX2529" y="connsiteY2529"/>
                </a:cxn>
                <a:cxn ang="0">
                  <a:pos x="connsiteX2530" y="connsiteY2530"/>
                </a:cxn>
                <a:cxn ang="0">
                  <a:pos x="connsiteX2531" y="connsiteY2531"/>
                </a:cxn>
                <a:cxn ang="0">
                  <a:pos x="connsiteX2532" y="connsiteY2532"/>
                </a:cxn>
                <a:cxn ang="0">
                  <a:pos x="connsiteX2533" y="connsiteY2533"/>
                </a:cxn>
                <a:cxn ang="0">
                  <a:pos x="connsiteX2534" y="connsiteY2534"/>
                </a:cxn>
                <a:cxn ang="0">
                  <a:pos x="connsiteX2535" y="connsiteY2535"/>
                </a:cxn>
                <a:cxn ang="0">
                  <a:pos x="connsiteX2536" y="connsiteY2536"/>
                </a:cxn>
                <a:cxn ang="0">
                  <a:pos x="connsiteX2537" y="connsiteY2537"/>
                </a:cxn>
                <a:cxn ang="0">
                  <a:pos x="connsiteX2538" y="connsiteY2538"/>
                </a:cxn>
                <a:cxn ang="0">
                  <a:pos x="connsiteX2539" y="connsiteY2539"/>
                </a:cxn>
                <a:cxn ang="0">
                  <a:pos x="connsiteX2540" y="connsiteY2540"/>
                </a:cxn>
                <a:cxn ang="0">
                  <a:pos x="connsiteX2541" y="connsiteY2541"/>
                </a:cxn>
                <a:cxn ang="0">
                  <a:pos x="connsiteX2542" y="connsiteY2542"/>
                </a:cxn>
                <a:cxn ang="0">
                  <a:pos x="connsiteX2543" y="connsiteY2543"/>
                </a:cxn>
                <a:cxn ang="0">
                  <a:pos x="connsiteX2544" y="connsiteY2544"/>
                </a:cxn>
                <a:cxn ang="0">
                  <a:pos x="connsiteX2545" y="connsiteY2545"/>
                </a:cxn>
                <a:cxn ang="0">
                  <a:pos x="connsiteX2546" y="connsiteY2546"/>
                </a:cxn>
                <a:cxn ang="0">
                  <a:pos x="connsiteX2547" y="connsiteY2547"/>
                </a:cxn>
                <a:cxn ang="0">
                  <a:pos x="connsiteX2548" y="connsiteY2548"/>
                </a:cxn>
                <a:cxn ang="0">
                  <a:pos x="connsiteX2549" y="connsiteY2549"/>
                </a:cxn>
                <a:cxn ang="0">
                  <a:pos x="connsiteX2550" y="connsiteY2550"/>
                </a:cxn>
                <a:cxn ang="0">
                  <a:pos x="connsiteX2551" y="connsiteY2551"/>
                </a:cxn>
                <a:cxn ang="0">
                  <a:pos x="connsiteX2552" y="connsiteY2552"/>
                </a:cxn>
                <a:cxn ang="0">
                  <a:pos x="connsiteX2553" y="connsiteY2553"/>
                </a:cxn>
                <a:cxn ang="0">
                  <a:pos x="connsiteX2554" y="connsiteY2554"/>
                </a:cxn>
                <a:cxn ang="0">
                  <a:pos x="connsiteX2555" y="connsiteY2555"/>
                </a:cxn>
                <a:cxn ang="0">
                  <a:pos x="connsiteX2556" y="connsiteY2556"/>
                </a:cxn>
                <a:cxn ang="0">
                  <a:pos x="connsiteX2557" y="connsiteY2557"/>
                </a:cxn>
                <a:cxn ang="0">
                  <a:pos x="connsiteX2558" y="connsiteY2558"/>
                </a:cxn>
                <a:cxn ang="0">
                  <a:pos x="connsiteX2559" y="connsiteY2559"/>
                </a:cxn>
                <a:cxn ang="0">
                  <a:pos x="connsiteX2560" y="connsiteY2560"/>
                </a:cxn>
                <a:cxn ang="0">
                  <a:pos x="connsiteX2561" y="connsiteY2561"/>
                </a:cxn>
                <a:cxn ang="0">
                  <a:pos x="connsiteX2562" y="connsiteY2562"/>
                </a:cxn>
                <a:cxn ang="0">
                  <a:pos x="connsiteX2563" y="connsiteY2563"/>
                </a:cxn>
                <a:cxn ang="0">
                  <a:pos x="connsiteX2564" y="connsiteY2564"/>
                </a:cxn>
                <a:cxn ang="0">
                  <a:pos x="connsiteX2565" y="connsiteY2565"/>
                </a:cxn>
                <a:cxn ang="0">
                  <a:pos x="connsiteX2566" y="connsiteY2566"/>
                </a:cxn>
                <a:cxn ang="0">
                  <a:pos x="connsiteX2567" y="connsiteY2567"/>
                </a:cxn>
                <a:cxn ang="0">
                  <a:pos x="connsiteX2568" y="connsiteY2568"/>
                </a:cxn>
                <a:cxn ang="0">
                  <a:pos x="connsiteX2569" y="connsiteY2569"/>
                </a:cxn>
                <a:cxn ang="0">
                  <a:pos x="connsiteX2570" y="connsiteY2570"/>
                </a:cxn>
                <a:cxn ang="0">
                  <a:pos x="connsiteX2571" y="connsiteY2571"/>
                </a:cxn>
                <a:cxn ang="0">
                  <a:pos x="connsiteX2572" y="connsiteY2572"/>
                </a:cxn>
                <a:cxn ang="0">
                  <a:pos x="connsiteX2573" y="connsiteY2573"/>
                </a:cxn>
                <a:cxn ang="0">
                  <a:pos x="connsiteX2574" y="connsiteY2574"/>
                </a:cxn>
                <a:cxn ang="0">
                  <a:pos x="connsiteX2575" y="connsiteY2575"/>
                </a:cxn>
                <a:cxn ang="0">
                  <a:pos x="connsiteX2576" y="connsiteY2576"/>
                </a:cxn>
                <a:cxn ang="0">
                  <a:pos x="connsiteX2577" y="connsiteY2577"/>
                </a:cxn>
                <a:cxn ang="0">
                  <a:pos x="connsiteX2578" y="connsiteY2578"/>
                </a:cxn>
                <a:cxn ang="0">
                  <a:pos x="connsiteX2579" y="connsiteY2579"/>
                </a:cxn>
                <a:cxn ang="0">
                  <a:pos x="connsiteX2580" y="connsiteY2580"/>
                </a:cxn>
                <a:cxn ang="0">
                  <a:pos x="connsiteX2581" y="connsiteY2581"/>
                </a:cxn>
                <a:cxn ang="0">
                  <a:pos x="connsiteX2582" y="connsiteY2582"/>
                </a:cxn>
                <a:cxn ang="0">
                  <a:pos x="connsiteX2583" y="connsiteY2583"/>
                </a:cxn>
                <a:cxn ang="0">
                  <a:pos x="connsiteX2584" y="connsiteY2584"/>
                </a:cxn>
                <a:cxn ang="0">
                  <a:pos x="connsiteX2585" y="connsiteY2585"/>
                </a:cxn>
                <a:cxn ang="0">
                  <a:pos x="connsiteX2586" y="connsiteY2586"/>
                </a:cxn>
                <a:cxn ang="0">
                  <a:pos x="connsiteX2587" y="connsiteY2587"/>
                </a:cxn>
                <a:cxn ang="0">
                  <a:pos x="connsiteX2588" y="connsiteY2588"/>
                </a:cxn>
                <a:cxn ang="0">
                  <a:pos x="connsiteX2589" y="connsiteY2589"/>
                </a:cxn>
                <a:cxn ang="0">
                  <a:pos x="connsiteX2590" y="connsiteY2590"/>
                </a:cxn>
                <a:cxn ang="0">
                  <a:pos x="connsiteX2591" y="connsiteY2591"/>
                </a:cxn>
                <a:cxn ang="0">
                  <a:pos x="connsiteX2592" y="connsiteY2592"/>
                </a:cxn>
                <a:cxn ang="0">
                  <a:pos x="connsiteX2593" y="connsiteY2593"/>
                </a:cxn>
                <a:cxn ang="0">
                  <a:pos x="connsiteX2594" y="connsiteY2594"/>
                </a:cxn>
                <a:cxn ang="0">
                  <a:pos x="connsiteX2595" y="connsiteY2595"/>
                </a:cxn>
                <a:cxn ang="0">
                  <a:pos x="connsiteX2596" y="connsiteY2596"/>
                </a:cxn>
                <a:cxn ang="0">
                  <a:pos x="connsiteX2597" y="connsiteY2597"/>
                </a:cxn>
                <a:cxn ang="0">
                  <a:pos x="connsiteX2598" y="connsiteY2598"/>
                </a:cxn>
                <a:cxn ang="0">
                  <a:pos x="connsiteX2599" y="connsiteY2599"/>
                </a:cxn>
                <a:cxn ang="0">
                  <a:pos x="connsiteX2600" y="connsiteY2600"/>
                </a:cxn>
                <a:cxn ang="0">
                  <a:pos x="connsiteX2601" y="connsiteY2601"/>
                </a:cxn>
                <a:cxn ang="0">
                  <a:pos x="connsiteX2602" y="connsiteY2602"/>
                </a:cxn>
                <a:cxn ang="0">
                  <a:pos x="connsiteX2603" y="connsiteY2603"/>
                </a:cxn>
                <a:cxn ang="0">
                  <a:pos x="connsiteX2604" y="connsiteY2604"/>
                </a:cxn>
                <a:cxn ang="0">
                  <a:pos x="connsiteX2605" y="connsiteY2605"/>
                </a:cxn>
                <a:cxn ang="0">
                  <a:pos x="connsiteX2606" y="connsiteY2606"/>
                </a:cxn>
                <a:cxn ang="0">
                  <a:pos x="connsiteX2607" y="connsiteY2607"/>
                </a:cxn>
                <a:cxn ang="0">
                  <a:pos x="connsiteX2608" y="connsiteY2608"/>
                </a:cxn>
                <a:cxn ang="0">
                  <a:pos x="connsiteX2609" y="connsiteY2609"/>
                </a:cxn>
                <a:cxn ang="0">
                  <a:pos x="connsiteX2610" y="connsiteY2610"/>
                </a:cxn>
                <a:cxn ang="0">
                  <a:pos x="connsiteX2611" y="connsiteY2611"/>
                </a:cxn>
                <a:cxn ang="0">
                  <a:pos x="connsiteX2612" y="connsiteY2612"/>
                </a:cxn>
                <a:cxn ang="0">
                  <a:pos x="connsiteX2613" y="connsiteY2613"/>
                </a:cxn>
                <a:cxn ang="0">
                  <a:pos x="connsiteX2614" y="connsiteY2614"/>
                </a:cxn>
                <a:cxn ang="0">
                  <a:pos x="connsiteX2615" y="connsiteY2615"/>
                </a:cxn>
                <a:cxn ang="0">
                  <a:pos x="connsiteX2616" y="connsiteY2616"/>
                </a:cxn>
                <a:cxn ang="0">
                  <a:pos x="connsiteX2617" y="connsiteY2617"/>
                </a:cxn>
                <a:cxn ang="0">
                  <a:pos x="connsiteX2618" y="connsiteY2618"/>
                </a:cxn>
                <a:cxn ang="0">
                  <a:pos x="connsiteX2619" y="connsiteY2619"/>
                </a:cxn>
                <a:cxn ang="0">
                  <a:pos x="connsiteX2620" y="connsiteY2620"/>
                </a:cxn>
                <a:cxn ang="0">
                  <a:pos x="connsiteX2621" y="connsiteY2621"/>
                </a:cxn>
                <a:cxn ang="0">
                  <a:pos x="connsiteX2622" y="connsiteY2622"/>
                </a:cxn>
                <a:cxn ang="0">
                  <a:pos x="connsiteX2623" y="connsiteY2623"/>
                </a:cxn>
                <a:cxn ang="0">
                  <a:pos x="connsiteX2624" y="connsiteY2624"/>
                </a:cxn>
                <a:cxn ang="0">
                  <a:pos x="connsiteX2625" y="connsiteY2625"/>
                </a:cxn>
                <a:cxn ang="0">
                  <a:pos x="connsiteX2626" y="connsiteY2626"/>
                </a:cxn>
                <a:cxn ang="0">
                  <a:pos x="connsiteX2627" y="connsiteY2627"/>
                </a:cxn>
                <a:cxn ang="0">
                  <a:pos x="connsiteX2628" y="connsiteY2628"/>
                </a:cxn>
                <a:cxn ang="0">
                  <a:pos x="connsiteX2629" y="connsiteY2629"/>
                </a:cxn>
                <a:cxn ang="0">
                  <a:pos x="connsiteX2630" y="connsiteY2630"/>
                </a:cxn>
                <a:cxn ang="0">
                  <a:pos x="connsiteX2631" y="connsiteY2631"/>
                </a:cxn>
                <a:cxn ang="0">
                  <a:pos x="connsiteX2632" y="connsiteY2632"/>
                </a:cxn>
                <a:cxn ang="0">
                  <a:pos x="connsiteX2633" y="connsiteY2633"/>
                </a:cxn>
                <a:cxn ang="0">
                  <a:pos x="connsiteX2634" y="connsiteY2634"/>
                </a:cxn>
                <a:cxn ang="0">
                  <a:pos x="connsiteX2635" y="connsiteY2635"/>
                </a:cxn>
                <a:cxn ang="0">
                  <a:pos x="connsiteX2636" y="connsiteY2636"/>
                </a:cxn>
                <a:cxn ang="0">
                  <a:pos x="connsiteX2637" y="connsiteY2637"/>
                </a:cxn>
                <a:cxn ang="0">
                  <a:pos x="connsiteX2638" y="connsiteY2638"/>
                </a:cxn>
                <a:cxn ang="0">
                  <a:pos x="connsiteX2639" y="connsiteY2639"/>
                </a:cxn>
                <a:cxn ang="0">
                  <a:pos x="connsiteX2640" y="connsiteY2640"/>
                </a:cxn>
                <a:cxn ang="0">
                  <a:pos x="connsiteX2641" y="connsiteY2641"/>
                </a:cxn>
                <a:cxn ang="0">
                  <a:pos x="connsiteX2642" y="connsiteY2642"/>
                </a:cxn>
                <a:cxn ang="0">
                  <a:pos x="connsiteX2643" y="connsiteY2643"/>
                </a:cxn>
                <a:cxn ang="0">
                  <a:pos x="connsiteX2644" y="connsiteY2644"/>
                </a:cxn>
                <a:cxn ang="0">
                  <a:pos x="connsiteX2645" y="connsiteY2645"/>
                </a:cxn>
                <a:cxn ang="0">
                  <a:pos x="connsiteX2646" y="connsiteY2646"/>
                </a:cxn>
                <a:cxn ang="0">
                  <a:pos x="connsiteX2647" y="connsiteY2647"/>
                </a:cxn>
                <a:cxn ang="0">
                  <a:pos x="connsiteX2648" y="connsiteY2648"/>
                </a:cxn>
                <a:cxn ang="0">
                  <a:pos x="connsiteX2649" y="connsiteY2649"/>
                </a:cxn>
                <a:cxn ang="0">
                  <a:pos x="connsiteX2650" y="connsiteY2650"/>
                </a:cxn>
                <a:cxn ang="0">
                  <a:pos x="connsiteX2651" y="connsiteY2651"/>
                </a:cxn>
                <a:cxn ang="0">
                  <a:pos x="connsiteX2652" y="connsiteY2652"/>
                </a:cxn>
                <a:cxn ang="0">
                  <a:pos x="connsiteX2653" y="connsiteY2653"/>
                </a:cxn>
                <a:cxn ang="0">
                  <a:pos x="connsiteX2654" y="connsiteY2654"/>
                </a:cxn>
                <a:cxn ang="0">
                  <a:pos x="connsiteX2655" y="connsiteY2655"/>
                </a:cxn>
                <a:cxn ang="0">
                  <a:pos x="connsiteX2656" y="connsiteY2656"/>
                </a:cxn>
                <a:cxn ang="0">
                  <a:pos x="connsiteX2657" y="connsiteY2657"/>
                </a:cxn>
                <a:cxn ang="0">
                  <a:pos x="connsiteX2658" y="connsiteY2658"/>
                </a:cxn>
                <a:cxn ang="0">
                  <a:pos x="connsiteX2659" y="connsiteY2659"/>
                </a:cxn>
                <a:cxn ang="0">
                  <a:pos x="connsiteX2660" y="connsiteY2660"/>
                </a:cxn>
                <a:cxn ang="0">
                  <a:pos x="connsiteX2661" y="connsiteY2661"/>
                </a:cxn>
                <a:cxn ang="0">
                  <a:pos x="connsiteX2662" y="connsiteY2662"/>
                </a:cxn>
                <a:cxn ang="0">
                  <a:pos x="connsiteX2663" y="connsiteY2663"/>
                </a:cxn>
                <a:cxn ang="0">
                  <a:pos x="connsiteX2664" y="connsiteY2664"/>
                </a:cxn>
                <a:cxn ang="0">
                  <a:pos x="connsiteX2665" y="connsiteY2665"/>
                </a:cxn>
                <a:cxn ang="0">
                  <a:pos x="connsiteX2666" y="connsiteY2666"/>
                </a:cxn>
                <a:cxn ang="0">
                  <a:pos x="connsiteX2667" y="connsiteY2667"/>
                </a:cxn>
                <a:cxn ang="0">
                  <a:pos x="connsiteX2668" y="connsiteY2668"/>
                </a:cxn>
                <a:cxn ang="0">
                  <a:pos x="connsiteX2669" y="connsiteY2669"/>
                </a:cxn>
                <a:cxn ang="0">
                  <a:pos x="connsiteX2670" y="connsiteY2670"/>
                </a:cxn>
                <a:cxn ang="0">
                  <a:pos x="connsiteX2671" y="connsiteY2671"/>
                </a:cxn>
                <a:cxn ang="0">
                  <a:pos x="connsiteX2672" y="connsiteY2672"/>
                </a:cxn>
                <a:cxn ang="0">
                  <a:pos x="connsiteX2673" y="connsiteY2673"/>
                </a:cxn>
                <a:cxn ang="0">
                  <a:pos x="connsiteX2674" y="connsiteY2674"/>
                </a:cxn>
                <a:cxn ang="0">
                  <a:pos x="connsiteX2675" y="connsiteY2675"/>
                </a:cxn>
                <a:cxn ang="0">
                  <a:pos x="connsiteX2676" y="connsiteY2676"/>
                </a:cxn>
                <a:cxn ang="0">
                  <a:pos x="connsiteX2677" y="connsiteY2677"/>
                </a:cxn>
                <a:cxn ang="0">
                  <a:pos x="connsiteX2678" y="connsiteY2678"/>
                </a:cxn>
                <a:cxn ang="0">
                  <a:pos x="connsiteX2679" y="connsiteY2679"/>
                </a:cxn>
                <a:cxn ang="0">
                  <a:pos x="connsiteX2680" y="connsiteY2680"/>
                </a:cxn>
                <a:cxn ang="0">
                  <a:pos x="connsiteX2681" y="connsiteY2681"/>
                </a:cxn>
                <a:cxn ang="0">
                  <a:pos x="connsiteX2682" y="connsiteY2682"/>
                </a:cxn>
                <a:cxn ang="0">
                  <a:pos x="connsiteX2683" y="connsiteY2683"/>
                </a:cxn>
                <a:cxn ang="0">
                  <a:pos x="connsiteX2684" y="connsiteY2684"/>
                </a:cxn>
                <a:cxn ang="0">
                  <a:pos x="connsiteX2685" y="connsiteY2685"/>
                </a:cxn>
                <a:cxn ang="0">
                  <a:pos x="connsiteX2686" y="connsiteY2686"/>
                </a:cxn>
                <a:cxn ang="0">
                  <a:pos x="connsiteX2687" y="connsiteY2687"/>
                </a:cxn>
                <a:cxn ang="0">
                  <a:pos x="connsiteX2688" y="connsiteY2688"/>
                </a:cxn>
                <a:cxn ang="0">
                  <a:pos x="connsiteX2689" y="connsiteY2689"/>
                </a:cxn>
                <a:cxn ang="0">
                  <a:pos x="connsiteX2690" y="connsiteY2690"/>
                </a:cxn>
                <a:cxn ang="0">
                  <a:pos x="connsiteX2691" y="connsiteY2691"/>
                </a:cxn>
                <a:cxn ang="0">
                  <a:pos x="connsiteX2692" y="connsiteY2692"/>
                </a:cxn>
                <a:cxn ang="0">
                  <a:pos x="connsiteX2693" y="connsiteY2693"/>
                </a:cxn>
                <a:cxn ang="0">
                  <a:pos x="connsiteX2694" y="connsiteY2694"/>
                </a:cxn>
                <a:cxn ang="0">
                  <a:pos x="connsiteX2695" y="connsiteY2695"/>
                </a:cxn>
                <a:cxn ang="0">
                  <a:pos x="connsiteX2696" y="connsiteY2696"/>
                </a:cxn>
                <a:cxn ang="0">
                  <a:pos x="connsiteX2697" y="connsiteY2697"/>
                </a:cxn>
                <a:cxn ang="0">
                  <a:pos x="connsiteX2698" y="connsiteY2698"/>
                </a:cxn>
                <a:cxn ang="0">
                  <a:pos x="connsiteX2699" y="connsiteY2699"/>
                </a:cxn>
                <a:cxn ang="0">
                  <a:pos x="connsiteX2700" y="connsiteY2700"/>
                </a:cxn>
                <a:cxn ang="0">
                  <a:pos x="connsiteX2701" y="connsiteY2701"/>
                </a:cxn>
                <a:cxn ang="0">
                  <a:pos x="connsiteX2702" y="connsiteY2702"/>
                </a:cxn>
                <a:cxn ang="0">
                  <a:pos x="connsiteX2703" y="connsiteY2703"/>
                </a:cxn>
                <a:cxn ang="0">
                  <a:pos x="connsiteX2704" y="connsiteY2704"/>
                </a:cxn>
                <a:cxn ang="0">
                  <a:pos x="connsiteX2705" y="connsiteY2705"/>
                </a:cxn>
                <a:cxn ang="0">
                  <a:pos x="connsiteX2706" y="connsiteY2706"/>
                </a:cxn>
                <a:cxn ang="0">
                  <a:pos x="connsiteX2707" y="connsiteY2707"/>
                </a:cxn>
                <a:cxn ang="0">
                  <a:pos x="connsiteX2708" y="connsiteY2708"/>
                </a:cxn>
                <a:cxn ang="0">
                  <a:pos x="connsiteX2709" y="connsiteY2709"/>
                </a:cxn>
                <a:cxn ang="0">
                  <a:pos x="connsiteX2710" y="connsiteY2710"/>
                </a:cxn>
                <a:cxn ang="0">
                  <a:pos x="connsiteX2711" y="connsiteY2711"/>
                </a:cxn>
                <a:cxn ang="0">
                  <a:pos x="connsiteX2712" y="connsiteY2712"/>
                </a:cxn>
                <a:cxn ang="0">
                  <a:pos x="connsiteX2713" y="connsiteY2713"/>
                </a:cxn>
                <a:cxn ang="0">
                  <a:pos x="connsiteX2714" y="connsiteY2714"/>
                </a:cxn>
                <a:cxn ang="0">
                  <a:pos x="connsiteX2715" y="connsiteY2715"/>
                </a:cxn>
                <a:cxn ang="0">
                  <a:pos x="connsiteX2716" y="connsiteY2716"/>
                </a:cxn>
                <a:cxn ang="0">
                  <a:pos x="connsiteX2717" y="connsiteY2717"/>
                </a:cxn>
                <a:cxn ang="0">
                  <a:pos x="connsiteX2718" y="connsiteY2718"/>
                </a:cxn>
                <a:cxn ang="0">
                  <a:pos x="connsiteX2719" y="connsiteY2719"/>
                </a:cxn>
                <a:cxn ang="0">
                  <a:pos x="connsiteX2720" y="connsiteY2720"/>
                </a:cxn>
                <a:cxn ang="0">
                  <a:pos x="connsiteX2721" y="connsiteY2721"/>
                </a:cxn>
                <a:cxn ang="0">
                  <a:pos x="connsiteX2722" y="connsiteY2722"/>
                </a:cxn>
                <a:cxn ang="0">
                  <a:pos x="connsiteX2723" y="connsiteY2723"/>
                </a:cxn>
                <a:cxn ang="0">
                  <a:pos x="connsiteX2724" y="connsiteY2724"/>
                </a:cxn>
                <a:cxn ang="0">
                  <a:pos x="connsiteX2725" y="connsiteY2725"/>
                </a:cxn>
                <a:cxn ang="0">
                  <a:pos x="connsiteX2726" y="connsiteY2726"/>
                </a:cxn>
                <a:cxn ang="0">
                  <a:pos x="connsiteX2727" y="connsiteY2727"/>
                </a:cxn>
                <a:cxn ang="0">
                  <a:pos x="connsiteX2728" y="connsiteY2728"/>
                </a:cxn>
                <a:cxn ang="0">
                  <a:pos x="connsiteX2729" y="connsiteY2729"/>
                </a:cxn>
                <a:cxn ang="0">
                  <a:pos x="connsiteX2730" y="connsiteY2730"/>
                </a:cxn>
                <a:cxn ang="0">
                  <a:pos x="connsiteX2731" y="connsiteY2731"/>
                </a:cxn>
                <a:cxn ang="0">
                  <a:pos x="connsiteX2732" y="connsiteY2732"/>
                </a:cxn>
                <a:cxn ang="0">
                  <a:pos x="connsiteX2733" y="connsiteY2733"/>
                </a:cxn>
                <a:cxn ang="0">
                  <a:pos x="connsiteX2734" y="connsiteY2734"/>
                </a:cxn>
                <a:cxn ang="0">
                  <a:pos x="connsiteX2735" y="connsiteY2735"/>
                </a:cxn>
                <a:cxn ang="0">
                  <a:pos x="connsiteX2736" y="connsiteY2736"/>
                </a:cxn>
                <a:cxn ang="0">
                  <a:pos x="connsiteX2737" y="connsiteY2737"/>
                </a:cxn>
                <a:cxn ang="0">
                  <a:pos x="connsiteX2738" y="connsiteY2738"/>
                </a:cxn>
                <a:cxn ang="0">
                  <a:pos x="connsiteX2739" y="connsiteY2739"/>
                </a:cxn>
                <a:cxn ang="0">
                  <a:pos x="connsiteX2740" y="connsiteY2740"/>
                </a:cxn>
                <a:cxn ang="0">
                  <a:pos x="connsiteX2741" y="connsiteY2741"/>
                </a:cxn>
                <a:cxn ang="0">
                  <a:pos x="connsiteX2742" y="connsiteY2742"/>
                </a:cxn>
                <a:cxn ang="0">
                  <a:pos x="connsiteX2743" y="connsiteY2743"/>
                </a:cxn>
                <a:cxn ang="0">
                  <a:pos x="connsiteX2744" y="connsiteY2744"/>
                </a:cxn>
                <a:cxn ang="0">
                  <a:pos x="connsiteX2745" y="connsiteY2745"/>
                </a:cxn>
                <a:cxn ang="0">
                  <a:pos x="connsiteX2746" y="connsiteY2746"/>
                </a:cxn>
                <a:cxn ang="0">
                  <a:pos x="connsiteX2747" y="connsiteY2747"/>
                </a:cxn>
                <a:cxn ang="0">
                  <a:pos x="connsiteX2748" y="connsiteY2748"/>
                </a:cxn>
                <a:cxn ang="0">
                  <a:pos x="connsiteX2749" y="connsiteY2749"/>
                </a:cxn>
                <a:cxn ang="0">
                  <a:pos x="connsiteX2750" y="connsiteY2750"/>
                </a:cxn>
                <a:cxn ang="0">
                  <a:pos x="connsiteX2751" y="connsiteY2751"/>
                </a:cxn>
                <a:cxn ang="0">
                  <a:pos x="connsiteX2752" y="connsiteY2752"/>
                </a:cxn>
                <a:cxn ang="0">
                  <a:pos x="connsiteX2753" y="connsiteY2753"/>
                </a:cxn>
                <a:cxn ang="0">
                  <a:pos x="connsiteX2754" y="connsiteY2754"/>
                </a:cxn>
                <a:cxn ang="0">
                  <a:pos x="connsiteX2755" y="connsiteY2755"/>
                </a:cxn>
                <a:cxn ang="0">
                  <a:pos x="connsiteX2756" y="connsiteY2756"/>
                </a:cxn>
                <a:cxn ang="0">
                  <a:pos x="connsiteX2757" y="connsiteY2757"/>
                </a:cxn>
                <a:cxn ang="0">
                  <a:pos x="connsiteX2758" y="connsiteY2758"/>
                </a:cxn>
                <a:cxn ang="0">
                  <a:pos x="connsiteX2759" y="connsiteY2759"/>
                </a:cxn>
                <a:cxn ang="0">
                  <a:pos x="connsiteX2760" y="connsiteY2760"/>
                </a:cxn>
                <a:cxn ang="0">
                  <a:pos x="connsiteX2761" y="connsiteY2761"/>
                </a:cxn>
                <a:cxn ang="0">
                  <a:pos x="connsiteX2762" y="connsiteY2762"/>
                </a:cxn>
                <a:cxn ang="0">
                  <a:pos x="connsiteX2763" y="connsiteY2763"/>
                </a:cxn>
                <a:cxn ang="0">
                  <a:pos x="connsiteX2764" y="connsiteY2764"/>
                </a:cxn>
                <a:cxn ang="0">
                  <a:pos x="connsiteX2765" y="connsiteY2765"/>
                </a:cxn>
                <a:cxn ang="0">
                  <a:pos x="connsiteX2766" y="connsiteY2766"/>
                </a:cxn>
                <a:cxn ang="0">
                  <a:pos x="connsiteX2767" y="connsiteY2767"/>
                </a:cxn>
                <a:cxn ang="0">
                  <a:pos x="connsiteX2768" y="connsiteY2768"/>
                </a:cxn>
                <a:cxn ang="0">
                  <a:pos x="connsiteX2769" y="connsiteY2769"/>
                </a:cxn>
                <a:cxn ang="0">
                  <a:pos x="connsiteX2770" y="connsiteY2770"/>
                </a:cxn>
                <a:cxn ang="0">
                  <a:pos x="connsiteX2771" y="connsiteY2771"/>
                </a:cxn>
                <a:cxn ang="0">
                  <a:pos x="connsiteX2772" y="connsiteY2772"/>
                </a:cxn>
                <a:cxn ang="0">
                  <a:pos x="connsiteX2773" y="connsiteY2773"/>
                </a:cxn>
                <a:cxn ang="0">
                  <a:pos x="connsiteX2774" y="connsiteY2774"/>
                </a:cxn>
                <a:cxn ang="0">
                  <a:pos x="connsiteX2775" y="connsiteY2775"/>
                </a:cxn>
                <a:cxn ang="0">
                  <a:pos x="connsiteX2776" y="connsiteY2776"/>
                </a:cxn>
                <a:cxn ang="0">
                  <a:pos x="connsiteX2777" y="connsiteY2777"/>
                </a:cxn>
                <a:cxn ang="0">
                  <a:pos x="connsiteX2778" y="connsiteY2778"/>
                </a:cxn>
                <a:cxn ang="0">
                  <a:pos x="connsiteX2779" y="connsiteY2779"/>
                </a:cxn>
                <a:cxn ang="0">
                  <a:pos x="connsiteX2780" y="connsiteY2780"/>
                </a:cxn>
                <a:cxn ang="0">
                  <a:pos x="connsiteX2781" y="connsiteY2781"/>
                </a:cxn>
                <a:cxn ang="0">
                  <a:pos x="connsiteX2782" y="connsiteY2782"/>
                </a:cxn>
                <a:cxn ang="0">
                  <a:pos x="connsiteX2783" y="connsiteY2783"/>
                </a:cxn>
                <a:cxn ang="0">
                  <a:pos x="connsiteX2784" y="connsiteY2784"/>
                </a:cxn>
                <a:cxn ang="0">
                  <a:pos x="connsiteX2785" y="connsiteY2785"/>
                </a:cxn>
                <a:cxn ang="0">
                  <a:pos x="connsiteX2786" y="connsiteY2786"/>
                </a:cxn>
                <a:cxn ang="0">
                  <a:pos x="connsiteX2787" y="connsiteY2787"/>
                </a:cxn>
                <a:cxn ang="0">
                  <a:pos x="connsiteX2788" y="connsiteY2788"/>
                </a:cxn>
                <a:cxn ang="0">
                  <a:pos x="connsiteX2789" y="connsiteY2789"/>
                </a:cxn>
                <a:cxn ang="0">
                  <a:pos x="connsiteX2790" y="connsiteY2790"/>
                </a:cxn>
                <a:cxn ang="0">
                  <a:pos x="connsiteX2791" y="connsiteY2791"/>
                </a:cxn>
                <a:cxn ang="0">
                  <a:pos x="connsiteX2792" y="connsiteY2792"/>
                </a:cxn>
                <a:cxn ang="0">
                  <a:pos x="connsiteX2793" y="connsiteY2793"/>
                </a:cxn>
                <a:cxn ang="0">
                  <a:pos x="connsiteX2794" y="connsiteY2794"/>
                </a:cxn>
                <a:cxn ang="0">
                  <a:pos x="connsiteX2795" y="connsiteY2795"/>
                </a:cxn>
                <a:cxn ang="0">
                  <a:pos x="connsiteX2796" y="connsiteY2796"/>
                </a:cxn>
                <a:cxn ang="0">
                  <a:pos x="connsiteX2797" y="connsiteY2797"/>
                </a:cxn>
                <a:cxn ang="0">
                  <a:pos x="connsiteX2798" y="connsiteY2798"/>
                </a:cxn>
                <a:cxn ang="0">
                  <a:pos x="connsiteX2799" y="connsiteY2799"/>
                </a:cxn>
                <a:cxn ang="0">
                  <a:pos x="connsiteX2800" y="connsiteY2800"/>
                </a:cxn>
                <a:cxn ang="0">
                  <a:pos x="connsiteX2801" y="connsiteY2801"/>
                </a:cxn>
                <a:cxn ang="0">
                  <a:pos x="connsiteX2802" y="connsiteY2802"/>
                </a:cxn>
                <a:cxn ang="0">
                  <a:pos x="connsiteX2803" y="connsiteY2803"/>
                </a:cxn>
                <a:cxn ang="0">
                  <a:pos x="connsiteX2804" y="connsiteY2804"/>
                </a:cxn>
                <a:cxn ang="0">
                  <a:pos x="connsiteX2805" y="connsiteY2805"/>
                </a:cxn>
                <a:cxn ang="0">
                  <a:pos x="connsiteX2806" y="connsiteY2806"/>
                </a:cxn>
                <a:cxn ang="0">
                  <a:pos x="connsiteX2807" y="connsiteY2807"/>
                </a:cxn>
                <a:cxn ang="0">
                  <a:pos x="connsiteX2808" y="connsiteY2808"/>
                </a:cxn>
                <a:cxn ang="0">
                  <a:pos x="connsiteX2809" y="connsiteY2809"/>
                </a:cxn>
                <a:cxn ang="0">
                  <a:pos x="connsiteX2810" y="connsiteY2810"/>
                </a:cxn>
                <a:cxn ang="0">
                  <a:pos x="connsiteX2811" y="connsiteY2811"/>
                </a:cxn>
                <a:cxn ang="0">
                  <a:pos x="connsiteX2812" y="connsiteY2812"/>
                </a:cxn>
                <a:cxn ang="0">
                  <a:pos x="connsiteX2813" y="connsiteY2813"/>
                </a:cxn>
                <a:cxn ang="0">
                  <a:pos x="connsiteX2814" y="connsiteY2814"/>
                </a:cxn>
                <a:cxn ang="0">
                  <a:pos x="connsiteX2815" y="connsiteY2815"/>
                </a:cxn>
                <a:cxn ang="0">
                  <a:pos x="connsiteX2816" y="connsiteY2816"/>
                </a:cxn>
                <a:cxn ang="0">
                  <a:pos x="connsiteX2817" y="connsiteY2817"/>
                </a:cxn>
                <a:cxn ang="0">
                  <a:pos x="connsiteX2818" y="connsiteY2818"/>
                </a:cxn>
                <a:cxn ang="0">
                  <a:pos x="connsiteX2819" y="connsiteY2819"/>
                </a:cxn>
                <a:cxn ang="0">
                  <a:pos x="connsiteX2820" y="connsiteY2820"/>
                </a:cxn>
                <a:cxn ang="0">
                  <a:pos x="connsiteX2821" y="connsiteY2821"/>
                </a:cxn>
                <a:cxn ang="0">
                  <a:pos x="connsiteX2822" y="connsiteY2822"/>
                </a:cxn>
                <a:cxn ang="0">
                  <a:pos x="connsiteX2823" y="connsiteY2823"/>
                </a:cxn>
                <a:cxn ang="0">
                  <a:pos x="connsiteX2824" y="connsiteY2824"/>
                </a:cxn>
                <a:cxn ang="0">
                  <a:pos x="connsiteX2825" y="connsiteY2825"/>
                </a:cxn>
                <a:cxn ang="0">
                  <a:pos x="connsiteX2826" y="connsiteY2826"/>
                </a:cxn>
                <a:cxn ang="0">
                  <a:pos x="connsiteX2827" y="connsiteY2827"/>
                </a:cxn>
                <a:cxn ang="0">
                  <a:pos x="connsiteX2828" y="connsiteY2828"/>
                </a:cxn>
                <a:cxn ang="0">
                  <a:pos x="connsiteX2829" y="connsiteY2829"/>
                </a:cxn>
                <a:cxn ang="0">
                  <a:pos x="connsiteX2830" y="connsiteY2830"/>
                </a:cxn>
                <a:cxn ang="0">
                  <a:pos x="connsiteX2831" y="connsiteY2831"/>
                </a:cxn>
                <a:cxn ang="0">
                  <a:pos x="connsiteX2832" y="connsiteY2832"/>
                </a:cxn>
                <a:cxn ang="0">
                  <a:pos x="connsiteX2833" y="connsiteY2833"/>
                </a:cxn>
                <a:cxn ang="0">
                  <a:pos x="connsiteX2834" y="connsiteY2834"/>
                </a:cxn>
                <a:cxn ang="0">
                  <a:pos x="connsiteX2835" y="connsiteY2835"/>
                </a:cxn>
                <a:cxn ang="0">
                  <a:pos x="connsiteX2836" y="connsiteY2836"/>
                </a:cxn>
                <a:cxn ang="0">
                  <a:pos x="connsiteX2837" y="connsiteY2837"/>
                </a:cxn>
                <a:cxn ang="0">
                  <a:pos x="connsiteX2838" y="connsiteY2838"/>
                </a:cxn>
                <a:cxn ang="0">
                  <a:pos x="connsiteX2839" y="connsiteY2839"/>
                </a:cxn>
                <a:cxn ang="0">
                  <a:pos x="connsiteX2840" y="connsiteY2840"/>
                </a:cxn>
                <a:cxn ang="0">
                  <a:pos x="connsiteX2841" y="connsiteY2841"/>
                </a:cxn>
                <a:cxn ang="0">
                  <a:pos x="connsiteX2842" y="connsiteY2842"/>
                </a:cxn>
                <a:cxn ang="0">
                  <a:pos x="connsiteX2843" y="connsiteY2843"/>
                </a:cxn>
                <a:cxn ang="0">
                  <a:pos x="connsiteX2844" y="connsiteY2844"/>
                </a:cxn>
                <a:cxn ang="0">
                  <a:pos x="connsiteX2845" y="connsiteY2845"/>
                </a:cxn>
                <a:cxn ang="0">
                  <a:pos x="connsiteX2846" y="connsiteY2846"/>
                </a:cxn>
                <a:cxn ang="0">
                  <a:pos x="connsiteX2847" y="connsiteY2847"/>
                </a:cxn>
                <a:cxn ang="0">
                  <a:pos x="connsiteX2848" y="connsiteY2848"/>
                </a:cxn>
                <a:cxn ang="0">
                  <a:pos x="connsiteX2849" y="connsiteY2849"/>
                </a:cxn>
                <a:cxn ang="0">
                  <a:pos x="connsiteX2850" y="connsiteY2850"/>
                </a:cxn>
                <a:cxn ang="0">
                  <a:pos x="connsiteX2851" y="connsiteY2851"/>
                </a:cxn>
                <a:cxn ang="0">
                  <a:pos x="connsiteX2852" y="connsiteY2852"/>
                </a:cxn>
                <a:cxn ang="0">
                  <a:pos x="connsiteX2853" y="connsiteY2853"/>
                </a:cxn>
                <a:cxn ang="0">
                  <a:pos x="connsiteX2854" y="connsiteY2854"/>
                </a:cxn>
                <a:cxn ang="0">
                  <a:pos x="connsiteX2855" y="connsiteY2855"/>
                </a:cxn>
                <a:cxn ang="0">
                  <a:pos x="connsiteX2856" y="connsiteY2856"/>
                </a:cxn>
                <a:cxn ang="0">
                  <a:pos x="connsiteX2857" y="connsiteY2857"/>
                </a:cxn>
                <a:cxn ang="0">
                  <a:pos x="connsiteX2858" y="connsiteY2858"/>
                </a:cxn>
                <a:cxn ang="0">
                  <a:pos x="connsiteX2859" y="connsiteY2859"/>
                </a:cxn>
                <a:cxn ang="0">
                  <a:pos x="connsiteX2860" y="connsiteY2860"/>
                </a:cxn>
                <a:cxn ang="0">
                  <a:pos x="connsiteX2861" y="connsiteY2861"/>
                </a:cxn>
                <a:cxn ang="0">
                  <a:pos x="connsiteX2862" y="connsiteY2862"/>
                </a:cxn>
                <a:cxn ang="0">
                  <a:pos x="connsiteX2863" y="connsiteY2863"/>
                </a:cxn>
                <a:cxn ang="0">
                  <a:pos x="connsiteX2864" y="connsiteY2864"/>
                </a:cxn>
                <a:cxn ang="0">
                  <a:pos x="connsiteX2865" y="connsiteY2865"/>
                </a:cxn>
                <a:cxn ang="0">
                  <a:pos x="connsiteX2866" y="connsiteY2866"/>
                </a:cxn>
                <a:cxn ang="0">
                  <a:pos x="connsiteX2867" y="connsiteY2867"/>
                </a:cxn>
                <a:cxn ang="0">
                  <a:pos x="connsiteX2868" y="connsiteY2868"/>
                </a:cxn>
                <a:cxn ang="0">
                  <a:pos x="connsiteX2869" y="connsiteY2869"/>
                </a:cxn>
                <a:cxn ang="0">
                  <a:pos x="connsiteX2870" y="connsiteY2870"/>
                </a:cxn>
                <a:cxn ang="0">
                  <a:pos x="connsiteX2871" y="connsiteY2871"/>
                </a:cxn>
                <a:cxn ang="0">
                  <a:pos x="connsiteX2872" y="connsiteY2872"/>
                </a:cxn>
                <a:cxn ang="0">
                  <a:pos x="connsiteX2873" y="connsiteY2873"/>
                </a:cxn>
                <a:cxn ang="0">
                  <a:pos x="connsiteX2874" y="connsiteY2874"/>
                </a:cxn>
                <a:cxn ang="0">
                  <a:pos x="connsiteX2875" y="connsiteY2875"/>
                </a:cxn>
                <a:cxn ang="0">
                  <a:pos x="connsiteX2876" y="connsiteY2876"/>
                </a:cxn>
                <a:cxn ang="0">
                  <a:pos x="connsiteX2877" y="connsiteY2877"/>
                </a:cxn>
                <a:cxn ang="0">
                  <a:pos x="connsiteX2878" y="connsiteY2878"/>
                </a:cxn>
                <a:cxn ang="0">
                  <a:pos x="connsiteX2879" y="connsiteY2879"/>
                </a:cxn>
                <a:cxn ang="0">
                  <a:pos x="connsiteX2880" y="connsiteY2880"/>
                </a:cxn>
                <a:cxn ang="0">
                  <a:pos x="connsiteX2881" y="connsiteY2881"/>
                </a:cxn>
                <a:cxn ang="0">
                  <a:pos x="connsiteX2882" y="connsiteY2882"/>
                </a:cxn>
                <a:cxn ang="0">
                  <a:pos x="connsiteX2883" y="connsiteY2883"/>
                </a:cxn>
                <a:cxn ang="0">
                  <a:pos x="connsiteX2884" y="connsiteY2884"/>
                </a:cxn>
                <a:cxn ang="0">
                  <a:pos x="connsiteX2885" y="connsiteY2885"/>
                </a:cxn>
                <a:cxn ang="0">
                  <a:pos x="connsiteX2886" y="connsiteY2886"/>
                </a:cxn>
                <a:cxn ang="0">
                  <a:pos x="connsiteX2887" y="connsiteY2887"/>
                </a:cxn>
                <a:cxn ang="0">
                  <a:pos x="connsiteX2888" y="connsiteY2888"/>
                </a:cxn>
                <a:cxn ang="0">
                  <a:pos x="connsiteX2889" y="connsiteY2889"/>
                </a:cxn>
                <a:cxn ang="0">
                  <a:pos x="connsiteX2890" y="connsiteY2890"/>
                </a:cxn>
                <a:cxn ang="0">
                  <a:pos x="connsiteX2891" y="connsiteY2891"/>
                </a:cxn>
                <a:cxn ang="0">
                  <a:pos x="connsiteX2892" y="connsiteY2892"/>
                </a:cxn>
                <a:cxn ang="0">
                  <a:pos x="connsiteX2893" y="connsiteY2893"/>
                </a:cxn>
                <a:cxn ang="0">
                  <a:pos x="connsiteX2894" y="connsiteY2894"/>
                </a:cxn>
                <a:cxn ang="0">
                  <a:pos x="connsiteX2895" y="connsiteY2895"/>
                </a:cxn>
                <a:cxn ang="0">
                  <a:pos x="connsiteX2896" y="connsiteY2896"/>
                </a:cxn>
                <a:cxn ang="0">
                  <a:pos x="connsiteX2897" y="connsiteY2897"/>
                </a:cxn>
                <a:cxn ang="0">
                  <a:pos x="connsiteX2898" y="connsiteY2898"/>
                </a:cxn>
                <a:cxn ang="0">
                  <a:pos x="connsiteX2899" y="connsiteY2899"/>
                </a:cxn>
                <a:cxn ang="0">
                  <a:pos x="connsiteX2900" y="connsiteY2900"/>
                </a:cxn>
                <a:cxn ang="0">
                  <a:pos x="connsiteX2901" y="connsiteY2901"/>
                </a:cxn>
                <a:cxn ang="0">
                  <a:pos x="connsiteX2902" y="connsiteY2902"/>
                </a:cxn>
                <a:cxn ang="0">
                  <a:pos x="connsiteX2903" y="connsiteY2903"/>
                </a:cxn>
                <a:cxn ang="0">
                  <a:pos x="connsiteX2904" y="connsiteY2904"/>
                </a:cxn>
                <a:cxn ang="0">
                  <a:pos x="connsiteX2905" y="connsiteY2905"/>
                </a:cxn>
                <a:cxn ang="0">
                  <a:pos x="connsiteX2906" y="connsiteY2906"/>
                </a:cxn>
                <a:cxn ang="0">
                  <a:pos x="connsiteX2907" y="connsiteY2907"/>
                </a:cxn>
                <a:cxn ang="0">
                  <a:pos x="connsiteX2908" y="connsiteY2908"/>
                </a:cxn>
                <a:cxn ang="0">
                  <a:pos x="connsiteX2909" y="connsiteY2909"/>
                </a:cxn>
                <a:cxn ang="0">
                  <a:pos x="connsiteX2910" y="connsiteY2910"/>
                </a:cxn>
                <a:cxn ang="0">
                  <a:pos x="connsiteX2911" y="connsiteY2911"/>
                </a:cxn>
                <a:cxn ang="0">
                  <a:pos x="connsiteX2912" y="connsiteY2912"/>
                </a:cxn>
                <a:cxn ang="0">
                  <a:pos x="connsiteX2913" y="connsiteY2913"/>
                </a:cxn>
                <a:cxn ang="0">
                  <a:pos x="connsiteX2914" y="connsiteY2914"/>
                </a:cxn>
                <a:cxn ang="0">
                  <a:pos x="connsiteX2915" y="connsiteY2915"/>
                </a:cxn>
                <a:cxn ang="0">
                  <a:pos x="connsiteX2916" y="connsiteY2916"/>
                </a:cxn>
                <a:cxn ang="0">
                  <a:pos x="connsiteX2917" y="connsiteY2917"/>
                </a:cxn>
                <a:cxn ang="0">
                  <a:pos x="connsiteX2918" y="connsiteY2918"/>
                </a:cxn>
                <a:cxn ang="0">
                  <a:pos x="connsiteX2919" y="connsiteY2919"/>
                </a:cxn>
                <a:cxn ang="0">
                  <a:pos x="connsiteX2920" y="connsiteY2920"/>
                </a:cxn>
                <a:cxn ang="0">
                  <a:pos x="connsiteX2921" y="connsiteY2921"/>
                </a:cxn>
                <a:cxn ang="0">
                  <a:pos x="connsiteX2922" y="connsiteY2922"/>
                </a:cxn>
                <a:cxn ang="0">
                  <a:pos x="connsiteX2923" y="connsiteY2923"/>
                </a:cxn>
                <a:cxn ang="0">
                  <a:pos x="connsiteX2924" y="connsiteY2924"/>
                </a:cxn>
                <a:cxn ang="0">
                  <a:pos x="connsiteX2925" y="connsiteY2925"/>
                </a:cxn>
                <a:cxn ang="0">
                  <a:pos x="connsiteX2926" y="connsiteY2926"/>
                </a:cxn>
                <a:cxn ang="0">
                  <a:pos x="connsiteX2927" y="connsiteY2927"/>
                </a:cxn>
                <a:cxn ang="0">
                  <a:pos x="connsiteX2928" y="connsiteY2928"/>
                </a:cxn>
                <a:cxn ang="0">
                  <a:pos x="connsiteX2929" y="connsiteY2929"/>
                </a:cxn>
                <a:cxn ang="0">
                  <a:pos x="connsiteX2930" y="connsiteY2930"/>
                </a:cxn>
                <a:cxn ang="0">
                  <a:pos x="connsiteX2931" y="connsiteY2931"/>
                </a:cxn>
                <a:cxn ang="0">
                  <a:pos x="connsiteX2932" y="connsiteY2932"/>
                </a:cxn>
                <a:cxn ang="0">
                  <a:pos x="connsiteX2933" y="connsiteY2933"/>
                </a:cxn>
                <a:cxn ang="0">
                  <a:pos x="connsiteX2934" y="connsiteY2934"/>
                </a:cxn>
                <a:cxn ang="0">
                  <a:pos x="connsiteX2935" y="connsiteY2935"/>
                </a:cxn>
                <a:cxn ang="0">
                  <a:pos x="connsiteX2936" y="connsiteY2936"/>
                </a:cxn>
                <a:cxn ang="0">
                  <a:pos x="connsiteX2937" y="connsiteY2937"/>
                </a:cxn>
                <a:cxn ang="0">
                  <a:pos x="connsiteX2938" y="connsiteY2938"/>
                </a:cxn>
                <a:cxn ang="0">
                  <a:pos x="connsiteX2939" y="connsiteY2939"/>
                </a:cxn>
                <a:cxn ang="0">
                  <a:pos x="connsiteX2940" y="connsiteY2940"/>
                </a:cxn>
                <a:cxn ang="0">
                  <a:pos x="connsiteX2941" y="connsiteY2941"/>
                </a:cxn>
                <a:cxn ang="0">
                  <a:pos x="connsiteX2942" y="connsiteY2942"/>
                </a:cxn>
                <a:cxn ang="0">
                  <a:pos x="connsiteX2943" y="connsiteY2943"/>
                </a:cxn>
                <a:cxn ang="0">
                  <a:pos x="connsiteX2944" y="connsiteY2944"/>
                </a:cxn>
                <a:cxn ang="0">
                  <a:pos x="connsiteX2945" y="connsiteY2945"/>
                </a:cxn>
                <a:cxn ang="0">
                  <a:pos x="connsiteX2946" y="connsiteY2946"/>
                </a:cxn>
                <a:cxn ang="0">
                  <a:pos x="connsiteX2947" y="connsiteY2947"/>
                </a:cxn>
                <a:cxn ang="0">
                  <a:pos x="connsiteX2948" y="connsiteY2948"/>
                </a:cxn>
                <a:cxn ang="0">
                  <a:pos x="connsiteX2949" y="connsiteY2949"/>
                </a:cxn>
                <a:cxn ang="0">
                  <a:pos x="connsiteX2950" y="connsiteY2950"/>
                </a:cxn>
                <a:cxn ang="0">
                  <a:pos x="connsiteX2951" y="connsiteY2951"/>
                </a:cxn>
                <a:cxn ang="0">
                  <a:pos x="connsiteX2952" y="connsiteY2952"/>
                </a:cxn>
                <a:cxn ang="0">
                  <a:pos x="connsiteX2953" y="connsiteY2953"/>
                </a:cxn>
                <a:cxn ang="0">
                  <a:pos x="connsiteX2954" y="connsiteY2954"/>
                </a:cxn>
                <a:cxn ang="0">
                  <a:pos x="connsiteX2955" y="connsiteY2955"/>
                </a:cxn>
                <a:cxn ang="0">
                  <a:pos x="connsiteX2956" y="connsiteY2956"/>
                </a:cxn>
                <a:cxn ang="0">
                  <a:pos x="connsiteX2957" y="connsiteY2957"/>
                </a:cxn>
                <a:cxn ang="0">
                  <a:pos x="connsiteX2958" y="connsiteY2958"/>
                </a:cxn>
                <a:cxn ang="0">
                  <a:pos x="connsiteX2959" y="connsiteY2959"/>
                </a:cxn>
                <a:cxn ang="0">
                  <a:pos x="connsiteX2960" y="connsiteY2960"/>
                </a:cxn>
                <a:cxn ang="0">
                  <a:pos x="connsiteX2961" y="connsiteY2961"/>
                </a:cxn>
                <a:cxn ang="0">
                  <a:pos x="connsiteX2962" y="connsiteY2962"/>
                </a:cxn>
                <a:cxn ang="0">
                  <a:pos x="connsiteX2963" y="connsiteY2963"/>
                </a:cxn>
                <a:cxn ang="0">
                  <a:pos x="connsiteX2964" y="connsiteY2964"/>
                </a:cxn>
                <a:cxn ang="0">
                  <a:pos x="connsiteX2965" y="connsiteY2965"/>
                </a:cxn>
                <a:cxn ang="0">
                  <a:pos x="connsiteX2966" y="connsiteY2966"/>
                </a:cxn>
                <a:cxn ang="0">
                  <a:pos x="connsiteX2967" y="connsiteY2967"/>
                </a:cxn>
                <a:cxn ang="0">
                  <a:pos x="connsiteX2968" y="connsiteY2968"/>
                </a:cxn>
                <a:cxn ang="0">
                  <a:pos x="connsiteX2969" y="connsiteY2969"/>
                </a:cxn>
                <a:cxn ang="0">
                  <a:pos x="connsiteX2970" y="connsiteY2970"/>
                </a:cxn>
                <a:cxn ang="0">
                  <a:pos x="connsiteX2971" y="connsiteY2971"/>
                </a:cxn>
                <a:cxn ang="0">
                  <a:pos x="connsiteX2972" y="connsiteY2972"/>
                </a:cxn>
                <a:cxn ang="0">
                  <a:pos x="connsiteX2973" y="connsiteY2973"/>
                </a:cxn>
                <a:cxn ang="0">
                  <a:pos x="connsiteX2974" y="connsiteY2974"/>
                </a:cxn>
                <a:cxn ang="0">
                  <a:pos x="connsiteX2975" y="connsiteY2975"/>
                </a:cxn>
                <a:cxn ang="0">
                  <a:pos x="connsiteX2976" y="connsiteY2976"/>
                </a:cxn>
                <a:cxn ang="0">
                  <a:pos x="connsiteX2977" y="connsiteY2977"/>
                </a:cxn>
                <a:cxn ang="0">
                  <a:pos x="connsiteX2978" y="connsiteY2978"/>
                </a:cxn>
                <a:cxn ang="0">
                  <a:pos x="connsiteX2979" y="connsiteY2979"/>
                </a:cxn>
                <a:cxn ang="0">
                  <a:pos x="connsiteX2980" y="connsiteY2980"/>
                </a:cxn>
                <a:cxn ang="0">
                  <a:pos x="connsiteX2981" y="connsiteY2981"/>
                </a:cxn>
                <a:cxn ang="0">
                  <a:pos x="connsiteX2982" y="connsiteY2982"/>
                </a:cxn>
                <a:cxn ang="0">
                  <a:pos x="connsiteX2983" y="connsiteY2983"/>
                </a:cxn>
                <a:cxn ang="0">
                  <a:pos x="connsiteX2984" y="connsiteY2984"/>
                </a:cxn>
                <a:cxn ang="0">
                  <a:pos x="connsiteX2985" y="connsiteY2985"/>
                </a:cxn>
                <a:cxn ang="0">
                  <a:pos x="connsiteX2986" y="connsiteY2986"/>
                </a:cxn>
                <a:cxn ang="0">
                  <a:pos x="connsiteX2987" y="connsiteY2987"/>
                </a:cxn>
                <a:cxn ang="0">
                  <a:pos x="connsiteX2988" y="connsiteY2988"/>
                </a:cxn>
                <a:cxn ang="0">
                  <a:pos x="connsiteX2989" y="connsiteY2989"/>
                </a:cxn>
                <a:cxn ang="0">
                  <a:pos x="connsiteX2990" y="connsiteY2990"/>
                </a:cxn>
                <a:cxn ang="0">
                  <a:pos x="connsiteX2991" y="connsiteY2991"/>
                </a:cxn>
                <a:cxn ang="0">
                  <a:pos x="connsiteX2992" y="connsiteY2992"/>
                </a:cxn>
                <a:cxn ang="0">
                  <a:pos x="connsiteX2993" y="connsiteY2993"/>
                </a:cxn>
                <a:cxn ang="0">
                  <a:pos x="connsiteX2994" y="connsiteY2994"/>
                </a:cxn>
                <a:cxn ang="0">
                  <a:pos x="connsiteX2995" y="connsiteY2995"/>
                </a:cxn>
                <a:cxn ang="0">
                  <a:pos x="connsiteX2996" y="connsiteY2996"/>
                </a:cxn>
                <a:cxn ang="0">
                  <a:pos x="connsiteX2997" y="connsiteY2997"/>
                </a:cxn>
                <a:cxn ang="0">
                  <a:pos x="connsiteX2998" y="connsiteY2998"/>
                </a:cxn>
                <a:cxn ang="0">
                  <a:pos x="connsiteX2999" y="connsiteY2999"/>
                </a:cxn>
                <a:cxn ang="0">
                  <a:pos x="connsiteX3000" y="connsiteY3000"/>
                </a:cxn>
                <a:cxn ang="0">
                  <a:pos x="connsiteX3001" y="connsiteY3001"/>
                </a:cxn>
                <a:cxn ang="0">
                  <a:pos x="connsiteX3002" y="connsiteY3002"/>
                </a:cxn>
                <a:cxn ang="0">
                  <a:pos x="connsiteX3003" y="connsiteY3003"/>
                </a:cxn>
                <a:cxn ang="0">
                  <a:pos x="connsiteX3004" y="connsiteY3004"/>
                </a:cxn>
                <a:cxn ang="0">
                  <a:pos x="connsiteX3005" y="connsiteY3005"/>
                </a:cxn>
                <a:cxn ang="0">
                  <a:pos x="connsiteX3006" y="connsiteY3006"/>
                </a:cxn>
                <a:cxn ang="0">
                  <a:pos x="connsiteX3007" y="connsiteY3007"/>
                </a:cxn>
                <a:cxn ang="0">
                  <a:pos x="connsiteX3008" y="connsiteY3008"/>
                </a:cxn>
                <a:cxn ang="0">
                  <a:pos x="connsiteX3009" y="connsiteY3009"/>
                </a:cxn>
                <a:cxn ang="0">
                  <a:pos x="connsiteX3010" y="connsiteY3010"/>
                </a:cxn>
                <a:cxn ang="0">
                  <a:pos x="connsiteX3011" y="connsiteY3011"/>
                </a:cxn>
                <a:cxn ang="0">
                  <a:pos x="connsiteX3012" y="connsiteY3012"/>
                </a:cxn>
                <a:cxn ang="0">
                  <a:pos x="connsiteX3013" y="connsiteY3013"/>
                </a:cxn>
                <a:cxn ang="0">
                  <a:pos x="connsiteX3014" y="connsiteY3014"/>
                </a:cxn>
                <a:cxn ang="0">
                  <a:pos x="connsiteX3015" y="connsiteY3015"/>
                </a:cxn>
                <a:cxn ang="0">
                  <a:pos x="connsiteX3016" y="connsiteY3016"/>
                </a:cxn>
                <a:cxn ang="0">
                  <a:pos x="connsiteX3017" y="connsiteY3017"/>
                </a:cxn>
                <a:cxn ang="0">
                  <a:pos x="connsiteX3018" y="connsiteY3018"/>
                </a:cxn>
                <a:cxn ang="0">
                  <a:pos x="connsiteX3019" y="connsiteY3019"/>
                </a:cxn>
                <a:cxn ang="0">
                  <a:pos x="connsiteX3020" y="connsiteY3020"/>
                </a:cxn>
                <a:cxn ang="0">
                  <a:pos x="connsiteX3021" y="connsiteY3021"/>
                </a:cxn>
                <a:cxn ang="0">
                  <a:pos x="connsiteX3022" y="connsiteY3022"/>
                </a:cxn>
                <a:cxn ang="0">
                  <a:pos x="connsiteX3023" y="connsiteY3023"/>
                </a:cxn>
                <a:cxn ang="0">
                  <a:pos x="connsiteX3024" y="connsiteY3024"/>
                </a:cxn>
                <a:cxn ang="0">
                  <a:pos x="connsiteX3025" y="connsiteY3025"/>
                </a:cxn>
                <a:cxn ang="0">
                  <a:pos x="connsiteX3026" y="connsiteY3026"/>
                </a:cxn>
                <a:cxn ang="0">
                  <a:pos x="connsiteX3027" y="connsiteY3027"/>
                </a:cxn>
                <a:cxn ang="0">
                  <a:pos x="connsiteX3028" y="connsiteY3028"/>
                </a:cxn>
                <a:cxn ang="0">
                  <a:pos x="connsiteX3029" y="connsiteY3029"/>
                </a:cxn>
                <a:cxn ang="0">
                  <a:pos x="connsiteX3030" y="connsiteY3030"/>
                </a:cxn>
                <a:cxn ang="0">
                  <a:pos x="connsiteX3031" y="connsiteY3031"/>
                </a:cxn>
                <a:cxn ang="0">
                  <a:pos x="connsiteX3032" y="connsiteY3032"/>
                </a:cxn>
                <a:cxn ang="0">
                  <a:pos x="connsiteX3033" y="connsiteY3033"/>
                </a:cxn>
                <a:cxn ang="0">
                  <a:pos x="connsiteX3034" y="connsiteY3034"/>
                </a:cxn>
                <a:cxn ang="0">
                  <a:pos x="connsiteX3035" y="connsiteY3035"/>
                </a:cxn>
                <a:cxn ang="0">
                  <a:pos x="connsiteX3036" y="connsiteY3036"/>
                </a:cxn>
                <a:cxn ang="0">
                  <a:pos x="connsiteX3037" y="connsiteY3037"/>
                </a:cxn>
                <a:cxn ang="0">
                  <a:pos x="connsiteX3038" y="connsiteY3038"/>
                </a:cxn>
                <a:cxn ang="0">
                  <a:pos x="connsiteX3039" y="connsiteY3039"/>
                </a:cxn>
                <a:cxn ang="0">
                  <a:pos x="connsiteX3040" y="connsiteY3040"/>
                </a:cxn>
                <a:cxn ang="0">
                  <a:pos x="connsiteX3041" y="connsiteY3041"/>
                </a:cxn>
                <a:cxn ang="0">
                  <a:pos x="connsiteX3042" y="connsiteY3042"/>
                </a:cxn>
                <a:cxn ang="0">
                  <a:pos x="connsiteX3043" y="connsiteY3043"/>
                </a:cxn>
                <a:cxn ang="0">
                  <a:pos x="connsiteX3044" y="connsiteY3044"/>
                </a:cxn>
                <a:cxn ang="0">
                  <a:pos x="connsiteX3045" y="connsiteY3045"/>
                </a:cxn>
                <a:cxn ang="0">
                  <a:pos x="connsiteX3046" y="connsiteY3046"/>
                </a:cxn>
                <a:cxn ang="0">
                  <a:pos x="connsiteX3047" y="connsiteY3047"/>
                </a:cxn>
                <a:cxn ang="0">
                  <a:pos x="connsiteX3048" y="connsiteY3048"/>
                </a:cxn>
                <a:cxn ang="0">
                  <a:pos x="connsiteX3049" y="connsiteY3049"/>
                </a:cxn>
                <a:cxn ang="0">
                  <a:pos x="connsiteX3050" y="connsiteY3050"/>
                </a:cxn>
                <a:cxn ang="0">
                  <a:pos x="connsiteX3051" y="connsiteY3051"/>
                </a:cxn>
                <a:cxn ang="0">
                  <a:pos x="connsiteX3052" y="connsiteY3052"/>
                </a:cxn>
                <a:cxn ang="0">
                  <a:pos x="connsiteX3053" y="connsiteY3053"/>
                </a:cxn>
                <a:cxn ang="0">
                  <a:pos x="connsiteX3054" y="connsiteY3054"/>
                </a:cxn>
                <a:cxn ang="0">
                  <a:pos x="connsiteX3055" y="connsiteY3055"/>
                </a:cxn>
                <a:cxn ang="0">
                  <a:pos x="connsiteX3056" y="connsiteY3056"/>
                </a:cxn>
                <a:cxn ang="0">
                  <a:pos x="connsiteX3057" y="connsiteY3057"/>
                </a:cxn>
                <a:cxn ang="0">
                  <a:pos x="connsiteX3058" y="connsiteY3058"/>
                </a:cxn>
                <a:cxn ang="0">
                  <a:pos x="connsiteX3059" y="connsiteY3059"/>
                </a:cxn>
                <a:cxn ang="0">
                  <a:pos x="connsiteX3060" y="connsiteY3060"/>
                </a:cxn>
                <a:cxn ang="0">
                  <a:pos x="connsiteX3061" y="connsiteY3061"/>
                </a:cxn>
                <a:cxn ang="0">
                  <a:pos x="connsiteX3062" y="connsiteY3062"/>
                </a:cxn>
                <a:cxn ang="0">
                  <a:pos x="connsiteX3063" y="connsiteY3063"/>
                </a:cxn>
                <a:cxn ang="0">
                  <a:pos x="connsiteX3064" y="connsiteY3064"/>
                </a:cxn>
                <a:cxn ang="0">
                  <a:pos x="connsiteX3065" y="connsiteY3065"/>
                </a:cxn>
                <a:cxn ang="0">
                  <a:pos x="connsiteX3066" y="connsiteY3066"/>
                </a:cxn>
                <a:cxn ang="0">
                  <a:pos x="connsiteX3067" y="connsiteY3067"/>
                </a:cxn>
                <a:cxn ang="0">
                  <a:pos x="connsiteX3068" y="connsiteY3068"/>
                </a:cxn>
                <a:cxn ang="0">
                  <a:pos x="connsiteX3069" y="connsiteY3069"/>
                </a:cxn>
                <a:cxn ang="0">
                  <a:pos x="connsiteX3070" y="connsiteY3070"/>
                </a:cxn>
                <a:cxn ang="0">
                  <a:pos x="connsiteX3071" y="connsiteY3071"/>
                </a:cxn>
                <a:cxn ang="0">
                  <a:pos x="connsiteX3072" y="connsiteY3072"/>
                </a:cxn>
                <a:cxn ang="0">
                  <a:pos x="connsiteX3073" y="connsiteY3073"/>
                </a:cxn>
                <a:cxn ang="0">
                  <a:pos x="connsiteX3074" y="connsiteY3074"/>
                </a:cxn>
                <a:cxn ang="0">
                  <a:pos x="connsiteX3075" y="connsiteY3075"/>
                </a:cxn>
                <a:cxn ang="0">
                  <a:pos x="connsiteX3076" y="connsiteY3076"/>
                </a:cxn>
                <a:cxn ang="0">
                  <a:pos x="connsiteX3077" y="connsiteY3077"/>
                </a:cxn>
                <a:cxn ang="0">
                  <a:pos x="connsiteX3078" y="connsiteY3078"/>
                </a:cxn>
                <a:cxn ang="0">
                  <a:pos x="connsiteX3079" y="connsiteY3079"/>
                </a:cxn>
                <a:cxn ang="0">
                  <a:pos x="connsiteX3080" y="connsiteY3080"/>
                </a:cxn>
                <a:cxn ang="0">
                  <a:pos x="connsiteX3081" y="connsiteY3081"/>
                </a:cxn>
                <a:cxn ang="0">
                  <a:pos x="connsiteX3082" y="connsiteY3082"/>
                </a:cxn>
                <a:cxn ang="0">
                  <a:pos x="connsiteX3083" y="connsiteY3083"/>
                </a:cxn>
                <a:cxn ang="0">
                  <a:pos x="connsiteX3084" y="connsiteY3084"/>
                </a:cxn>
                <a:cxn ang="0">
                  <a:pos x="connsiteX3085" y="connsiteY3085"/>
                </a:cxn>
                <a:cxn ang="0">
                  <a:pos x="connsiteX3086" y="connsiteY3086"/>
                </a:cxn>
                <a:cxn ang="0">
                  <a:pos x="connsiteX3087" y="connsiteY3087"/>
                </a:cxn>
                <a:cxn ang="0">
                  <a:pos x="connsiteX3088" y="connsiteY3088"/>
                </a:cxn>
                <a:cxn ang="0">
                  <a:pos x="connsiteX3089" y="connsiteY3089"/>
                </a:cxn>
                <a:cxn ang="0">
                  <a:pos x="connsiteX3090" y="connsiteY3090"/>
                </a:cxn>
                <a:cxn ang="0">
                  <a:pos x="connsiteX3091" y="connsiteY3091"/>
                </a:cxn>
                <a:cxn ang="0">
                  <a:pos x="connsiteX3092" y="connsiteY3092"/>
                </a:cxn>
                <a:cxn ang="0">
                  <a:pos x="connsiteX3093" y="connsiteY3093"/>
                </a:cxn>
                <a:cxn ang="0">
                  <a:pos x="connsiteX3094" y="connsiteY3094"/>
                </a:cxn>
                <a:cxn ang="0">
                  <a:pos x="connsiteX3095" y="connsiteY3095"/>
                </a:cxn>
                <a:cxn ang="0">
                  <a:pos x="connsiteX3096" y="connsiteY3096"/>
                </a:cxn>
                <a:cxn ang="0">
                  <a:pos x="connsiteX3097" y="connsiteY3097"/>
                </a:cxn>
                <a:cxn ang="0">
                  <a:pos x="connsiteX3098" y="connsiteY3098"/>
                </a:cxn>
                <a:cxn ang="0">
                  <a:pos x="connsiteX3099" y="connsiteY3099"/>
                </a:cxn>
                <a:cxn ang="0">
                  <a:pos x="connsiteX3100" y="connsiteY3100"/>
                </a:cxn>
                <a:cxn ang="0">
                  <a:pos x="connsiteX3101" y="connsiteY3101"/>
                </a:cxn>
                <a:cxn ang="0">
                  <a:pos x="connsiteX3102" y="connsiteY3102"/>
                </a:cxn>
                <a:cxn ang="0">
                  <a:pos x="connsiteX3103" y="connsiteY3103"/>
                </a:cxn>
                <a:cxn ang="0">
                  <a:pos x="connsiteX3104" y="connsiteY3104"/>
                </a:cxn>
                <a:cxn ang="0">
                  <a:pos x="connsiteX3105" y="connsiteY3105"/>
                </a:cxn>
                <a:cxn ang="0">
                  <a:pos x="connsiteX3106" y="connsiteY3106"/>
                </a:cxn>
                <a:cxn ang="0">
                  <a:pos x="connsiteX3107" y="connsiteY3107"/>
                </a:cxn>
                <a:cxn ang="0">
                  <a:pos x="connsiteX3108" y="connsiteY3108"/>
                </a:cxn>
                <a:cxn ang="0">
                  <a:pos x="connsiteX3109" y="connsiteY3109"/>
                </a:cxn>
                <a:cxn ang="0">
                  <a:pos x="connsiteX3110" y="connsiteY3110"/>
                </a:cxn>
                <a:cxn ang="0">
                  <a:pos x="connsiteX3111" y="connsiteY3111"/>
                </a:cxn>
                <a:cxn ang="0">
                  <a:pos x="connsiteX3112" y="connsiteY3112"/>
                </a:cxn>
                <a:cxn ang="0">
                  <a:pos x="connsiteX3113" y="connsiteY3113"/>
                </a:cxn>
                <a:cxn ang="0">
                  <a:pos x="connsiteX3114" y="connsiteY3114"/>
                </a:cxn>
                <a:cxn ang="0">
                  <a:pos x="connsiteX3115" y="connsiteY3115"/>
                </a:cxn>
                <a:cxn ang="0">
                  <a:pos x="connsiteX3116" y="connsiteY3116"/>
                </a:cxn>
                <a:cxn ang="0">
                  <a:pos x="connsiteX3117" y="connsiteY3117"/>
                </a:cxn>
                <a:cxn ang="0">
                  <a:pos x="connsiteX3118" y="connsiteY3118"/>
                </a:cxn>
                <a:cxn ang="0">
                  <a:pos x="connsiteX3119" y="connsiteY3119"/>
                </a:cxn>
                <a:cxn ang="0">
                  <a:pos x="connsiteX3120" y="connsiteY3120"/>
                </a:cxn>
                <a:cxn ang="0">
                  <a:pos x="connsiteX3121" y="connsiteY3121"/>
                </a:cxn>
                <a:cxn ang="0">
                  <a:pos x="connsiteX3122" y="connsiteY3122"/>
                </a:cxn>
                <a:cxn ang="0">
                  <a:pos x="connsiteX3123" y="connsiteY3123"/>
                </a:cxn>
                <a:cxn ang="0">
                  <a:pos x="connsiteX3124" y="connsiteY3124"/>
                </a:cxn>
                <a:cxn ang="0">
                  <a:pos x="connsiteX3125" y="connsiteY3125"/>
                </a:cxn>
                <a:cxn ang="0">
                  <a:pos x="connsiteX3126" y="connsiteY3126"/>
                </a:cxn>
                <a:cxn ang="0">
                  <a:pos x="connsiteX3127" y="connsiteY3127"/>
                </a:cxn>
                <a:cxn ang="0">
                  <a:pos x="connsiteX3128" y="connsiteY3128"/>
                </a:cxn>
                <a:cxn ang="0">
                  <a:pos x="connsiteX3129" y="connsiteY3129"/>
                </a:cxn>
                <a:cxn ang="0">
                  <a:pos x="connsiteX3130" y="connsiteY3130"/>
                </a:cxn>
                <a:cxn ang="0">
                  <a:pos x="connsiteX3131" y="connsiteY3131"/>
                </a:cxn>
                <a:cxn ang="0">
                  <a:pos x="connsiteX3132" y="connsiteY3132"/>
                </a:cxn>
                <a:cxn ang="0">
                  <a:pos x="connsiteX3133" y="connsiteY3133"/>
                </a:cxn>
                <a:cxn ang="0">
                  <a:pos x="connsiteX3134" y="connsiteY3134"/>
                </a:cxn>
                <a:cxn ang="0">
                  <a:pos x="connsiteX3135" y="connsiteY3135"/>
                </a:cxn>
                <a:cxn ang="0">
                  <a:pos x="connsiteX3136" y="connsiteY3136"/>
                </a:cxn>
                <a:cxn ang="0">
                  <a:pos x="connsiteX3137" y="connsiteY3137"/>
                </a:cxn>
                <a:cxn ang="0">
                  <a:pos x="connsiteX3138" y="connsiteY3138"/>
                </a:cxn>
                <a:cxn ang="0">
                  <a:pos x="connsiteX3139" y="connsiteY3139"/>
                </a:cxn>
                <a:cxn ang="0">
                  <a:pos x="connsiteX3140" y="connsiteY3140"/>
                </a:cxn>
                <a:cxn ang="0">
                  <a:pos x="connsiteX3141" y="connsiteY3141"/>
                </a:cxn>
                <a:cxn ang="0">
                  <a:pos x="connsiteX3142" y="connsiteY3142"/>
                </a:cxn>
                <a:cxn ang="0">
                  <a:pos x="connsiteX3143" y="connsiteY3143"/>
                </a:cxn>
                <a:cxn ang="0">
                  <a:pos x="connsiteX3144" y="connsiteY3144"/>
                </a:cxn>
                <a:cxn ang="0">
                  <a:pos x="connsiteX3145" y="connsiteY3145"/>
                </a:cxn>
                <a:cxn ang="0">
                  <a:pos x="connsiteX3146" y="connsiteY3146"/>
                </a:cxn>
                <a:cxn ang="0">
                  <a:pos x="connsiteX3147" y="connsiteY3147"/>
                </a:cxn>
                <a:cxn ang="0">
                  <a:pos x="connsiteX3148" y="connsiteY3148"/>
                </a:cxn>
                <a:cxn ang="0">
                  <a:pos x="connsiteX3149" y="connsiteY3149"/>
                </a:cxn>
                <a:cxn ang="0">
                  <a:pos x="connsiteX3150" y="connsiteY3150"/>
                </a:cxn>
                <a:cxn ang="0">
                  <a:pos x="connsiteX3151" y="connsiteY3151"/>
                </a:cxn>
                <a:cxn ang="0">
                  <a:pos x="connsiteX3152" y="connsiteY3152"/>
                </a:cxn>
                <a:cxn ang="0">
                  <a:pos x="connsiteX3153" y="connsiteY3153"/>
                </a:cxn>
                <a:cxn ang="0">
                  <a:pos x="connsiteX3154" y="connsiteY3154"/>
                </a:cxn>
                <a:cxn ang="0">
                  <a:pos x="connsiteX3155" y="connsiteY3155"/>
                </a:cxn>
                <a:cxn ang="0">
                  <a:pos x="connsiteX3156" y="connsiteY3156"/>
                </a:cxn>
                <a:cxn ang="0">
                  <a:pos x="connsiteX3157" y="connsiteY3157"/>
                </a:cxn>
                <a:cxn ang="0">
                  <a:pos x="connsiteX3158" y="connsiteY3158"/>
                </a:cxn>
                <a:cxn ang="0">
                  <a:pos x="connsiteX3159" y="connsiteY3159"/>
                </a:cxn>
                <a:cxn ang="0">
                  <a:pos x="connsiteX3160" y="connsiteY3160"/>
                </a:cxn>
                <a:cxn ang="0">
                  <a:pos x="connsiteX3161" y="connsiteY3161"/>
                </a:cxn>
                <a:cxn ang="0">
                  <a:pos x="connsiteX3162" y="connsiteY3162"/>
                </a:cxn>
                <a:cxn ang="0">
                  <a:pos x="connsiteX3163" y="connsiteY3163"/>
                </a:cxn>
                <a:cxn ang="0">
                  <a:pos x="connsiteX3164" y="connsiteY3164"/>
                </a:cxn>
                <a:cxn ang="0">
                  <a:pos x="connsiteX3165" y="connsiteY3165"/>
                </a:cxn>
                <a:cxn ang="0">
                  <a:pos x="connsiteX3166" y="connsiteY3166"/>
                </a:cxn>
                <a:cxn ang="0">
                  <a:pos x="connsiteX3167" y="connsiteY3167"/>
                </a:cxn>
                <a:cxn ang="0">
                  <a:pos x="connsiteX3168" y="connsiteY3168"/>
                </a:cxn>
                <a:cxn ang="0">
                  <a:pos x="connsiteX3169" y="connsiteY3169"/>
                </a:cxn>
                <a:cxn ang="0">
                  <a:pos x="connsiteX3170" y="connsiteY3170"/>
                </a:cxn>
                <a:cxn ang="0">
                  <a:pos x="connsiteX3171" y="connsiteY3171"/>
                </a:cxn>
                <a:cxn ang="0">
                  <a:pos x="connsiteX3172" y="connsiteY3172"/>
                </a:cxn>
                <a:cxn ang="0">
                  <a:pos x="connsiteX3173" y="connsiteY3173"/>
                </a:cxn>
                <a:cxn ang="0">
                  <a:pos x="connsiteX3174" y="connsiteY3174"/>
                </a:cxn>
                <a:cxn ang="0">
                  <a:pos x="connsiteX3175" y="connsiteY3175"/>
                </a:cxn>
                <a:cxn ang="0">
                  <a:pos x="connsiteX3176" y="connsiteY3176"/>
                </a:cxn>
                <a:cxn ang="0">
                  <a:pos x="connsiteX3177" y="connsiteY3177"/>
                </a:cxn>
                <a:cxn ang="0">
                  <a:pos x="connsiteX3178" y="connsiteY3178"/>
                </a:cxn>
                <a:cxn ang="0">
                  <a:pos x="connsiteX3179" y="connsiteY3179"/>
                </a:cxn>
                <a:cxn ang="0">
                  <a:pos x="connsiteX3180" y="connsiteY3180"/>
                </a:cxn>
                <a:cxn ang="0">
                  <a:pos x="connsiteX3181" y="connsiteY3181"/>
                </a:cxn>
                <a:cxn ang="0">
                  <a:pos x="connsiteX3182" y="connsiteY3182"/>
                </a:cxn>
                <a:cxn ang="0">
                  <a:pos x="connsiteX3183" y="connsiteY3183"/>
                </a:cxn>
                <a:cxn ang="0">
                  <a:pos x="connsiteX3184" y="connsiteY3184"/>
                </a:cxn>
                <a:cxn ang="0">
                  <a:pos x="connsiteX3185" y="connsiteY3185"/>
                </a:cxn>
                <a:cxn ang="0">
                  <a:pos x="connsiteX3186" y="connsiteY3186"/>
                </a:cxn>
                <a:cxn ang="0">
                  <a:pos x="connsiteX3187" y="connsiteY3187"/>
                </a:cxn>
                <a:cxn ang="0">
                  <a:pos x="connsiteX3188" y="connsiteY3188"/>
                </a:cxn>
                <a:cxn ang="0">
                  <a:pos x="connsiteX3189" y="connsiteY3189"/>
                </a:cxn>
                <a:cxn ang="0">
                  <a:pos x="connsiteX3190" y="connsiteY3190"/>
                </a:cxn>
                <a:cxn ang="0">
                  <a:pos x="connsiteX3191" y="connsiteY3191"/>
                </a:cxn>
                <a:cxn ang="0">
                  <a:pos x="connsiteX3192" y="connsiteY3192"/>
                </a:cxn>
                <a:cxn ang="0">
                  <a:pos x="connsiteX3193" y="connsiteY3193"/>
                </a:cxn>
                <a:cxn ang="0">
                  <a:pos x="connsiteX3194" y="connsiteY3194"/>
                </a:cxn>
                <a:cxn ang="0">
                  <a:pos x="connsiteX3195" y="connsiteY3195"/>
                </a:cxn>
                <a:cxn ang="0">
                  <a:pos x="connsiteX3196" y="connsiteY3196"/>
                </a:cxn>
                <a:cxn ang="0">
                  <a:pos x="connsiteX3197" y="connsiteY3197"/>
                </a:cxn>
                <a:cxn ang="0">
                  <a:pos x="connsiteX3198" y="connsiteY3198"/>
                </a:cxn>
                <a:cxn ang="0">
                  <a:pos x="connsiteX3199" y="connsiteY3199"/>
                </a:cxn>
                <a:cxn ang="0">
                  <a:pos x="connsiteX3200" y="connsiteY3200"/>
                </a:cxn>
                <a:cxn ang="0">
                  <a:pos x="connsiteX3201" y="connsiteY3201"/>
                </a:cxn>
                <a:cxn ang="0">
                  <a:pos x="connsiteX3202" y="connsiteY3202"/>
                </a:cxn>
                <a:cxn ang="0">
                  <a:pos x="connsiteX3203" y="connsiteY3203"/>
                </a:cxn>
                <a:cxn ang="0">
                  <a:pos x="connsiteX3204" y="connsiteY3204"/>
                </a:cxn>
                <a:cxn ang="0">
                  <a:pos x="connsiteX3205" y="connsiteY3205"/>
                </a:cxn>
                <a:cxn ang="0">
                  <a:pos x="connsiteX3206" y="connsiteY3206"/>
                </a:cxn>
                <a:cxn ang="0">
                  <a:pos x="connsiteX3207" y="connsiteY3207"/>
                </a:cxn>
                <a:cxn ang="0">
                  <a:pos x="connsiteX3208" y="connsiteY3208"/>
                </a:cxn>
                <a:cxn ang="0">
                  <a:pos x="connsiteX3209" y="connsiteY3209"/>
                </a:cxn>
                <a:cxn ang="0">
                  <a:pos x="connsiteX3210" y="connsiteY3210"/>
                </a:cxn>
                <a:cxn ang="0">
                  <a:pos x="connsiteX3211" y="connsiteY3211"/>
                </a:cxn>
                <a:cxn ang="0">
                  <a:pos x="connsiteX3212" y="connsiteY3212"/>
                </a:cxn>
                <a:cxn ang="0">
                  <a:pos x="connsiteX3213" y="connsiteY3213"/>
                </a:cxn>
                <a:cxn ang="0">
                  <a:pos x="connsiteX3214" y="connsiteY3214"/>
                </a:cxn>
                <a:cxn ang="0">
                  <a:pos x="connsiteX3215" y="connsiteY3215"/>
                </a:cxn>
                <a:cxn ang="0">
                  <a:pos x="connsiteX3216" y="connsiteY3216"/>
                </a:cxn>
                <a:cxn ang="0">
                  <a:pos x="connsiteX3217" y="connsiteY3217"/>
                </a:cxn>
                <a:cxn ang="0">
                  <a:pos x="connsiteX3218" y="connsiteY3218"/>
                </a:cxn>
                <a:cxn ang="0">
                  <a:pos x="connsiteX3219" y="connsiteY3219"/>
                </a:cxn>
                <a:cxn ang="0">
                  <a:pos x="connsiteX3220" y="connsiteY3220"/>
                </a:cxn>
                <a:cxn ang="0">
                  <a:pos x="connsiteX3221" y="connsiteY3221"/>
                </a:cxn>
                <a:cxn ang="0">
                  <a:pos x="connsiteX3222" y="connsiteY3222"/>
                </a:cxn>
                <a:cxn ang="0">
                  <a:pos x="connsiteX3223" y="connsiteY3223"/>
                </a:cxn>
                <a:cxn ang="0">
                  <a:pos x="connsiteX3224" y="connsiteY3224"/>
                </a:cxn>
                <a:cxn ang="0">
                  <a:pos x="connsiteX3225" y="connsiteY3225"/>
                </a:cxn>
                <a:cxn ang="0">
                  <a:pos x="connsiteX3226" y="connsiteY3226"/>
                </a:cxn>
                <a:cxn ang="0">
                  <a:pos x="connsiteX3227" y="connsiteY3227"/>
                </a:cxn>
                <a:cxn ang="0">
                  <a:pos x="connsiteX3228" y="connsiteY3228"/>
                </a:cxn>
                <a:cxn ang="0">
                  <a:pos x="connsiteX3229" y="connsiteY3229"/>
                </a:cxn>
                <a:cxn ang="0">
                  <a:pos x="connsiteX3230" y="connsiteY3230"/>
                </a:cxn>
                <a:cxn ang="0">
                  <a:pos x="connsiteX3231" y="connsiteY3231"/>
                </a:cxn>
                <a:cxn ang="0">
                  <a:pos x="connsiteX3232" y="connsiteY3232"/>
                </a:cxn>
                <a:cxn ang="0">
                  <a:pos x="connsiteX3233" y="connsiteY3233"/>
                </a:cxn>
                <a:cxn ang="0">
                  <a:pos x="connsiteX3234" y="connsiteY3234"/>
                </a:cxn>
                <a:cxn ang="0">
                  <a:pos x="connsiteX3235" y="connsiteY3235"/>
                </a:cxn>
                <a:cxn ang="0">
                  <a:pos x="connsiteX3236" y="connsiteY3236"/>
                </a:cxn>
                <a:cxn ang="0">
                  <a:pos x="connsiteX3237" y="connsiteY3237"/>
                </a:cxn>
                <a:cxn ang="0">
                  <a:pos x="connsiteX3238" y="connsiteY3238"/>
                </a:cxn>
                <a:cxn ang="0">
                  <a:pos x="connsiteX3239" y="connsiteY3239"/>
                </a:cxn>
                <a:cxn ang="0">
                  <a:pos x="connsiteX3240" y="connsiteY3240"/>
                </a:cxn>
                <a:cxn ang="0">
                  <a:pos x="connsiteX3241" y="connsiteY3241"/>
                </a:cxn>
                <a:cxn ang="0">
                  <a:pos x="connsiteX3242" y="connsiteY3242"/>
                </a:cxn>
                <a:cxn ang="0">
                  <a:pos x="connsiteX3243" y="connsiteY3243"/>
                </a:cxn>
                <a:cxn ang="0">
                  <a:pos x="connsiteX3244" y="connsiteY3244"/>
                </a:cxn>
                <a:cxn ang="0">
                  <a:pos x="connsiteX3245" y="connsiteY3245"/>
                </a:cxn>
                <a:cxn ang="0">
                  <a:pos x="connsiteX3246" y="connsiteY3246"/>
                </a:cxn>
                <a:cxn ang="0">
                  <a:pos x="connsiteX3247" y="connsiteY3247"/>
                </a:cxn>
                <a:cxn ang="0">
                  <a:pos x="connsiteX3248" y="connsiteY3248"/>
                </a:cxn>
                <a:cxn ang="0">
                  <a:pos x="connsiteX3249" y="connsiteY3249"/>
                </a:cxn>
                <a:cxn ang="0">
                  <a:pos x="connsiteX3250" y="connsiteY3250"/>
                </a:cxn>
                <a:cxn ang="0">
                  <a:pos x="connsiteX3251" y="connsiteY3251"/>
                </a:cxn>
                <a:cxn ang="0">
                  <a:pos x="connsiteX3252" y="connsiteY3252"/>
                </a:cxn>
                <a:cxn ang="0">
                  <a:pos x="connsiteX3253" y="connsiteY3253"/>
                </a:cxn>
                <a:cxn ang="0">
                  <a:pos x="connsiteX3254" y="connsiteY3254"/>
                </a:cxn>
                <a:cxn ang="0">
                  <a:pos x="connsiteX3255" y="connsiteY3255"/>
                </a:cxn>
                <a:cxn ang="0">
                  <a:pos x="connsiteX3256" y="connsiteY3256"/>
                </a:cxn>
                <a:cxn ang="0">
                  <a:pos x="connsiteX3257" y="connsiteY3257"/>
                </a:cxn>
                <a:cxn ang="0">
                  <a:pos x="connsiteX3258" y="connsiteY3258"/>
                </a:cxn>
                <a:cxn ang="0">
                  <a:pos x="connsiteX3259" y="connsiteY3259"/>
                </a:cxn>
                <a:cxn ang="0">
                  <a:pos x="connsiteX3260" y="connsiteY3260"/>
                </a:cxn>
                <a:cxn ang="0">
                  <a:pos x="connsiteX3261" y="connsiteY3261"/>
                </a:cxn>
                <a:cxn ang="0">
                  <a:pos x="connsiteX3262" y="connsiteY3262"/>
                </a:cxn>
                <a:cxn ang="0">
                  <a:pos x="connsiteX3263" y="connsiteY3263"/>
                </a:cxn>
                <a:cxn ang="0">
                  <a:pos x="connsiteX3264" y="connsiteY3264"/>
                </a:cxn>
                <a:cxn ang="0">
                  <a:pos x="connsiteX3265" y="connsiteY3265"/>
                </a:cxn>
                <a:cxn ang="0">
                  <a:pos x="connsiteX3266" y="connsiteY3266"/>
                </a:cxn>
                <a:cxn ang="0">
                  <a:pos x="connsiteX3267" y="connsiteY3267"/>
                </a:cxn>
                <a:cxn ang="0">
                  <a:pos x="connsiteX3268" y="connsiteY3268"/>
                </a:cxn>
                <a:cxn ang="0">
                  <a:pos x="connsiteX3269" y="connsiteY3269"/>
                </a:cxn>
                <a:cxn ang="0">
                  <a:pos x="connsiteX3270" y="connsiteY3270"/>
                </a:cxn>
                <a:cxn ang="0">
                  <a:pos x="connsiteX3271" y="connsiteY3271"/>
                </a:cxn>
                <a:cxn ang="0">
                  <a:pos x="connsiteX3272" y="connsiteY3272"/>
                </a:cxn>
                <a:cxn ang="0">
                  <a:pos x="connsiteX3273" y="connsiteY3273"/>
                </a:cxn>
                <a:cxn ang="0">
                  <a:pos x="connsiteX3274" y="connsiteY3274"/>
                </a:cxn>
                <a:cxn ang="0">
                  <a:pos x="connsiteX3275" y="connsiteY3275"/>
                </a:cxn>
                <a:cxn ang="0">
                  <a:pos x="connsiteX3276" y="connsiteY3276"/>
                </a:cxn>
                <a:cxn ang="0">
                  <a:pos x="connsiteX3277" y="connsiteY3277"/>
                </a:cxn>
                <a:cxn ang="0">
                  <a:pos x="connsiteX3278" y="connsiteY3278"/>
                </a:cxn>
                <a:cxn ang="0">
                  <a:pos x="connsiteX3279" y="connsiteY3279"/>
                </a:cxn>
                <a:cxn ang="0">
                  <a:pos x="connsiteX3280" y="connsiteY3280"/>
                </a:cxn>
                <a:cxn ang="0">
                  <a:pos x="connsiteX3281" y="connsiteY3281"/>
                </a:cxn>
                <a:cxn ang="0">
                  <a:pos x="connsiteX3282" y="connsiteY3282"/>
                </a:cxn>
                <a:cxn ang="0">
                  <a:pos x="connsiteX3283" y="connsiteY3283"/>
                </a:cxn>
                <a:cxn ang="0">
                  <a:pos x="connsiteX3284" y="connsiteY3284"/>
                </a:cxn>
                <a:cxn ang="0">
                  <a:pos x="connsiteX3285" y="connsiteY3285"/>
                </a:cxn>
                <a:cxn ang="0">
                  <a:pos x="connsiteX3286" y="connsiteY3286"/>
                </a:cxn>
                <a:cxn ang="0">
                  <a:pos x="connsiteX3287" y="connsiteY3287"/>
                </a:cxn>
                <a:cxn ang="0">
                  <a:pos x="connsiteX3288" y="connsiteY3288"/>
                </a:cxn>
                <a:cxn ang="0">
                  <a:pos x="connsiteX3289" y="connsiteY3289"/>
                </a:cxn>
                <a:cxn ang="0">
                  <a:pos x="connsiteX3290" y="connsiteY3290"/>
                </a:cxn>
                <a:cxn ang="0">
                  <a:pos x="connsiteX3291" y="connsiteY3291"/>
                </a:cxn>
                <a:cxn ang="0">
                  <a:pos x="connsiteX3292" y="connsiteY3292"/>
                </a:cxn>
                <a:cxn ang="0">
                  <a:pos x="connsiteX3293" y="connsiteY3293"/>
                </a:cxn>
                <a:cxn ang="0">
                  <a:pos x="connsiteX3294" y="connsiteY3294"/>
                </a:cxn>
                <a:cxn ang="0">
                  <a:pos x="connsiteX3295" y="connsiteY3295"/>
                </a:cxn>
                <a:cxn ang="0">
                  <a:pos x="connsiteX3296" y="connsiteY3296"/>
                </a:cxn>
                <a:cxn ang="0">
                  <a:pos x="connsiteX3297" y="connsiteY3297"/>
                </a:cxn>
                <a:cxn ang="0">
                  <a:pos x="connsiteX3298" y="connsiteY3298"/>
                </a:cxn>
                <a:cxn ang="0">
                  <a:pos x="connsiteX3299" y="connsiteY3299"/>
                </a:cxn>
                <a:cxn ang="0">
                  <a:pos x="connsiteX3300" y="connsiteY3300"/>
                </a:cxn>
                <a:cxn ang="0">
                  <a:pos x="connsiteX3301" y="connsiteY3301"/>
                </a:cxn>
                <a:cxn ang="0">
                  <a:pos x="connsiteX3302" y="connsiteY3302"/>
                </a:cxn>
                <a:cxn ang="0">
                  <a:pos x="connsiteX3303" y="connsiteY3303"/>
                </a:cxn>
                <a:cxn ang="0">
                  <a:pos x="connsiteX3304" y="connsiteY3304"/>
                </a:cxn>
                <a:cxn ang="0">
                  <a:pos x="connsiteX3305" y="connsiteY3305"/>
                </a:cxn>
                <a:cxn ang="0">
                  <a:pos x="connsiteX3306" y="connsiteY3306"/>
                </a:cxn>
                <a:cxn ang="0">
                  <a:pos x="connsiteX3307" y="connsiteY3307"/>
                </a:cxn>
                <a:cxn ang="0">
                  <a:pos x="connsiteX3308" y="connsiteY3308"/>
                </a:cxn>
                <a:cxn ang="0">
                  <a:pos x="connsiteX3309" y="connsiteY3309"/>
                </a:cxn>
                <a:cxn ang="0">
                  <a:pos x="connsiteX3310" y="connsiteY3310"/>
                </a:cxn>
                <a:cxn ang="0">
                  <a:pos x="connsiteX3311" y="connsiteY3311"/>
                </a:cxn>
                <a:cxn ang="0">
                  <a:pos x="connsiteX3312" y="connsiteY3312"/>
                </a:cxn>
                <a:cxn ang="0">
                  <a:pos x="connsiteX3313" y="connsiteY3313"/>
                </a:cxn>
                <a:cxn ang="0">
                  <a:pos x="connsiteX3314" y="connsiteY3314"/>
                </a:cxn>
                <a:cxn ang="0">
                  <a:pos x="connsiteX3315" y="connsiteY3315"/>
                </a:cxn>
                <a:cxn ang="0">
                  <a:pos x="connsiteX3316" y="connsiteY3316"/>
                </a:cxn>
                <a:cxn ang="0">
                  <a:pos x="connsiteX3317" y="connsiteY3317"/>
                </a:cxn>
                <a:cxn ang="0">
                  <a:pos x="connsiteX3318" y="connsiteY3318"/>
                </a:cxn>
                <a:cxn ang="0">
                  <a:pos x="connsiteX3319" y="connsiteY3319"/>
                </a:cxn>
                <a:cxn ang="0">
                  <a:pos x="connsiteX3320" y="connsiteY3320"/>
                </a:cxn>
                <a:cxn ang="0">
                  <a:pos x="connsiteX3321" y="connsiteY3321"/>
                </a:cxn>
                <a:cxn ang="0">
                  <a:pos x="connsiteX3322" y="connsiteY3322"/>
                </a:cxn>
                <a:cxn ang="0">
                  <a:pos x="connsiteX3323" y="connsiteY3323"/>
                </a:cxn>
                <a:cxn ang="0">
                  <a:pos x="connsiteX3324" y="connsiteY3324"/>
                </a:cxn>
                <a:cxn ang="0">
                  <a:pos x="connsiteX3325" y="connsiteY3325"/>
                </a:cxn>
                <a:cxn ang="0">
                  <a:pos x="connsiteX3326" y="connsiteY3326"/>
                </a:cxn>
                <a:cxn ang="0">
                  <a:pos x="connsiteX3327" y="connsiteY3327"/>
                </a:cxn>
                <a:cxn ang="0">
                  <a:pos x="connsiteX3328" y="connsiteY3328"/>
                </a:cxn>
                <a:cxn ang="0">
                  <a:pos x="connsiteX3329" y="connsiteY3329"/>
                </a:cxn>
                <a:cxn ang="0">
                  <a:pos x="connsiteX3330" y="connsiteY3330"/>
                </a:cxn>
                <a:cxn ang="0">
                  <a:pos x="connsiteX3331" y="connsiteY3331"/>
                </a:cxn>
                <a:cxn ang="0">
                  <a:pos x="connsiteX3332" y="connsiteY3332"/>
                </a:cxn>
                <a:cxn ang="0">
                  <a:pos x="connsiteX3333" y="connsiteY3333"/>
                </a:cxn>
                <a:cxn ang="0">
                  <a:pos x="connsiteX3334" y="connsiteY3334"/>
                </a:cxn>
                <a:cxn ang="0">
                  <a:pos x="connsiteX3335" y="connsiteY3335"/>
                </a:cxn>
                <a:cxn ang="0">
                  <a:pos x="connsiteX3336" y="connsiteY3336"/>
                </a:cxn>
                <a:cxn ang="0">
                  <a:pos x="connsiteX3337" y="connsiteY3337"/>
                </a:cxn>
                <a:cxn ang="0">
                  <a:pos x="connsiteX3338" y="connsiteY3338"/>
                </a:cxn>
                <a:cxn ang="0">
                  <a:pos x="connsiteX3339" y="connsiteY3339"/>
                </a:cxn>
                <a:cxn ang="0">
                  <a:pos x="connsiteX3340" y="connsiteY3340"/>
                </a:cxn>
                <a:cxn ang="0">
                  <a:pos x="connsiteX3341" y="connsiteY3341"/>
                </a:cxn>
                <a:cxn ang="0">
                  <a:pos x="connsiteX3342" y="connsiteY3342"/>
                </a:cxn>
                <a:cxn ang="0">
                  <a:pos x="connsiteX3343" y="connsiteY3343"/>
                </a:cxn>
                <a:cxn ang="0">
                  <a:pos x="connsiteX3344" y="connsiteY3344"/>
                </a:cxn>
                <a:cxn ang="0">
                  <a:pos x="connsiteX3345" y="connsiteY3345"/>
                </a:cxn>
                <a:cxn ang="0">
                  <a:pos x="connsiteX3346" y="connsiteY3346"/>
                </a:cxn>
                <a:cxn ang="0">
                  <a:pos x="connsiteX3347" y="connsiteY3347"/>
                </a:cxn>
                <a:cxn ang="0">
                  <a:pos x="connsiteX3348" y="connsiteY3348"/>
                </a:cxn>
                <a:cxn ang="0">
                  <a:pos x="connsiteX3349" y="connsiteY3349"/>
                </a:cxn>
                <a:cxn ang="0">
                  <a:pos x="connsiteX3350" y="connsiteY3350"/>
                </a:cxn>
                <a:cxn ang="0">
                  <a:pos x="connsiteX3351" y="connsiteY3351"/>
                </a:cxn>
                <a:cxn ang="0">
                  <a:pos x="connsiteX3352" y="connsiteY3352"/>
                </a:cxn>
                <a:cxn ang="0">
                  <a:pos x="connsiteX3353" y="connsiteY3353"/>
                </a:cxn>
                <a:cxn ang="0">
                  <a:pos x="connsiteX3354" y="connsiteY3354"/>
                </a:cxn>
                <a:cxn ang="0">
                  <a:pos x="connsiteX3355" y="connsiteY3355"/>
                </a:cxn>
                <a:cxn ang="0">
                  <a:pos x="connsiteX3356" y="connsiteY3356"/>
                </a:cxn>
                <a:cxn ang="0">
                  <a:pos x="connsiteX3357" y="connsiteY3357"/>
                </a:cxn>
                <a:cxn ang="0">
                  <a:pos x="connsiteX3358" y="connsiteY3358"/>
                </a:cxn>
                <a:cxn ang="0">
                  <a:pos x="connsiteX3359" y="connsiteY3359"/>
                </a:cxn>
                <a:cxn ang="0">
                  <a:pos x="connsiteX3360" y="connsiteY3360"/>
                </a:cxn>
                <a:cxn ang="0">
                  <a:pos x="connsiteX3361" y="connsiteY3361"/>
                </a:cxn>
                <a:cxn ang="0">
                  <a:pos x="connsiteX3362" y="connsiteY3362"/>
                </a:cxn>
                <a:cxn ang="0">
                  <a:pos x="connsiteX3363" y="connsiteY3363"/>
                </a:cxn>
                <a:cxn ang="0">
                  <a:pos x="connsiteX3364" y="connsiteY3364"/>
                </a:cxn>
                <a:cxn ang="0">
                  <a:pos x="connsiteX3365" y="connsiteY3365"/>
                </a:cxn>
                <a:cxn ang="0">
                  <a:pos x="connsiteX3366" y="connsiteY3366"/>
                </a:cxn>
                <a:cxn ang="0">
                  <a:pos x="connsiteX3367" y="connsiteY3367"/>
                </a:cxn>
                <a:cxn ang="0">
                  <a:pos x="connsiteX3368" y="connsiteY3368"/>
                </a:cxn>
                <a:cxn ang="0">
                  <a:pos x="connsiteX3369" y="connsiteY3369"/>
                </a:cxn>
                <a:cxn ang="0">
                  <a:pos x="connsiteX3370" y="connsiteY3370"/>
                </a:cxn>
                <a:cxn ang="0">
                  <a:pos x="connsiteX3371" y="connsiteY3371"/>
                </a:cxn>
                <a:cxn ang="0">
                  <a:pos x="connsiteX3372" y="connsiteY3372"/>
                </a:cxn>
                <a:cxn ang="0">
                  <a:pos x="connsiteX3373" y="connsiteY3373"/>
                </a:cxn>
                <a:cxn ang="0">
                  <a:pos x="connsiteX3374" y="connsiteY3374"/>
                </a:cxn>
                <a:cxn ang="0">
                  <a:pos x="connsiteX3375" y="connsiteY3375"/>
                </a:cxn>
                <a:cxn ang="0">
                  <a:pos x="connsiteX3376" y="connsiteY3376"/>
                </a:cxn>
                <a:cxn ang="0">
                  <a:pos x="connsiteX3377" y="connsiteY3377"/>
                </a:cxn>
                <a:cxn ang="0">
                  <a:pos x="connsiteX3378" y="connsiteY3378"/>
                </a:cxn>
                <a:cxn ang="0">
                  <a:pos x="connsiteX3379" y="connsiteY3379"/>
                </a:cxn>
                <a:cxn ang="0">
                  <a:pos x="connsiteX3380" y="connsiteY3380"/>
                </a:cxn>
                <a:cxn ang="0">
                  <a:pos x="connsiteX3381" y="connsiteY3381"/>
                </a:cxn>
                <a:cxn ang="0">
                  <a:pos x="connsiteX3382" y="connsiteY3382"/>
                </a:cxn>
                <a:cxn ang="0">
                  <a:pos x="connsiteX3383" y="connsiteY3383"/>
                </a:cxn>
                <a:cxn ang="0">
                  <a:pos x="connsiteX3384" y="connsiteY3384"/>
                </a:cxn>
                <a:cxn ang="0">
                  <a:pos x="connsiteX3385" y="connsiteY3385"/>
                </a:cxn>
                <a:cxn ang="0">
                  <a:pos x="connsiteX3386" y="connsiteY3386"/>
                </a:cxn>
                <a:cxn ang="0">
                  <a:pos x="connsiteX3387" y="connsiteY3387"/>
                </a:cxn>
                <a:cxn ang="0">
                  <a:pos x="connsiteX3388" y="connsiteY3388"/>
                </a:cxn>
                <a:cxn ang="0">
                  <a:pos x="connsiteX3389" y="connsiteY3389"/>
                </a:cxn>
                <a:cxn ang="0">
                  <a:pos x="connsiteX3390" y="connsiteY3390"/>
                </a:cxn>
                <a:cxn ang="0">
                  <a:pos x="connsiteX3391" y="connsiteY3391"/>
                </a:cxn>
                <a:cxn ang="0">
                  <a:pos x="connsiteX3392" y="connsiteY3392"/>
                </a:cxn>
                <a:cxn ang="0">
                  <a:pos x="connsiteX3393" y="connsiteY3393"/>
                </a:cxn>
                <a:cxn ang="0">
                  <a:pos x="connsiteX3394" y="connsiteY3394"/>
                </a:cxn>
                <a:cxn ang="0">
                  <a:pos x="connsiteX3395" y="connsiteY3395"/>
                </a:cxn>
                <a:cxn ang="0">
                  <a:pos x="connsiteX3396" y="connsiteY3396"/>
                </a:cxn>
                <a:cxn ang="0">
                  <a:pos x="connsiteX3397" y="connsiteY3397"/>
                </a:cxn>
                <a:cxn ang="0">
                  <a:pos x="connsiteX3398" y="connsiteY3398"/>
                </a:cxn>
                <a:cxn ang="0">
                  <a:pos x="connsiteX3399" y="connsiteY3399"/>
                </a:cxn>
                <a:cxn ang="0">
                  <a:pos x="connsiteX3400" y="connsiteY3400"/>
                </a:cxn>
                <a:cxn ang="0">
                  <a:pos x="connsiteX3401" y="connsiteY3401"/>
                </a:cxn>
                <a:cxn ang="0">
                  <a:pos x="connsiteX3402" y="connsiteY3402"/>
                </a:cxn>
                <a:cxn ang="0">
                  <a:pos x="connsiteX3403" y="connsiteY3403"/>
                </a:cxn>
                <a:cxn ang="0">
                  <a:pos x="connsiteX3404" y="connsiteY3404"/>
                </a:cxn>
                <a:cxn ang="0">
                  <a:pos x="connsiteX3405" y="connsiteY3405"/>
                </a:cxn>
                <a:cxn ang="0">
                  <a:pos x="connsiteX3406" y="connsiteY3406"/>
                </a:cxn>
                <a:cxn ang="0">
                  <a:pos x="connsiteX3407" y="connsiteY3407"/>
                </a:cxn>
                <a:cxn ang="0">
                  <a:pos x="connsiteX3408" y="connsiteY3408"/>
                </a:cxn>
                <a:cxn ang="0">
                  <a:pos x="connsiteX3409" y="connsiteY3409"/>
                </a:cxn>
                <a:cxn ang="0">
                  <a:pos x="connsiteX3410" y="connsiteY3410"/>
                </a:cxn>
                <a:cxn ang="0">
                  <a:pos x="connsiteX3411" y="connsiteY3411"/>
                </a:cxn>
                <a:cxn ang="0">
                  <a:pos x="connsiteX3412" y="connsiteY3412"/>
                </a:cxn>
                <a:cxn ang="0">
                  <a:pos x="connsiteX3413" y="connsiteY3413"/>
                </a:cxn>
                <a:cxn ang="0">
                  <a:pos x="connsiteX3414" y="connsiteY3414"/>
                </a:cxn>
                <a:cxn ang="0">
                  <a:pos x="connsiteX3415" y="connsiteY3415"/>
                </a:cxn>
                <a:cxn ang="0">
                  <a:pos x="connsiteX3416" y="connsiteY3416"/>
                </a:cxn>
                <a:cxn ang="0">
                  <a:pos x="connsiteX3417" y="connsiteY3417"/>
                </a:cxn>
                <a:cxn ang="0">
                  <a:pos x="connsiteX3418" y="connsiteY3418"/>
                </a:cxn>
                <a:cxn ang="0">
                  <a:pos x="connsiteX3419" y="connsiteY3419"/>
                </a:cxn>
                <a:cxn ang="0">
                  <a:pos x="connsiteX3420" y="connsiteY3420"/>
                </a:cxn>
                <a:cxn ang="0">
                  <a:pos x="connsiteX3421" y="connsiteY3421"/>
                </a:cxn>
                <a:cxn ang="0">
                  <a:pos x="connsiteX3422" y="connsiteY3422"/>
                </a:cxn>
                <a:cxn ang="0">
                  <a:pos x="connsiteX3423" y="connsiteY3423"/>
                </a:cxn>
                <a:cxn ang="0">
                  <a:pos x="connsiteX3424" y="connsiteY3424"/>
                </a:cxn>
                <a:cxn ang="0">
                  <a:pos x="connsiteX3425" y="connsiteY3425"/>
                </a:cxn>
                <a:cxn ang="0">
                  <a:pos x="connsiteX3426" y="connsiteY3426"/>
                </a:cxn>
                <a:cxn ang="0">
                  <a:pos x="connsiteX3427" y="connsiteY3427"/>
                </a:cxn>
                <a:cxn ang="0">
                  <a:pos x="connsiteX3428" y="connsiteY3428"/>
                </a:cxn>
                <a:cxn ang="0">
                  <a:pos x="connsiteX3429" y="connsiteY3429"/>
                </a:cxn>
                <a:cxn ang="0">
                  <a:pos x="connsiteX3430" y="connsiteY3430"/>
                </a:cxn>
                <a:cxn ang="0">
                  <a:pos x="connsiteX3431" y="connsiteY3431"/>
                </a:cxn>
                <a:cxn ang="0">
                  <a:pos x="connsiteX3432" y="connsiteY3432"/>
                </a:cxn>
                <a:cxn ang="0">
                  <a:pos x="connsiteX3433" y="connsiteY3433"/>
                </a:cxn>
                <a:cxn ang="0">
                  <a:pos x="connsiteX3434" y="connsiteY3434"/>
                </a:cxn>
                <a:cxn ang="0">
                  <a:pos x="connsiteX3435" y="connsiteY3435"/>
                </a:cxn>
                <a:cxn ang="0">
                  <a:pos x="connsiteX3436" y="connsiteY3436"/>
                </a:cxn>
                <a:cxn ang="0">
                  <a:pos x="connsiteX3437" y="connsiteY3437"/>
                </a:cxn>
                <a:cxn ang="0">
                  <a:pos x="connsiteX3438" y="connsiteY3438"/>
                </a:cxn>
                <a:cxn ang="0">
                  <a:pos x="connsiteX3439" y="connsiteY3439"/>
                </a:cxn>
                <a:cxn ang="0">
                  <a:pos x="connsiteX3440" y="connsiteY3440"/>
                </a:cxn>
                <a:cxn ang="0">
                  <a:pos x="connsiteX3441" y="connsiteY3441"/>
                </a:cxn>
                <a:cxn ang="0">
                  <a:pos x="connsiteX3442" y="connsiteY3442"/>
                </a:cxn>
                <a:cxn ang="0">
                  <a:pos x="connsiteX3443" y="connsiteY3443"/>
                </a:cxn>
                <a:cxn ang="0">
                  <a:pos x="connsiteX3444" y="connsiteY3444"/>
                </a:cxn>
                <a:cxn ang="0">
                  <a:pos x="connsiteX3445" y="connsiteY3445"/>
                </a:cxn>
                <a:cxn ang="0">
                  <a:pos x="connsiteX3446" y="connsiteY3446"/>
                </a:cxn>
                <a:cxn ang="0">
                  <a:pos x="connsiteX3447" y="connsiteY3447"/>
                </a:cxn>
                <a:cxn ang="0">
                  <a:pos x="connsiteX3448" y="connsiteY3448"/>
                </a:cxn>
                <a:cxn ang="0">
                  <a:pos x="connsiteX3449" y="connsiteY3449"/>
                </a:cxn>
                <a:cxn ang="0">
                  <a:pos x="connsiteX3450" y="connsiteY3450"/>
                </a:cxn>
                <a:cxn ang="0">
                  <a:pos x="connsiteX3451" y="connsiteY3451"/>
                </a:cxn>
                <a:cxn ang="0">
                  <a:pos x="connsiteX3452" y="connsiteY3452"/>
                </a:cxn>
                <a:cxn ang="0">
                  <a:pos x="connsiteX3453" y="connsiteY3453"/>
                </a:cxn>
                <a:cxn ang="0">
                  <a:pos x="connsiteX3454" y="connsiteY3454"/>
                </a:cxn>
                <a:cxn ang="0">
                  <a:pos x="connsiteX3455" y="connsiteY3455"/>
                </a:cxn>
                <a:cxn ang="0">
                  <a:pos x="connsiteX3456" y="connsiteY3456"/>
                </a:cxn>
                <a:cxn ang="0">
                  <a:pos x="connsiteX3457" y="connsiteY3457"/>
                </a:cxn>
                <a:cxn ang="0">
                  <a:pos x="connsiteX3458" y="connsiteY3458"/>
                </a:cxn>
                <a:cxn ang="0">
                  <a:pos x="connsiteX3459" y="connsiteY3459"/>
                </a:cxn>
                <a:cxn ang="0">
                  <a:pos x="connsiteX3460" y="connsiteY3460"/>
                </a:cxn>
                <a:cxn ang="0">
                  <a:pos x="connsiteX3461" y="connsiteY3461"/>
                </a:cxn>
                <a:cxn ang="0">
                  <a:pos x="connsiteX3462" y="connsiteY3462"/>
                </a:cxn>
                <a:cxn ang="0">
                  <a:pos x="connsiteX3463" y="connsiteY3463"/>
                </a:cxn>
                <a:cxn ang="0">
                  <a:pos x="connsiteX3464" y="connsiteY3464"/>
                </a:cxn>
                <a:cxn ang="0">
                  <a:pos x="connsiteX3465" y="connsiteY3465"/>
                </a:cxn>
                <a:cxn ang="0">
                  <a:pos x="connsiteX3466" y="connsiteY3466"/>
                </a:cxn>
                <a:cxn ang="0">
                  <a:pos x="connsiteX3467" y="connsiteY3467"/>
                </a:cxn>
                <a:cxn ang="0">
                  <a:pos x="connsiteX3468" y="connsiteY3468"/>
                </a:cxn>
                <a:cxn ang="0">
                  <a:pos x="connsiteX3469" y="connsiteY3469"/>
                </a:cxn>
                <a:cxn ang="0">
                  <a:pos x="connsiteX3470" y="connsiteY3470"/>
                </a:cxn>
                <a:cxn ang="0">
                  <a:pos x="connsiteX3471" y="connsiteY3471"/>
                </a:cxn>
                <a:cxn ang="0">
                  <a:pos x="connsiteX3472" y="connsiteY3472"/>
                </a:cxn>
                <a:cxn ang="0">
                  <a:pos x="connsiteX3473" y="connsiteY3473"/>
                </a:cxn>
                <a:cxn ang="0">
                  <a:pos x="connsiteX3474" y="connsiteY3474"/>
                </a:cxn>
                <a:cxn ang="0">
                  <a:pos x="connsiteX3475" y="connsiteY3475"/>
                </a:cxn>
                <a:cxn ang="0">
                  <a:pos x="connsiteX3476" y="connsiteY3476"/>
                </a:cxn>
                <a:cxn ang="0">
                  <a:pos x="connsiteX3477" y="connsiteY3477"/>
                </a:cxn>
                <a:cxn ang="0">
                  <a:pos x="connsiteX3478" y="connsiteY3478"/>
                </a:cxn>
                <a:cxn ang="0">
                  <a:pos x="connsiteX3479" y="connsiteY3479"/>
                </a:cxn>
                <a:cxn ang="0">
                  <a:pos x="connsiteX3480" y="connsiteY3480"/>
                </a:cxn>
                <a:cxn ang="0">
                  <a:pos x="connsiteX3481" y="connsiteY3481"/>
                </a:cxn>
                <a:cxn ang="0">
                  <a:pos x="connsiteX3482" y="connsiteY3482"/>
                </a:cxn>
                <a:cxn ang="0">
                  <a:pos x="connsiteX3483" y="connsiteY3483"/>
                </a:cxn>
                <a:cxn ang="0">
                  <a:pos x="connsiteX3484" y="connsiteY3484"/>
                </a:cxn>
                <a:cxn ang="0">
                  <a:pos x="connsiteX3485" y="connsiteY3485"/>
                </a:cxn>
                <a:cxn ang="0">
                  <a:pos x="connsiteX3486" y="connsiteY3486"/>
                </a:cxn>
                <a:cxn ang="0">
                  <a:pos x="connsiteX3487" y="connsiteY3487"/>
                </a:cxn>
                <a:cxn ang="0">
                  <a:pos x="connsiteX3488" y="connsiteY3488"/>
                </a:cxn>
                <a:cxn ang="0">
                  <a:pos x="connsiteX3489" y="connsiteY3489"/>
                </a:cxn>
                <a:cxn ang="0">
                  <a:pos x="connsiteX3490" y="connsiteY3490"/>
                </a:cxn>
                <a:cxn ang="0">
                  <a:pos x="connsiteX3491" y="connsiteY3491"/>
                </a:cxn>
                <a:cxn ang="0">
                  <a:pos x="connsiteX3492" y="connsiteY3492"/>
                </a:cxn>
                <a:cxn ang="0">
                  <a:pos x="connsiteX3493" y="connsiteY3493"/>
                </a:cxn>
                <a:cxn ang="0">
                  <a:pos x="connsiteX3494" y="connsiteY3494"/>
                </a:cxn>
                <a:cxn ang="0">
                  <a:pos x="connsiteX3495" y="connsiteY3495"/>
                </a:cxn>
                <a:cxn ang="0">
                  <a:pos x="connsiteX3496" y="connsiteY3496"/>
                </a:cxn>
                <a:cxn ang="0">
                  <a:pos x="connsiteX3497" y="connsiteY3497"/>
                </a:cxn>
                <a:cxn ang="0">
                  <a:pos x="connsiteX3498" y="connsiteY3498"/>
                </a:cxn>
                <a:cxn ang="0">
                  <a:pos x="connsiteX3499" y="connsiteY3499"/>
                </a:cxn>
                <a:cxn ang="0">
                  <a:pos x="connsiteX3500" y="connsiteY3500"/>
                </a:cxn>
                <a:cxn ang="0">
                  <a:pos x="connsiteX3501" y="connsiteY3501"/>
                </a:cxn>
                <a:cxn ang="0">
                  <a:pos x="connsiteX3502" y="connsiteY3502"/>
                </a:cxn>
                <a:cxn ang="0">
                  <a:pos x="connsiteX3503" y="connsiteY3503"/>
                </a:cxn>
                <a:cxn ang="0">
                  <a:pos x="connsiteX3504" y="connsiteY3504"/>
                </a:cxn>
                <a:cxn ang="0">
                  <a:pos x="connsiteX3505" y="connsiteY3505"/>
                </a:cxn>
                <a:cxn ang="0">
                  <a:pos x="connsiteX3506" y="connsiteY3506"/>
                </a:cxn>
                <a:cxn ang="0">
                  <a:pos x="connsiteX3507" y="connsiteY3507"/>
                </a:cxn>
                <a:cxn ang="0">
                  <a:pos x="connsiteX3508" y="connsiteY3508"/>
                </a:cxn>
                <a:cxn ang="0">
                  <a:pos x="connsiteX3509" y="connsiteY3509"/>
                </a:cxn>
                <a:cxn ang="0">
                  <a:pos x="connsiteX3510" y="connsiteY3510"/>
                </a:cxn>
                <a:cxn ang="0">
                  <a:pos x="connsiteX3511" y="connsiteY3511"/>
                </a:cxn>
                <a:cxn ang="0">
                  <a:pos x="connsiteX3512" y="connsiteY3512"/>
                </a:cxn>
                <a:cxn ang="0">
                  <a:pos x="connsiteX3513" y="connsiteY3513"/>
                </a:cxn>
                <a:cxn ang="0">
                  <a:pos x="connsiteX3514" y="connsiteY3514"/>
                </a:cxn>
                <a:cxn ang="0">
                  <a:pos x="connsiteX3515" y="connsiteY3515"/>
                </a:cxn>
                <a:cxn ang="0">
                  <a:pos x="connsiteX3516" y="connsiteY3516"/>
                </a:cxn>
                <a:cxn ang="0">
                  <a:pos x="connsiteX3517" y="connsiteY3517"/>
                </a:cxn>
                <a:cxn ang="0">
                  <a:pos x="connsiteX3518" y="connsiteY3518"/>
                </a:cxn>
                <a:cxn ang="0">
                  <a:pos x="connsiteX3519" y="connsiteY3519"/>
                </a:cxn>
                <a:cxn ang="0">
                  <a:pos x="connsiteX3520" y="connsiteY3520"/>
                </a:cxn>
                <a:cxn ang="0">
                  <a:pos x="connsiteX3521" y="connsiteY3521"/>
                </a:cxn>
                <a:cxn ang="0">
                  <a:pos x="connsiteX3522" y="connsiteY3522"/>
                </a:cxn>
                <a:cxn ang="0">
                  <a:pos x="connsiteX3523" y="connsiteY3523"/>
                </a:cxn>
                <a:cxn ang="0">
                  <a:pos x="connsiteX3524" y="connsiteY3524"/>
                </a:cxn>
                <a:cxn ang="0">
                  <a:pos x="connsiteX3525" y="connsiteY3525"/>
                </a:cxn>
                <a:cxn ang="0">
                  <a:pos x="connsiteX3526" y="connsiteY3526"/>
                </a:cxn>
                <a:cxn ang="0">
                  <a:pos x="connsiteX3527" y="connsiteY3527"/>
                </a:cxn>
                <a:cxn ang="0">
                  <a:pos x="connsiteX3528" y="connsiteY3528"/>
                </a:cxn>
                <a:cxn ang="0">
                  <a:pos x="connsiteX3529" y="connsiteY3529"/>
                </a:cxn>
                <a:cxn ang="0">
                  <a:pos x="connsiteX3530" y="connsiteY3530"/>
                </a:cxn>
                <a:cxn ang="0">
                  <a:pos x="connsiteX3531" y="connsiteY3531"/>
                </a:cxn>
                <a:cxn ang="0">
                  <a:pos x="connsiteX3532" y="connsiteY3532"/>
                </a:cxn>
                <a:cxn ang="0">
                  <a:pos x="connsiteX3533" y="connsiteY3533"/>
                </a:cxn>
                <a:cxn ang="0">
                  <a:pos x="connsiteX3534" y="connsiteY3534"/>
                </a:cxn>
                <a:cxn ang="0">
                  <a:pos x="connsiteX3535" y="connsiteY3535"/>
                </a:cxn>
                <a:cxn ang="0">
                  <a:pos x="connsiteX3536" y="connsiteY3536"/>
                </a:cxn>
                <a:cxn ang="0">
                  <a:pos x="connsiteX3537" y="connsiteY3537"/>
                </a:cxn>
                <a:cxn ang="0">
                  <a:pos x="connsiteX3538" y="connsiteY3538"/>
                </a:cxn>
                <a:cxn ang="0">
                  <a:pos x="connsiteX3539" y="connsiteY3539"/>
                </a:cxn>
                <a:cxn ang="0">
                  <a:pos x="connsiteX3540" y="connsiteY3540"/>
                </a:cxn>
                <a:cxn ang="0">
                  <a:pos x="connsiteX3541" y="connsiteY3541"/>
                </a:cxn>
                <a:cxn ang="0">
                  <a:pos x="connsiteX3542" y="connsiteY3542"/>
                </a:cxn>
                <a:cxn ang="0">
                  <a:pos x="connsiteX3543" y="connsiteY3543"/>
                </a:cxn>
                <a:cxn ang="0">
                  <a:pos x="connsiteX3544" y="connsiteY3544"/>
                </a:cxn>
                <a:cxn ang="0">
                  <a:pos x="connsiteX3545" y="connsiteY3545"/>
                </a:cxn>
                <a:cxn ang="0">
                  <a:pos x="connsiteX3546" y="connsiteY3546"/>
                </a:cxn>
                <a:cxn ang="0">
                  <a:pos x="connsiteX3547" y="connsiteY3547"/>
                </a:cxn>
                <a:cxn ang="0">
                  <a:pos x="connsiteX3548" y="connsiteY3548"/>
                </a:cxn>
                <a:cxn ang="0">
                  <a:pos x="connsiteX3549" y="connsiteY3549"/>
                </a:cxn>
                <a:cxn ang="0">
                  <a:pos x="connsiteX3550" y="connsiteY3550"/>
                </a:cxn>
                <a:cxn ang="0">
                  <a:pos x="connsiteX3551" y="connsiteY3551"/>
                </a:cxn>
                <a:cxn ang="0">
                  <a:pos x="connsiteX3552" y="connsiteY3552"/>
                </a:cxn>
                <a:cxn ang="0">
                  <a:pos x="connsiteX3553" y="connsiteY3553"/>
                </a:cxn>
                <a:cxn ang="0">
                  <a:pos x="connsiteX3554" y="connsiteY3554"/>
                </a:cxn>
                <a:cxn ang="0">
                  <a:pos x="connsiteX3555" y="connsiteY3555"/>
                </a:cxn>
                <a:cxn ang="0">
                  <a:pos x="connsiteX3556" y="connsiteY3556"/>
                </a:cxn>
                <a:cxn ang="0">
                  <a:pos x="connsiteX3557" y="connsiteY3557"/>
                </a:cxn>
                <a:cxn ang="0">
                  <a:pos x="connsiteX3558" y="connsiteY3558"/>
                </a:cxn>
                <a:cxn ang="0">
                  <a:pos x="connsiteX3559" y="connsiteY3559"/>
                </a:cxn>
                <a:cxn ang="0">
                  <a:pos x="connsiteX3560" y="connsiteY3560"/>
                </a:cxn>
                <a:cxn ang="0">
                  <a:pos x="connsiteX3561" y="connsiteY3561"/>
                </a:cxn>
                <a:cxn ang="0">
                  <a:pos x="connsiteX3562" y="connsiteY3562"/>
                </a:cxn>
                <a:cxn ang="0">
                  <a:pos x="connsiteX3563" y="connsiteY3563"/>
                </a:cxn>
                <a:cxn ang="0">
                  <a:pos x="connsiteX3564" y="connsiteY3564"/>
                </a:cxn>
                <a:cxn ang="0">
                  <a:pos x="connsiteX3565" y="connsiteY3565"/>
                </a:cxn>
                <a:cxn ang="0">
                  <a:pos x="connsiteX3566" y="connsiteY3566"/>
                </a:cxn>
                <a:cxn ang="0">
                  <a:pos x="connsiteX3567" y="connsiteY3567"/>
                </a:cxn>
                <a:cxn ang="0">
                  <a:pos x="connsiteX3568" y="connsiteY3568"/>
                </a:cxn>
                <a:cxn ang="0">
                  <a:pos x="connsiteX3569" y="connsiteY3569"/>
                </a:cxn>
                <a:cxn ang="0">
                  <a:pos x="connsiteX3570" y="connsiteY3570"/>
                </a:cxn>
                <a:cxn ang="0">
                  <a:pos x="connsiteX3571" y="connsiteY3571"/>
                </a:cxn>
                <a:cxn ang="0">
                  <a:pos x="connsiteX3572" y="connsiteY3572"/>
                </a:cxn>
                <a:cxn ang="0">
                  <a:pos x="connsiteX3573" y="connsiteY3573"/>
                </a:cxn>
                <a:cxn ang="0">
                  <a:pos x="connsiteX3574" y="connsiteY3574"/>
                </a:cxn>
                <a:cxn ang="0">
                  <a:pos x="connsiteX3575" y="connsiteY3575"/>
                </a:cxn>
                <a:cxn ang="0">
                  <a:pos x="connsiteX3576" y="connsiteY3576"/>
                </a:cxn>
                <a:cxn ang="0">
                  <a:pos x="connsiteX3577" y="connsiteY3577"/>
                </a:cxn>
                <a:cxn ang="0">
                  <a:pos x="connsiteX3578" y="connsiteY3578"/>
                </a:cxn>
                <a:cxn ang="0">
                  <a:pos x="connsiteX3579" y="connsiteY3579"/>
                </a:cxn>
                <a:cxn ang="0">
                  <a:pos x="connsiteX3580" y="connsiteY3580"/>
                </a:cxn>
                <a:cxn ang="0">
                  <a:pos x="connsiteX3581" y="connsiteY3581"/>
                </a:cxn>
                <a:cxn ang="0">
                  <a:pos x="connsiteX3582" y="connsiteY3582"/>
                </a:cxn>
                <a:cxn ang="0">
                  <a:pos x="connsiteX3583" y="connsiteY3583"/>
                </a:cxn>
                <a:cxn ang="0">
                  <a:pos x="connsiteX3584" y="connsiteY3584"/>
                </a:cxn>
                <a:cxn ang="0">
                  <a:pos x="connsiteX3585" y="connsiteY3585"/>
                </a:cxn>
                <a:cxn ang="0">
                  <a:pos x="connsiteX3586" y="connsiteY3586"/>
                </a:cxn>
                <a:cxn ang="0">
                  <a:pos x="connsiteX3587" y="connsiteY3587"/>
                </a:cxn>
                <a:cxn ang="0">
                  <a:pos x="connsiteX3588" y="connsiteY3588"/>
                </a:cxn>
                <a:cxn ang="0">
                  <a:pos x="connsiteX3589" y="connsiteY3589"/>
                </a:cxn>
                <a:cxn ang="0">
                  <a:pos x="connsiteX3590" y="connsiteY3590"/>
                </a:cxn>
                <a:cxn ang="0">
                  <a:pos x="connsiteX3591" y="connsiteY3591"/>
                </a:cxn>
                <a:cxn ang="0">
                  <a:pos x="connsiteX3592" y="connsiteY3592"/>
                </a:cxn>
                <a:cxn ang="0">
                  <a:pos x="connsiteX3593" y="connsiteY3593"/>
                </a:cxn>
                <a:cxn ang="0">
                  <a:pos x="connsiteX3594" y="connsiteY3594"/>
                </a:cxn>
                <a:cxn ang="0">
                  <a:pos x="connsiteX3595" y="connsiteY3595"/>
                </a:cxn>
                <a:cxn ang="0">
                  <a:pos x="connsiteX3596" y="connsiteY3596"/>
                </a:cxn>
                <a:cxn ang="0">
                  <a:pos x="connsiteX3597" y="connsiteY3597"/>
                </a:cxn>
                <a:cxn ang="0">
                  <a:pos x="connsiteX3598" y="connsiteY3598"/>
                </a:cxn>
                <a:cxn ang="0">
                  <a:pos x="connsiteX3599" y="connsiteY3599"/>
                </a:cxn>
                <a:cxn ang="0">
                  <a:pos x="connsiteX3600" y="connsiteY3600"/>
                </a:cxn>
                <a:cxn ang="0">
                  <a:pos x="connsiteX3601" y="connsiteY3601"/>
                </a:cxn>
                <a:cxn ang="0">
                  <a:pos x="connsiteX3602" y="connsiteY3602"/>
                </a:cxn>
                <a:cxn ang="0">
                  <a:pos x="connsiteX3603" y="connsiteY3603"/>
                </a:cxn>
                <a:cxn ang="0">
                  <a:pos x="connsiteX3604" y="connsiteY3604"/>
                </a:cxn>
                <a:cxn ang="0">
                  <a:pos x="connsiteX3605" y="connsiteY3605"/>
                </a:cxn>
                <a:cxn ang="0">
                  <a:pos x="connsiteX3606" y="connsiteY3606"/>
                </a:cxn>
                <a:cxn ang="0">
                  <a:pos x="connsiteX3607" y="connsiteY3607"/>
                </a:cxn>
                <a:cxn ang="0">
                  <a:pos x="connsiteX3608" y="connsiteY3608"/>
                </a:cxn>
                <a:cxn ang="0">
                  <a:pos x="connsiteX3609" y="connsiteY3609"/>
                </a:cxn>
                <a:cxn ang="0">
                  <a:pos x="connsiteX3610" y="connsiteY3610"/>
                </a:cxn>
                <a:cxn ang="0">
                  <a:pos x="connsiteX3611" y="connsiteY3611"/>
                </a:cxn>
                <a:cxn ang="0">
                  <a:pos x="connsiteX3612" y="connsiteY3612"/>
                </a:cxn>
                <a:cxn ang="0">
                  <a:pos x="connsiteX3613" y="connsiteY3613"/>
                </a:cxn>
                <a:cxn ang="0">
                  <a:pos x="connsiteX3614" y="connsiteY3614"/>
                </a:cxn>
                <a:cxn ang="0">
                  <a:pos x="connsiteX3615" y="connsiteY3615"/>
                </a:cxn>
                <a:cxn ang="0">
                  <a:pos x="connsiteX3616" y="connsiteY3616"/>
                </a:cxn>
                <a:cxn ang="0">
                  <a:pos x="connsiteX3617" y="connsiteY3617"/>
                </a:cxn>
                <a:cxn ang="0">
                  <a:pos x="connsiteX3618" y="connsiteY3618"/>
                </a:cxn>
                <a:cxn ang="0">
                  <a:pos x="connsiteX3619" y="connsiteY3619"/>
                </a:cxn>
                <a:cxn ang="0">
                  <a:pos x="connsiteX3620" y="connsiteY3620"/>
                </a:cxn>
                <a:cxn ang="0">
                  <a:pos x="connsiteX3621" y="connsiteY3621"/>
                </a:cxn>
                <a:cxn ang="0">
                  <a:pos x="connsiteX3622" y="connsiteY3622"/>
                </a:cxn>
                <a:cxn ang="0">
                  <a:pos x="connsiteX3623" y="connsiteY3623"/>
                </a:cxn>
                <a:cxn ang="0">
                  <a:pos x="connsiteX3624" y="connsiteY3624"/>
                </a:cxn>
                <a:cxn ang="0">
                  <a:pos x="connsiteX3625" y="connsiteY3625"/>
                </a:cxn>
                <a:cxn ang="0">
                  <a:pos x="connsiteX3626" y="connsiteY3626"/>
                </a:cxn>
                <a:cxn ang="0">
                  <a:pos x="connsiteX3627" y="connsiteY3627"/>
                </a:cxn>
                <a:cxn ang="0">
                  <a:pos x="connsiteX3628" y="connsiteY3628"/>
                </a:cxn>
                <a:cxn ang="0">
                  <a:pos x="connsiteX3629" y="connsiteY3629"/>
                </a:cxn>
                <a:cxn ang="0">
                  <a:pos x="connsiteX3630" y="connsiteY3630"/>
                </a:cxn>
                <a:cxn ang="0">
                  <a:pos x="connsiteX3631" y="connsiteY3631"/>
                </a:cxn>
                <a:cxn ang="0">
                  <a:pos x="connsiteX3632" y="connsiteY3632"/>
                </a:cxn>
                <a:cxn ang="0">
                  <a:pos x="connsiteX3633" y="connsiteY3633"/>
                </a:cxn>
                <a:cxn ang="0">
                  <a:pos x="connsiteX3634" y="connsiteY3634"/>
                </a:cxn>
                <a:cxn ang="0">
                  <a:pos x="connsiteX3635" y="connsiteY3635"/>
                </a:cxn>
                <a:cxn ang="0">
                  <a:pos x="connsiteX3636" y="connsiteY3636"/>
                </a:cxn>
                <a:cxn ang="0">
                  <a:pos x="connsiteX3637" y="connsiteY3637"/>
                </a:cxn>
                <a:cxn ang="0">
                  <a:pos x="connsiteX3638" y="connsiteY3638"/>
                </a:cxn>
                <a:cxn ang="0">
                  <a:pos x="connsiteX3639" y="connsiteY3639"/>
                </a:cxn>
                <a:cxn ang="0">
                  <a:pos x="connsiteX3640" y="connsiteY3640"/>
                </a:cxn>
                <a:cxn ang="0">
                  <a:pos x="connsiteX3641" y="connsiteY3641"/>
                </a:cxn>
                <a:cxn ang="0">
                  <a:pos x="connsiteX3642" y="connsiteY3642"/>
                </a:cxn>
                <a:cxn ang="0">
                  <a:pos x="connsiteX3643" y="connsiteY3643"/>
                </a:cxn>
                <a:cxn ang="0">
                  <a:pos x="connsiteX3644" y="connsiteY3644"/>
                </a:cxn>
                <a:cxn ang="0">
                  <a:pos x="connsiteX3645" y="connsiteY3645"/>
                </a:cxn>
                <a:cxn ang="0">
                  <a:pos x="connsiteX3646" y="connsiteY3646"/>
                </a:cxn>
                <a:cxn ang="0">
                  <a:pos x="connsiteX3647" y="connsiteY3647"/>
                </a:cxn>
                <a:cxn ang="0">
                  <a:pos x="connsiteX3648" y="connsiteY3648"/>
                </a:cxn>
                <a:cxn ang="0">
                  <a:pos x="connsiteX3649" y="connsiteY3649"/>
                </a:cxn>
                <a:cxn ang="0">
                  <a:pos x="connsiteX3650" y="connsiteY3650"/>
                </a:cxn>
                <a:cxn ang="0">
                  <a:pos x="connsiteX3651" y="connsiteY3651"/>
                </a:cxn>
                <a:cxn ang="0">
                  <a:pos x="connsiteX3652" y="connsiteY3652"/>
                </a:cxn>
                <a:cxn ang="0">
                  <a:pos x="connsiteX3653" y="connsiteY3653"/>
                </a:cxn>
                <a:cxn ang="0">
                  <a:pos x="connsiteX3654" y="connsiteY3654"/>
                </a:cxn>
                <a:cxn ang="0">
                  <a:pos x="connsiteX3655" y="connsiteY3655"/>
                </a:cxn>
                <a:cxn ang="0">
                  <a:pos x="connsiteX3656" y="connsiteY3656"/>
                </a:cxn>
                <a:cxn ang="0">
                  <a:pos x="connsiteX3657" y="connsiteY3657"/>
                </a:cxn>
                <a:cxn ang="0">
                  <a:pos x="connsiteX3658" y="connsiteY3658"/>
                </a:cxn>
                <a:cxn ang="0">
                  <a:pos x="connsiteX3659" y="connsiteY3659"/>
                </a:cxn>
              </a:cxnLst>
              <a:rect l="l" t="t" r="r" b="b"/>
              <a:pathLst>
                <a:path w="3862373" h="3682908">
                  <a:moveTo>
                    <a:pt x="1142662" y="3605757"/>
                  </a:moveTo>
                  <a:cubicBezTo>
                    <a:pt x="1164249" y="3605757"/>
                    <a:pt x="1181749" y="3623257"/>
                    <a:pt x="1181749" y="3644844"/>
                  </a:cubicBezTo>
                  <a:lnTo>
                    <a:pt x="1175073" y="3660960"/>
                  </a:lnTo>
                  <a:lnTo>
                    <a:pt x="1107191" y="3636115"/>
                  </a:lnTo>
                  <a:lnTo>
                    <a:pt x="1115023" y="3617205"/>
                  </a:lnTo>
                  <a:cubicBezTo>
                    <a:pt x="1122096" y="3610132"/>
                    <a:pt x="1131868" y="3605757"/>
                    <a:pt x="1142662" y="3605757"/>
                  </a:cubicBezTo>
                  <a:close/>
                  <a:moveTo>
                    <a:pt x="1232571" y="3605756"/>
                  </a:moveTo>
                  <a:cubicBezTo>
                    <a:pt x="1254158" y="3605756"/>
                    <a:pt x="1271658" y="3623256"/>
                    <a:pt x="1271658" y="3644843"/>
                  </a:cubicBezTo>
                  <a:cubicBezTo>
                    <a:pt x="1271658" y="3655637"/>
                    <a:pt x="1267283" y="3665408"/>
                    <a:pt x="1260210" y="3672482"/>
                  </a:cubicBezTo>
                  <a:lnTo>
                    <a:pt x="1235039" y="3682908"/>
                  </a:lnTo>
                  <a:lnTo>
                    <a:pt x="1204643" y="3671783"/>
                  </a:lnTo>
                  <a:lnTo>
                    <a:pt x="1193484" y="3644843"/>
                  </a:lnTo>
                  <a:cubicBezTo>
                    <a:pt x="1193484" y="3623256"/>
                    <a:pt x="1210984" y="3605756"/>
                    <a:pt x="1232571" y="3605756"/>
                  </a:cubicBezTo>
                  <a:close/>
                  <a:moveTo>
                    <a:pt x="1232571" y="3520580"/>
                  </a:moveTo>
                  <a:cubicBezTo>
                    <a:pt x="1254158" y="3520580"/>
                    <a:pt x="1271658" y="3538080"/>
                    <a:pt x="1271658" y="3559667"/>
                  </a:cubicBezTo>
                  <a:cubicBezTo>
                    <a:pt x="1271658" y="3581254"/>
                    <a:pt x="1254158" y="3598754"/>
                    <a:pt x="1232571" y="3598754"/>
                  </a:cubicBezTo>
                  <a:cubicBezTo>
                    <a:pt x="1210984" y="3598754"/>
                    <a:pt x="1193484" y="3581254"/>
                    <a:pt x="1193484" y="3559667"/>
                  </a:cubicBezTo>
                  <a:cubicBezTo>
                    <a:pt x="1193484" y="3538080"/>
                    <a:pt x="1210984" y="3520580"/>
                    <a:pt x="1232571" y="3520580"/>
                  </a:cubicBezTo>
                  <a:close/>
                  <a:moveTo>
                    <a:pt x="1142662" y="3520580"/>
                  </a:moveTo>
                  <a:cubicBezTo>
                    <a:pt x="1164249" y="3520580"/>
                    <a:pt x="1181749" y="3538080"/>
                    <a:pt x="1181749" y="3559667"/>
                  </a:cubicBezTo>
                  <a:cubicBezTo>
                    <a:pt x="1181749" y="3581254"/>
                    <a:pt x="1164249" y="3598754"/>
                    <a:pt x="1142662" y="3598754"/>
                  </a:cubicBezTo>
                  <a:cubicBezTo>
                    <a:pt x="1121074" y="3598754"/>
                    <a:pt x="1103575" y="3581254"/>
                    <a:pt x="1103575" y="3559667"/>
                  </a:cubicBezTo>
                  <a:cubicBezTo>
                    <a:pt x="1103575" y="3538080"/>
                    <a:pt x="1121074" y="3520580"/>
                    <a:pt x="1142662" y="3520580"/>
                  </a:cubicBezTo>
                  <a:close/>
                  <a:moveTo>
                    <a:pt x="1232572" y="3435404"/>
                  </a:moveTo>
                  <a:cubicBezTo>
                    <a:pt x="1254159" y="3435404"/>
                    <a:pt x="1271659" y="3452904"/>
                    <a:pt x="1271659" y="3474491"/>
                  </a:cubicBezTo>
                  <a:cubicBezTo>
                    <a:pt x="1271659" y="3496078"/>
                    <a:pt x="1254159" y="3513578"/>
                    <a:pt x="1232572" y="3513578"/>
                  </a:cubicBezTo>
                  <a:cubicBezTo>
                    <a:pt x="1210985" y="3513578"/>
                    <a:pt x="1193485" y="3496078"/>
                    <a:pt x="1193485" y="3474491"/>
                  </a:cubicBezTo>
                  <a:cubicBezTo>
                    <a:pt x="1193485" y="3452904"/>
                    <a:pt x="1210985" y="3435404"/>
                    <a:pt x="1232572" y="3435404"/>
                  </a:cubicBezTo>
                  <a:close/>
                  <a:moveTo>
                    <a:pt x="1142662" y="3435404"/>
                  </a:moveTo>
                  <a:cubicBezTo>
                    <a:pt x="1164249" y="3435404"/>
                    <a:pt x="1181749" y="3452904"/>
                    <a:pt x="1181749" y="3474491"/>
                  </a:cubicBezTo>
                  <a:cubicBezTo>
                    <a:pt x="1181749" y="3496078"/>
                    <a:pt x="1164249" y="3513578"/>
                    <a:pt x="1142662" y="3513578"/>
                  </a:cubicBezTo>
                  <a:cubicBezTo>
                    <a:pt x="1121074" y="3513578"/>
                    <a:pt x="1103575" y="3496078"/>
                    <a:pt x="1103575" y="3474491"/>
                  </a:cubicBezTo>
                  <a:cubicBezTo>
                    <a:pt x="1103575" y="3452904"/>
                    <a:pt x="1121074" y="3435404"/>
                    <a:pt x="1142662" y="3435404"/>
                  </a:cubicBezTo>
                  <a:close/>
                  <a:moveTo>
                    <a:pt x="1329578" y="3347862"/>
                  </a:moveTo>
                  <a:cubicBezTo>
                    <a:pt x="1351165" y="3347862"/>
                    <a:pt x="1368665" y="3365362"/>
                    <a:pt x="1368665" y="3386950"/>
                  </a:cubicBezTo>
                  <a:cubicBezTo>
                    <a:pt x="1368665" y="3408537"/>
                    <a:pt x="1351165" y="3426037"/>
                    <a:pt x="1329578" y="3426037"/>
                  </a:cubicBezTo>
                  <a:cubicBezTo>
                    <a:pt x="1307990" y="3426037"/>
                    <a:pt x="1290490" y="3408537"/>
                    <a:pt x="1290490" y="3386950"/>
                  </a:cubicBezTo>
                  <a:cubicBezTo>
                    <a:pt x="1290490" y="3365362"/>
                    <a:pt x="1307990" y="3347862"/>
                    <a:pt x="1329578" y="3347862"/>
                  </a:cubicBezTo>
                  <a:close/>
                  <a:moveTo>
                    <a:pt x="1142664" y="3347862"/>
                  </a:moveTo>
                  <a:cubicBezTo>
                    <a:pt x="1164251" y="3347862"/>
                    <a:pt x="1181751" y="3365362"/>
                    <a:pt x="1181751" y="3386950"/>
                  </a:cubicBezTo>
                  <a:cubicBezTo>
                    <a:pt x="1181751" y="3408537"/>
                    <a:pt x="1164251" y="3426037"/>
                    <a:pt x="1142664" y="3426037"/>
                  </a:cubicBezTo>
                  <a:cubicBezTo>
                    <a:pt x="1121077" y="3426037"/>
                    <a:pt x="1103576" y="3408537"/>
                    <a:pt x="1103576" y="3386950"/>
                  </a:cubicBezTo>
                  <a:cubicBezTo>
                    <a:pt x="1103576" y="3365362"/>
                    <a:pt x="1121077" y="3347862"/>
                    <a:pt x="1142664" y="3347862"/>
                  </a:cubicBezTo>
                  <a:close/>
                  <a:moveTo>
                    <a:pt x="1232572" y="3347861"/>
                  </a:moveTo>
                  <a:cubicBezTo>
                    <a:pt x="1254160" y="3347861"/>
                    <a:pt x="1271660" y="3365361"/>
                    <a:pt x="1271660" y="3386948"/>
                  </a:cubicBezTo>
                  <a:cubicBezTo>
                    <a:pt x="1271660" y="3408536"/>
                    <a:pt x="1254160" y="3426035"/>
                    <a:pt x="1232572" y="3426035"/>
                  </a:cubicBezTo>
                  <a:cubicBezTo>
                    <a:pt x="1210985" y="3426035"/>
                    <a:pt x="1193485" y="3408536"/>
                    <a:pt x="1193485" y="3386948"/>
                  </a:cubicBezTo>
                  <a:cubicBezTo>
                    <a:pt x="1193485" y="3365361"/>
                    <a:pt x="1210985" y="3347861"/>
                    <a:pt x="1232572" y="3347861"/>
                  </a:cubicBezTo>
                  <a:close/>
                  <a:moveTo>
                    <a:pt x="2924263" y="3265052"/>
                  </a:moveTo>
                  <a:cubicBezTo>
                    <a:pt x="2945850" y="3265052"/>
                    <a:pt x="2963349" y="3282551"/>
                    <a:pt x="2963349" y="3304139"/>
                  </a:cubicBezTo>
                  <a:cubicBezTo>
                    <a:pt x="2963349" y="3325726"/>
                    <a:pt x="2945850" y="3343226"/>
                    <a:pt x="2924263" y="3343226"/>
                  </a:cubicBezTo>
                  <a:cubicBezTo>
                    <a:pt x="2902675" y="3343226"/>
                    <a:pt x="2885175" y="3325726"/>
                    <a:pt x="2885175" y="3304139"/>
                  </a:cubicBezTo>
                  <a:cubicBezTo>
                    <a:pt x="2885175" y="3282551"/>
                    <a:pt x="2902675" y="3265052"/>
                    <a:pt x="2924263" y="3265052"/>
                  </a:cubicBezTo>
                  <a:close/>
                  <a:moveTo>
                    <a:pt x="1419487" y="3265052"/>
                  </a:moveTo>
                  <a:cubicBezTo>
                    <a:pt x="1441074" y="3265052"/>
                    <a:pt x="1458574" y="3282551"/>
                    <a:pt x="1458574" y="3304139"/>
                  </a:cubicBezTo>
                  <a:cubicBezTo>
                    <a:pt x="1458574" y="3325726"/>
                    <a:pt x="1441074" y="3343226"/>
                    <a:pt x="1419487" y="3343226"/>
                  </a:cubicBezTo>
                  <a:cubicBezTo>
                    <a:pt x="1397899" y="3343226"/>
                    <a:pt x="1380399" y="3325726"/>
                    <a:pt x="1380399" y="3304139"/>
                  </a:cubicBezTo>
                  <a:cubicBezTo>
                    <a:pt x="1380399" y="3282551"/>
                    <a:pt x="1397899" y="3265052"/>
                    <a:pt x="1419487" y="3265052"/>
                  </a:cubicBezTo>
                  <a:close/>
                  <a:moveTo>
                    <a:pt x="1329578" y="3265052"/>
                  </a:moveTo>
                  <a:cubicBezTo>
                    <a:pt x="1351165" y="3265052"/>
                    <a:pt x="1368666" y="3282551"/>
                    <a:pt x="1368666" y="3304139"/>
                  </a:cubicBezTo>
                  <a:cubicBezTo>
                    <a:pt x="1368666" y="3325726"/>
                    <a:pt x="1351165" y="3343226"/>
                    <a:pt x="1329578" y="3343226"/>
                  </a:cubicBezTo>
                  <a:cubicBezTo>
                    <a:pt x="1307991" y="3343226"/>
                    <a:pt x="1290491" y="3325726"/>
                    <a:pt x="1290491" y="3304139"/>
                  </a:cubicBezTo>
                  <a:cubicBezTo>
                    <a:pt x="1290491" y="3282551"/>
                    <a:pt x="1307991" y="3265052"/>
                    <a:pt x="1329578" y="3265052"/>
                  </a:cubicBezTo>
                  <a:close/>
                  <a:moveTo>
                    <a:pt x="1232574" y="3265052"/>
                  </a:moveTo>
                  <a:cubicBezTo>
                    <a:pt x="1254160" y="3265052"/>
                    <a:pt x="1271661" y="3282551"/>
                    <a:pt x="1271661" y="3304139"/>
                  </a:cubicBezTo>
                  <a:cubicBezTo>
                    <a:pt x="1271661" y="3325726"/>
                    <a:pt x="1254160" y="3343226"/>
                    <a:pt x="1232574" y="3343226"/>
                  </a:cubicBezTo>
                  <a:cubicBezTo>
                    <a:pt x="1210986" y="3343226"/>
                    <a:pt x="1193487" y="3325726"/>
                    <a:pt x="1193487" y="3304139"/>
                  </a:cubicBezTo>
                  <a:cubicBezTo>
                    <a:pt x="1193487" y="3282551"/>
                    <a:pt x="1210986" y="3265052"/>
                    <a:pt x="1232574" y="3265052"/>
                  </a:cubicBezTo>
                  <a:close/>
                  <a:moveTo>
                    <a:pt x="1142665" y="3265052"/>
                  </a:moveTo>
                  <a:cubicBezTo>
                    <a:pt x="1164252" y="3265052"/>
                    <a:pt x="1181752" y="3282551"/>
                    <a:pt x="1181752" y="3304139"/>
                  </a:cubicBezTo>
                  <a:cubicBezTo>
                    <a:pt x="1181752" y="3325726"/>
                    <a:pt x="1164252" y="3343226"/>
                    <a:pt x="1142665" y="3343226"/>
                  </a:cubicBezTo>
                  <a:cubicBezTo>
                    <a:pt x="1121078" y="3343226"/>
                    <a:pt x="1103578" y="3325726"/>
                    <a:pt x="1103578" y="3304139"/>
                  </a:cubicBezTo>
                  <a:cubicBezTo>
                    <a:pt x="1103578" y="3282551"/>
                    <a:pt x="1121078" y="3265052"/>
                    <a:pt x="1142665" y="3265052"/>
                  </a:cubicBezTo>
                  <a:close/>
                  <a:moveTo>
                    <a:pt x="3111177" y="3177510"/>
                  </a:moveTo>
                  <a:cubicBezTo>
                    <a:pt x="3132764" y="3177510"/>
                    <a:pt x="3150264" y="3195010"/>
                    <a:pt x="3150264" y="3216597"/>
                  </a:cubicBezTo>
                  <a:cubicBezTo>
                    <a:pt x="3150264" y="3238185"/>
                    <a:pt x="3132764" y="3255684"/>
                    <a:pt x="3111177" y="3255684"/>
                  </a:cubicBezTo>
                  <a:cubicBezTo>
                    <a:pt x="3089589" y="3255684"/>
                    <a:pt x="3072089" y="3238185"/>
                    <a:pt x="3072089" y="3216597"/>
                  </a:cubicBezTo>
                  <a:cubicBezTo>
                    <a:pt x="3072089" y="3195010"/>
                    <a:pt x="3089589" y="3177510"/>
                    <a:pt x="3111177" y="3177510"/>
                  </a:cubicBezTo>
                  <a:close/>
                  <a:moveTo>
                    <a:pt x="3018903" y="3177510"/>
                  </a:moveTo>
                  <a:cubicBezTo>
                    <a:pt x="3040490" y="3177510"/>
                    <a:pt x="3057989" y="3195010"/>
                    <a:pt x="3057989" y="3216597"/>
                  </a:cubicBezTo>
                  <a:cubicBezTo>
                    <a:pt x="3057989" y="3238185"/>
                    <a:pt x="3040490" y="3255684"/>
                    <a:pt x="3018903" y="3255684"/>
                  </a:cubicBezTo>
                  <a:cubicBezTo>
                    <a:pt x="2997315" y="3255684"/>
                    <a:pt x="2979815" y="3238185"/>
                    <a:pt x="2979815" y="3216597"/>
                  </a:cubicBezTo>
                  <a:cubicBezTo>
                    <a:pt x="2979815" y="3195010"/>
                    <a:pt x="2997315" y="3177510"/>
                    <a:pt x="3018903" y="3177510"/>
                  </a:cubicBezTo>
                  <a:close/>
                  <a:moveTo>
                    <a:pt x="1516493" y="3177510"/>
                  </a:moveTo>
                  <a:cubicBezTo>
                    <a:pt x="1538080" y="3177510"/>
                    <a:pt x="1555581" y="3195010"/>
                    <a:pt x="1555581" y="3216597"/>
                  </a:cubicBezTo>
                  <a:cubicBezTo>
                    <a:pt x="1555581" y="3238185"/>
                    <a:pt x="1538080" y="3255684"/>
                    <a:pt x="1516493" y="3255684"/>
                  </a:cubicBezTo>
                  <a:cubicBezTo>
                    <a:pt x="1494906" y="3255684"/>
                    <a:pt x="1477406" y="3238185"/>
                    <a:pt x="1477406" y="3216597"/>
                  </a:cubicBezTo>
                  <a:cubicBezTo>
                    <a:pt x="1477406" y="3195010"/>
                    <a:pt x="1494906" y="3177510"/>
                    <a:pt x="1516493" y="3177510"/>
                  </a:cubicBezTo>
                  <a:close/>
                  <a:moveTo>
                    <a:pt x="1329579" y="3177510"/>
                  </a:moveTo>
                  <a:cubicBezTo>
                    <a:pt x="1351167" y="3177510"/>
                    <a:pt x="1368667" y="3195010"/>
                    <a:pt x="1368667" y="3216597"/>
                  </a:cubicBezTo>
                  <a:cubicBezTo>
                    <a:pt x="1368667" y="3238185"/>
                    <a:pt x="1351167" y="3255684"/>
                    <a:pt x="1329579" y="3255684"/>
                  </a:cubicBezTo>
                  <a:cubicBezTo>
                    <a:pt x="1307993" y="3255684"/>
                    <a:pt x="1290493" y="3238185"/>
                    <a:pt x="1290493" y="3216597"/>
                  </a:cubicBezTo>
                  <a:cubicBezTo>
                    <a:pt x="1290493" y="3195010"/>
                    <a:pt x="1307993" y="3177510"/>
                    <a:pt x="1329579" y="3177510"/>
                  </a:cubicBezTo>
                  <a:close/>
                  <a:moveTo>
                    <a:pt x="1142666" y="3177510"/>
                  </a:moveTo>
                  <a:cubicBezTo>
                    <a:pt x="1164254" y="3177510"/>
                    <a:pt x="1181753" y="3195010"/>
                    <a:pt x="1181753" y="3216597"/>
                  </a:cubicBezTo>
                  <a:cubicBezTo>
                    <a:pt x="1181753" y="3238185"/>
                    <a:pt x="1164254" y="3255684"/>
                    <a:pt x="1142666" y="3255684"/>
                  </a:cubicBezTo>
                  <a:cubicBezTo>
                    <a:pt x="1121079" y="3255684"/>
                    <a:pt x="1103578" y="3238185"/>
                    <a:pt x="1103578" y="3216597"/>
                  </a:cubicBezTo>
                  <a:cubicBezTo>
                    <a:pt x="1103578" y="3195010"/>
                    <a:pt x="1121079" y="3177510"/>
                    <a:pt x="1142666" y="3177510"/>
                  </a:cubicBezTo>
                  <a:close/>
                  <a:moveTo>
                    <a:pt x="2924263" y="3177510"/>
                  </a:moveTo>
                  <a:cubicBezTo>
                    <a:pt x="2945850" y="3177510"/>
                    <a:pt x="2963349" y="3195010"/>
                    <a:pt x="2963349" y="3216597"/>
                  </a:cubicBezTo>
                  <a:cubicBezTo>
                    <a:pt x="2963349" y="3238184"/>
                    <a:pt x="2945850" y="3255684"/>
                    <a:pt x="2924263" y="3255684"/>
                  </a:cubicBezTo>
                  <a:cubicBezTo>
                    <a:pt x="2902675" y="3255684"/>
                    <a:pt x="2885175" y="3238184"/>
                    <a:pt x="2885175" y="3216597"/>
                  </a:cubicBezTo>
                  <a:cubicBezTo>
                    <a:pt x="2885175" y="3195010"/>
                    <a:pt x="2902675" y="3177510"/>
                    <a:pt x="2924263" y="3177510"/>
                  </a:cubicBezTo>
                  <a:close/>
                  <a:moveTo>
                    <a:pt x="1419488" y="3177510"/>
                  </a:moveTo>
                  <a:cubicBezTo>
                    <a:pt x="1441076" y="3177510"/>
                    <a:pt x="1458575" y="3195010"/>
                    <a:pt x="1458575" y="3216597"/>
                  </a:cubicBezTo>
                  <a:cubicBezTo>
                    <a:pt x="1458575" y="3238184"/>
                    <a:pt x="1441076" y="3255684"/>
                    <a:pt x="1419488" y="3255684"/>
                  </a:cubicBezTo>
                  <a:cubicBezTo>
                    <a:pt x="1397901" y="3255684"/>
                    <a:pt x="1380401" y="3238184"/>
                    <a:pt x="1380401" y="3216597"/>
                  </a:cubicBezTo>
                  <a:cubicBezTo>
                    <a:pt x="1380401" y="3195010"/>
                    <a:pt x="1397901" y="3177510"/>
                    <a:pt x="1419488" y="3177510"/>
                  </a:cubicBezTo>
                  <a:close/>
                  <a:moveTo>
                    <a:pt x="1232575" y="3177510"/>
                  </a:moveTo>
                  <a:cubicBezTo>
                    <a:pt x="1254162" y="3177510"/>
                    <a:pt x="1271661" y="3195010"/>
                    <a:pt x="1271661" y="3216597"/>
                  </a:cubicBezTo>
                  <a:cubicBezTo>
                    <a:pt x="1271661" y="3238184"/>
                    <a:pt x="1254162" y="3255684"/>
                    <a:pt x="1232575" y="3255684"/>
                  </a:cubicBezTo>
                  <a:cubicBezTo>
                    <a:pt x="1210988" y="3255684"/>
                    <a:pt x="1193488" y="3238184"/>
                    <a:pt x="1193488" y="3216597"/>
                  </a:cubicBezTo>
                  <a:cubicBezTo>
                    <a:pt x="1193488" y="3195010"/>
                    <a:pt x="1210988" y="3177510"/>
                    <a:pt x="1232575" y="3177510"/>
                  </a:cubicBezTo>
                  <a:close/>
                  <a:moveTo>
                    <a:pt x="3111177" y="3092334"/>
                  </a:moveTo>
                  <a:cubicBezTo>
                    <a:pt x="3132764" y="3092334"/>
                    <a:pt x="3150264" y="3109834"/>
                    <a:pt x="3150264" y="3131421"/>
                  </a:cubicBezTo>
                  <a:cubicBezTo>
                    <a:pt x="3150264" y="3153008"/>
                    <a:pt x="3132764" y="3170508"/>
                    <a:pt x="3111177" y="3170508"/>
                  </a:cubicBezTo>
                  <a:cubicBezTo>
                    <a:pt x="3089589" y="3170508"/>
                    <a:pt x="3072089" y="3153008"/>
                    <a:pt x="3072089" y="3131421"/>
                  </a:cubicBezTo>
                  <a:cubicBezTo>
                    <a:pt x="3072089" y="3109834"/>
                    <a:pt x="3089589" y="3092334"/>
                    <a:pt x="3111177" y="3092334"/>
                  </a:cubicBezTo>
                  <a:close/>
                  <a:moveTo>
                    <a:pt x="3018903" y="3092334"/>
                  </a:moveTo>
                  <a:cubicBezTo>
                    <a:pt x="3040490" y="3092334"/>
                    <a:pt x="3057989" y="3109834"/>
                    <a:pt x="3057989" y="3131421"/>
                  </a:cubicBezTo>
                  <a:cubicBezTo>
                    <a:pt x="3057989" y="3153008"/>
                    <a:pt x="3040490" y="3170508"/>
                    <a:pt x="3018903" y="3170508"/>
                  </a:cubicBezTo>
                  <a:cubicBezTo>
                    <a:pt x="2997315" y="3170508"/>
                    <a:pt x="2979815" y="3153008"/>
                    <a:pt x="2979815" y="3131421"/>
                  </a:cubicBezTo>
                  <a:cubicBezTo>
                    <a:pt x="2979815" y="3109834"/>
                    <a:pt x="2997315" y="3092334"/>
                    <a:pt x="3018903" y="3092334"/>
                  </a:cubicBezTo>
                  <a:close/>
                  <a:moveTo>
                    <a:pt x="2831988" y="3092334"/>
                  </a:moveTo>
                  <a:cubicBezTo>
                    <a:pt x="2853575" y="3092334"/>
                    <a:pt x="2871075" y="3109834"/>
                    <a:pt x="2871075" y="3131421"/>
                  </a:cubicBezTo>
                  <a:cubicBezTo>
                    <a:pt x="2871075" y="3153008"/>
                    <a:pt x="2853575" y="3170508"/>
                    <a:pt x="2831988" y="3170508"/>
                  </a:cubicBezTo>
                  <a:cubicBezTo>
                    <a:pt x="2810401" y="3170508"/>
                    <a:pt x="2792901" y="3153008"/>
                    <a:pt x="2792901" y="3131421"/>
                  </a:cubicBezTo>
                  <a:cubicBezTo>
                    <a:pt x="2792901" y="3109834"/>
                    <a:pt x="2810401" y="3092334"/>
                    <a:pt x="2831988" y="3092334"/>
                  </a:cubicBezTo>
                  <a:close/>
                  <a:moveTo>
                    <a:pt x="1516495" y="3092334"/>
                  </a:moveTo>
                  <a:cubicBezTo>
                    <a:pt x="1538082" y="3092334"/>
                    <a:pt x="1555583" y="3109834"/>
                    <a:pt x="1555583" y="3131421"/>
                  </a:cubicBezTo>
                  <a:cubicBezTo>
                    <a:pt x="1555583" y="3153008"/>
                    <a:pt x="1538082" y="3170508"/>
                    <a:pt x="1516495" y="3170508"/>
                  </a:cubicBezTo>
                  <a:cubicBezTo>
                    <a:pt x="1494907" y="3170508"/>
                    <a:pt x="1477407" y="3153008"/>
                    <a:pt x="1477407" y="3131421"/>
                  </a:cubicBezTo>
                  <a:cubicBezTo>
                    <a:pt x="1477407" y="3109834"/>
                    <a:pt x="1494907" y="3092334"/>
                    <a:pt x="1516495" y="3092334"/>
                  </a:cubicBezTo>
                  <a:close/>
                  <a:moveTo>
                    <a:pt x="1329581" y="3092334"/>
                  </a:moveTo>
                  <a:cubicBezTo>
                    <a:pt x="1351168" y="3092334"/>
                    <a:pt x="1368669" y="3109834"/>
                    <a:pt x="1368669" y="3131421"/>
                  </a:cubicBezTo>
                  <a:cubicBezTo>
                    <a:pt x="1368669" y="3153008"/>
                    <a:pt x="1351168" y="3170508"/>
                    <a:pt x="1329581" y="3170508"/>
                  </a:cubicBezTo>
                  <a:cubicBezTo>
                    <a:pt x="1307994" y="3170508"/>
                    <a:pt x="1290494" y="3153008"/>
                    <a:pt x="1290494" y="3131421"/>
                  </a:cubicBezTo>
                  <a:cubicBezTo>
                    <a:pt x="1290494" y="3109834"/>
                    <a:pt x="1307994" y="3092334"/>
                    <a:pt x="1329581" y="3092334"/>
                  </a:cubicBezTo>
                  <a:close/>
                  <a:moveTo>
                    <a:pt x="1142668" y="3092334"/>
                  </a:moveTo>
                  <a:cubicBezTo>
                    <a:pt x="1164256" y="3092334"/>
                    <a:pt x="1181756" y="3109834"/>
                    <a:pt x="1181756" y="3131421"/>
                  </a:cubicBezTo>
                  <a:cubicBezTo>
                    <a:pt x="1181756" y="3153008"/>
                    <a:pt x="1164256" y="3170508"/>
                    <a:pt x="1142668" y="3170508"/>
                  </a:cubicBezTo>
                  <a:cubicBezTo>
                    <a:pt x="1121081" y="3170508"/>
                    <a:pt x="1103581" y="3153008"/>
                    <a:pt x="1103581" y="3131421"/>
                  </a:cubicBezTo>
                  <a:cubicBezTo>
                    <a:pt x="1103581" y="3109834"/>
                    <a:pt x="1121081" y="3092334"/>
                    <a:pt x="1142668" y="3092334"/>
                  </a:cubicBezTo>
                  <a:close/>
                  <a:moveTo>
                    <a:pt x="2924263" y="3092334"/>
                  </a:moveTo>
                  <a:cubicBezTo>
                    <a:pt x="2945850" y="3092334"/>
                    <a:pt x="2963349" y="3109833"/>
                    <a:pt x="2963349" y="3131421"/>
                  </a:cubicBezTo>
                  <a:cubicBezTo>
                    <a:pt x="2963349" y="3153008"/>
                    <a:pt x="2945850" y="3170508"/>
                    <a:pt x="2924263" y="3170508"/>
                  </a:cubicBezTo>
                  <a:cubicBezTo>
                    <a:pt x="2902675" y="3170508"/>
                    <a:pt x="2885175" y="3153008"/>
                    <a:pt x="2885175" y="3131421"/>
                  </a:cubicBezTo>
                  <a:cubicBezTo>
                    <a:pt x="2885175" y="3109833"/>
                    <a:pt x="2902675" y="3092334"/>
                    <a:pt x="2924263" y="3092334"/>
                  </a:cubicBezTo>
                  <a:close/>
                  <a:moveTo>
                    <a:pt x="1419490" y="3092334"/>
                  </a:moveTo>
                  <a:cubicBezTo>
                    <a:pt x="1441077" y="3092334"/>
                    <a:pt x="1458576" y="3109833"/>
                    <a:pt x="1458576" y="3131421"/>
                  </a:cubicBezTo>
                  <a:cubicBezTo>
                    <a:pt x="1458576" y="3153008"/>
                    <a:pt x="1441077" y="3170508"/>
                    <a:pt x="1419490" y="3170508"/>
                  </a:cubicBezTo>
                  <a:cubicBezTo>
                    <a:pt x="1397902" y="3170508"/>
                    <a:pt x="1380402" y="3153008"/>
                    <a:pt x="1380402" y="3131421"/>
                  </a:cubicBezTo>
                  <a:cubicBezTo>
                    <a:pt x="1380402" y="3109833"/>
                    <a:pt x="1397902" y="3092334"/>
                    <a:pt x="1419490" y="3092334"/>
                  </a:cubicBezTo>
                  <a:close/>
                  <a:moveTo>
                    <a:pt x="1232576" y="3092334"/>
                  </a:moveTo>
                  <a:cubicBezTo>
                    <a:pt x="1254165" y="3092334"/>
                    <a:pt x="1271664" y="3109833"/>
                    <a:pt x="1271664" y="3131421"/>
                  </a:cubicBezTo>
                  <a:cubicBezTo>
                    <a:pt x="1271664" y="3153008"/>
                    <a:pt x="1254165" y="3170508"/>
                    <a:pt x="1232576" y="3170508"/>
                  </a:cubicBezTo>
                  <a:cubicBezTo>
                    <a:pt x="1210990" y="3170508"/>
                    <a:pt x="1193489" y="3153008"/>
                    <a:pt x="1193489" y="3131421"/>
                  </a:cubicBezTo>
                  <a:cubicBezTo>
                    <a:pt x="1193489" y="3109833"/>
                    <a:pt x="1210990" y="3092334"/>
                    <a:pt x="1232576" y="3092334"/>
                  </a:cubicBezTo>
                  <a:close/>
                  <a:moveTo>
                    <a:pt x="3205817" y="3007157"/>
                  </a:moveTo>
                  <a:cubicBezTo>
                    <a:pt x="3227404" y="3007157"/>
                    <a:pt x="3244904" y="3024657"/>
                    <a:pt x="3244904" y="3046245"/>
                  </a:cubicBezTo>
                  <a:cubicBezTo>
                    <a:pt x="3244904" y="3067832"/>
                    <a:pt x="3227404" y="3085332"/>
                    <a:pt x="3205817" y="3085332"/>
                  </a:cubicBezTo>
                  <a:cubicBezTo>
                    <a:pt x="3184229" y="3085332"/>
                    <a:pt x="3166729" y="3067832"/>
                    <a:pt x="3166729" y="3046245"/>
                  </a:cubicBezTo>
                  <a:cubicBezTo>
                    <a:pt x="3166729" y="3024657"/>
                    <a:pt x="3184229" y="3007157"/>
                    <a:pt x="3205817" y="3007157"/>
                  </a:cubicBezTo>
                  <a:close/>
                  <a:moveTo>
                    <a:pt x="3111177" y="3007157"/>
                  </a:moveTo>
                  <a:cubicBezTo>
                    <a:pt x="3132764" y="3007157"/>
                    <a:pt x="3150264" y="3024657"/>
                    <a:pt x="3150264" y="3046245"/>
                  </a:cubicBezTo>
                  <a:cubicBezTo>
                    <a:pt x="3150264" y="3067832"/>
                    <a:pt x="3132764" y="3085332"/>
                    <a:pt x="3111177" y="3085332"/>
                  </a:cubicBezTo>
                  <a:cubicBezTo>
                    <a:pt x="3089589" y="3085332"/>
                    <a:pt x="3072089" y="3067832"/>
                    <a:pt x="3072089" y="3046245"/>
                  </a:cubicBezTo>
                  <a:cubicBezTo>
                    <a:pt x="3072089" y="3024657"/>
                    <a:pt x="3089589" y="3007157"/>
                    <a:pt x="3111177" y="3007157"/>
                  </a:cubicBezTo>
                  <a:close/>
                  <a:moveTo>
                    <a:pt x="3018903" y="3007157"/>
                  </a:moveTo>
                  <a:cubicBezTo>
                    <a:pt x="3040490" y="3007157"/>
                    <a:pt x="3057989" y="3024657"/>
                    <a:pt x="3057989" y="3046245"/>
                  </a:cubicBezTo>
                  <a:cubicBezTo>
                    <a:pt x="3057989" y="3067832"/>
                    <a:pt x="3040490" y="3085332"/>
                    <a:pt x="3018903" y="3085332"/>
                  </a:cubicBezTo>
                  <a:cubicBezTo>
                    <a:pt x="2997315" y="3085332"/>
                    <a:pt x="2979815" y="3067832"/>
                    <a:pt x="2979815" y="3046245"/>
                  </a:cubicBezTo>
                  <a:cubicBezTo>
                    <a:pt x="2979815" y="3024657"/>
                    <a:pt x="2997315" y="3007157"/>
                    <a:pt x="3018903" y="3007157"/>
                  </a:cubicBezTo>
                  <a:close/>
                  <a:moveTo>
                    <a:pt x="2924263" y="3007157"/>
                  </a:moveTo>
                  <a:cubicBezTo>
                    <a:pt x="2945850" y="3007157"/>
                    <a:pt x="2963349" y="3024657"/>
                    <a:pt x="2963349" y="3046245"/>
                  </a:cubicBezTo>
                  <a:cubicBezTo>
                    <a:pt x="2963349" y="3067832"/>
                    <a:pt x="2945850" y="3085332"/>
                    <a:pt x="2924263" y="3085332"/>
                  </a:cubicBezTo>
                  <a:cubicBezTo>
                    <a:pt x="2902675" y="3085332"/>
                    <a:pt x="2885175" y="3067832"/>
                    <a:pt x="2885175" y="3046245"/>
                  </a:cubicBezTo>
                  <a:cubicBezTo>
                    <a:pt x="2885175" y="3024657"/>
                    <a:pt x="2902675" y="3007157"/>
                    <a:pt x="2924263" y="3007157"/>
                  </a:cubicBezTo>
                  <a:close/>
                  <a:moveTo>
                    <a:pt x="2831988" y="3007157"/>
                  </a:moveTo>
                  <a:cubicBezTo>
                    <a:pt x="2853575" y="3007157"/>
                    <a:pt x="2871075" y="3024657"/>
                    <a:pt x="2871075" y="3046245"/>
                  </a:cubicBezTo>
                  <a:cubicBezTo>
                    <a:pt x="2871075" y="3067832"/>
                    <a:pt x="2853575" y="3085332"/>
                    <a:pt x="2831988" y="3085332"/>
                  </a:cubicBezTo>
                  <a:cubicBezTo>
                    <a:pt x="2810401" y="3085332"/>
                    <a:pt x="2792901" y="3067832"/>
                    <a:pt x="2792901" y="3046245"/>
                  </a:cubicBezTo>
                  <a:cubicBezTo>
                    <a:pt x="2792901" y="3024657"/>
                    <a:pt x="2810401" y="3007157"/>
                    <a:pt x="2831988" y="3007157"/>
                  </a:cubicBezTo>
                  <a:close/>
                  <a:moveTo>
                    <a:pt x="1611133" y="3007157"/>
                  </a:moveTo>
                  <a:cubicBezTo>
                    <a:pt x="1632719" y="3007157"/>
                    <a:pt x="1650221" y="3024657"/>
                    <a:pt x="1650221" y="3046245"/>
                  </a:cubicBezTo>
                  <a:cubicBezTo>
                    <a:pt x="1650221" y="3067832"/>
                    <a:pt x="1632719" y="3085332"/>
                    <a:pt x="1611133" y="3085332"/>
                  </a:cubicBezTo>
                  <a:cubicBezTo>
                    <a:pt x="1589551" y="3085332"/>
                    <a:pt x="1572051" y="3067832"/>
                    <a:pt x="1572051" y="3046245"/>
                  </a:cubicBezTo>
                  <a:cubicBezTo>
                    <a:pt x="1572051" y="3024657"/>
                    <a:pt x="1589551" y="3007157"/>
                    <a:pt x="1611133" y="3007157"/>
                  </a:cubicBezTo>
                  <a:close/>
                  <a:moveTo>
                    <a:pt x="1516497" y="3007157"/>
                  </a:moveTo>
                  <a:cubicBezTo>
                    <a:pt x="1538084" y="3007157"/>
                    <a:pt x="1555584" y="3024657"/>
                    <a:pt x="1555584" y="3046245"/>
                  </a:cubicBezTo>
                  <a:cubicBezTo>
                    <a:pt x="1555584" y="3067832"/>
                    <a:pt x="1538084" y="3085332"/>
                    <a:pt x="1516497" y="3085332"/>
                  </a:cubicBezTo>
                  <a:cubicBezTo>
                    <a:pt x="1494909" y="3085332"/>
                    <a:pt x="1477409" y="3067832"/>
                    <a:pt x="1477409" y="3046245"/>
                  </a:cubicBezTo>
                  <a:cubicBezTo>
                    <a:pt x="1477409" y="3024657"/>
                    <a:pt x="1494909" y="3007157"/>
                    <a:pt x="1516497" y="3007157"/>
                  </a:cubicBezTo>
                  <a:close/>
                  <a:moveTo>
                    <a:pt x="1419492" y="3007157"/>
                  </a:moveTo>
                  <a:cubicBezTo>
                    <a:pt x="1441079" y="3007157"/>
                    <a:pt x="1458579" y="3024657"/>
                    <a:pt x="1458579" y="3046245"/>
                  </a:cubicBezTo>
                  <a:cubicBezTo>
                    <a:pt x="1458579" y="3067832"/>
                    <a:pt x="1441079" y="3085332"/>
                    <a:pt x="1419492" y="3085332"/>
                  </a:cubicBezTo>
                  <a:cubicBezTo>
                    <a:pt x="1397905" y="3085332"/>
                    <a:pt x="1380404" y="3067832"/>
                    <a:pt x="1380404" y="3046245"/>
                  </a:cubicBezTo>
                  <a:cubicBezTo>
                    <a:pt x="1380404" y="3024657"/>
                    <a:pt x="1397905" y="3007157"/>
                    <a:pt x="1419492" y="3007157"/>
                  </a:cubicBezTo>
                  <a:close/>
                  <a:moveTo>
                    <a:pt x="1329583" y="3007157"/>
                  </a:moveTo>
                  <a:cubicBezTo>
                    <a:pt x="1351171" y="3007157"/>
                    <a:pt x="1368670" y="3024657"/>
                    <a:pt x="1368670" y="3046245"/>
                  </a:cubicBezTo>
                  <a:cubicBezTo>
                    <a:pt x="1368670" y="3067832"/>
                    <a:pt x="1351171" y="3085332"/>
                    <a:pt x="1329583" y="3085332"/>
                  </a:cubicBezTo>
                  <a:cubicBezTo>
                    <a:pt x="1307997" y="3085332"/>
                    <a:pt x="1290496" y="3067832"/>
                    <a:pt x="1290496" y="3046245"/>
                  </a:cubicBezTo>
                  <a:cubicBezTo>
                    <a:pt x="1290496" y="3024657"/>
                    <a:pt x="1307997" y="3007157"/>
                    <a:pt x="1329583" y="3007157"/>
                  </a:cubicBezTo>
                  <a:close/>
                  <a:moveTo>
                    <a:pt x="1232579" y="3007157"/>
                  </a:moveTo>
                  <a:cubicBezTo>
                    <a:pt x="1254166" y="3007157"/>
                    <a:pt x="1271666" y="3024657"/>
                    <a:pt x="1271666" y="3046245"/>
                  </a:cubicBezTo>
                  <a:cubicBezTo>
                    <a:pt x="1271666" y="3067832"/>
                    <a:pt x="1254166" y="3085332"/>
                    <a:pt x="1232579" y="3085332"/>
                  </a:cubicBezTo>
                  <a:cubicBezTo>
                    <a:pt x="1210991" y="3085332"/>
                    <a:pt x="1193493" y="3067832"/>
                    <a:pt x="1193493" y="3046245"/>
                  </a:cubicBezTo>
                  <a:cubicBezTo>
                    <a:pt x="1193493" y="3024657"/>
                    <a:pt x="1210991" y="3007157"/>
                    <a:pt x="1232579" y="3007157"/>
                  </a:cubicBezTo>
                  <a:close/>
                  <a:moveTo>
                    <a:pt x="1142670" y="3007157"/>
                  </a:moveTo>
                  <a:cubicBezTo>
                    <a:pt x="1164257" y="3007157"/>
                    <a:pt x="1181758" y="3024657"/>
                    <a:pt x="1181758" y="3046245"/>
                  </a:cubicBezTo>
                  <a:cubicBezTo>
                    <a:pt x="1181758" y="3067832"/>
                    <a:pt x="1164257" y="3085332"/>
                    <a:pt x="1142670" y="3085332"/>
                  </a:cubicBezTo>
                  <a:cubicBezTo>
                    <a:pt x="1121082" y="3085332"/>
                    <a:pt x="1103582" y="3067832"/>
                    <a:pt x="1103582" y="3046245"/>
                  </a:cubicBezTo>
                  <a:cubicBezTo>
                    <a:pt x="1103582" y="3024657"/>
                    <a:pt x="1121082" y="3007157"/>
                    <a:pt x="1142670" y="3007157"/>
                  </a:cubicBezTo>
                  <a:close/>
                  <a:moveTo>
                    <a:pt x="3111177" y="2919617"/>
                  </a:moveTo>
                  <a:cubicBezTo>
                    <a:pt x="3132764" y="2919617"/>
                    <a:pt x="3150264" y="2937117"/>
                    <a:pt x="3150264" y="2958704"/>
                  </a:cubicBezTo>
                  <a:cubicBezTo>
                    <a:pt x="3150264" y="2980291"/>
                    <a:pt x="3132764" y="2997791"/>
                    <a:pt x="3111177" y="2997791"/>
                  </a:cubicBezTo>
                  <a:cubicBezTo>
                    <a:pt x="3089589" y="2997791"/>
                    <a:pt x="3072089" y="2980291"/>
                    <a:pt x="3072089" y="2958704"/>
                  </a:cubicBezTo>
                  <a:cubicBezTo>
                    <a:pt x="3072089" y="2937117"/>
                    <a:pt x="3089589" y="2919617"/>
                    <a:pt x="3111177" y="2919617"/>
                  </a:cubicBezTo>
                  <a:close/>
                  <a:moveTo>
                    <a:pt x="3018902" y="2919617"/>
                  </a:moveTo>
                  <a:cubicBezTo>
                    <a:pt x="3040489" y="2919617"/>
                    <a:pt x="3057989" y="2937117"/>
                    <a:pt x="3057989" y="2958704"/>
                  </a:cubicBezTo>
                  <a:cubicBezTo>
                    <a:pt x="3057989" y="2980291"/>
                    <a:pt x="3040489" y="2997791"/>
                    <a:pt x="3018902" y="2997791"/>
                  </a:cubicBezTo>
                  <a:cubicBezTo>
                    <a:pt x="2997315" y="2997791"/>
                    <a:pt x="2979815" y="2980291"/>
                    <a:pt x="2979815" y="2958704"/>
                  </a:cubicBezTo>
                  <a:cubicBezTo>
                    <a:pt x="2979815" y="2937117"/>
                    <a:pt x="2997315" y="2919617"/>
                    <a:pt x="3018902" y="2919617"/>
                  </a:cubicBezTo>
                  <a:close/>
                  <a:moveTo>
                    <a:pt x="2831988" y="2919617"/>
                  </a:moveTo>
                  <a:cubicBezTo>
                    <a:pt x="2853575" y="2919617"/>
                    <a:pt x="2871075" y="2937117"/>
                    <a:pt x="2871075" y="2958704"/>
                  </a:cubicBezTo>
                  <a:cubicBezTo>
                    <a:pt x="2871075" y="2980291"/>
                    <a:pt x="2853575" y="2997791"/>
                    <a:pt x="2831988" y="2997791"/>
                  </a:cubicBezTo>
                  <a:cubicBezTo>
                    <a:pt x="2810401" y="2997791"/>
                    <a:pt x="2792901" y="2980291"/>
                    <a:pt x="2792901" y="2958704"/>
                  </a:cubicBezTo>
                  <a:cubicBezTo>
                    <a:pt x="2792901" y="2937117"/>
                    <a:pt x="2810401" y="2919617"/>
                    <a:pt x="2831988" y="2919617"/>
                  </a:cubicBezTo>
                  <a:close/>
                  <a:moveTo>
                    <a:pt x="1611133" y="2919617"/>
                  </a:moveTo>
                  <a:cubicBezTo>
                    <a:pt x="1632719" y="2919617"/>
                    <a:pt x="1650221" y="2937117"/>
                    <a:pt x="1650221" y="2958704"/>
                  </a:cubicBezTo>
                  <a:cubicBezTo>
                    <a:pt x="1650221" y="2980291"/>
                    <a:pt x="1632719" y="2997791"/>
                    <a:pt x="1611133" y="2997791"/>
                  </a:cubicBezTo>
                  <a:cubicBezTo>
                    <a:pt x="1589553" y="2997791"/>
                    <a:pt x="1572053" y="2980291"/>
                    <a:pt x="1572053" y="2958704"/>
                  </a:cubicBezTo>
                  <a:cubicBezTo>
                    <a:pt x="1572053" y="2937117"/>
                    <a:pt x="1589553" y="2919617"/>
                    <a:pt x="1611133" y="2919617"/>
                  </a:cubicBezTo>
                  <a:close/>
                  <a:moveTo>
                    <a:pt x="1516498" y="2919617"/>
                  </a:moveTo>
                  <a:cubicBezTo>
                    <a:pt x="1538086" y="2919617"/>
                    <a:pt x="1555586" y="2937117"/>
                    <a:pt x="1555586" y="2958704"/>
                  </a:cubicBezTo>
                  <a:cubicBezTo>
                    <a:pt x="1555586" y="2980291"/>
                    <a:pt x="1538086" y="2997791"/>
                    <a:pt x="1516498" y="2997791"/>
                  </a:cubicBezTo>
                  <a:cubicBezTo>
                    <a:pt x="1494911" y="2997791"/>
                    <a:pt x="1477411" y="2980291"/>
                    <a:pt x="1477411" y="2958704"/>
                  </a:cubicBezTo>
                  <a:cubicBezTo>
                    <a:pt x="1477411" y="2937117"/>
                    <a:pt x="1494911" y="2919617"/>
                    <a:pt x="1516498" y="2919617"/>
                  </a:cubicBezTo>
                  <a:close/>
                  <a:moveTo>
                    <a:pt x="1329585" y="2919617"/>
                  </a:moveTo>
                  <a:cubicBezTo>
                    <a:pt x="1351172" y="2919617"/>
                    <a:pt x="1368672" y="2937117"/>
                    <a:pt x="1368672" y="2958704"/>
                  </a:cubicBezTo>
                  <a:cubicBezTo>
                    <a:pt x="1368672" y="2980291"/>
                    <a:pt x="1351172" y="2997791"/>
                    <a:pt x="1329585" y="2997791"/>
                  </a:cubicBezTo>
                  <a:cubicBezTo>
                    <a:pt x="1307998" y="2997791"/>
                    <a:pt x="1290499" y="2980291"/>
                    <a:pt x="1290499" y="2958704"/>
                  </a:cubicBezTo>
                  <a:cubicBezTo>
                    <a:pt x="1290499" y="2937117"/>
                    <a:pt x="1307998" y="2919617"/>
                    <a:pt x="1329585" y="2919617"/>
                  </a:cubicBezTo>
                  <a:close/>
                  <a:moveTo>
                    <a:pt x="3489737" y="2919616"/>
                  </a:moveTo>
                  <a:lnTo>
                    <a:pt x="3508003" y="2927183"/>
                  </a:lnTo>
                  <a:lnTo>
                    <a:pt x="3463371" y="2986869"/>
                  </a:lnTo>
                  <a:lnTo>
                    <a:pt x="3462097" y="2986342"/>
                  </a:lnTo>
                  <a:cubicBezTo>
                    <a:pt x="3455024" y="2979269"/>
                    <a:pt x="3450649" y="2969497"/>
                    <a:pt x="3450649" y="2958703"/>
                  </a:cubicBezTo>
                  <a:cubicBezTo>
                    <a:pt x="3450649" y="2937116"/>
                    <a:pt x="3468149" y="2919616"/>
                    <a:pt x="3489737" y="2919616"/>
                  </a:cubicBezTo>
                  <a:close/>
                  <a:moveTo>
                    <a:pt x="3205817" y="2919616"/>
                  </a:moveTo>
                  <a:cubicBezTo>
                    <a:pt x="3227404" y="2919616"/>
                    <a:pt x="3244904" y="2937116"/>
                    <a:pt x="3244904" y="2958703"/>
                  </a:cubicBezTo>
                  <a:cubicBezTo>
                    <a:pt x="3244904" y="2980290"/>
                    <a:pt x="3227404" y="2997790"/>
                    <a:pt x="3205817" y="2997790"/>
                  </a:cubicBezTo>
                  <a:cubicBezTo>
                    <a:pt x="3184229" y="2997790"/>
                    <a:pt x="3166729" y="2980290"/>
                    <a:pt x="3166729" y="2958703"/>
                  </a:cubicBezTo>
                  <a:cubicBezTo>
                    <a:pt x="3166729" y="2937116"/>
                    <a:pt x="3184229" y="2919616"/>
                    <a:pt x="3205817" y="2919616"/>
                  </a:cubicBezTo>
                  <a:close/>
                  <a:moveTo>
                    <a:pt x="2924263" y="2919616"/>
                  </a:moveTo>
                  <a:cubicBezTo>
                    <a:pt x="2945850" y="2919616"/>
                    <a:pt x="2963349" y="2937116"/>
                    <a:pt x="2963349" y="2958703"/>
                  </a:cubicBezTo>
                  <a:cubicBezTo>
                    <a:pt x="2963349" y="2980290"/>
                    <a:pt x="2945850" y="2997790"/>
                    <a:pt x="2924263" y="2997790"/>
                  </a:cubicBezTo>
                  <a:cubicBezTo>
                    <a:pt x="2902675" y="2997790"/>
                    <a:pt x="2885175" y="2980290"/>
                    <a:pt x="2885175" y="2958703"/>
                  </a:cubicBezTo>
                  <a:cubicBezTo>
                    <a:pt x="2885175" y="2937116"/>
                    <a:pt x="2902675" y="2919616"/>
                    <a:pt x="2924263" y="2919616"/>
                  </a:cubicBezTo>
                  <a:close/>
                  <a:moveTo>
                    <a:pt x="1703408" y="2919616"/>
                  </a:moveTo>
                  <a:cubicBezTo>
                    <a:pt x="1724994" y="2919616"/>
                    <a:pt x="1742495" y="2937116"/>
                    <a:pt x="1742495" y="2958703"/>
                  </a:cubicBezTo>
                  <a:cubicBezTo>
                    <a:pt x="1742495" y="2980290"/>
                    <a:pt x="1724994" y="2997790"/>
                    <a:pt x="1703408" y="2997790"/>
                  </a:cubicBezTo>
                  <a:cubicBezTo>
                    <a:pt x="1681820" y="2997790"/>
                    <a:pt x="1664321" y="2980290"/>
                    <a:pt x="1664321" y="2958703"/>
                  </a:cubicBezTo>
                  <a:cubicBezTo>
                    <a:pt x="1664321" y="2937116"/>
                    <a:pt x="1681820" y="2919616"/>
                    <a:pt x="1703408" y="2919616"/>
                  </a:cubicBezTo>
                  <a:close/>
                  <a:moveTo>
                    <a:pt x="1419494" y="2919616"/>
                  </a:moveTo>
                  <a:cubicBezTo>
                    <a:pt x="1441081" y="2919616"/>
                    <a:pt x="1458581" y="2937116"/>
                    <a:pt x="1458581" y="2958703"/>
                  </a:cubicBezTo>
                  <a:cubicBezTo>
                    <a:pt x="1458581" y="2980290"/>
                    <a:pt x="1441081" y="2997790"/>
                    <a:pt x="1419494" y="2997790"/>
                  </a:cubicBezTo>
                  <a:cubicBezTo>
                    <a:pt x="1397906" y="2997790"/>
                    <a:pt x="1380407" y="2980290"/>
                    <a:pt x="1380407" y="2958703"/>
                  </a:cubicBezTo>
                  <a:cubicBezTo>
                    <a:pt x="1380407" y="2937116"/>
                    <a:pt x="1397906" y="2919616"/>
                    <a:pt x="1419494" y="2919616"/>
                  </a:cubicBezTo>
                  <a:close/>
                  <a:moveTo>
                    <a:pt x="1232582" y="2919616"/>
                  </a:moveTo>
                  <a:cubicBezTo>
                    <a:pt x="1254169" y="2919616"/>
                    <a:pt x="1271667" y="2937116"/>
                    <a:pt x="1271667" y="2958703"/>
                  </a:cubicBezTo>
                  <a:cubicBezTo>
                    <a:pt x="1271667" y="2980290"/>
                    <a:pt x="1254169" y="2997790"/>
                    <a:pt x="1232582" y="2997790"/>
                  </a:cubicBezTo>
                  <a:cubicBezTo>
                    <a:pt x="1210994" y="2997790"/>
                    <a:pt x="1193494" y="2980290"/>
                    <a:pt x="1193494" y="2958703"/>
                  </a:cubicBezTo>
                  <a:cubicBezTo>
                    <a:pt x="1193494" y="2937116"/>
                    <a:pt x="1210994" y="2919616"/>
                    <a:pt x="1232582" y="2919616"/>
                  </a:cubicBezTo>
                  <a:close/>
                  <a:moveTo>
                    <a:pt x="3489737" y="2832075"/>
                  </a:moveTo>
                  <a:cubicBezTo>
                    <a:pt x="3511324" y="2832075"/>
                    <a:pt x="3528823" y="2849575"/>
                    <a:pt x="3528823" y="2871162"/>
                  </a:cubicBezTo>
                  <a:cubicBezTo>
                    <a:pt x="3528823" y="2892749"/>
                    <a:pt x="3511324" y="2910249"/>
                    <a:pt x="3489737" y="2910249"/>
                  </a:cubicBezTo>
                  <a:cubicBezTo>
                    <a:pt x="3468149" y="2910249"/>
                    <a:pt x="3450649" y="2892749"/>
                    <a:pt x="3450649" y="2871162"/>
                  </a:cubicBezTo>
                  <a:cubicBezTo>
                    <a:pt x="3450649" y="2849575"/>
                    <a:pt x="3468149" y="2832075"/>
                    <a:pt x="3489737" y="2832075"/>
                  </a:cubicBezTo>
                  <a:close/>
                  <a:moveTo>
                    <a:pt x="3300457" y="2832075"/>
                  </a:moveTo>
                  <a:cubicBezTo>
                    <a:pt x="3322044" y="2832075"/>
                    <a:pt x="3339544" y="2849575"/>
                    <a:pt x="3339544" y="2871162"/>
                  </a:cubicBezTo>
                  <a:cubicBezTo>
                    <a:pt x="3339544" y="2892749"/>
                    <a:pt x="3322044" y="2910249"/>
                    <a:pt x="3300457" y="2910249"/>
                  </a:cubicBezTo>
                  <a:cubicBezTo>
                    <a:pt x="3278869" y="2910249"/>
                    <a:pt x="3261369" y="2892749"/>
                    <a:pt x="3261369" y="2871162"/>
                  </a:cubicBezTo>
                  <a:cubicBezTo>
                    <a:pt x="3261369" y="2849575"/>
                    <a:pt x="3278869" y="2832075"/>
                    <a:pt x="3300457" y="2832075"/>
                  </a:cubicBezTo>
                  <a:close/>
                  <a:moveTo>
                    <a:pt x="3205817" y="2832075"/>
                  </a:moveTo>
                  <a:cubicBezTo>
                    <a:pt x="3227404" y="2832075"/>
                    <a:pt x="3244904" y="2849575"/>
                    <a:pt x="3244904" y="2871162"/>
                  </a:cubicBezTo>
                  <a:cubicBezTo>
                    <a:pt x="3244904" y="2892749"/>
                    <a:pt x="3227404" y="2910249"/>
                    <a:pt x="3205817" y="2910249"/>
                  </a:cubicBezTo>
                  <a:cubicBezTo>
                    <a:pt x="3184229" y="2910249"/>
                    <a:pt x="3166729" y="2892749"/>
                    <a:pt x="3166729" y="2871162"/>
                  </a:cubicBezTo>
                  <a:cubicBezTo>
                    <a:pt x="3166729" y="2849575"/>
                    <a:pt x="3184229" y="2832075"/>
                    <a:pt x="3205817" y="2832075"/>
                  </a:cubicBezTo>
                  <a:close/>
                  <a:moveTo>
                    <a:pt x="3111177" y="2832075"/>
                  </a:moveTo>
                  <a:cubicBezTo>
                    <a:pt x="3132764" y="2832075"/>
                    <a:pt x="3150264" y="2849575"/>
                    <a:pt x="3150264" y="2871162"/>
                  </a:cubicBezTo>
                  <a:cubicBezTo>
                    <a:pt x="3150264" y="2892749"/>
                    <a:pt x="3132764" y="2910249"/>
                    <a:pt x="3111177" y="2910249"/>
                  </a:cubicBezTo>
                  <a:cubicBezTo>
                    <a:pt x="3089589" y="2910249"/>
                    <a:pt x="3072089" y="2892749"/>
                    <a:pt x="3072089" y="2871162"/>
                  </a:cubicBezTo>
                  <a:cubicBezTo>
                    <a:pt x="3072089" y="2849575"/>
                    <a:pt x="3089589" y="2832075"/>
                    <a:pt x="3111177" y="2832075"/>
                  </a:cubicBezTo>
                  <a:close/>
                  <a:moveTo>
                    <a:pt x="3018902" y="2832075"/>
                  </a:moveTo>
                  <a:cubicBezTo>
                    <a:pt x="3040489" y="2832075"/>
                    <a:pt x="3057989" y="2849575"/>
                    <a:pt x="3057989" y="2871162"/>
                  </a:cubicBezTo>
                  <a:cubicBezTo>
                    <a:pt x="3057989" y="2892749"/>
                    <a:pt x="3040489" y="2910249"/>
                    <a:pt x="3018902" y="2910249"/>
                  </a:cubicBezTo>
                  <a:cubicBezTo>
                    <a:pt x="2997315" y="2910249"/>
                    <a:pt x="2979815" y="2892749"/>
                    <a:pt x="2979815" y="2871162"/>
                  </a:cubicBezTo>
                  <a:cubicBezTo>
                    <a:pt x="2979815" y="2849575"/>
                    <a:pt x="2997315" y="2832075"/>
                    <a:pt x="3018902" y="2832075"/>
                  </a:cubicBezTo>
                  <a:close/>
                  <a:moveTo>
                    <a:pt x="2924263" y="2832075"/>
                  </a:moveTo>
                  <a:cubicBezTo>
                    <a:pt x="2945850" y="2832075"/>
                    <a:pt x="2963349" y="2849575"/>
                    <a:pt x="2963349" y="2871162"/>
                  </a:cubicBezTo>
                  <a:cubicBezTo>
                    <a:pt x="2963349" y="2892749"/>
                    <a:pt x="2945850" y="2910249"/>
                    <a:pt x="2924263" y="2910249"/>
                  </a:cubicBezTo>
                  <a:cubicBezTo>
                    <a:pt x="2902675" y="2910249"/>
                    <a:pt x="2885175" y="2892749"/>
                    <a:pt x="2885175" y="2871162"/>
                  </a:cubicBezTo>
                  <a:cubicBezTo>
                    <a:pt x="2885175" y="2849575"/>
                    <a:pt x="2902675" y="2832075"/>
                    <a:pt x="2924263" y="2832075"/>
                  </a:cubicBezTo>
                  <a:close/>
                  <a:moveTo>
                    <a:pt x="2831988" y="2832075"/>
                  </a:moveTo>
                  <a:cubicBezTo>
                    <a:pt x="2853575" y="2832075"/>
                    <a:pt x="2871075" y="2849575"/>
                    <a:pt x="2871075" y="2871162"/>
                  </a:cubicBezTo>
                  <a:cubicBezTo>
                    <a:pt x="2871075" y="2892749"/>
                    <a:pt x="2853575" y="2910249"/>
                    <a:pt x="2831988" y="2910249"/>
                  </a:cubicBezTo>
                  <a:cubicBezTo>
                    <a:pt x="2810401" y="2910249"/>
                    <a:pt x="2792901" y="2892749"/>
                    <a:pt x="2792901" y="2871162"/>
                  </a:cubicBezTo>
                  <a:cubicBezTo>
                    <a:pt x="2792901" y="2849575"/>
                    <a:pt x="2810401" y="2832075"/>
                    <a:pt x="2831988" y="2832075"/>
                  </a:cubicBezTo>
                  <a:close/>
                  <a:moveTo>
                    <a:pt x="1703409" y="2832075"/>
                  </a:moveTo>
                  <a:cubicBezTo>
                    <a:pt x="1724996" y="2832075"/>
                    <a:pt x="1742495" y="2849575"/>
                    <a:pt x="1742495" y="2871162"/>
                  </a:cubicBezTo>
                  <a:cubicBezTo>
                    <a:pt x="1742495" y="2892749"/>
                    <a:pt x="1724996" y="2910249"/>
                    <a:pt x="1703409" y="2910249"/>
                  </a:cubicBezTo>
                  <a:cubicBezTo>
                    <a:pt x="1681822" y="2910249"/>
                    <a:pt x="1664321" y="2892749"/>
                    <a:pt x="1664321" y="2871162"/>
                  </a:cubicBezTo>
                  <a:cubicBezTo>
                    <a:pt x="1664321" y="2849575"/>
                    <a:pt x="1681822" y="2832075"/>
                    <a:pt x="1703409" y="2832075"/>
                  </a:cubicBezTo>
                  <a:close/>
                  <a:moveTo>
                    <a:pt x="1611133" y="2832075"/>
                  </a:moveTo>
                  <a:cubicBezTo>
                    <a:pt x="1632721" y="2832075"/>
                    <a:pt x="1650221" y="2849575"/>
                    <a:pt x="1650221" y="2871162"/>
                  </a:cubicBezTo>
                  <a:cubicBezTo>
                    <a:pt x="1650221" y="2892749"/>
                    <a:pt x="1632721" y="2910249"/>
                    <a:pt x="1611133" y="2910249"/>
                  </a:cubicBezTo>
                  <a:cubicBezTo>
                    <a:pt x="1589554" y="2910249"/>
                    <a:pt x="1572054" y="2892749"/>
                    <a:pt x="1572054" y="2871162"/>
                  </a:cubicBezTo>
                  <a:cubicBezTo>
                    <a:pt x="1572054" y="2849575"/>
                    <a:pt x="1589554" y="2832075"/>
                    <a:pt x="1611133" y="2832075"/>
                  </a:cubicBezTo>
                  <a:close/>
                  <a:moveTo>
                    <a:pt x="1516501" y="2832075"/>
                  </a:moveTo>
                  <a:cubicBezTo>
                    <a:pt x="1538087" y="2832075"/>
                    <a:pt x="1555588" y="2849575"/>
                    <a:pt x="1555588" y="2871162"/>
                  </a:cubicBezTo>
                  <a:cubicBezTo>
                    <a:pt x="1555588" y="2892749"/>
                    <a:pt x="1538087" y="2910249"/>
                    <a:pt x="1516501" y="2910249"/>
                  </a:cubicBezTo>
                  <a:cubicBezTo>
                    <a:pt x="1494913" y="2910249"/>
                    <a:pt x="1477413" y="2892749"/>
                    <a:pt x="1477413" y="2871162"/>
                  </a:cubicBezTo>
                  <a:cubicBezTo>
                    <a:pt x="1477413" y="2849575"/>
                    <a:pt x="1494913" y="2832075"/>
                    <a:pt x="1516501" y="2832075"/>
                  </a:cubicBezTo>
                  <a:close/>
                  <a:moveTo>
                    <a:pt x="1419496" y="2832075"/>
                  </a:moveTo>
                  <a:cubicBezTo>
                    <a:pt x="1441083" y="2832075"/>
                    <a:pt x="1458583" y="2849575"/>
                    <a:pt x="1458583" y="2871162"/>
                  </a:cubicBezTo>
                  <a:cubicBezTo>
                    <a:pt x="1458583" y="2892749"/>
                    <a:pt x="1441083" y="2910249"/>
                    <a:pt x="1419496" y="2910249"/>
                  </a:cubicBezTo>
                  <a:cubicBezTo>
                    <a:pt x="1397907" y="2910249"/>
                    <a:pt x="1380408" y="2892749"/>
                    <a:pt x="1380408" y="2871162"/>
                  </a:cubicBezTo>
                  <a:cubicBezTo>
                    <a:pt x="1380408" y="2849575"/>
                    <a:pt x="1397907" y="2832075"/>
                    <a:pt x="1419496" y="2832075"/>
                  </a:cubicBezTo>
                  <a:close/>
                  <a:moveTo>
                    <a:pt x="1329587" y="2832075"/>
                  </a:moveTo>
                  <a:cubicBezTo>
                    <a:pt x="1351174" y="2832075"/>
                    <a:pt x="1368674" y="2849575"/>
                    <a:pt x="1368674" y="2871162"/>
                  </a:cubicBezTo>
                  <a:cubicBezTo>
                    <a:pt x="1368674" y="2892749"/>
                    <a:pt x="1351174" y="2910249"/>
                    <a:pt x="1329587" y="2910249"/>
                  </a:cubicBezTo>
                  <a:cubicBezTo>
                    <a:pt x="1308000" y="2910249"/>
                    <a:pt x="1290500" y="2892749"/>
                    <a:pt x="1290500" y="2871162"/>
                  </a:cubicBezTo>
                  <a:cubicBezTo>
                    <a:pt x="1290500" y="2849575"/>
                    <a:pt x="1308000" y="2832075"/>
                    <a:pt x="1329587" y="2832075"/>
                  </a:cubicBezTo>
                  <a:close/>
                  <a:moveTo>
                    <a:pt x="1232583" y="2832075"/>
                  </a:moveTo>
                  <a:cubicBezTo>
                    <a:pt x="1254171" y="2832075"/>
                    <a:pt x="1271669" y="2849575"/>
                    <a:pt x="1271669" y="2871162"/>
                  </a:cubicBezTo>
                  <a:cubicBezTo>
                    <a:pt x="1271669" y="2892749"/>
                    <a:pt x="1254171" y="2910249"/>
                    <a:pt x="1232583" y="2910249"/>
                  </a:cubicBezTo>
                  <a:cubicBezTo>
                    <a:pt x="1210996" y="2910249"/>
                    <a:pt x="1193496" y="2892749"/>
                    <a:pt x="1193496" y="2871162"/>
                  </a:cubicBezTo>
                  <a:cubicBezTo>
                    <a:pt x="1193496" y="2849575"/>
                    <a:pt x="1210996" y="2832075"/>
                    <a:pt x="1232583" y="2832075"/>
                  </a:cubicBezTo>
                  <a:close/>
                  <a:moveTo>
                    <a:pt x="3489737" y="2742165"/>
                  </a:moveTo>
                  <a:cubicBezTo>
                    <a:pt x="3511324" y="2742165"/>
                    <a:pt x="3528823" y="2759665"/>
                    <a:pt x="3528823" y="2781252"/>
                  </a:cubicBezTo>
                  <a:cubicBezTo>
                    <a:pt x="3528823" y="2802840"/>
                    <a:pt x="3511324" y="2820339"/>
                    <a:pt x="3489737" y="2820339"/>
                  </a:cubicBezTo>
                  <a:cubicBezTo>
                    <a:pt x="3468149" y="2820339"/>
                    <a:pt x="3450649" y="2802840"/>
                    <a:pt x="3450649" y="2781252"/>
                  </a:cubicBezTo>
                  <a:cubicBezTo>
                    <a:pt x="3450649" y="2759665"/>
                    <a:pt x="3468149" y="2742165"/>
                    <a:pt x="3489737" y="2742165"/>
                  </a:cubicBezTo>
                  <a:close/>
                  <a:moveTo>
                    <a:pt x="3300457" y="2664088"/>
                  </a:moveTo>
                  <a:cubicBezTo>
                    <a:pt x="3322044" y="2664088"/>
                    <a:pt x="3339544" y="2681588"/>
                    <a:pt x="3339544" y="2703175"/>
                  </a:cubicBezTo>
                  <a:cubicBezTo>
                    <a:pt x="3339544" y="2719366"/>
                    <a:pt x="3329700" y="2733257"/>
                    <a:pt x="3315671" y="2739190"/>
                  </a:cubicBezTo>
                  <a:lnTo>
                    <a:pt x="3300696" y="2742214"/>
                  </a:lnTo>
                  <a:lnTo>
                    <a:pt x="3315671" y="2745237"/>
                  </a:lnTo>
                  <a:cubicBezTo>
                    <a:pt x="3329700" y="2751171"/>
                    <a:pt x="3339544" y="2765062"/>
                    <a:pt x="3339544" y="2781252"/>
                  </a:cubicBezTo>
                  <a:cubicBezTo>
                    <a:pt x="3339544" y="2802840"/>
                    <a:pt x="3322044" y="2820339"/>
                    <a:pt x="3300457" y="2820339"/>
                  </a:cubicBezTo>
                  <a:cubicBezTo>
                    <a:pt x="3278869" y="2820339"/>
                    <a:pt x="3261369" y="2802840"/>
                    <a:pt x="3261369" y="2781252"/>
                  </a:cubicBezTo>
                  <a:cubicBezTo>
                    <a:pt x="3261369" y="2765062"/>
                    <a:pt x="3271213" y="2751171"/>
                    <a:pt x="3285242" y="2745237"/>
                  </a:cubicBezTo>
                  <a:lnTo>
                    <a:pt x="3300217" y="2742214"/>
                  </a:lnTo>
                  <a:lnTo>
                    <a:pt x="3285242" y="2739190"/>
                  </a:lnTo>
                  <a:cubicBezTo>
                    <a:pt x="3271213" y="2733257"/>
                    <a:pt x="3261369" y="2719366"/>
                    <a:pt x="3261369" y="2703175"/>
                  </a:cubicBezTo>
                  <a:cubicBezTo>
                    <a:pt x="3261369" y="2681588"/>
                    <a:pt x="3278869" y="2664088"/>
                    <a:pt x="3300457" y="2664088"/>
                  </a:cubicBezTo>
                  <a:close/>
                  <a:moveTo>
                    <a:pt x="3111177" y="2664088"/>
                  </a:moveTo>
                  <a:cubicBezTo>
                    <a:pt x="3132764" y="2664088"/>
                    <a:pt x="3150264" y="2681588"/>
                    <a:pt x="3150264" y="2703175"/>
                  </a:cubicBezTo>
                  <a:cubicBezTo>
                    <a:pt x="3150264" y="2719366"/>
                    <a:pt x="3140420" y="2733257"/>
                    <a:pt x="3126391" y="2739190"/>
                  </a:cubicBezTo>
                  <a:lnTo>
                    <a:pt x="3111417" y="2742214"/>
                  </a:lnTo>
                  <a:lnTo>
                    <a:pt x="3126391" y="2745237"/>
                  </a:lnTo>
                  <a:cubicBezTo>
                    <a:pt x="3140420" y="2751171"/>
                    <a:pt x="3150264" y="2765062"/>
                    <a:pt x="3150264" y="2781252"/>
                  </a:cubicBezTo>
                  <a:cubicBezTo>
                    <a:pt x="3150264" y="2802840"/>
                    <a:pt x="3132764" y="2820339"/>
                    <a:pt x="3111177" y="2820339"/>
                  </a:cubicBezTo>
                  <a:cubicBezTo>
                    <a:pt x="3089589" y="2820339"/>
                    <a:pt x="3072089" y="2802840"/>
                    <a:pt x="3072089" y="2781252"/>
                  </a:cubicBezTo>
                  <a:cubicBezTo>
                    <a:pt x="3072089" y="2765062"/>
                    <a:pt x="3081933" y="2751171"/>
                    <a:pt x="3095962" y="2745237"/>
                  </a:cubicBezTo>
                  <a:lnTo>
                    <a:pt x="3110937" y="2742214"/>
                  </a:lnTo>
                  <a:lnTo>
                    <a:pt x="3095962" y="2739190"/>
                  </a:lnTo>
                  <a:cubicBezTo>
                    <a:pt x="3081933" y="2733257"/>
                    <a:pt x="3072089" y="2719366"/>
                    <a:pt x="3072089" y="2703175"/>
                  </a:cubicBezTo>
                  <a:cubicBezTo>
                    <a:pt x="3072089" y="2681588"/>
                    <a:pt x="3089589" y="2664088"/>
                    <a:pt x="3111177" y="2664088"/>
                  </a:cubicBezTo>
                  <a:close/>
                  <a:moveTo>
                    <a:pt x="3018902" y="2664088"/>
                  </a:moveTo>
                  <a:cubicBezTo>
                    <a:pt x="3040489" y="2664088"/>
                    <a:pt x="3057989" y="2681588"/>
                    <a:pt x="3057989" y="2703175"/>
                  </a:cubicBezTo>
                  <a:cubicBezTo>
                    <a:pt x="3057989" y="2719366"/>
                    <a:pt x="3048145" y="2733257"/>
                    <a:pt x="3034117" y="2739190"/>
                  </a:cubicBezTo>
                  <a:lnTo>
                    <a:pt x="3019142" y="2742214"/>
                  </a:lnTo>
                  <a:lnTo>
                    <a:pt x="3034117" y="2745237"/>
                  </a:lnTo>
                  <a:cubicBezTo>
                    <a:pt x="3048145" y="2751171"/>
                    <a:pt x="3057989" y="2765062"/>
                    <a:pt x="3057989" y="2781252"/>
                  </a:cubicBezTo>
                  <a:cubicBezTo>
                    <a:pt x="3057989" y="2802840"/>
                    <a:pt x="3040489" y="2820339"/>
                    <a:pt x="3018902" y="2820339"/>
                  </a:cubicBezTo>
                  <a:cubicBezTo>
                    <a:pt x="2997315" y="2820339"/>
                    <a:pt x="2979815" y="2802840"/>
                    <a:pt x="2979815" y="2781252"/>
                  </a:cubicBezTo>
                  <a:cubicBezTo>
                    <a:pt x="2979815" y="2765062"/>
                    <a:pt x="2989659" y="2751171"/>
                    <a:pt x="3003687" y="2745237"/>
                  </a:cubicBezTo>
                  <a:lnTo>
                    <a:pt x="3018663" y="2742214"/>
                  </a:lnTo>
                  <a:lnTo>
                    <a:pt x="3003687" y="2739190"/>
                  </a:lnTo>
                  <a:cubicBezTo>
                    <a:pt x="2989659" y="2733257"/>
                    <a:pt x="2979815" y="2719366"/>
                    <a:pt x="2979815" y="2703175"/>
                  </a:cubicBezTo>
                  <a:cubicBezTo>
                    <a:pt x="2979815" y="2681588"/>
                    <a:pt x="2997315" y="2664088"/>
                    <a:pt x="3018902" y="2664088"/>
                  </a:cubicBezTo>
                  <a:close/>
                  <a:moveTo>
                    <a:pt x="2831988" y="2664088"/>
                  </a:moveTo>
                  <a:cubicBezTo>
                    <a:pt x="2853575" y="2664088"/>
                    <a:pt x="2871075" y="2681588"/>
                    <a:pt x="2871075" y="2703175"/>
                  </a:cubicBezTo>
                  <a:cubicBezTo>
                    <a:pt x="2871075" y="2719366"/>
                    <a:pt x="2861231" y="2733257"/>
                    <a:pt x="2847202" y="2739190"/>
                  </a:cubicBezTo>
                  <a:lnTo>
                    <a:pt x="2832228" y="2742214"/>
                  </a:lnTo>
                  <a:lnTo>
                    <a:pt x="2847202" y="2745237"/>
                  </a:lnTo>
                  <a:cubicBezTo>
                    <a:pt x="2861231" y="2751171"/>
                    <a:pt x="2871075" y="2765062"/>
                    <a:pt x="2871075" y="2781252"/>
                  </a:cubicBezTo>
                  <a:cubicBezTo>
                    <a:pt x="2871075" y="2802840"/>
                    <a:pt x="2853575" y="2820339"/>
                    <a:pt x="2831988" y="2820339"/>
                  </a:cubicBezTo>
                  <a:cubicBezTo>
                    <a:pt x="2810401" y="2820339"/>
                    <a:pt x="2792901" y="2802840"/>
                    <a:pt x="2792901" y="2781252"/>
                  </a:cubicBezTo>
                  <a:cubicBezTo>
                    <a:pt x="2792901" y="2765062"/>
                    <a:pt x="2802745" y="2751171"/>
                    <a:pt x="2816773" y="2745237"/>
                  </a:cubicBezTo>
                  <a:lnTo>
                    <a:pt x="2831748" y="2742214"/>
                  </a:lnTo>
                  <a:lnTo>
                    <a:pt x="2816773" y="2739190"/>
                  </a:lnTo>
                  <a:cubicBezTo>
                    <a:pt x="2802745" y="2733257"/>
                    <a:pt x="2792901" y="2719366"/>
                    <a:pt x="2792901" y="2703175"/>
                  </a:cubicBezTo>
                  <a:cubicBezTo>
                    <a:pt x="2792901" y="2681588"/>
                    <a:pt x="2810401" y="2664088"/>
                    <a:pt x="2831988" y="2664088"/>
                  </a:cubicBezTo>
                  <a:close/>
                  <a:moveTo>
                    <a:pt x="1798047" y="2664088"/>
                  </a:moveTo>
                  <a:cubicBezTo>
                    <a:pt x="1819637" y="2664088"/>
                    <a:pt x="1837135" y="2681588"/>
                    <a:pt x="1837135" y="2703175"/>
                  </a:cubicBezTo>
                  <a:cubicBezTo>
                    <a:pt x="1837135" y="2724762"/>
                    <a:pt x="1819637" y="2742262"/>
                    <a:pt x="1798047" y="2742262"/>
                  </a:cubicBezTo>
                  <a:cubicBezTo>
                    <a:pt x="1776460" y="2742262"/>
                    <a:pt x="1758959" y="2724762"/>
                    <a:pt x="1758959" y="2703175"/>
                  </a:cubicBezTo>
                  <a:cubicBezTo>
                    <a:pt x="1758959" y="2681588"/>
                    <a:pt x="1776460" y="2664088"/>
                    <a:pt x="1798047" y="2664088"/>
                  </a:cubicBezTo>
                  <a:close/>
                  <a:moveTo>
                    <a:pt x="1611133" y="2664088"/>
                  </a:moveTo>
                  <a:cubicBezTo>
                    <a:pt x="1632721" y="2664088"/>
                    <a:pt x="1650221" y="2681588"/>
                    <a:pt x="1650221" y="2703175"/>
                  </a:cubicBezTo>
                  <a:cubicBezTo>
                    <a:pt x="1650221" y="2719366"/>
                    <a:pt x="1640376" y="2733257"/>
                    <a:pt x="1626349" y="2739190"/>
                  </a:cubicBezTo>
                  <a:lnTo>
                    <a:pt x="1611371" y="2742214"/>
                  </a:lnTo>
                  <a:lnTo>
                    <a:pt x="1626347" y="2745237"/>
                  </a:lnTo>
                  <a:cubicBezTo>
                    <a:pt x="1640376" y="2751171"/>
                    <a:pt x="1650221" y="2765062"/>
                    <a:pt x="1650221" y="2781252"/>
                  </a:cubicBezTo>
                  <a:cubicBezTo>
                    <a:pt x="1650221" y="2802840"/>
                    <a:pt x="1632721" y="2820339"/>
                    <a:pt x="1611133" y="2820339"/>
                  </a:cubicBezTo>
                  <a:cubicBezTo>
                    <a:pt x="1589556" y="2820339"/>
                    <a:pt x="1572057" y="2802840"/>
                    <a:pt x="1572057" y="2781252"/>
                  </a:cubicBezTo>
                  <a:cubicBezTo>
                    <a:pt x="1572057" y="2765062"/>
                    <a:pt x="1581899" y="2751171"/>
                    <a:pt x="1595929" y="2745237"/>
                  </a:cubicBezTo>
                  <a:lnTo>
                    <a:pt x="1610892" y="2742214"/>
                  </a:lnTo>
                  <a:lnTo>
                    <a:pt x="1595930" y="2739190"/>
                  </a:lnTo>
                  <a:cubicBezTo>
                    <a:pt x="1581901" y="2733257"/>
                    <a:pt x="1572058" y="2719366"/>
                    <a:pt x="1572058" y="2703175"/>
                  </a:cubicBezTo>
                  <a:cubicBezTo>
                    <a:pt x="1572058" y="2681588"/>
                    <a:pt x="1589557" y="2664088"/>
                    <a:pt x="1611133" y="2664088"/>
                  </a:cubicBezTo>
                  <a:close/>
                  <a:moveTo>
                    <a:pt x="1516504" y="2664088"/>
                  </a:moveTo>
                  <a:cubicBezTo>
                    <a:pt x="1538090" y="2664088"/>
                    <a:pt x="1555592" y="2681588"/>
                    <a:pt x="1555592" y="2703175"/>
                  </a:cubicBezTo>
                  <a:cubicBezTo>
                    <a:pt x="1555592" y="2719366"/>
                    <a:pt x="1545748" y="2733257"/>
                    <a:pt x="1531719" y="2739190"/>
                  </a:cubicBezTo>
                  <a:lnTo>
                    <a:pt x="1516743" y="2742214"/>
                  </a:lnTo>
                  <a:lnTo>
                    <a:pt x="1531717" y="2745237"/>
                  </a:lnTo>
                  <a:cubicBezTo>
                    <a:pt x="1545746" y="2751171"/>
                    <a:pt x="1555589" y="2765062"/>
                    <a:pt x="1555589" y="2781252"/>
                  </a:cubicBezTo>
                  <a:cubicBezTo>
                    <a:pt x="1555589" y="2802840"/>
                    <a:pt x="1538089" y="2820339"/>
                    <a:pt x="1516503" y="2820339"/>
                  </a:cubicBezTo>
                  <a:cubicBezTo>
                    <a:pt x="1494914" y="2820339"/>
                    <a:pt x="1477414" y="2802840"/>
                    <a:pt x="1477414" y="2781252"/>
                  </a:cubicBezTo>
                  <a:cubicBezTo>
                    <a:pt x="1477414" y="2765062"/>
                    <a:pt x="1487258" y="2751171"/>
                    <a:pt x="1501288" y="2745237"/>
                  </a:cubicBezTo>
                  <a:lnTo>
                    <a:pt x="1516264" y="2742214"/>
                  </a:lnTo>
                  <a:lnTo>
                    <a:pt x="1501289" y="2739190"/>
                  </a:lnTo>
                  <a:cubicBezTo>
                    <a:pt x="1487259" y="2733257"/>
                    <a:pt x="1477416" y="2719366"/>
                    <a:pt x="1477416" y="2703175"/>
                  </a:cubicBezTo>
                  <a:cubicBezTo>
                    <a:pt x="1477416" y="2681588"/>
                    <a:pt x="1494916" y="2664088"/>
                    <a:pt x="1516504" y="2664088"/>
                  </a:cubicBezTo>
                  <a:close/>
                  <a:moveTo>
                    <a:pt x="1329588" y="2664088"/>
                  </a:moveTo>
                  <a:cubicBezTo>
                    <a:pt x="1351176" y="2664088"/>
                    <a:pt x="1368676" y="2681588"/>
                    <a:pt x="1368676" y="2703175"/>
                  </a:cubicBezTo>
                  <a:cubicBezTo>
                    <a:pt x="1368676" y="2719366"/>
                    <a:pt x="1358832" y="2733257"/>
                    <a:pt x="1344802" y="2739190"/>
                  </a:cubicBezTo>
                  <a:lnTo>
                    <a:pt x="1329828" y="2742214"/>
                  </a:lnTo>
                  <a:lnTo>
                    <a:pt x="1344802" y="2745237"/>
                  </a:lnTo>
                  <a:cubicBezTo>
                    <a:pt x="1358831" y="2751171"/>
                    <a:pt x="1368676" y="2765062"/>
                    <a:pt x="1368676" y="2781252"/>
                  </a:cubicBezTo>
                  <a:cubicBezTo>
                    <a:pt x="1368676" y="2802840"/>
                    <a:pt x="1351176" y="2820339"/>
                    <a:pt x="1329588" y="2820339"/>
                  </a:cubicBezTo>
                  <a:cubicBezTo>
                    <a:pt x="1308003" y="2820339"/>
                    <a:pt x="1290502" y="2802840"/>
                    <a:pt x="1290502" y="2781252"/>
                  </a:cubicBezTo>
                  <a:cubicBezTo>
                    <a:pt x="1290502" y="2765062"/>
                    <a:pt x="1300346" y="2751171"/>
                    <a:pt x="1314375" y="2745237"/>
                  </a:cubicBezTo>
                  <a:lnTo>
                    <a:pt x="1329349" y="2742214"/>
                  </a:lnTo>
                  <a:lnTo>
                    <a:pt x="1314375" y="2739190"/>
                  </a:lnTo>
                  <a:cubicBezTo>
                    <a:pt x="1300346" y="2733257"/>
                    <a:pt x="1290503" y="2719366"/>
                    <a:pt x="1290503" y="2703175"/>
                  </a:cubicBezTo>
                  <a:cubicBezTo>
                    <a:pt x="1290503" y="2681588"/>
                    <a:pt x="1308003" y="2664088"/>
                    <a:pt x="1329588" y="2664088"/>
                  </a:cubicBezTo>
                  <a:close/>
                  <a:moveTo>
                    <a:pt x="1142676" y="2664088"/>
                  </a:moveTo>
                  <a:cubicBezTo>
                    <a:pt x="1164264" y="2664088"/>
                    <a:pt x="1181763" y="2681588"/>
                    <a:pt x="1181763" y="2703175"/>
                  </a:cubicBezTo>
                  <a:cubicBezTo>
                    <a:pt x="1181763" y="2719366"/>
                    <a:pt x="1171919" y="2733257"/>
                    <a:pt x="1157890" y="2739190"/>
                  </a:cubicBezTo>
                  <a:lnTo>
                    <a:pt x="1142916" y="2742214"/>
                  </a:lnTo>
                  <a:lnTo>
                    <a:pt x="1157891" y="2745237"/>
                  </a:lnTo>
                  <a:cubicBezTo>
                    <a:pt x="1171919" y="2751171"/>
                    <a:pt x="1181764" y="2765062"/>
                    <a:pt x="1181764" y="2781252"/>
                  </a:cubicBezTo>
                  <a:cubicBezTo>
                    <a:pt x="1181764" y="2802840"/>
                    <a:pt x="1164265" y="2820339"/>
                    <a:pt x="1142676" y="2820339"/>
                  </a:cubicBezTo>
                  <a:cubicBezTo>
                    <a:pt x="1121088" y="2820339"/>
                    <a:pt x="1103587" y="2802840"/>
                    <a:pt x="1103587" y="2781252"/>
                  </a:cubicBezTo>
                  <a:cubicBezTo>
                    <a:pt x="1103587" y="2765062"/>
                    <a:pt x="1113432" y="2751171"/>
                    <a:pt x="1127461" y="2745237"/>
                  </a:cubicBezTo>
                  <a:lnTo>
                    <a:pt x="1142436" y="2742214"/>
                  </a:lnTo>
                  <a:lnTo>
                    <a:pt x="1127460" y="2739190"/>
                  </a:lnTo>
                  <a:cubicBezTo>
                    <a:pt x="1113430" y="2733257"/>
                    <a:pt x="1103585" y="2719366"/>
                    <a:pt x="1103585" y="2703175"/>
                  </a:cubicBezTo>
                  <a:cubicBezTo>
                    <a:pt x="1103585" y="2681588"/>
                    <a:pt x="1121087" y="2664088"/>
                    <a:pt x="1142676" y="2664088"/>
                  </a:cubicBezTo>
                  <a:close/>
                  <a:moveTo>
                    <a:pt x="3205817" y="2664086"/>
                  </a:moveTo>
                  <a:cubicBezTo>
                    <a:pt x="3227404" y="2664086"/>
                    <a:pt x="3244904" y="2681586"/>
                    <a:pt x="3244904" y="2703174"/>
                  </a:cubicBezTo>
                  <a:cubicBezTo>
                    <a:pt x="3244904" y="2719364"/>
                    <a:pt x="3235060" y="2733256"/>
                    <a:pt x="3221031" y="2739189"/>
                  </a:cubicBezTo>
                  <a:lnTo>
                    <a:pt x="3206053" y="2742213"/>
                  </a:lnTo>
                  <a:lnTo>
                    <a:pt x="3221031" y="2745237"/>
                  </a:lnTo>
                  <a:cubicBezTo>
                    <a:pt x="3235060" y="2751171"/>
                    <a:pt x="3244904" y="2765062"/>
                    <a:pt x="3244904" y="2781252"/>
                  </a:cubicBezTo>
                  <a:cubicBezTo>
                    <a:pt x="3244904" y="2802840"/>
                    <a:pt x="3227404" y="2820339"/>
                    <a:pt x="3205817" y="2820339"/>
                  </a:cubicBezTo>
                  <a:cubicBezTo>
                    <a:pt x="3184229" y="2820339"/>
                    <a:pt x="3166729" y="2802840"/>
                    <a:pt x="3166729" y="2781252"/>
                  </a:cubicBezTo>
                  <a:cubicBezTo>
                    <a:pt x="3166729" y="2765062"/>
                    <a:pt x="3176573" y="2751171"/>
                    <a:pt x="3190602" y="2745237"/>
                  </a:cubicBezTo>
                  <a:lnTo>
                    <a:pt x="3205580" y="2742213"/>
                  </a:lnTo>
                  <a:lnTo>
                    <a:pt x="3190602" y="2739189"/>
                  </a:lnTo>
                  <a:cubicBezTo>
                    <a:pt x="3176573" y="2733256"/>
                    <a:pt x="3166729" y="2719364"/>
                    <a:pt x="3166729" y="2703174"/>
                  </a:cubicBezTo>
                  <a:cubicBezTo>
                    <a:pt x="3166729" y="2681586"/>
                    <a:pt x="3184229" y="2664086"/>
                    <a:pt x="3205817" y="2664086"/>
                  </a:cubicBezTo>
                  <a:close/>
                  <a:moveTo>
                    <a:pt x="2924263" y="2664086"/>
                  </a:moveTo>
                  <a:cubicBezTo>
                    <a:pt x="2945850" y="2664086"/>
                    <a:pt x="2963349" y="2681586"/>
                    <a:pt x="2963349" y="2703174"/>
                  </a:cubicBezTo>
                  <a:cubicBezTo>
                    <a:pt x="2963349" y="2719364"/>
                    <a:pt x="2953506" y="2733256"/>
                    <a:pt x="2939477" y="2739189"/>
                  </a:cubicBezTo>
                  <a:lnTo>
                    <a:pt x="2924499" y="2742213"/>
                  </a:lnTo>
                  <a:lnTo>
                    <a:pt x="2939477" y="2745237"/>
                  </a:lnTo>
                  <a:cubicBezTo>
                    <a:pt x="2953506" y="2751171"/>
                    <a:pt x="2963349" y="2765062"/>
                    <a:pt x="2963349" y="2781252"/>
                  </a:cubicBezTo>
                  <a:cubicBezTo>
                    <a:pt x="2963349" y="2802840"/>
                    <a:pt x="2945850" y="2820339"/>
                    <a:pt x="2924263" y="2820339"/>
                  </a:cubicBezTo>
                  <a:cubicBezTo>
                    <a:pt x="2902675" y="2820339"/>
                    <a:pt x="2885175" y="2802840"/>
                    <a:pt x="2885175" y="2781252"/>
                  </a:cubicBezTo>
                  <a:cubicBezTo>
                    <a:pt x="2885175" y="2765062"/>
                    <a:pt x="2895019" y="2751171"/>
                    <a:pt x="2909048" y="2745237"/>
                  </a:cubicBezTo>
                  <a:lnTo>
                    <a:pt x="2924026" y="2742213"/>
                  </a:lnTo>
                  <a:lnTo>
                    <a:pt x="2909048" y="2739189"/>
                  </a:lnTo>
                  <a:cubicBezTo>
                    <a:pt x="2895019" y="2733256"/>
                    <a:pt x="2885175" y="2719364"/>
                    <a:pt x="2885175" y="2703174"/>
                  </a:cubicBezTo>
                  <a:cubicBezTo>
                    <a:pt x="2885175" y="2681586"/>
                    <a:pt x="2902675" y="2664086"/>
                    <a:pt x="2924263" y="2664086"/>
                  </a:cubicBezTo>
                  <a:close/>
                  <a:moveTo>
                    <a:pt x="1703410" y="2664086"/>
                  </a:moveTo>
                  <a:cubicBezTo>
                    <a:pt x="1724996" y="2664086"/>
                    <a:pt x="1742497" y="2681586"/>
                    <a:pt x="1742497" y="2703174"/>
                  </a:cubicBezTo>
                  <a:cubicBezTo>
                    <a:pt x="1742497" y="2719364"/>
                    <a:pt x="1732653" y="2733256"/>
                    <a:pt x="1718624" y="2739189"/>
                  </a:cubicBezTo>
                  <a:lnTo>
                    <a:pt x="1703646" y="2742213"/>
                  </a:lnTo>
                  <a:lnTo>
                    <a:pt x="1718624" y="2745237"/>
                  </a:lnTo>
                  <a:cubicBezTo>
                    <a:pt x="1732653" y="2751171"/>
                    <a:pt x="1742495" y="2765062"/>
                    <a:pt x="1742495" y="2781252"/>
                  </a:cubicBezTo>
                  <a:cubicBezTo>
                    <a:pt x="1742495" y="2802840"/>
                    <a:pt x="1724996" y="2820339"/>
                    <a:pt x="1703409" y="2820339"/>
                  </a:cubicBezTo>
                  <a:cubicBezTo>
                    <a:pt x="1681822" y="2820339"/>
                    <a:pt x="1664323" y="2802840"/>
                    <a:pt x="1664323" y="2781252"/>
                  </a:cubicBezTo>
                  <a:cubicBezTo>
                    <a:pt x="1664323" y="2765062"/>
                    <a:pt x="1674166" y="2751171"/>
                    <a:pt x="1688193" y="2745237"/>
                  </a:cubicBezTo>
                  <a:lnTo>
                    <a:pt x="1703173" y="2742213"/>
                  </a:lnTo>
                  <a:lnTo>
                    <a:pt x="1688194" y="2739189"/>
                  </a:lnTo>
                  <a:cubicBezTo>
                    <a:pt x="1674166" y="2733256"/>
                    <a:pt x="1664323" y="2719364"/>
                    <a:pt x="1664323" y="2703174"/>
                  </a:cubicBezTo>
                  <a:cubicBezTo>
                    <a:pt x="1664323" y="2681586"/>
                    <a:pt x="1681822" y="2664086"/>
                    <a:pt x="1703410" y="2664086"/>
                  </a:cubicBezTo>
                  <a:close/>
                  <a:moveTo>
                    <a:pt x="1419499" y="2664086"/>
                  </a:moveTo>
                  <a:cubicBezTo>
                    <a:pt x="1441086" y="2664086"/>
                    <a:pt x="1458586" y="2681586"/>
                    <a:pt x="1458586" y="2703174"/>
                  </a:cubicBezTo>
                  <a:cubicBezTo>
                    <a:pt x="1458586" y="2719364"/>
                    <a:pt x="1448742" y="2733256"/>
                    <a:pt x="1434713" y="2739189"/>
                  </a:cubicBezTo>
                  <a:lnTo>
                    <a:pt x="1419735" y="2742214"/>
                  </a:lnTo>
                  <a:lnTo>
                    <a:pt x="1434712" y="2745237"/>
                  </a:lnTo>
                  <a:cubicBezTo>
                    <a:pt x="1448741" y="2751171"/>
                    <a:pt x="1458584" y="2765062"/>
                    <a:pt x="1458584" y="2781252"/>
                  </a:cubicBezTo>
                  <a:cubicBezTo>
                    <a:pt x="1458584" y="2802840"/>
                    <a:pt x="1441084" y="2820339"/>
                    <a:pt x="1419497" y="2820339"/>
                  </a:cubicBezTo>
                  <a:cubicBezTo>
                    <a:pt x="1397909" y="2820339"/>
                    <a:pt x="1380409" y="2802840"/>
                    <a:pt x="1380409" y="2781252"/>
                  </a:cubicBezTo>
                  <a:cubicBezTo>
                    <a:pt x="1380409" y="2765062"/>
                    <a:pt x="1390253" y="2751171"/>
                    <a:pt x="1404282" y="2745237"/>
                  </a:cubicBezTo>
                  <a:lnTo>
                    <a:pt x="1419262" y="2742213"/>
                  </a:lnTo>
                  <a:lnTo>
                    <a:pt x="1404283" y="2739189"/>
                  </a:lnTo>
                  <a:cubicBezTo>
                    <a:pt x="1390254" y="2733256"/>
                    <a:pt x="1380411" y="2719364"/>
                    <a:pt x="1380411" y="2703174"/>
                  </a:cubicBezTo>
                  <a:cubicBezTo>
                    <a:pt x="1380411" y="2681586"/>
                    <a:pt x="1397910" y="2664086"/>
                    <a:pt x="1419499" y="2664086"/>
                  </a:cubicBezTo>
                  <a:close/>
                  <a:moveTo>
                    <a:pt x="1232585" y="2664086"/>
                  </a:moveTo>
                  <a:cubicBezTo>
                    <a:pt x="1254172" y="2664086"/>
                    <a:pt x="1271670" y="2681586"/>
                    <a:pt x="1271670" y="2703174"/>
                  </a:cubicBezTo>
                  <a:cubicBezTo>
                    <a:pt x="1271670" y="2719364"/>
                    <a:pt x="1261828" y="2733256"/>
                    <a:pt x="1247799" y="2739189"/>
                  </a:cubicBezTo>
                  <a:lnTo>
                    <a:pt x="1232822" y="2742213"/>
                  </a:lnTo>
                  <a:lnTo>
                    <a:pt x="1247798" y="2745237"/>
                  </a:lnTo>
                  <a:cubicBezTo>
                    <a:pt x="1261828" y="2751171"/>
                    <a:pt x="1271670" y="2765062"/>
                    <a:pt x="1271670" y="2781252"/>
                  </a:cubicBezTo>
                  <a:cubicBezTo>
                    <a:pt x="1271670" y="2802840"/>
                    <a:pt x="1254172" y="2820339"/>
                    <a:pt x="1232585" y="2820339"/>
                  </a:cubicBezTo>
                  <a:cubicBezTo>
                    <a:pt x="1210997" y="2820339"/>
                    <a:pt x="1193499" y="2802840"/>
                    <a:pt x="1193499" y="2781252"/>
                  </a:cubicBezTo>
                  <a:cubicBezTo>
                    <a:pt x="1193499" y="2765062"/>
                    <a:pt x="1203342" y="2751171"/>
                    <a:pt x="1217369" y="2745237"/>
                  </a:cubicBezTo>
                  <a:lnTo>
                    <a:pt x="1232349" y="2742213"/>
                  </a:lnTo>
                  <a:lnTo>
                    <a:pt x="1217369" y="2739189"/>
                  </a:lnTo>
                  <a:cubicBezTo>
                    <a:pt x="1203342" y="2733256"/>
                    <a:pt x="1193499" y="2719364"/>
                    <a:pt x="1193499" y="2703174"/>
                  </a:cubicBezTo>
                  <a:cubicBezTo>
                    <a:pt x="1193499" y="2681586"/>
                    <a:pt x="1210997" y="2664086"/>
                    <a:pt x="1232585" y="2664086"/>
                  </a:cubicBezTo>
                  <a:close/>
                  <a:moveTo>
                    <a:pt x="1045666" y="2664086"/>
                  </a:moveTo>
                  <a:cubicBezTo>
                    <a:pt x="1067253" y="2664086"/>
                    <a:pt x="1084754" y="2681586"/>
                    <a:pt x="1084754" y="2703174"/>
                  </a:cubicBezTo>
                  <a:cubicBezTo>
                    <a:pt x="1084754" y="2724761"/>
                    <a:pt x="1067253" y="2742261"/>
                    <a:pt x="1045666" y="2742261"/>
                  </a:cubicBezTo>
                  <a:cubicBezTo>
                    <a:pt x="1024080" y="2742261"/>
                    <a:pt x="1006580" y="2724761"/>
                    <a:pt x="1006580" y="2703174"/>
                  </a:cubicBezTo>
                  <a:cubicBezTo>
                    <a:pt x="1006580" y="2681586"/>
                    <a:pt x="1024080" y="2664086"/>
                    <a:pt x="1045666" y="2664086"/>
                  </a:cubicBezTo>
                  <a:close/>
                  <a:moveTo>
                    <a:pt x="3300455" y="2578910"/>
                  </a:moveTo>
                  <a:cubicBezTo>
                    <a:pt x="3322043" y="2578910"/>
                    <a:pt x="3339543" y="2596410"/>
                    <a:pt x="3339543" y="2617997"/>
                  </a:cubicBezTo>
                  <a:cubicBezTo>
                    <a:pt x="3339543" y="2639585"/>
                    <a:pt x="3322043" y="2657085"/>
                    <a:pt x="3300455" y="2657085"/>
                  </a:cubicBezTo>
                  <a:cubicBezTo>
                    <a:pt x="3278868" y="2657085"/>
                    <a:pt x="3261368" y="2639585"/>
                    <a:pt x="3261368" y="2617997"/>
                  </a:cubicBezTo>
                  <a:cubicBezTo>
                    <a:pt x="3261368" y="2596410"/>
                    <a:pt x="3278868" y="2578910"/>
                    <a:pt x="3300455" y="2578910"/>
                  </a:cubicBezTo>
                  <a:close/>
                  <a:moveTo>
                    <a:pt x="3205815" y="2578910"/>
                  </a:moveTo>
                  <a:cubicBezTo>
                    <a:pt x="3227403" y="2578910"/>
                    <a:pt x="3244903" y="2596410"/>
                    <a:pt x="3244903" y="2617997"/>
                  </a:cubicBezTo>
                  <a:cubicBezTo>
                    <a:pt x="3244903" y="2639585"/>
                    <a:pt x="3227403" y="2657085"/>
                    <a:pt x="3205815" y="2657085"/>
                  </a:cubicBezTo>
                  <a:cubicBezTo>
                    <a:pt x="3184228" y="2657085"/>
                    <a:pt x="3166728" y="2639585"/>
                    <a:pt x="3166728" y="2617997"/>
                  </a:cubicBezTo>
                  <a:cubicBezTo>
                    <a:pt x="3166728" y="2596410"/>
                    <a:pt x="3184228" y="2578910"/>
                    <a:pt x="3205815" y="2578910"/>
                  </a:cubicBezTo>
                  <a:close/>
                  <a:moveTo>
                    <a:pt x="3111175" y="2578910"/>
                  </a:moveTo>
                  <a:cubicBezTo>
                    <a:pt x="3132762" y="2578910"/>
                    <a:pt x="3150262" y="2596410"/>
                    <a:pt x="3150262" y="2617997"/>
                  </a:cubicBezTo>
                  <a:cubicBezTo>
                    <a:pt x="3150262" y="2639585"/>
                    <a:pt x="3132762" y="2657085"/>
                    <a:pt x="3111175" y="2657085"/>
                  </a:cubicBezTo>
                  <a:cubicBezTo>
                    <a:pt x="3089588" y="2657085"/>
                    <a:pt x="3072088" y="2639585"/>
                    <a:pt x="3072088" y="2617997"/>
                  </a:cubicBezTo>
                  <a:cubicBezTo>
                    <a:pt x="3072088" y="2596410"/>
                    <a:pt x="3089588" y="2578910"/>
                    <a:pt x="3111175" y="2578910"/>
                  </a:cubicBezTo>
                  <a:close/>
                  <a:moveTo>
                    <a:pt x="3018901" y="2578910"/>
                  </a:moveTo>
                  <a:cubicBezTo>
                    <a:pt x="3040488" y="2578910"/>
                    <a:pt x="3057988" y="2596410"/>
                    <a:pt x="3057988" y="2617997"/>
                  </a:cubicBezTo>
                  <a:cubicBezTo>
                    <a:pt x="3057988" y="2639585"/>
                    <a:pt x="3040488" y="2657085"/>
                    <a:pt x="3018901" y="2657085"/>
                  </a:cubicBezTo>
                  <a:cubicBezTo>
                    <a:pt x="2997313" y="2657085"/>
                    <a:pt x="2979813" y="2639585"/>
                    <a:pt x="2979813" y="2617997"/>
                  </a:cubicBezTo>
                  <a:cubicBezTo>
                    <a:pt x="2979813" y="2596410"/>
                    <a:pt x="2997313" y="2578910"/>
                    <a:pt x="3018901" y="2578910"/>
                  </a:cubicBezTo>
                  <a:close/>
                  <a:moveTo>
                    <a:pt x="2924262" y="2578910"/>
                  </a:moveTo>
                  <a:cubicBezTo>
                    <a:pt x="2945849" y="2578910"/>
                    <a:pt x="2963349" y="2596410"/>
                    <a:pt x="2963349" y="2617997"/>
                  </a:cubicBezTo>
                  <a:cubicBezTo>
                    <a:pt x="2963349" y="2639585"/>
                    <a:pt x="2945849" y="2657085"/>
                    <a:pt x="2924262" y="2657085"/>
                  </a:cubicBezTo>
                  <a:cubicBezTo>
                    <a:pt x="2902675" y="2657085"/>
                    <a:pt x="2885175" y="2639585"/>
                    <a:pt x="2885175" y="2617997"/>
                  </a:cubicBezTo>
                  <a:cubicBezTo>
                    <a:pt x="2885175" y="2596410"/>
                    <a:pt x="2902675" y="2578910"/>
                    <a:pt x="2924262" y="2578910"/>
                  </a:cubicBezTo>
                  <a:close/>
                  <a:moveTo>
                    <a:pt x="2831987" y="2578910"/>
                  </a:moveTo>
                  <a:cubicBezTo>
                    <a:pt x="2853574" y="2578910"/>
                    <a:pt x="2871074" y="2596410"/>
                    <a:pt x="2871074" y="2617997"/>
                  </a:cubicBezTo>
                  <a:cubicBezTo>
                    <a:pt x="2871074" y="2639585"/>
                    <a:pt x="2853574" y="2657085"/>
                    <a:pt x="2831987" y="2657085"/>
                  </a:cubicBezTo>
                  <a:cubicBezTo>
                    <a:pt x="2810400" y="2657085"/>
                    <a:pt x="2792900" y="2639585"/>
                    <a:pt x="2792900" y="2617997"/>
                  </a:cubicBezTo>
                  <a:cubicBezTo>
                    <a:pt x="2792900" y="2596410"/>
                    <a:pt x="2810400" y="2578910"/>
                    <a:pt x="2831987" y="2578910"/>
                  </a:cubicBezTo>
                  <a:close/>
                  <a:moveTo>
                    <a:pt x="1798047" y="2578910"/>
                  </a:moveTo>
                  <a:cubicBezTo>
                    <a:pt x="1819637" y="2578910"/>
                    <a:pt x="1837133" y="2596410"/>
                    <a:pt x="1837133" y="2617997"/>
                  </a:cubicBezTo>
                  <a:cubicBezTo>
                    <a:pt x="1837133" y="2639585"/>
                    <a:pt x="1819637" y="2657085"/>
                    <a:pt x="1798047" y="2657085"/>
                  </a:cubicBezTo>
                  <a:cubicBezTo>
                    <a:pt x="1776460" y="2657085"/>
                    <a:pt x="1758959" y="2639585"/>
                    <a:pt x="1758959" y="2617997"/>
                  </a:cubicBezTo>
                  <a:cubicBezTo>
                    <a:pt x="1758959" y="2596410"/>
                    <a:pt x="1776460" y="2578910"/>
                    <a:pt x="1798047" y="2578910"/>
                  </a:cubicBezTo>
                  <a:close/>
                  <a:moveTo>
                    <a:pt x="1703409" y="2578910"/>
                  </a:moveTo>
                  <a:cubicBezTo>
                    <a:pt x="1724994" y="2578910"/>
                    <a:pt x="1742497" y="2596410"/>
                    <a:pt x="1742497" y="2617997"/>
                  </a:cubicBezTo>
                  <a:cubicBezTo>
                    <a:pt x="1742497" y="2639585"/>
                    <a:pt x="1724994" y="2657085"/>
                    <a:pt x="1703409" y="2657085"/>
                  </a:cubicBezTo>
                  <a:cubicBezTo>
                    <a:pt x="1681822" y="2657085"/>
                    <a:pt x="1664323" y="2639585"/>
                    <a:pt x="1664323" y="2617997"/>
                  </a:cubicBezTo>
                  <a:cubicBezTo>
                    <a:pt x="1664323" y="2596410"/>
                    <a:pt x="1681822" y="2578910"/>
                    <a:pt x="1703409" y="2578910"/>
                  </a:cubicBezTo>
                  <a:close/>
                  <a:moveTo>
                    <a:pt x="1611131" y="2578910"/>
                  </a:moveTo>
                  <a:cubicBezTo>
                    <a:pt x="1632719" y="2578910"/>
                    <a:pt x="1650221" y="2596410"/>
                    <a:pt x="1650221" y="2617997"/>
                  </a:cubicBezTo>
                  <a:cubicBezTo>
                    <a:pt x="1650221" y="2639585"/>
                    <a:pt x="1632719" y="2657085"/>
                    <a:pt x="1611131" y="2657085"/>
                  </a:cubicBezTo>
                  <a:cubicBezTo>
                    <a:pt x="1589557" y="2657085"/>
                    <a:pt x="1572058" y="2639585"/>
                    <a:pt x="1572058" y="2617997"/>
                  </a:cubicBezTo>
                  <a:cubicBezTo>
                    <a:pt x="1572058" y="2596410"/>
                    <a:pt x="1589557" y="2578910"/>
                    <a:pt x="1611131" y="2578910"/>
                  </a:cubicBezTo>
                  <a:close/>
                  <a:moveTo>
                    <a:pt x="1516504" y="2578910"/>
                  </a:moveTo>
                  <a:cubicBezTo>
                    <a:pt x="1538092" y="2578910"/>
                    <a:pt x="1555592" y="2596410"/>
                    <a:pt x="1555592" y="2617997"/>
                  </a:cubicBezTo>
                  <a:cubicBezTo>
                    <a:pt x="1555592" y="2639585"/>
                    <a:pt x="1538092" y="2657085"/>
                    <a:pt x="1516504" y="2657085"/>
                  </a:cubicBezTo>
                  <a:cubicBezTo>
                    <a:pt x="1494917" y="2657085"/>
                    <a:pt x="1477417" y="2639585"/>
                    <a:pt x="1477417" y="2617997"/>
                  </a:cubicBezTo>
                  <a:cubicBezTo>
                    <a:pt x="1477417" y="2596410"/>
                    <a:pt x="1494917" y="2578910"/>
                    <a:pt x="1516504" y="2578910"/>
                  </a:cubicBezTo>
                  <a:close/>
                  <a:moveTo>
                    <a:pt x="1419499" y="2578910"/>
                  </a:moveTo>
                  <a:cubicBezTo>
                    <a:pt x="1441086" y="2578910"/>
                    <a:pt x="1458586" y="2596410"/>
                    <a:pt x="1458586" y="2617997"/>
                  </a:cubicBezTo>
                  <a:cubicBezTo>
                    <a:pt x="1458586" y="2639585"/>
                    <a:pt x="1441086" y="2657085"/>
                    <a:pt x="1419499" y="2657085"/>
                  </a:cubicBezTo>
                  <a:cubicBezTo>
                    <a:pt x="1397910" y="2657085"/>
                    <a:pt x="1380410" y="2639585"/>
                    <a:pt x="1380410" y="2617997"/>
                  </a:cubicBezTo>
                  <a:cubicBezTo>
                    <a:pt x="1380410" y="2596410"/>
                    <a:pt x="1397910" y="2578910"/>
                    <a:pt x="1419499" y="2578910"/>
                  </a:cubicBezTo>
                  <a:close/>
                  <a:moveTo>
                    <a:pt x="1329590" y="2578910"/>
                  </a:moveTo>
                  <a:cubicBezTo>
                    <a:pt x="1351176" y="2578910"/>
                    <a:pt x="1368677" y="2596410"/>
                    <a:pt x="1368677" y="2617997"/>
                  </a:cubicBezTo>
                  <a:cubicBezTo>
                    <a:pt x="1368677" y="2639585"/>
                    <a:pt x="1351176" y="2657085"/>
                    <a:pt x="1329590" y="2657085"/>
                  </a:cubicBezTo>
                  <a:cubicBezTo>
                    <a:pt x="1308004" y="2657085"/>
                    <a:pt x="1290504" y="2639585"/>
                    <a:pt x="1290504" y="2617997"/>
                  </a:cubicBezTo>
                  <a:cubicBezTo>
                    <a:pt x="1290504" y="2596410"/>
                    <a:pt x="1308004" y="2578910"/>
                    <a:pt x="1329590" y="2578910"/>
                  </a:cubicBezTo>
                  <a:close/>
                  <a:moveTo>
                    <a:pt x="1232588" y="2578910"/>
                  </a:moveTo>
                  <a:cubicBezTo>
                    <a:pt x="1254175" y="2578910"/>
                    <a:pt x="1271672" y="2596410"/>
                    <a:pt x="1271672" y="2617997"/>
                  </a:cubicBezTo>
                  <a:cubicBezTo>
                    <a:pt x="1271672" y="2639585"/>
                    <a:pt x="1254175" y="2657085"/>
                    <a:pt x="1232588" y="2657085"/>
                  </a:cubicBezTo>
                  <a:cubicBezTo>
                    <a:pt x="1211000" y="2657085"/>
                    <a:pt x="1193502" y="2639585"/>
                    <a:pt x="1193502" y="2617997"/>
                  </a:cubicBezTo>
                  <a:cubicBezTo>
                    <a:pt x="1193502" y="2596410"/>
                    <a:pt x="1211000" y="2578910"/>
                    <a:pt x="1232588" y="2578910"/>
                  </a:cubicBezTo>
                  <a:close/>
                  <a:moveTo>
                    <a:pt x="1142677" y="2578910"/>
                  </a:moveTo>
                  <a:cubicBezTo>
                    <a:pt x="1164265" y="2578910"/>
                    <a:pt x="1181764" y="2596410"/>
                    <a:pt x="1181764" y="2617997"/>
                  </a:cubicBezTo>
                  <a:cubicBezTo>
                    <a:pt x="1181764" y="2639585"/>
                    <a:pt x="1164265" y="2657085"/>
                    <a:pt x="1142677" y="2657085"/>
                  </a:cubicBezTo>
                  <a:cubicBezTo>
                    <a:pt x="1121088" y="2657085"/>
                    <a:pt x="1103588" y="2639585"/>
                    <a:pt x="1103588" y="2617997"/>
                  </a:cubicBezTo>
                  <a:cubicBezTo>
                    <a:pt x="1103588" y="2596410"/>
                    <a:pt x="1121088" y="2578910"/>
                    <a:pt x="1142677" y="2578910"/>
                  </a:cubicBezTo>
                  <a:close/>
                  <a:moveTo>
                    <a:pt x="1045667" y="2578910"/>
                  </a:moveTo>
                  <a:cubicBezTo>
                    <a:pt x="1067254" y="2578910"/>
                    <a:pt x="1084755" y="2596410"/>
                    <a:pt x="1084755" y="2617997"/>
                  </a:cubicBezTo>
                  <a:cubicBezTo>
                    <a:pt x="1084755" y="2639585"/>
                    <a:pt x="1067254" y="2657085"/>
                    <a:pt x="1045667" y="2657085"/>
                  </a:cubicBezTo>
                  <a:cubicBezTo>
                    <a:pt x="1024081" y="2657085"/>
                    <a:pt x="1006581" y="2639585"/>
                    <a:pt x="1006581" y="2617997"/>
                  </a:cubicBezTo>
                  <a:cubicBezTo>
                    <a:pt x="1006581" y="2596410"/>
                    <a:pt x="1024081" y="2578910"/>
                    <a:pt x="1045667" y="2578910"/>
                  </a:cubicBezTo>
                  <a:close/>
                  <a:moveTo>
                    <a:pt x="3300455" y="2486637"/>
                  </a:moveTo>
                  <a:cubicBezTo>
                    <a:pt x="3322043" y="2486637"/>
                    <a:pt x="3339543" y="2504137"/>
                    <a:pt x="3339543" y="2525724"/>
                  </a:cubicBezTo>
                  <a:cubicBezTo>
                    <a:pt x="3339543" y="2547311"/>
                    <a:pt x="3322043" y="2564811"/>
                    <a:pt x="3300455" y="2564811"/>
                  </a:cubicBezTo>
                  <a:cubicBezTo>
                    <a:pt x="3278868" y="2564811"/>
                    <a:pt x="3261368" y="2547311"/>
                    <a:pt x="3261368" y="2525724"/>
                  </a:cubicBezTo>
                  <a:cubicBezTo>
                    <a:pt x="3261368" y="2504137"/>
                    <a:pt x="3278868" y="2486637"/>
                    <a:pt x="3300455" y="2486637"/>
                  </a:cubicBezTo>
                  <a:close/>
                  <a:moveTo>
                    <a:pt x="3205815" y="2486637"/>
                  </a:moveTo>
                  <a:cubicBezTo>
                    <a:pt x="3227403" y="2486637"/>
                    <a:pt x="3244903" y="2504137"/>
                    <a:pt x="3244903" y="2525724"/>
                  </a:cubicBezTo>
                  <a:cubicBezTo>
                    <a:pt x="3244903" y="2547311"/>
                    <a:pt x="3227403" y="2564811"/>
                    <a:pt x="3205815" y="2564811"/>
                  </a:cubicBezTo>
                  <a:cubicBezTo>
                    <a:pt x="3184228" y="2564811"/>
                    <a:pt x="3166728" y="2547311"/>
                    <a:pt x="3166728" y="2525724"/>
                  </a:cubicBezTo>
                  <a:cubicBezTo>
                    <a:pt x="3166728" y="2504137"/>
                    <a:pt x="3184228" y="2486637"/>
                    <a:pt x="3205815" y="2486637"/>
                  </a:cubicBezTo>
                  <a:close/>
                  <a:moveTo>
                    <a:pt x="3111175" y="2486637"/>
                  </a:moveTo>
                  <a:cubicBezTo>
                    <a:pt x="3132762" y="2486637"/>
                    <a:pt x="3150262" y="2504137"/>
                    <a:pt x="3150262" y="2525724"/>
                  </a:cubicBezTo>
                  <a:cubicBezTo>
                    <a:pt x="3150262" y="2547311"/>
                    <a:pt x="3132762" y="2564811"/>
                    <a:pt x="3111175" y="2564811"/>
                  </a:cubicBezTo>
                  <a:cubicBezTo>
                    <a:pt x="3089588" y="2564811"/>
                    <a:pt x="3072088" y="2547311"/>
                    <a:pt x="3072088" y="2525724"/>
                  </a:cubicBezTo>
                  <a:cubicBezTo>
                    <a:pt x="3072088" y="2504137"/>
                    <a:pt x="3089588" y="2486637"/>
                    <a:pt x="3111175" y="2486637"/>
                  </a:cubicBezTo>
                  <a:close/>
                  <a:moveTo>
                    <a:pt x="3018901" y="2486637"/>
                  </a:moveTo>
                  <a:cubicBezTo>
                    <a:pt x="3040488" y="2486637"/>
                    <a:pt x="3057988" y="2504137"/>
                    <a:pt x="3057988" y="2525724"/>
                  </a:cubicBezTo>
                  <a:cubicBezTo>
                    <a:pt x="3057988" y="2547311"/>
                    <a:pt x="3040488" y="2564811"/>
                    <a:pt x="3018901" y="2564811"/>
                  </a:cubicBezTo>
                  <a:cubicBezTo>
                    <a:pt x="2997313" y="2564811"/>
                    <a:pt x="2979813" y="2547311"/>
                    <a:pt x="2979813" y="2525724"/>
                  </a:cubicBezTo>
                  <a:cubicBezTo>
                    <a:pt x="2979813" y="2504137"/>
                    <a:pt x="2997313" y="2486637"/>
                    <a:pt x="3018901" y="2486637"/>
                  </a:cubicBezTo>
                  <a:close/>
                  <a:moveTo>
                    <a:pt x="2924262" y="2486637"/>
                  </a:moveTo>
                  <a:cubicBezTo>
                    <a:pt x="2945849" y="2486637"/>
                    <a:pt x="2963349" y="2504137"/>
                    <a:pt x="2963349" y="2525724"/>
                  </a:cubicBezTo>
                  <a:cubicBezTo>
                    <a:pt x="2963349" y="2547311"/>
                    <a:pt x="2945849" y="2564811"/>
                    <a:pt x="2924262" y="2564811"/>
                  </a:cubicBezTo>
                  <a:cubicBezTo>
                    <a:pt x="2902675" y="2564811"/>
                    <a:pt x="2885175" y="2547311"/>
                    <a:pt x="2885175" y="2525724"/>
                  </a:cubicBezTo>
                  <a:cubicBezTo>
                    <a:pt x="2885175" y="2504137"/>
                    <a:pt x="2902675" y="2486637"/>
                    <a:pt x="2924262" y="2486637"/>
                  </a:cubicBezTo>
                  <a:close/>
                  <a:moveTo>
                    <a:pt x="2831987" y="2486637"/>
                  </a:moveTo>
                  <a:cubicBezTo>
                    <a:pt x="2853574" y="2486637"/>
                    <a:pt x="2871074" y="2504137"/>
                    <a:pt x="2871074" y="2525724"/>
                  </a:cubicBezTo>
                  <a:cubicBezTo>
                    <a:pt x="2871074" y="2547311"/>
                    <a:pt x="2853574" y="2564811"/>
                    <a:pt x="2831987" y="2564811"/>
                  </a:cubicBezTo>
                  <a:cubicBezTo>
                    <a:pt x="2810400" y="2564811"/>
                    <a:pt x="2792900" y="2547311"/>
                    <a:pt x="2792900" y="2525724"/>
                  </a:cubicBezTo>
                  <a:cubicBezTo>
                    <a:pt x="2792900" y="2504137"/>
                    <a:pt x="2810400" y="2486637"/>
                    <a:pt x="2831987" y="2486637"/>
                  </a:cubicBezTo>
                  <a:close/>
                  <a:moveTo>
                    <a:pt x="1798047" y="2486637"/>
                  </a:moveTo>
                  <a:cubicBezTo>
                    <a:pt x="1819637" y="2486637"/>
                    <a:pt x="1837133" y="2504137"/>
                    <a:pt x="1837133" y="2525724"/>
                  </a:cubicBezTo>
                  <a:cubicBezTo>
                    <a:pt x="1837133" y="2547311"/>
                    <a:pt x="1819637" y="2564811"/>
                    <a:pt x="1798047" y="2564811"/>
                  </a:cubicBezTo>
                  <a:cubicBezTo>
                    <a:pt x="1776460" y="2564811"/>
                    <a:pt x="1758962" y="2547311"/>
                    <a:pt x="1758962" y="2525724"/>
                  </a:cubicBezTo>
                  <a:cubicBezTo>
                    <a:pt x="1758962" y="2504137"/>
                    <a:pt x="1776460" y="2486637"/>
                    <a:pt x="1798047" y="2486637"/>
                  </a:cubicBezTo>
                  <a:close/>
                  <a:moveTo>
                    <a:pt x="1703410" y="2486637"/>
                  </a:moveTo>
                  <a:cubicBezTo>
                    <a:pt x="1724996" y="2486637"/>
                    <a:pt x="1742497" y="2504137"/>
                    <a:pt x="1742497" y="2525724"/>
                  </a:cubicBezTo>
                  <a:cubicBezTo>
                    <a:pt x="1742497" y="2547311"/>
                    <a:pt x="1724996" y="2564811"/>
                    <a:pt x="1703410" y="2564811"/>
                  </a:cubicBezTo>
                  <a:cubicBezTo>
                    <a:pt x="1681822" y="2564811"/>
                    <a:pt x="1664323" y="2547311"/>
                    <a:pt x="1664323" y="2525724"/>
                  </a:cubicBezTo>
                  <a:cubicBezTo>
                    <a:pt x="1664323" y="2504137"/>
                    <a:pt x="1681822" y="2486637"/>
                    <a:pt x="1703410" y="2486637"/>
                  </a:cubicBezTo>
                  <a:close/>
                  <a:moveTo>
                    <a:pt x="1611133" y="2486637"/>
                  </a:moveTo>
                  <a:cubicBezTo>
                    <a:pt x="1632721" y="2486637"/>
                    <a:pt x="1650221" y="2504137"/>
                    <a:pt x="1650221" y="2525724"/>
                  </a:cubicBezTo>
                  <a:cubicBezTo>
                    <a:pt x="1650221" y="2547311"/>
                    <a:pt x="1632721" y="2564811"/>
                    <a:pt x="1611133" y="2564811"/>
                  </a:cubicBezTo>
                  <a:cubicBezTo>
                    <a:pt x="1589559" y="2564811"/>
                    <a:pt x="1572059" y="2547311"/>
                    <a:pt x="1572059" y="2525724"/>
                  </a:cubicBezTo>
                  <a:cubicBezTo>
                    <a:pt x="1572059" y="2504137"/>
                    <a:pt x="1589559" y="2486637"/>
                    <a:pt x="1611133" y="2486637"/>
                  </a:cubicBezTo>
                  <a:close/>
                  <a:moveTo>
                    <a:pt x="1516507" y="2486637"/>
                  </a:moveTo>
                  <a:cubicBezTo>
                    <a:pt x="1538093" y="2486637"/>
                    <a:pt x="1555594" y="2504137"/>
                    <a:pt x="1555594" y="2525724"/>
                  </a:cubicBezTo>
                  <a:cubicBezTo>
                    <a:pt x="1555594" y="2547311"/>
                    <a:pt x="1538093" y="2564811"/>
                    <a:pt x="1516507" y="2564811"/>
                  </a:cubicBezTo>
                  <a:cubicBezTo>
                    <a:pt x="1494919" y="2564811"/>
                    <a:pt x="1477419" y="2547311"/>
                    <a:pt x="1477419" y="2525724"/>
                  </a:cubicBezTo>
                  <a:cubicBezTo>
                    <a:pt x="1477419" y="2504137"/>
                    <a:pt x="1494919" y="2486637"/>
                    <a:pt x="1516507" y="2486637"/>
                  </a:cubicBezTo>
                  <a:close/>
                  <a:moveTo>
                    <a:pt x="1419502" y="2486637"/>
                  </a:moveTo>
                  <a:cubicBezTo>
                    <a:pt x="1441088" y="2486637"/>
                    <a:pt x="1458588" y="2504137"/>
                    <a:pt x="1458588" y="2525724"/>
                  </a:cubicBezTo>
                  <a:cubicBezTo>
                    <a:pt x="1458588" y="2547311"/>
                    <a:pt x="1441088" y="2564811"/>
                    <a:pt x="1419502" y="2564811"/>
                  </a:cubicBezTo>
                  <a:cubicBezTo>
                    <a:pt x="1397913" y="2564811"/>
                    <a:pt x="1380412" y="2547311"/>
                    <a:pt x="1380412" y="2525724"/>
                  </a:cubicBezTo>
                  <a:cubicBezTo>
                    <a:pt x="1380412" y="2504137"/>
                    <a:pt x="1397913" y="2486637"/>
                    <a:pt x="1419502" y="2486637"/>
                  </a:cubicBezTo>
                  <a:close/>
                  <a:moveTo>
                    <a:pt x="1329592" y="2486637"/>
                  </a:moveTo>
                  <a:cubicBezTo>
                    <a:pt x="1351178" y="2486637"/>
                    <a:pt x="1368679" y="2504137"/>
                    <a:pt x="1368679" y="2525724"/>
                  </a:cubicBezTo>
                  <a:cubicBezTo>
                    <a:pt x="1368679" y="2547311"/>
                    <a:pt x="1351178" y="2564811"/>
                    <a:pt x="1329592" y="2564811"/>
                  </a:cubicBezTo>
                  <a:cubicBezTo>
                    <a:pt x="1308006" y="2564811"/>
                    <a:pt x="1290506" y="2547311"/>
                    <a:pt x="1290506" y="2525724"/>
                  </a:cubicBezTo>
                  <a:cubicBezTo>
                    <a:pt x="1290506" y="2504137"/>
                    <a:pt x="1308006" y="2486637"/>
                    <a:pt x="1329592" y="2486637"/>
                  </a:cubicBezTo>
                  <a:close/>
                  <a:moveTo>
                    <a:pt x="1232589" y="2486637"/>
                  </a:moveTo>
                  <a:cubicBezTo>
                    <a:pt x="1254178" y="2486637"/>
                    <a:pt x="1271673" y="2504137"/>
                    <a:pt x="1271673" y="2525724"/>
                  </a:cubicBezTo>
                  <a:cubicBezTo>
                    <a:pt x="1271673" y="2547311"/>
                    <a:pt x="1254178" y="2564811"/>
                    <a:pt x="1232589" y="2564811"/>
                  </a:cubicBezTo>
                  <a:cubicBezTo>
                    <a:pt x="1211001" y="2564811"/>
                    <a:pt x="1193504" y="2547311"/>
                    <a:pt x="1193504" y="2525724"/>
                  </a:cubicBezTo>
                  <a:cubicBezTo>
                    <a:pt x="1193504" y="2504137"/>
                    <a:pt x="1211001" y="2486637"/>
                    <a:pt x="1232589" y="2486637"/>
                  </a:cubicBezTo>
                  <a:close/>
                  <a:moveTo>
                    <a:pt x="1142679" y="2486637"/>
                  </a:moveTo>
                  <a:cubicBezTo>
                    <a:pt x="1164267" y="2486637"/>
                    <a:pt x="1181766" y="2504137"/>
                    <a:pt x="1181766" y="2525724"/>
                  </a:cubicBezTo>
                  <a:cubicBezTo>
                    <a:pt x="1181766" y="2547311"/>
                    <a:pt x="1164267" y="2564811"/>
                    <a:pt x="1142679" y="2564811"/>
                  </a:cubicBezTo>
                  <a:cubicBezTo>
                    <a:pt x="1121091" y="2564811"/>
                    <a:pt x="1103589" y="2547311"/>
                    <a:pt x="1103589" y="2525724"/>
                  </a:cubicBezTo>
                  <a:cubicBezTo>
                    <a:pt x="1103589" y="2504137"/>
                    <a:pt x="1121091" y="2486637"/>
                    <a:pt x="1142679" y="2486637"/>
                  </a:cubicBezTo>
                  <a:close/>
                  <a:moveTo>
                    <a:pt x="1045669" y="2486637"/>
                  </a:moveTo>
                  <a:cubicBezTo>
                    <a:pt x="1067255" y="2486637"/>
                    <a:pt x="1084757" y="2504137"/>
                    <a:pt x="1084757" y="2525724"/>
                  </a:cubicBezTo>
                  <a:cubicBezTo>
                    <a:pt x="1084757" y="2547311"/>
                    <a:pt x="1067255" y="2564811"/>
                    <a:pt x="1045669" y="2564811"/>
                  </a:cubicBezTo>
                  <a:cubicBezTo>
                    <a:pt x="1024083" y="2564811"/>
                    <a:pt x="1006583" y="2547311"/>
                    <a:pt x="1006583" y="2525724"/>
                  </a:cubicBezTo>
                  <a:cubicBezTo>
                    <a:pt x="1006583" y="2504137"/>
                    <a:pt x="1024083" y="2486637"/>
                    <a:pt x="1045669" y="2486637"/>
                  </a:cubicBezTo>
                  <a:close/>
                  <a:moveTo>
                    <a:pt x="951032" y="2486637"/>
                  </a:moveTo>
                  <a:cubicBezTo>
                    <a:pt x="972619" y="2486637"/>
                    <a:pt x="990118" y="2504137"/>
                    <a:pt x="990118" y="2525724"/>
                  </a:cubicBezTo>
                  <a:cubicBezTo>
                    <a:pt x="990118" y="2547311"/>
                    <a:pt x="972619" y="2564811"/>
                    <a:pt x="951032" y="2564811"/>
                  </a:cubicBezTo>
                  <a:cubicBezTo>
                    <a:pt x="929446" y="2564811"/>
                    <a:pt x="911947" y="2547311"/>
                    <a:pt x="911947" y="2525724"/>
                  </a:cubicBezTo>
                  <a:cubicBezTo>
                    <a:pt x="911947" y="2504137"/>
                    <a:pt x="929446" y="2486637"/>
                    <a:pt x="951032" y="2486637"/>
                  </a:cubicBezTo>
                  <a:close/>
                  <a:moveTo>
                    <a:pt x="3392730" y="2401461"/>
                  </a:moveTo>
                  <a:cubicBezTo>
                    <a:pt x="3414317" y="2401461"/>
                    <a:pt x="3431817" y="2418961"/>
                    <a:pt x="3431817" y="2440548"/>
                  </a:cubicBezTo>
                  <a:cubicBezTo>
                    <a:pt x="3431817" y="2462135"/>
                    <a:pt x="3414317" y="2479635"/>
                    <a:pt x="3392730" y="2479635"/>
                  </a:cubicBezTo>
                  <a:cubicBezTo>
                    <a:pt x="3371143" y="2479635"/>
                    <a:pt x="3353643" y="2462135"/>
                    <a:pt x="3353643" y="2440548"/>
                  </a:cubicBezTo>
                  <a:cubicBezTo>
                    <a:pt x="3353643" y="2418961"/>
                    <a:pt x="3371143" y="2401461"/>
                    <a:pt x="3392730" y="2401461"/>
                  </a:cubicBezTo>
                  <a:close/>
                  <a:moveTo>
                    <a:pt x="3300455" y="2401461"/>
                  </a:moveTo>
                  <a:cubicBezTo>
                    <a:pt x="3322043" y="2401461"/>
                    <a:pt x="3339543" y="2418961"/>
                    <a:pt x="3339543" y="2440548"/>
                  </a:cubicBezTo>
                  <a:cubicBezTo>
                    <a:pt x="3339543" y="2462135"/>
                    <a:pt x="3322043" y="2479635"/>
                    <a:pt x="3300455" y="2479635"/>
                  </a:cubicBezTo>
                  <a:cubicBezTo>
                    <a:pt x="3278868" y="2479635"/>
                    <a:pt x="3261368" y="2462135"/>
                    <a:pt x="3261368" y="2440548"/>
                  </a:cubicBezTo>
                  <a:cubicBezTo>
                    <a:pt x="3261368" y="2418961"/>
                    <a:pt x="3278868" y="2401461"/>
                    <a:pt x="3300455" y="2401461"/>
                  </a:cubicBezTo>
                  <a:close/>
                  <a:moveTo>
                    <a:pt x="3205815" y="2401461"/>
                  </a:moveTo>
                  <a:cubicBezTo>
                    <a:pt x="3227403" y="2401461"/>
                    <a:pt x="3244903" y="2418961"/>
                    <a:pt x="3244903" y="2440548"/>
                  </a:cubicBezTo>
                  <a:cubicBezTo>
                    <a:pt x="3244903" y="2462135"/>
                    <a:pt x="3227403" y="2479635"/>
                    <a:pt x="3205815" y="2479635"/>
                  </a:cubicBezTo>
                  <a:cubicBezTo>
                    <a:pt x="3184228" y="2479635"/>
                    <a:pt x="3166728" y="2462135"/>
                    <a:pt x="3166728" y="2440548"/>
                  </a:cubicBezTo>
                  <a:cubicBezTo>
                    <a:pt x="3166728" y="2418961"/>
                    <a:pt x="3184228" y="2401461"/>
                    <a:pt x="3205815" y="2401461"/>
                  </a:cubicBezTo>
                  <a:close/>
                  <a:moveTo>
                    <a:pt x="3111175" y="2401461"/>
                  </a:moveTo>
                  <a:cubicBezTo>
                    <a:pt x="3132762" y="2401461"/>
                    <a:pt x="3150262" y="2418961"/>
                    <a:pt x="3150262" y="2440548"/>
                  </a:cubicBezTo>
                  <a:cubicBezTo>
                    <a:pt x="3150262" y="2462135"/>
                    <a:pt x="3132762" y="2479635"/>
                    <a:pt x="3111175" y="2479635"/>
                  </a:cubicBezTo>
                  <a:cubicBezTo>
                    <a:pt x="3089588" y="2479635"/>
                    <a:pt x="3072088" y="2462135"/>
                    <a:pt x="3072088" y="2440548"/>
                  </a:cubicBezTo>
                  <a:cubicBezTo>
                    <a:pt x="3072088" y="2418961"/>
                    <a:pt x="3089588" y="2401461"/>
                    <a:pt x="3111175" y="2401461"/>
                  </a:cubicBezTo>
                  <a:close/>
                  <a:moveTo>
                    <a:pt x="3018901" y="2401461"/>
                  </a:moveTo>
                  <a:cubicBezTo>
                    <a:pt x="3040488" y="2401461"/>
                    <a:pt x="3057988" y="2418961"/>
                    <a:pt x="3057988" y="2440548"/>
                  </a:cubicBezTo>
                  <a:cubicBezTo>
                    <a:pt x="3057988" y="2462135"/>
                    <a:pt x="3040488" y="2479635"/>
                    <a:pt x="3018901" y="2479635"/>
                  </a:cubicBezTo>
                  <a:cubicBezTo>
                    <a:pt x="2997313" y="2479635"/>
                    <a:pt x="2979813" y="2462135"/>
                    <a:pt x="2979813" y="2440548"/>
                  </a:cubicBezTo>
                  <a:cubicBezTo>
                    <a:pt x="2979813" y="2418961"/>
                    <a:pt x="2997313" y="2401461"/>
                    <a:pt x="3018901" y="2401461"/>
                  </a:cubicBezTo>
                  <a:close/>
                  <a:moveTo>
                    <a:pt x="2924262" y="2401461"/>
                  </a:moveTo>
                  <a:cubicBezTo>
                    <a:pt x="2945849" y="2401461"/>
                    <a:pt x="2963349" y="2418961"/>
                    <a:pt x="2963349" y="2440548"/>
                  </a:cubicBezTo>
                  <a:cubicBezTo>
                    <a:pt x="2963349" y="2462135"/>
                    <a:pt x="2945849" y="2479635"/>
                    <a:pt x="2924262" y="2479635"/>
                  </a:cubicBezTo>
                  <a:cubicBezTo>
                    <a:pt x="2902675" y="2479635"/>
                    <a:pt x="2885175" y="2462135"/>
                    <a:pt x="2885175" y="2440548"/>
                  </a:cubicBezTo>
                  <a:cubicBezTo>
                    <a:pt x="2885175" y="2418961"/>
                    <a:pt x="2902675" y="2401461"/>
                    <a:pt x="2924262" y="2401461"/>
                  </a:cubicBezTo>
                  <a:close/>
                  <a:moveTo>
                    <a:pt x="2831987" y="2401461"/>
                  </a:moveTo>
                  <a:cubicBezTo>
                    <a:pt x="2853574" y="2401461"/>
                    <a:pt x="2871074" y="2418961"/>
                    <a:pt x="2871074" y="2440548"/>
                  </a:cubicBezTo>
                  <a:cubicBezTo>
                    <a:pt x="2871074" y="2462135"/>
                    <a:pt x="2853574" y="2479635"/>
                    <a:pt x="2831987" y="2479635"/>
                  </a:cubicBezTo>
                  <a:cubicBezTo>
                    <a:pt x="2810400" y="2479635"/>
                    <a:pt x="2792900" y="2462135"/>
                    <a:pt x="2792900" y="2440548"/>
                  </a:cubicBezTo>
                  <a:cubicBezTo>
                    <a:pt x="2792900" y="2418961"/>
                    <a:pt x="2810400" y="2401461"/>
                    <a:pt x="2831987" y="2401461"/>
                  </a:cubicBezTo>
                  <a:close/>
                  <a:moveTo>
                    <a:pt x="2737353" y="2401461"/>
                  </a:moveTo>
                  <a:cubicBezTo>
                    <a:pt x="2758934" y="2401461"/>
                    <a:pt x="2776434" y="2418961"/>
                    <a:pt x="2776434" y="2440548"/>
                  </a:cubicBezTo>
                  <a:cubicBezTo>
                    <a:pt x="2776434" y="2462135"/>
                    <a:pt x="2758934" y="2479635"/>
                    <a:pt x="2737353" y="2479635"/>
                  </a:cubicBezTo>
                  <a:cubicBezTo>
                    <a:pt x="2715763" y="2479635"/>
                    <a:pt x="2698263" y="2462135"/>
                    <a:pt x="2698263" y="2440548"/>
                  </a:cubicBezTo>
                  <a:cubicBezTo>
                    <a:pt x="2698263" y="2418961"/>
                    <a:pt x="2715763" y="2401461"/>
                    <a:pt x="2737353" y="2401461"/>
                  </a:cubicBezTo>
                  <a:close/>
                  <a:moveTo>
                    <a:pt x="1611133" y="2401461"/>
                  </a:moveTo>
                  <a:cubicBezTo>
                    <a:pt x="1632721" y="2401461"/>
                    <a:pt x="1650223" y="2418961"/>
                    <a:pt x="1650223" y="2440548"/>
                  </a:cubicBezTo>
                  <a:cubicBezTo>
                    <a:pt x="1650223" y="2462135"/>
                    <a:pt x="1632721" y="2479635"/>
                    <a:pt x="1611133" y="2479635"/>
                  </a:cubicBezTo>
                  <a:cubicBezTo>
                    <a:pt x="1589561" y="2479635"/>
                    <a:pt x="1572061" y="2462135"/>
                    <a:pt x="1572061" y="2440548"/>
                  </a:cubicBezTo>
                  <a:cubicBezTo>
                    <a:pt x="1572061" y="2418961"/>
                    <a:pt x="1589561" y="2401461"/>
                    <a:pt x="1611133" y="2401461"/>
                  </a:cubicBezTo>
                  <a:close/>
                  <a:moveTo>
                    <a:pt x="1516509" y="2401461"/>
                  </a:moveTo>
                  <a:cubicBezTo>
                    <a:pt x="1538095" y="2401461"/>
                    <a:pt x="1555596" y="2418961"/>
                    <a:pt x="1555596" y="2440548"/>
                  </a:cubicBezTo>
                  <a:cubicBezTo>
                    <a:pt x="1555596" y="2462135"/>
                    <a:pt x="1538095" y="2479635"/>
                    <a:pt x="1516509" y="2479635"/>
                  </a:cubicBezTo>
                  <a:cubicBezTo>
                    <a:pt x="1494921" y="2479635"/>
                    <a:pt x="1477421" y="2462135"/>
                    <a:pt x="1477421" y="2440548"/>
                  </a:cubicBezTo>
                  <a:cubicBezTo>
                    <a:pt x="1477421" y="2418961"/>
                    <a:pt x="1494921" y="2401461"/>
                    <a:pt x="1516509" y="2401461"/>
                  </a:cubicBezTo>
                  <a:close/>
                  <a:moveTo>
                    <a:pt x="1419503" y="2401461"/>
                  </a:moveTo>
                  <a:cubicBezTo>
                    <a:pt x="1441089" y="2401461"/>
                    <a:pt x="1458589" y="2418961"/>
                    <a:pt x="1458589" y="2440548"/>
                  </a:cubicBezTo>
                  <a:cubicBezTo>
                    <a:pt x="1458589" y="2462135"/>
                    <a:pt x="1441089" y="2479635"/>
                    <a:pt x="1419503" y="2479635"/>
                  </a:cubicBezTo>
                  <a:cubicBezTo>
                    <a:pt x="1397914" y="2479635"/>
                    <a:pt x="1380413" y="2462135"/>
                    <a:pt x="1380413" y="2440548"/>
                  </a:cubicBezTo>
                  <a:cubicBezTo>
                    <a:pt x="1380413" y="2418961"/>
                    <a:pt x="1397914" y="2401461"/>
                    <a:pt x="1419503" y="2401461"/>
                  </a:cubicBezTo>
                  <a:close/>
                  <a:moveTo>
                    <a:pt x="1329593" y="2401461"/>
                  </a:moveTo>
                  <a:cubicBezTo>
                    <a:pt x="1351180" y="2401461"/>
                    <a:pt x="1368682" y="2418961"/>
                    <a:pt x="1368682" y="2440548"/>
                  </a:cubicBezTo>
                  <a:cubicBezTo>
                    <a:pt x="1368682" y="2462135"/>
                    <a:pt x="1351180" y="2479635"/>
                    <a:pt x="1329593" y="2479635"/>
                  </a:cubicBezTo>
                  <a:cubicBezTo>
                    <a:pt x="1308007" y="2479635"/>
                    <a:pt x="1290509" y="2462135"/>
                    <a:pt x="1290509" y="2440548"/>
                  </a:cubicBezTo>
                  <a:cubicBezTo>
                    <a:pt x="1290509" y="2418961"/>
                    <a:pt x="1308007" y="2401461"/>
                    <a:pt x="1329593" y="2401461"/>
                  </a:cubicBezTo>
                  <a:close/>
                  <a:moveTo>
                    <a:pt x="1232592" y="2401461"/>
                  </a:moveTo>
                  <a:cubicBezTo>
                    <a:pt x="1254179" y="2401461"/>
                    <a:pt x="1271676" y="2418961"/>
                    <a:pt x="1271676" y="2440548"/>
                  </a:cubicBezTo>
                  <a:cubicBezTo>
                    <a:pt x="1271676" y="2462135"/>
                    <a:pt x="1254179" y="2479635"/>
                    <a:pt x="1232592" y="2479635"/>
                  </a:cubicBezTo>
                  <a:cubicBezTo>
                    <a:pt x="1211003" y="2479635"/>
                    <a:pt x="1193507" y="2462135"/>
                    <a:pt x="1193507" y="2440548"/>
                  </a:cubicBezTo>
                  <a:cubicBezTo>
                    <a:pt x="1193507" y="2418961"/>
                    <a:pt x="1211003" y="2401461"/>
                    <a:pt x="1232592" y="2401461"/>
                  </a:cubicBezTo>
                  <a:close/>
                  <a:moveTo>
                    <a:pt x="1142682" y="2401461"/>
                  </a:moveTo>
                  <a:cubicBezTo>
                    <a:pt x="1164271" y="2401461"/>
                    <a:pt x="1181770" y="2418961"/>
                    <a:pt x="1181770" y="2440548"/>
                  </a:cubicBezTo>
                  <a:cubicBezTo>
                    <a:pt x="1181770" y="2462135"/>
                    <a:pt x="1164271" y="2479635"/>
                    <a:pt x="1142682" y="2479635"/>
                  </a:cubicBezTo>
                  <a:cubicBezTo>
                    <a:pt x="1121093" y="2479635"/>
                    <a:pt x="1103591" y="2462135"/>
                    <a:pt x="1103591" y="2440548"/>
                  </a:cubicBezTo>
                  <a:cubicBezTo>
                    <a:pt x="1103591" y="2418961"/>
                    <a:pt x="1121093" y="2401461"/>
                    <a:pt x="1142682" y="2401461"/>
                  </a:cubicBezTo>
                  <a:close/>
                  <a:moveTo>
                    <a:pt x="1045671" y="2401461"/>
                  </a:moveTo>
                  <a:cubicBezTo>
                    <a:pt x="1067258" y="2401461"/>
                    <a:pt x="1084758" y="2418961"/>
                    <a:pt x="1084758" y="2440548"/>
                  </a:cubicBezTo>
                  <a:cubicBezTo>
                    <a:pt x="1084758" y="2462135"/>
                    <a:pt x="1067258" y="2479635"/>
                    <a:pt x="1045671" y="2479635"/>
                  </a:cubicBezTo>
                  <a:cubicBezTo>
                    <a:pt x="1024084" y="2479635"/>
                    <a:pt x="1006585" y="2462135"/>
                    <a:pt x="1006585" y="2440548"/>
                  </a:cubicBezTo>
                  <a:cubicBezTo>
                    <a:pt x="1006585" y="2418961"/>
                    <a:pt x="1024084" y="2401461"/>
                    <a:pt x="1045671" y="2401461"/>
                  </a:cubicBezTo>
                  <a:close/>
                  <a:moveTo>
                    <a:pt x="951035" y="2401461"/>
                  </a:moveTo>
                  <a:cubicBezTo>
                    <a:pt x="972621" y="2401461"/>
                    <a:pt x="990120" y="2418961"/>
                    <a:pt x="990120" y="2440548"/>
                  </a:cubicBezTo>
                  <a:cubicBezTo>
                    <a:pt x="990120" y="2462135"/>
                    <a:pt x="972621" y="2479635"/>
                    <a:pt x="951035" y="2479635"/>
                  </a:cubicBezTo>
                  <a:cubicBezTo>
                    <a:pt x="929448" y="2479635"/>
                    <a:pt x="911949" y="2462135"/>
                    <a:pt x="911949" y="2440548"/>
                  </a:cubicBezTo>
                  <a:cubicBezTo>
                    <a:pt x="911949" y="2418961"/>
                    <a:pt x="929448" y="2401461"/>
                    <a:pt x="951035" y="2401461"/>
                  </a:cubicBezTo>
                  <a:close/>
                  <a:moveTo>
                    <a:pt x="3300457" y="2318653"/>
                  </a:moveTo>
                  <a:cubicBezTo>
                    <a:pt x="3322044" y="2318653"/>
                    <a:pt x="3339544" y="2336153"/>
                    <a:pt x="3339544" y="2357740"/>
                  </a:cubicBezTo>
                  <a:cubicBezTo>
                    <a:pt x="3339544" y="2379327"/>
                    <a:pt x="3322044" y="2396827"/>
                    <a:pt x="3300457" y="2396827"/>
                  </a:cubicBezTo>
                  <a:cubicBezTo>
                    <a:pt x="3278869" y="2396827"/>
                    <a:pt x="3261369" y="2379327"/>
                    <a:pt x="3261369" y="2357740"/>
                  </a:cubicBezTo>
                  <a:cubicBezTo>
                    <a:pt x="3261369" y="2336153"/>
                    <a:pt x="3278869" y="2318653"/>
                    <a:pt x="3300457" y="2318653"/>
                  </a:cubicBezTo>
                  <a:close/>
                  <a:moveTo>
                    <a:pt x="3205817" y="2318653"/>
                  </a:moveTo>
                  <a:cubicBezTo>
                    <a:pt x="3227404" y="2318653"/>
                    <a:pt x="3244904" y="2336153"/>
                    <a:pt x="3244904" y="2357740"/>
                  </a:cubicBezTo>
                  <a:cubicBezTo>
                    <a:pt x="3244904" y="2379327"/>
                    <a:pt x="3227404" y="2396827"/>
                    <a:pt x="3205817" y="2396827"/>
                  </a:cubicBezTo>
                  <a:cubicBezTo>
                    <a:pt x="3184229" y="2396827"/>
                    <a:pt x="3166729" y="2379327"/>
                    <a:pt x="3166729" y="2357740"/>
                  </a:cubicBezTo>
                  <a:cubicBezTo>
                    <a:pt x="3166729" y="2336153"/>
                    <a:pt x="3184229" y="2318653"/>
                    <a:pt x="3205817" y="2318653"/>
                  </a:cubicBezTo>
                  <a:close/>
                  <a:moveTo>
                    <a:pt x="3111177" y="2318653"/>
                  </a:moveTo>
                  <a:cubicBezTo>
                    <a:pt x="3132764" y="2318653"/>
                    <a:pt x="3150264" y="2336153"/>
                    <a:pt x="3150264" y="2357740"/>
                  </a:cubicBezTo>
                  <a:cubicBezTo>
                    <a:pt x="3150264" y="2379327"/>
                    <a:pt x="3132764" y="2396827"/>
                    <a:pt x="3111177" y="2396827"/>
                  </a:cubicBezTo>
                  <a:cubicBezTo>
                    <a:pt x="3089589" y="2396827"/>
                    <a:pt x="3072089" y="2379327"/>
                    <a:pt x="3072089" y="2357740"/>
                  </a:cubicBezTo>
                  <a:cubicBezTo>
                    <a:pt x="3072089" y="2336153"/>
                    <a:pt x="3089589" y="2318653"/>
                    <a:pt x="3111177" y="2318653"/>
                  </a:cubicBezTo>
                  <a:close/>
                  <a:moveTo>
                    <a:pt x="3018902" y="2318653"/>
                  </a:moveTo>
                  <a:cubicBezTo>
                    <a:pt x="3040489" y="2318653"/>
                    <a:pt x="3057989" y="2336153"/>
                    <a:pt x="3057989" y="2357740"/>
                  </a:cubicBezTo>
                  <a:cubicBezTo>
                    <a:pt x="3057989" y="2379327"/>
                    <a:pt x="3040489" y="2396827"/>
                    <a:pt x="3018902" y="2396827"/>
                  </a:cubicBezTo>
                  <a:cubicBezTo>
                    <a:pt x="2997315" y="2396827"/>
                    <a:pt x="2979815" y="2379327"/>
                    <a:pt x="2979815" y="2357740"/>
                  </a:cubicBezTo>
                  <a:cubicBezTo>
                    <a:pt x="2979815" y="2336153"/>
                    <a:pt x="2997315" y="2318653"/>
                    <a:pt x="3018902" y="2318653"/>
                  </a:cubicBezTo>
                  <a:close/>
                  <a:moveTo>
                    <a:pt x="2924263" y="2318653"/>
                  </a:moveTo>
                  <a:cubicBezTo>
                    <a:pt x="2945850" y="2318653"/>
                    <a:pt x="2963349" y="2336153"/>
                    <a:pt x="2963349" y="2357740"/>
                  </a:cubicBezTo>
                  <a:cubicBezTo>
                    <a:pt x="2963349" y="2379327"/>
                    <a:pt x="2945850" y="2396827"/>
                    <a:pt x="2924263" y="2396827"/>
                  </a:cubicBezTo>
                  <a:cubicBezTo>
                    <a:pt x="2902675" y="2396827"/>
                    <a:pt x="2885175" y="2379327"/>
                    <a:pt x="2885175" y="2357740"/>
                  </a:cubicBezTo>
                  <a:cubicBezTo>
                    <a:pt x="2885175" y="2336153"/>
                    <a:pt x="2902675" y="2318653"/>
                    <a:pt x="2924263" y="2318653"/>
                  </a:cubicBezTo>
                  <a:close/>
                  <a:moveTo>
                    <a:pt x="2831988" y="2318653"/>
                  </a:moveTo>
                  <a:cubicBezTo>
                    <a:pt x="2853575" y="2318653"/>
                    <a:pt x="2871075" y="2336153"/>
                    <a:pt x="2871075" y="2357740"/>
                  </a:cubicBezTo>
                  <a:cubicBezTo>
                    <a:pt x="2871075" y="2379327"/>
                    <a:pt x="2853575" y="2396827"/>
                    <a:pt x="2831988" y="2396827"/>
                  </a:cubicBezTo>
                  <a:cubicBezTo>
                    <a:pt x="2810401" y="2396827"/>
                    <a:pt x="2792901" y="2379327"/>
                    <a:pt x="2792901" y="2357740"/>
                  </a:cubicBezTo>
                  <a:cubicBezTo>
                    <a:pt x="2792901" y="2336153"/>
                    <a:pt x="2810401" y="2318653"/>
                    <a:pt x="2831988" y="2318653"/>
                  </a:cubicBezTo>
                  <a:close/>
                  <a:moveTo>
                    <a:pt x="2737354" y="2318653"/>
                  </a:moveTo>
                  <a:cubicBezTo>
                    <a:pt x="2758935" y="2318653"/>
                    <a:pt x="2776435" y="2336153"/>
                    <a:pt x="2776435" y="2357740"/>
                  </a:cubicBezTo>
                  <a:cubicBezTo>
                    <a:pt x="2776435" y="2379327"/>
                    <a:pt x="2758935" y="2396827"/>
                    <a:pt x="2737354" y="2396827"/>
                  </a:cubicBezTo>
                  <a:cubicBezTo>
                    <a:pt x="2715765" y="2396827"/>
                    <a:pt x="2698264" y="2379327"/>
                    <a:pt x="2698264" y="2357740"/>
                  </a:cubicBezTo>
                  <a:cubicBezTo>
                    <a:pt x="2698264" y="2336153"/>
                    <a:pt x="2715765" y="2318653"/>
                    <a:pt x="2737354" y="2318653"/>
                  </a:cubicBezTo>
                  <a:close/>
                  <a:moveTo>
                    <a:pt x="1516512" y="2318653"/>
                  </a:moveTo>
                  <a:cubicBezTo>
                    <a:pt x="1538098" y="2318653"/>
                    <a:pt x="1555598" y="2336153"/>
                    <a:pt x="1555598" y="2357740"/>
                  </a:cubicBezTo>
                  <a:cubicBezTo>
                    <a:pt x="1555598" y="2379327"/>
                    <a:pt x="1538098" y="2396827"/>
                    <a:pt x="1516512" y="2396827"/>
                  </a:cubicBezTo>
                  <a:cubicBezTo>
                    <a:pt x="1494923" y="2396827"/>
                    <a:pt x="1477423" y="2379327"/>
                    <a:pt x="1477423" y="2357740"/>
                  </a:cubicBezTo>
                  <a:cubicBezTo>
                    <a:pt x="1477423" y="2336153"/>
                    <a:pt x="1494923" y="2318653"/>
                    <a:pt x="1516512" y="2318653"/>
                  </a:cubicBezTo>
                  <a:close/>
                  <a:moveTo>
                    <a:pt x="1419506" y="2318653"/>
                  </a:moveTo>
                  <a:cubicBezTo>
                    <a:pt x="1441093" y="2318653"/>
                    <a:pt x="1458594" y="2336153"/>
                    <a:pt x="1458594" y="2357740"/>
                  </a:cubicBezTo>
                  <a:cubicBezTo>
                    <a:pt x="1458594" y="2379327"/>
                    <a:pt x="1441093" y="2396827"/>
                    <a:pt x="1419506" y="2396827"/>
                  </a:cubicBezTo>
                  <a:cubicBezTo>
                    <a:pt x="1397917" y="2396827"/>
                    <a:pt x="1380417" y="2379327"/>
                    <a:pt x="1380417" y="2357740"/>
                  </a:cubicBezTo>
                  <a:cubicBezTo>
                    <a:pt x="1380417" y="2336153"/>
                    <a:pt x="1397917" y="2318653"/>
                    <a:pt x="1419506" y="2318653"/>
                  </a:cubicBezTo>
                  <a:close/>
                  <a:moveTo>
                    <a:pt x="1329595" y="2318653"/>
                  </a:moveTo>
                  <a:cubicBezTo>
                    <a:pt x="1351182" y="2318653"/>
                    <a:pt x="1368683" y="2336153"/>
                    <a:pt x="1368683" y="2357740"/>
                  </a:cubicBezTo>
                  <a:cubicBezTo>
                    <a:pt x="1368683" y="2379327"/>
                    <a:pt x="1351182" y="2396827"/>
                    <a:pt x="1329595" y="2396827"/>
                  </a:cubicBezTo>
                  <a:cubicBezTo>
                    <a:pt x="1308010" y="2396827"/>
                    <a:pt x="1290510" y="2379327"/>
                    <a:pt x="1290510" y="2357740"/>
                  </a:cubicBezTo>
                  <a:cubicBezTo>
                    <a:pt x="1290510" y="2336153"/>
                    <a:pt x="1308010" y="2318653"/>
                    <a:pt x="1329595" y="2318653"/>
                  </a:cubicBezTo>
                  <a:close/>
                  <a:moveTo>
                    <a:pt x="1232594" y="2318653"/>
                  </a:moveTo>
                  <a:cubicBezTo>
                    <a:pt x="1254180" y="2318653"/>
                    <a:pt x="1271677" y="2336153"/>
                    <a:pt x="1271677" y="2357740"/>
                  </a:cubicBezTo>
                  <a:cubicBezTo>
                    <a:pt x="1271677" y="2379327"/>
                    <a:pt x="1254180" y="2396827"/>
                    <a:pt x="1232594" y="2396827"/>
                  </a:cubicBezTo>
                  <a:cubicBezTo>
                    <a:pt x="1211006" y="2396827"/>
                    <a:pt x="1193507" y="2379327"/>
                    <a:pt x="1193507" y="2357740"/>
                  </a:cubicBezTo>
                  <a:cubicBezTo>
                    <a:pt x="1193507" y="2336153"/>
                    <a:pt x="1211006" y="2318653"/>
                    <a:pt x="1232594" y="2318653"/>
                  </a:cubicBezTo>
                  <a:close/>
                  <a:moveTo>
                    <a:pt x="1142684" y="2318653"/>
                  </a:moveTo>
                  <a:cubicBezTo>
                    <a:pt x="1164272" y="2318653"/>
                    <a:pt x="1181772" y="2336153"/>
                    <a:pt x="1181772" y="2357740"/>
                  </a:cubicBezTo>
                  <a:cubicBezTo>
                    <a:pt x="1181772" y="2379327"/>
                    <a:pt x="1164272" y="2396827"/>
                    <a:pt x="1142684" y="2396827"/>
                  </a:cubicBezTo>
                  <a:cubicBezTo>
                    <a:pt x="1121096" y="2396827"/>
                    <a:pt x="1103594" y="2379327"/>
                    <a:pt x="1103594" y="2357740"/>
                  </a:cubicBezTo>
                  <a:cubicBezTo>
                    <a:pt x="1103594" y="2336153"/>
                    <a:pt x="1121096" y="2318653"/>
                    <a:pt x="1142684" y="2318653"/>
                  </a:cubicBezTo>
                  <a:close/>
                  <a:moveTo>
                    <a:pt x="1045673" y="2318653"/>
                  </a:moveTo>
                  <a:cubicBezTo>
                    <a:pt x="1067259" y="2318653"/>
                    <a:pt x="1084760" y="2336153"/>
                    <a:pt x="1084760" y="2357740"/>
                  </a:cubicBezTo>
                  <a:cubicBezTo>
                    <a:pt x="1084760" y="2379327"/>
                    <a:pt x="1067259" y="2396827"/>
                    <a:pt x="1045673" y="2396827"/>
                  </a:cubicBezTo>
                  <a:cubicBezTo>
                    <a:pt x="1024086" y="2396827"/>
                    <a:pt x="1006587" y="2379327"/>
                    <a:pt x="1006587" y="2357740"/>
                  </a:cubicBezTo>
                  <a:cubicBezTo>
                    <a:pt x="1006587" y="2336153"/>
                    <a:pt x="1024086" y="2318653"/>
                    <a:pt x="1045673" y="2318653"/>
                  </a:cubicBezTo>
                  <a:close/>
                  <a:moveTo>
                    <a:pt x="3489735" y="2318651"/>
                  </a:moveTo>
                  <a:cubicBezTo>
                    <a:pt x="3511323" y="2318651"/>
                    <a:pt x="3528823" y="2336151"/>
                    <a:pt x="3528823" y="2357738"/>
                  </a:cubicBezTo>
                  <a:cubicBezTo>
                    <a:pt x="3528823" y="2379325"/>
                    <a:pt x="3511323" y="2396825"/>
                    <a:pt x="3489735" y="2396825"/>
                  </a:cubicBezTo>
                  <a:cubicBezTo>
                    <a:pt x="3468148" y="2396825"/>
                    <a:pt x="3450649" y="2379325"/>
                    <a:pt x="3450649" y="2357738"/>
                  </a:cubicBezTo>
                  <a:cubicBezTo>
                    <a:pt x="3450649" y="2336151"/>
                    <a:pt x="3468148" y="2318651"/>
                    <a:pt x="3489735" y="2318651"/>
                  </a:cubicBezTo>
                  <a:close/>
                  <a:moveTo>
                    <a:pt x="3392730" y="2318651"/>
                  </a:moveTo>
                  <a:cubicBezTo>
                    <a:pt x="3414317" y="2318651"/>
                    <a:pt x="3431817" y="2336151"/>
                    <a:pt x="3431817" y="2357738"/>
                  </a:cubicBezTo>
                  <a:cubicBezTo>
                    <a:pt x="3431817" y="2379325"/>
                    <a:pt x="3414317" y="2396825"/>
                    <a:pt x="3392730" y="2396825"/>
                  </a:cubicBezTo>
                  <a:cubicBezTo>
                    <a:pt x="3371143" y="2396825"/>
                    <a:pt x="3353643" y="2379325"/>
                    <a:pt x="3353643" y="2357738"/>
                  </a:cubicBezTo>
                  <a:cubicBezTo>
                    <a:pt x="3353643" y="2336151"/>
                    <a:pt x="3371143" y="2318651"/>
                    <a:pt x="3392730" y="2318651"/>
                  </a:cubicBezTo>
                  <a:close/>
                  <a:moveTo>
                    <a:pt x="3489737" y="2233477"/>
                  </a:moveTo>
                  <a:cubicBezTo>
                    <a:pt x="3511324" y="2233477"/>
                    <a:pt x="3528823" y="2250977"/>
                    <a:pt x="3528823" y="2272564"/>
                  </a:cubicBezTo>
                  <a:cubicBezTo>
                    <a:pt x="3528823" y="2294151"/>
                    <a:pt x="3511324" y="2311651"/>
                    <a:pt x="3489737" y="2311651"/>
                  </a:cubicBezTo>
                  <a:cubicBezTo>
                    <a:pt x="3468149" y="2311651"/>
                    <a:pt x="3450649" y="2294151"/>
                    <a:pt x="3450649" y="2272564"/>
                  </a:cubicBezTo>
                  <a:cubicBezTo>
                    <a:pt x="3450649" y="2250977"/>
                    <a:pt x="3468149" y="2233477"/>
                    <a:pt x="3489737" y="2233477"/>
                  </a:cubicBezTo>
                  <a:close/>
                  <a:moveTo>
                    <a:pt x="3392731" y="2233477"/>
                  </a:moveTo>
                  <a:cubicBezTo>
                    <a:pt x="3414319" y="2233477"/>
                    <a:pt x="3431819" y="2250977"/>
                    <a:pt x="3431819" y="2272564"/>
                  </a:cubicBezTo>
                  <a:cubicBezTo>
                    <a:pt x="3431819" y="2294151"/>
                    <a:pt x="3414319" y="2311651"/>
                    <a:pt x="3392731" y="2311651"/>
                  </a:cubicBezTo>
                  <a:cubicBezTo>
                    <a:pt x="3371144" y="2311651"/>
                    <a:pt x="3353644" y="2294151"/>
                    <a:pt x="3353644" y="2272564"/>
                  </a:cubicBezTo>
                  <a:cubicBezTo>
                    <a:pt x="3353644" y="2250977"/>
                    <a:pt x="3371144" y="2233477"/>
                    <a:pt x="3392731" y="2233477"/>
                  </a:cubicBezTo>
                  <a:close/>
                  <a:moveTo>
                    <a:pt x="3300457" y="2233477"/>
                  </a:moveTo>
                  <a:cubicBezTo>
                    <a:pt x="3322044" y="2233477"/>
                    <a:pt x="3339544" y="2250977"/>
                    <a:pt x="3339544" y="2272564"/>
                  </a:cubicBezTo>
                  <a:cubicBezTo>
                    <a:pt x="3339544" y="2294151"/>
                    <a:pt x="3322044" y="2311651"/>
                    <a:pt x="3300457" y="2311651"/>
                  </a:cubicBezTo>
                  <a:cubicBezTo>
                    <a:pt x="3278869" y="2311651"/>
                    <a:pt x="3261369" y="2294151"/>
                    <a:pt x="3261369" y="2272564"/>
                  </a:cubicBezTo>
                  <a:cubicBezTo>
                    <a:pt x="3261369" y="2250977"/>
                    <a:pt x="3278869" y="2233477"/>
                    <a:pt x="3300457" y="2233477"/>
                  </a:cubicBezTo>
                  <a:close/>
                  <a:moveTo>
                    <a:pt x="3205817" y="2233477"/>
                  </a:moveTo>
                  <a:cubicBezTo>
                    <a:pt x="3227404" y="2233477"/>
                    <a:pt x="3244904" y="2250977"/>
                    <a:pt x="3244904" y="2272564"/>
                  </a:cubicBezTo>
                  <a:cubicBezTo>
                    <a:pt x="3244904" y="2294151"/>
                    <a:pt x="3227404" y="2311651"/>
                    <a:pt x="3205817" y="2311651"/>
                  </a:cubicBezTo>
                  <a:cubicBezTo>
                    <a:pt x="3184229" y="2311651"/>
                    <a:pt x="3166729" y="2294151"/>
                    <a:pt x="3166729" y="2272564"/>
                  </a:cubicBezTo>
                  <a:cubicBezTo>
                    <a:pt x="3166729" y="2250977"/>
                    <a:pt x="3184229" y="2233477"/>
                    <a:pt x="3205817" y="2233477"/>
                  </a:cubicBezTo>
                  <a:close/>
                  <a:moveTo>
                    <a:pt x="3111177" y="2233477"/>
                  </a:moveTo>
                  <a:cubicBezTo>
                    <a:pt x="3132764" y="2233477"/>
                    <a:pt x="3150264" y="2250977"/>
                    <a:pt x="3150264" y="2272564"/>
                  </a:cubicBezTo>
                  <a:cubicBezTo>
                    <a:pt x="3150264" y="2294151"/>
                    <a:pt x="3132764" y="2311651"/>
                    <a:pt x="3111177" y="2311651"/>
                  </a:cubicBezTo>
                  <a:cubicBezTo>
                    <a:pt x="3089589" y="2311651"/>
                    <a:pt x="3072089" y="2294151"/>
                    <a:pt x="3072089" y="2272564"/>
                  </a:cubicBezTo>
                  <a:cubicBezTo>
                    <a:pt x="3072089" y="2250977"/>
                    <a:pt x="3089589" y="2233477"/>
                    <a:pt x="3111177" y="2233477"/>
                  </a:cubicBezTo>
                  <a:close/>
                  <a:moveTo>
                    <a:pt x="3018902" y="2233477"/>
                  </a:moveTo>
                  <a:cubicBezTo>
                    <a:pt x="3040489" y="2233477"/>
                    <a:pt x="3057989" y="2250977"/>
                    <a:pt x="3057989" y="2272564"/>
                  </a:cubicBezTo>
                  <a:cubicBezTo>
                    <a:pt x="3057989" y="2294151"/>
                    <a:pt x="3040489" y="2311651"/>
                    <a:pt x="3018902" y="2311651"/>
                  </a:cubicBezTo>
                  <a:cubicBezTo>
                    <a:pt x="2997315" y="2311651"/>
                    <a:pt x="2979815" y="2294151"/>
                    <a:pt x="2979815" y="2272564"/>
                  </a:cubicBezTo>
                  <a:cubicBezTo>
                    <a:pt x="2979815" y="2250977"/>
                    <a:pt x="2997315" y="2233477"/>
                    <a:pt x="3018902" y="2233477"/>
                  </a:cubicBezTo>
                  <a:close/>
                  <a:moveTo>
                    <a:pt x="2924263" y="2233477"/>
                  </a:moveTo>
                  <a:cubicBezTo>
                    <a:pt x="2945850" y="2233477"/>
                    <a:pt x="2963349" y="2250977"/>
                    <a:pt x="2963349" y="2272564"/>
                  </a:cubicBezTo>
                  <a:cubicBezTo>
                    <a:pt x="2963349" y="2294151"/>
                    <a:pt x="2945850" y="2311651"/>
                    <a:pt x="2924263" y="2311651"/>
                  </a:cubicBezTo>
                  <a:cubicBezTo>
                    <a:pt x="2902675" y="2311651"/>
                    <a:pt x="2885175" y="2294151"/>
                    <a:pt x="2885175" y="2272564"/>
                  </a:cubicBezTo>
                  <a:cubicBezTo>
                    <a:pt x="2885175" y="2250977"/>
                    <a:pt x="2902675" y="2233477"/>
                    <a:pt x="2924263" y="2233477"/>
                  </a:cubicBezTo>
                  <a:close/>
                  <a:moveTo>
                    <a:pt x="2831988" y="2233477"/>
                  </a:moveTo>
                  <a:cubicBezTo>
                    <a:pt x="2853575" y="2233477"/>
                    <a:pt x="2871075" y="2250977"/>
                    <a:pt x="2871075" y="2272564"/>
                  </a:cubicBezTo>
                  <a:cubicBezTo>
                    <a:pt x="2871075" y="2294151"/>
                    <a:pt x="2853575" y="2311651"/>
                    <a:pt x="2831988" y="2311651"/>
                  </a:cubicBezTo>
                  <a:cubicBezTo>
                    <a:pt x="2810401" y="2311651"/>
                    <a:pt x="2792901" y="2294151"/>
                    <a:pt x="2792901" y="2272564"/>
                  </a:cubicBezTo>
                  <a:cubicBezTo>
                    <a:pt x="2792901" y="2250977"/>
                    <a:pt x="2810401" y="2233477"/>
                    <a:pt x="2831988" y="2233477"/>
                  </a:cubicBezTo>
                  <a:close/>
                  <a:moveTo>
                    <a:pt x="2737354" y="2233477"/>
                  </a:moveTo>
                  <a:cubicBezTo>
                    <a:pt x="2758935" y="2233477"/>
                    <a:pt x="2776435" y="2250977"/>
                    <a:pt x="2776435" y="2272564"/>
                  </a:cubicBezTo>
                  <a:cubicBezTo>
                    <a:pt x="2776435" y="2294151"/>
                    <a:pt x="2758935" y="2311651"/>
                    <a:pt x="2737354" y="2311651"/>
                  </a:cubicBezTo>
                  <a:cubicBezTo>
                    <a:pt x="2715765" y="2311651"/>
                    <a:pt x="2698264" y="2294151"/>
                    <a:pt x="2698264" y="2272564"/>
                  </a:cubicBezTo>
                  <a:cubicBezTo>
                    <a:pt x="2698264" y="2250977"/>
                    <a:pt x="2715765" y="2233477"/>
                    <a:pt x="2737354" y="2233477"/>
                  </a:cubicBezTo>
                  <a:close/>
                  <a:moveTo>
                    <a:pt x="2645073" y="2233477"/>
                  </a:moveTo>
                  <a:cubicBezTo>
                    <a:pt x="2666661" y="2233477"/>
                    <a:pt x="2684163" y="2250977"/>
                    <a:pt x="2684163" y="2272564"/>
                  </a:cubicBezTo>
                  <a:cubicBezTo>
                    <a:pt x="2684163" y="2294151"/>
                    <a:pt x="2666661" y="2311651"/>
                    <a:pt x="2645073" y="2311651"/>
                  </a:cubicBezTo>
                  <a:cubicBezTo>
                    <a:pt x="2623487" y="2311651"/>
                    <a:pt x="2605987" y="2294151"/>
                    <a:pt x="2605987" y="2272564"/>
                  </a:cubicBezTo>
                  <a:cubicBezTo>
                    <a:pt x="2605987" y="2250977"/>
                    <a:pt x="2623487" y="2233477"/>
                    <a:pt x="2645073" y="2233477"/>
                  </a:cubicBezTo>
                  <a:close/>
                  <a:moveTo>
                    <a:pt x="2550435" y="2233477"/>
                  </a:moveTo>
                  <a:cubicBezTo>
                    <a:pt x="2572021" y="2233477"/>
                    <a:pt x="2589521" y="2250977"/>
                    <a:pt x="2589521" y="2272564"/>
                  </a:cubicBezTo>
                  <a:cubicBezTo>
                    <a:pt x="2589521" y="2294151"/>
                    <a:pt x="2572021" y="2311651"/>
                    <a:pt x="2550435" y="2311651"/>
                  </a:cubicBezTo>
                  <a:cubicBezTo>
                    <a:pt x="2528848" y="2311651"/>
                    <a:pt x="2511349" y="2294151"/>
                    <a:pt x="2511349" y="2272564"/>
                  </a:cubicBezTo>
                  <a:cubicBezTo>
                    <a:pt x="2511349" y="2250977"/>
                    <a:pt x="2528848" y="2233477"/>
                    <a:pt x="2550435" y="2233477"/>
                  </a:cubicBezTo>
                  <a:close/>
                  <a:moveTo>
                    <a:pt x="2458164" y="2233477"/>
                  </a:moveTo>
                  <a:cubicBezTo>
                    <a:pt x="2479749" y="2233477"/>
                    <a:pt x="2497250" y="2250977"/>
                    <a:pt x="2497250" y="2272564"/>
                  </a:cubicBezTo>
                  <a:cubicBezTo>
                    <a:pt x="2497250" y="2294151"/>
                    <a:pt x="2479749" y="2311651"/>
                    <a:pt x="2458164" y="2311651"/>
                  </a:cubicBezTo>
                  <a:cubicBezTo>
                    <a:pt x="2436578" y="2311651"/>
                    <a:pt x="2419078" y="2294151"/>
                    <a:pt x="2419078" y="2272564"/>
                  </a:cubicBezTo>
                  <a:cubicBezTo>
                    <a:pt x="2419078" y="2250977"/>
                    <a:pt x="2436578" y="2233477"/>
                    <a:pt x="2458164" y="2233477"/>
                  </a:cubicBezTo>
                  <a:close/>
                  <a:moveTo>
                    <a:pt x="2363524" y="2233477"/>
                  </a:moveTo>
                  <a:cubicBezTo>
                    <a:pt x="2385111" y="2233477"/>
                    <a:pt x="2402611" y="2250977"/>
                    <a:pt x="2402611" y="2272564"/>
                  </a:cubicBezTo>
                  <a:cubicBezTo>
                    <a:pt x="2402611" y="2294151"/>
                    <a:pt x="2385111" y="2311651"/>
                    <a:pt x="2363524" y="2311651"/>
                  </a:cubicBezTo>
                  <a:cubicBezTo>
                    <a:pt x="2341937" y="2311651"/>
                    <a:pt x="2324437" y="2294151"/>
                    <a:pt x="2324437" y="2272564"/>
                  </a:cubicBezTo>
                  <a:cubicBezTo>
                    <a:pt x="2324437" y="2250977"/>
                    <a:pt x="2341937" y="2233477"/>
                    <a:pt x="2363524" y="2233477"/>
                  </a:cubicBezTo>
                  <a:close/>
                  <a:moveTo>
                    <a:pt x="1329597" y="2233477"/>
                  </a:moveTo>
                  <a:cubicBezTo>
                    <a:pt x="1351184" y="2233477"/>
                    <a:pt x="1368685" y="2250977"/>
                    <a:pt x="1368685" y="2272564"/>
                  </a:cubicBezTo>
                  <a:cubicBezTo>
                    <a:pt x="1368685" y="2294151"/>
                    <a:pt x="1351184" y="2311651"/>
                    <a:pt x="1329597" y="2311651"/>
                  </a:cubicBezTo>
                  <a:cubicBezTo>
                    <a:pt x="1308012" y="2311651"/>
                    <a:pt x="1290512" y="2294151"/>
                    <a:pt x="1290512" y="2272564"/>
                  </a:cubicBezTo>
                  <a:cubicBezTo>
                    <a:pt x="1290512" y="2250977"/>
                    <a:pt x="1308012" y="2233477"/>
                    <a:pt x="1329597" y="2233477"/>
                  </a:cubicBezTo>
                  <a:close/>
                  <a:moveTo>
                    <a:pt x="1232596" y="2233477"/>
                  </a:moveTo>
                  <a:cubicBezTo>
                    <a:pt x="1254184" y="2233477"/>
                    <a:pt x="1271678" y="2250977"/>
                    <a:pt x="1271678" y="2272564"/>
                  </a:cubicBezTo>
                  <a:cubicBezTo>
                    <a:pt x="1271678" y="2294151"/>
                    <a:pt x="1254184" y="2311651"/>
                    <a:pt x="1232596" y="2311651"/>
                  </a:cubicBezTo>
                  <a:cubicBezTo>
                    <a:pt x="1211007" y="2311651"/>
                    <a:pt x="1193508" y="2294151"/>
                    <a:pt x="1193508" y="2272564"/>
                  </a:cubicBezTo>
                  <a:cubicBezTo>
                    <a:pt x="1193508" y="2250977"/>
                    <a:pt x="1211007" y="2233477"/>
                    <a:pt x="1232596" y="2233477"/>
                  </a:cubicBezTo>
                  <a:close/>
                  <a:moveTo>
                    <a:pt x="1142686" y="2233477"/>
                  </a:moveTo>
                  <a:cubicBezTo>
                    <a:pt x="1164275" y="2233477"/>
                    <a:pt x="1181776" y="2250977"/>
                    <a:pt x="1181776" y="2272564"/>
                  </a:cubicBezTo>
                  <a:cubicBezTo>
                    <a:pt x="1181776" y="2294151"/>
                    <a:pt x="1164275" y="2311651"/>
                    <a:pt x="1142686" y="2311651"/>
                  </a:cubicBezTo>
                  <a:cubicBezTo>
                    <a:pt x="1121097" y="2311651"/>
                    <a:pt x="1103596" y="2294151"/>
                    <a:pt x="1103596" y="2272564"/>
                  </a:cubicBezTo>
                  <a:cubicBezTo>
                    <a:pt x="1103596" y="2250977"/>
                    <a:pt x="1121097" y="2233477"/>
                    <a:pt x="1142686" y="2233477"/>
                  </a:cubicBezTo>
                  <a:close/>
                  <a:moveTo>
                    <a:pt x="1045675" y="2233477"/>
                  </a:moveTo>
                  <a:cubicBezTo>
                    <a:pt x="1067261" y="2233477"/>
                    <a:pt x="1084762" y="2250977"/>
                    <a:pt x="1084762" y="2272564"/>
                  </a:cubicBezTo>
                  <a:cubicBezTo>
                    <a:pt x="1084762" y="2294151"/>
                    <a:pt x="1067261" y="2311651"/>
                    <a:pt x="1045675" y="2311651"/>
                  </a:cubicBezTo>
                  <a:cubicBezTo>
                    <a:pt x="1024088" y="2311651"/>
                    <a:pt x="1006589" y="2294151"/>
                    <a:pt x="1006589" y="2272564"/>
                  </a:cubicBezTo>
                  <a:cubicBezTo>
                    <a:pt x="1006589" y="2250977"/>
                    <a:pt x="1024088" y="2233477"/>
                    <a:pt x="1045675" y="2233477"/>
                  </a:cubicBezTo>
                  <a:close/>
                  <a:moveTo>
                    <a:pt x="3584377" y="2145935"/>
                  </a:moveTo>
                  <a:cubicBezTo>
                    <a:pt x="3605964" y="2145935"/>
                    <a:pt x="3623463" y="2163435"/>
                    <a:pt x="3623463" y="2185022"/>
                  </a:cubicBezTo>
                  <a:cubicBezTo>
                    <a:pt x="3623463" y="2206609"/>
                    <a:pt x="3605964" y="2224109"/>
                    <a:pt x="3584377" y="2224109"/>
                  </a:cubicBezTo>
                  <a:cubicBezTo>
                    <a:pt x="3562789" y="2224109"/>
                    <a:pt x="3545289" y="2206609"/>
                    <a:pt x="3545289" y="2185022"/>
                  </a:cubicBezTo>
                  <a:cubicBezTo>
                    <a:pt x="3545289" y="2163435"/>
                    <a:pt x="3562789" y="2145935"/>
                    <a:pt x="3584377" y="2145935"/>
                  </a:cubicBezTo>
                  <a:close/>
                  <a:moveTo>
                    <a:pt x="3489737" y="2145935"/>
                  </a:moveTo>
                  <a:cubicBezTo>
                    <a:pt x="3511324" y="2145935"/>
                    <a:pt x="3528823" y="2163435"/>
                    <a:pt x="3528823" y="2185022"/>
                  </a:cubicBezTo>
                  <a:cubicBezTo>
                    <a:pt x="3528823" y="2206609"/>
                    <a:pt x="3511324" y="2224109"/>
                    <a:pt x="3489737" y="2224109"/>
                  </a:cubicBezTo>
                  <a:cubicBezTo>
                    <a:pt x="3468149" y="2224109"/>
                    <a:pt x="3450649" y="2206609"/>
                    <a:pt x="3450649" y="2185022"/>
                  </a:cubicBezTo>
                  <a:cubicBezTo>
                    <a:pt x="3450649" y="2163435"/>
                    <a:pt x="3468149" y="2145935"/>
                    <a:pt x="3489737" y="2145935"/>
                  </a:cubicBezTo>
                  <a:close/>
                  <a:moveTo>
                    <a:pt x="3392731" y="2145935"/>
                  </a:moveTo>
                  <a:cubicBezTo>
                    <a:pt x="3414319" y="2145935"/>
                    <a:pt x="3431819" y="2163435"/>
                    <a:pt x="3431819" y="2185022"/>
                  </a:cubicBezTo>
                  <a:cubicBezTo>
                    <a:pt x="3431819" y="2206609"/>
                    <a:pt x="3414319" y="2224109"/>
                    <a:pt x="3392731" y="2224109"/>
                  </a:cubicBezTo>
                  <a:cubicBezTo>
                    <a:pt x="3371144" y="2224109"/>
                    <a:pt x="3353644" y="2206609"/>
                    <a:pt x="3353644" y="2185022"/>
                  </a:cubicBezTo>
                  <a:cubicBezTo>
                    <a:pt x="3353644" y="2163435"/>
                    <a:pt x="3371144" y="2145935"/>
                    <a:pt x="3392731" y="2145935"/>
                  </a:cubicBezTo>
                  <a:close/>
                  <a:moveTo>
                    <a:pt x="3300457" y="2145935"/>
                  </a:moveTo>
                  <a:cubicBezTo>
                    <a:pt x="3322044" y="2145935"/>
                    <a:pt x="3339544" y="2163435"/>
                    <a:pt x="3339544" y="2185022"/>
                  </a:cubicBezTo>
                  <a:cubicBezTo>
                    <a:pt x="3339544" y="2206609"/>
                    <a:pt x="3322044" y="2224109"/>
                    <a:pt x="3300457" y="2224109"/>
                  </a:cubicBezTo>
                  <a:cubicBezTo>
                    <a:pt x="3278869" y="2224109"/>
                    <a:pt x="3261369" y="2206609"/>
                    <a:pt x="3261369" y="2185022"/>
                  </a:cubicBezTo>
                  <a:cubicBezTo>
                    <a:pt x="3261369" y="2163435"/>
                    <a:pt x="3278869" y="2145935"/>
                    <a:pt x="3300457" y="2145935"/>
                  </a:cubicBezTo>
                  <a:close/>
                  <a:moveTo>
                    <a:pt x="3205817" y="2145935"/>
                  </a:moveTo>
                  <a:cubicBezTo>
                    <a:pt x="3227404" y="2145935"/>
                    <a:pt x="3244904" y="2163435"/>
                    <a:pt x="3244904" y="2185022"/>
                  </a:cubicBezTo>
                  <a:cubicBezTo>
                    <a:pt x="3244904" y="2206609"/>
                    <a:pt x="3227404" y="2224109"/>
                    <a:pt x="3205817" y="2224109"/>
                  </a:cubicBezTo>
                  <a:cubicBezTo>
                    <a:pt x="3184229" y="2224109"/>
                    <a:pt x="3166729" y="2206609"/>
                    <a:pt x="3166729" y="2185022"/>
                  </a:cubicBezTo>
                  <a:cubicBezTo>
                    <a:pt x="3166729" y="2163435"/>
                    <a:pt x="3184229" y="2145935"/>
                    <a:pt x="3205817" y="2145935"/>
                  </a:cubicBezTo>
                  <a:close/>
                  <a:moveTo>
                    <a:pt x="3111177" y="2145935"/>
                  </a:moveTo>
                  <a:cubicBezTo>
                    <a:pt x="3132764" y="2145935"/>
                    <a:pt x="3150264" y="2163435"/>
                    <a:pt x="3150264" y="2185022"/>
                  </a:cubicBezTo>
                  <a:cubicBezTo>
                    <a:pt x="3150264" y="2206609"/>
                    <a:pt x="3132764" y="2224109"/>
                    <a:pt x="3111177" y="2224109"/>
                  </a:cubicBezTo>
                  <a:cubicBezTo>
                    <a:pt x="3089589" y="2224109"/>
                    <a:pt x="3072089" y="2206609"/>
                    <a:pt x="3072089" y="2185022"/>
                  </a:cubicBezTo>
                  <a:cubicBezTo>
                    <a:pt x="3072089" y="2163435"/>
                    <a:pt x="3089589" y="2145935"/>
                    <a:pt x="3111177" y="2145935"/>
                  </a:cubicBezTo>
                  <a:close/>
                  <a:moveTo>
                    <a:pt x="3018902" y="2145935"/>
                  </a:moveTo>
                  <a:cubicBezTo>
                    <a:pt x="3040489" y="2145935"/>
                    <a:pt x="3057989" y="2163435"/>
                    <a:pt x="3057989" y="2185022"/>
                  </a:cubicBezTo>
                  <a:cubicBezTo>
                    <a:pt x="3057989" y="2206609"/>
                    <a:pt x="3040489" y="2224109"/>
                    <a:pt x="3018902" y="2224109"/>
                  </a:cubicBezTo>
                  <a:cubicBezTo>
                    <a:pt x="2997315" y="2224109"/>
                    <a:pt x="2979815" y="2206609"/>
                    <a:pt x="2979815" y="2185022"/>
                  </a:cubicBezTo>
                  <a:cubicBezTo>
                    <a:pt x="2979815" y="2163435"/>
                    <a:pt x="2997315" y="2145935"/>
                    <a:pt x="3018902" y="2145935"/>
                  </a:cubicBezTo>
                  <a:close/>
                  <a:moveTo>
                    <a:pt x="2924263" y="2145935"/>
                  </a:moveTo>
                  <a:cubicBezTo>
                    <a:pt x="2945850" y="2145935"/>
                    <a:pt x="2963349" y="2163435"/>
                    <a:pt x="2963349" y="2185022"/>
                  </a:cubicBezTo>
                  <a:cubicBezTo>
                    <a:pt x="2963349" y="2206609"/>
                    <a:pt x="2945850" y="2224109"/>
                    <a:pt x="2924263" y="2224109"/>
                  </a:cubicBezTo>
                  <a:cubicBezTo>
                    <a:pt x="2902675" y="2224109"/>
                    <a:pt x="2885175" y="2206609"/>
                    <a:pt x="2885175" y="2185022"/>
                  </a:cubicBezTo>
                  <a:cubicBezTo>
                    <a:pt x="2885175" y="2163435"/>
                    <a:pt x="2902675" y="2145935"/>
                    <a:pt x="2924263" y="2145935"/>
                  </a:cubicBezTo>
                  <a:close/>
                  <a:moveTo>
                    <a:pt x="2831988" y="2145935"/>
                  </a:moveTo>
                  <a:cubicBezTo>
                    <a:pt x="2853575" y="2145935"/>
                    <a:pt x="2871075" y="2163435"/>
                    <a:pt x="2871075" y="2185022"/>
                  </a:cubicBezTo>
                  <a:cubicBezTo>
                    <a:pt x="2871075" y="2206609"/>
                    <a:pt x="2853575" y="2224109"/>
                    <a:pt x="2831988" y="2224109"/>
                  </a:cubicBezTo>
                  <a:cubicBezTo>
                    <a:pt x="2810401" y="2224109"/>
                    <a:pt x="2792901" y="2206609"/>
                    <a:pt x="2792901" y="2185022"/>
                  </a:cubicBezTo>
                  <a:cubicBezTo>
                    <a:pt x="2792901" y="2163435"/>
                    <a:pt x="2810401" y="2145935"/>
                    <a:pt x="2831988" y="2145935"/>
                  </a:cubicBezTo>
                  <a:close/>
                  <a:moveTo>
                    <a:pt x="2737355" y="2145935"/>
                  </a:moveTo>
                  <a:cubicBezTo>
                    <a:pt x="2758935" y="2145935"/>
                    <a:pt x="2776435" y="2163435"/>
                    <a:pt x="2776435" y="2185022"/>
                  </a:cubicBezTo>
                  <a:cubicBezTo>
                    <a:pt x="2776435" y="2206609"/>
                    <a:pt x="2758935" y="2224109"/>
                    <a:pt x="2737355" y="2224109"/>
                  </a:cubicBezTo>
                  <a:cubicBezTo>
                    <a:pt x="2715766" y="2224109"/>
                    <a:pt x="2698264" y="2206609"/>
                    <a:pt x="2698264" y="2185022"/>
                  </a:cubicBezTo>
                  <a:cubicBezTo>
                    <a:pt x="2698264" y="2163435"/>
                    <a:pt x="2715766" y="2145935"/>
                    <a:pt x="2737355" y="2145935"/>
                  </a:cubicBezTo>
                  <a:close/>
                  <a:moveTo>
                    <a:pt x="2645073" y="2145935"/>
                  </a:moveTo>
                  <a:cubicBezTo>
                    <a:pt x="2666661" y="2145935"/>
                    <a:pt x="2684163" y="2163435"/>
                    <a:pt x="2684163" y="2185022"/>
                  </a:cubicBezTo>
                  <a:cubicBezTo>
                    <a:pt x="2684163" y="2206609"/>
                    <a:pt x="2666661" y="2224109"/>
                    <a:pt x="2645073" y="2224109"/>
                  </a:cubicBezTo>
                  <a:cubicBezTo>
                    <a:pt x="2623487" y="2224109"/>
                    <a:pt x="2605987" y="2206609"/>
                    <a:pt x="2605987" y="2185022"/>
                  </a:cubicBezTo>
                  <a:cubicBezTo>
                    <a:pt x="2605987" y="2163435"/>
                    <a:pt x="2623487" y="2145935"/>
                    <a:pt x="2645073" y="2145935"/>
                  </a:cubicBezTo>
                  <a:close/>
                  <a:moveTo>
                    <a:pt x="2550435" y="2145935"/>
                  </a:moveTo>
                  <a:cubicBezTo>
                    <a:pt x="2572023" y="2145935"/>
                    <a:pt x="2589521" y="2163435"/>
                    <a:pt x="2589521" y="2185022"/>
                  </a:cubicBezTo>
                  <a:cubicBezTo>
                    <a:pt x="2589521" y="2206609"/>
                    <a:pt x="2572023" y="2224109"/>
                    <a:pt x="2550435" y="2224109"/>
                  </a:cubicBezTo>
                  <a:cubicBezTo>
                    <a:pt x="2528848" y="2224109"/>
                    <a:pt x="2511350" y="2206609"/>
                    <a:pt x="2511350" y="2185022"/>
                  </a:cubicBezTo>
                  <a:cubicBezTo>
                    <a:pt x="2511350" y="2163435"/>
                    <a:pt x="2528848" y="2145935"/>
                    <a:pt x="2550435" y="2145935"/>
                  </a:cubicBezTo>
                  <a:close/>
                  <a:moveTo>
                    <a:pt x="2458164" y="2145935"/>
                  </a:moveTo>
                  <a:cubicBezTo>
                    <a:pt x="2479749" y="2145935"/>
                    <a:pt x="2497250" y="2163435"/>
                    <a:pt x="2497250" y="2185022"/>
                  </a:cubicBezTo>
                  <a:cubicBezTo>
                    <a:pt x="2497250" y="2206609"/>
                    <a:pt x="2479749" y="2224109"/>
                    <a:pt x="2458164" y="2224109"/>
                  </a:cubicBezTo>
                  <a:cubicBezTo>
                    <a:pt x="2436578" y="2224109"/>
                    <a:pt x="2419078" y="2206609"/>
                    <a:pt x="2419078" y="2185022"/>
                  </a:cubicBezTo>
                  <a:cubicBezTo>
                    <a:pt x="2419078" y="2163435"/>
                    <a:pt x="2436578" y="2145935"/>
                    <a:pt x="2458164" y="2145935"/>
                  </a:cubicBezTo>
                  <a:close/>
                  <a:moveTo>
                    <a:pt x="2363524" y="2145935"/>
                  </a:moveTo>
                  <a:cubicBezTo>
                    <a:pt x="2385113" y="2145935"/>
                    <a:pt x="2402611" y="2163435"/>
                    <a:pt x="2402611" y="2185022"/>
                  </a:cubicBezTo>
                  <a:cubicBezTo>
                    <a:pt x="2402611" y="2206609"/>
                    <a:pt x="2385113" y="2224109"/>
                    <a:pt x="2363524" y="2224109"/>
                  </a:cubicBezTo>
                  <a:cubicBezTo>
                    <a:pt x="2341939" y="2224109"/>
                    <a:pt x="2324437" y="2206609"/>
                    <a:pt x="2324437" y="2185022"/>
                  </a:cubicBezTo>
                  <a:cubicBezTo>
                    <a:pt x="2324437" y="2163435"/>
                    <a:pt x="2341939" y="2145935"/>
                    <a:pt x="2363524" y="2145935"/>
                  </a:cubicBezTo>
                  <a:close/>
                  <a:moveTo>
                    <a:pt x="2266521" y="2145935"/>
                  </a:moveTo>
                  <a:cubicBezTo>
                    <a:pt x="2288105" y="2145935"/>
                    <a:pt x="2305606" y="2163435"/>
                    <a:pt x="2305606" y="2185022"/>
                  </a:cubicBezTo>
                  <a:cubicBezTo>
                    <a:pt x="2305606" y="2206609"/>
                    <a:pt x="2288105" y="2224109"/>
                    <a:pt x="2266521" y="2224109"/>
                  </a:cubicBezTo>
                  <a:cubicBezTo>
                    <a:pt x="2244929" y="2224109"/>
                    <a:pt x="2227432" y="2206609"/>
                    <a:pt x="2227432" y="2185022"/>
                  </a:cubicBezTo>
                  <a:cubicBezTo>
                    <a:pt x="2227432" y="2163435"/>
                    <a:pt x="2244929" y="2145935"/>
                    <a:pt x="2266521" y="2145935"/>
                  </a:cubicBezTo>
                  <a:close/>
                  <a:moveTo>
                    <a:pt x="1232598" y="2145935"/>
                  </a:moveTo>
                  <a:cubicBezTo>
                    <a:pt x="1254184" y="2145935"/>
                    <a:pt x="1271681" y="2163435"/>
                    <a:pt x="1271681" y="2185022"/>
                  </a:cubicBezTo>
                  <a:cubicBezTo>
                    <a:pt x="1271681" y="2206609"/>
                    <a:pt x="1254184" y="2224109"/>
                    <a:pt x="1232598" y="2224109"/>
                  </a:cubicBezTo>
                  <a:cubicBezTo>
                    <a:pt x="1211010" y="2224109"/>
                    <a:pt x="1193510" y="2206609"/>
                    <a:pt x="1193510" y="2185022"/>
                  </a:cubicBezTo>
                  <a:cubicBezTo>
                    <a:pt x="1193510" y="2163435"/>
                    <a:pt x="1211010" y="2145935"/>
                    <a:pt x="1232598" y="2145935"/>
                  </a:cubicBezTo>
                  <a:close/>
                  <a:moveTo>
                    <a:pt x="1142689" y="2145935"/>
                  </a:moveTo>
                  <a:cubicBezTo>
                    <a:pt x="1164277" y="2145935"/>
                    <a:pt x="1181778" y="2163435"/>
                    <a:pt x="1181778" y="2185022"/>
                  </a:cubicBezTo>
                  <a:cubicBezTo>
                    <a:pt x="1181778" y="2206609"/>
                    <a:pt x="1164277" y="2224109"/>
                    <a:pt x="1142689" y="2224109"/>
                  </a:cubicBezTo>
                  <a:cubicBezTo>
                    <a:pt x="1121099" y="2224109"/>
                    <a:pt x="1103598" y="2206609"/>
                    <a:pt x="1103598" y="2185022"/>
                  </a:cubicBezTo>
                  <a:cubicBezTo>
                    <a:pt x="1103598" y="2163435"/>
                    <a:pt x="1121099" y="2145935"/>
                    <a:pt x="1142689" y="2145935"/>
                  </a:cubicBezTo>
                  <a:close/>
                  <a:moveTo>
                    <a:pt x="1045676" y="2145935"/>
                  </a:moveTo>
                  <a:cubicBezTo>
                    <a:pt x="1067262" y="2145935"/>
                    <a:pt x="1084764" y="2163435"/>
                    <a:pt x="1084764" y="2185022"/>
                  </a:cubicBezTo>
                  <a:cubicBezTo>
                    <a:pt x="1084764" y="2206609"/>
                    <a:pt x="1067262" y="2224109"/>
                    <a:pt x="1045676" y="2224109"/>
                  </a:cubicBezTo>
                  <a:cubicBezTo>
                    <a:pt x="1024090" y="2224109"/>
                    <a:pt x="1006591" y="2206609"/>
                    <a:pt x="1006591" y="2185022"/>
                  </a:cubicBezTo>
                  <a:cubicBezTo>
                    <a:pt x="1006591" y="2163435"/>
                    <a:pt x="1024090" y="2145935"/>
                    <a:pt x="1045676" y="2145935"/>
                  </a:cubicBezTo>
                  <a:close/>
                  <a:moveTo>
                    <a:pt x="951041" y="2145935"/>
                  </a:moveTo>
                  <a:cubicBezTo>
                    <a:pt x="972627" y="2145935"/>
                    <a:pt x="990126" y="2163435"/>
                    <a:pt x="990126" y="2185022"/>
                  </a:cubicBezTo>
                  <a:cubicBezTo>
                    <a:pt x="990126" y="2206609"/>
                    <a:pt x="972627" y="2224109"/>
                    <a:pt x="951041" y="2224109"/>
                  </a:cubicBezTo>
                  <a:cubicBezTo>
                    <a:pt x="929455" y="2224109"/>
                    <a:pt x="911956" y="2206609"/>
                    <a:pt x="911956" y="2185022"/>
                  </a:cubicBezTo>
                  <a:cubicBezTo>
                    <a:pt x="911956" y="2163435"/>
                    <a:pt x="929455" y="2145935"/>
                    <a:pt x="951041" y="2145935"/>
                  </a:cubicBezTo>
                  <a:close/>
                  <a:moveTo>
                    <a:pt x="856406" y="2145935"/>
                  </a:moveTo>
                  <a:cubicBezTo>
                    <a:pt x="877992" y="2145935"/>
                    <a:pt x="895491" y="2163435"/>
                    <a:pt x="895491" y="2185022"/>
                  </a:cubicBezTo>
                  <a:cubicBezTo>
                    <a:pt x="895491" y="2206609"/>
                    <a:pt x="877992" y="2224109"/>
                    <a:pt x="856406" y="2224109"/>
                  </a:cubicBezTo>
                  <a:cubicBezTo>
                    <a:pt x="834820" y="2224109"/>
                    <a:pt x="817321" y="2206609"/>
                    <a:pt x="817321" y="2185022"/>
                  </a:cubicBezTo>
                  <a:cubicBezTo>
                    <a:pt x="817321" y="2163435"/>
                    <a:pt x="834820" y="2145935"/>
                    <a:pt x="856406" y="2145935"/>
                  </a:cubicBezTo>
                  <a:close/>
                  <a:moveTo>
                    <a:pt x="3300457" y="2056027"/>
                  </a:moveTo>
                  <a:cubicBezTo>
                    <a:pt x="3322044" y="2056027"/>
                    <a:pt x="3339544" y="2073527"/>
                    <a:pt x="3339544" y="2095114"/>
                  </a:cubicBezTo>
                  <a:cubicBezTo>
                    <a:pt x="3339544" y="2116701"/>
                    <a:pt x="3322044" y="2134201"/>
                    <a:pt x="3300457" y="2134201"/>
                  </a:cubicBezTo>
                  <a:cubicBezTo>
                    <a:pt x="3278869" y="2134201"/>
                    <a:pt x="3261369" y="2116701"/>
                    <a:pt x="3261369" y="2095114"/>
                  </a:cubicBezTo>
                  <a:cubicBezTo>
                    <a:pt x="3261369" y="2073527"/>
                    <a:pt x="3278869" y="2056027"/>
                    <a:pt x="3300457" y="2056027"/>
                  </a:cubicBezTo>
                  <a:close/>
                  <a:moveTo>
                    <a:pt x="3205817" y="2056027"/>
                  </a:moveTo>
                  <a:cubicBezTo>
                    <a:pt x="3227404" y="2056027"/>
                    <a:pt x="3244904" y="2073527"/>
                    <a:pt x="3244904" y="2095114"/>
                  </a:cubicBezTo>
                  <a:cubicBezTo>
                    <a:pt x="3244904" y="2116701"/>
                    <a:pt x="3227404" y="2134201"/>
                    <a:pt x="3205817" y="2134201"/>
                  </a:cubicBezTo>
                  <a:cubicBezTo>
                    <a:pt x="3184229" y="2134201"/>
                    <a:pt x="3166729" y="2116701"/>
                    <a:pt x="3166729" y="2095114"/>
                  </a:cubicBezTo>
                  <a:cubicBezTo>
                    <a:pt x="3166729" y="2073527"/>
                    <a:pt x="3184229" y="2056027"/>
                    <a:pt x="3205817" y="2056027"/>
                  </a:cubicBezTo>
                  <a:close/>
                  <a:moveTo>
                    <a:pt x="3111177" y="2056027"/>
                  </a:moveTo>
                  <a:cubicBezTo>
                    <a:pt x="3132764" y="2056027"/>
                    <a:pt x="3150264" y="2073527"/>
                    <a:pt x="3150264" y="2095114"/>
                  </a:cubicBezTo>
                  <a:cubicBezTo>
                    <a:pt x="3150264" y="2116701"/>
                    <a:pt x="3132764" y="2134201"/>
                    <a:pt x="3111177" y="2134201"/>
                  </a:cubicBezTo>
                  <a:cubicBezTo>
                    <a:pt x="3089589" y="2134201"/>
                    <a:pt x="3072089" y="2116701"/>
                    <a:pt x="3072089" y="2095114"/>
                  </a:cubicBezTo>
                  <a:cubicBezTo>
                    <a:pt x="3072089" y="2073527"/>
                    <a:pt x="3089589" y="2056027"/>
                    <a:pt x="3111177" y="2056027"/>
                  </a:cubicBezTo>
                  <a:close/>
                  <a:moveTo>
                    <a:pt x="3018902" y="2056027"/>
                  </a:moveTo>
                  <a:cubicBezTo>
                    <a:pt x="3040489" y="2056027"/>
                    <a:pt x="3057989" y="2073527"/>
                    <a:pt x="3057989" y="2095114"/>
                  </a:cubicBezTo>
                  <a:cubicBezTo>
                    <a:pt x="3057989" y="2116701"/>
                    <a:pt x="3040489" y="2134201"/>
                    <a:pt x="3018902" y="2134201"/>
                  </a:cubicBezTo>
                  <a:cubicBezTo>
                    <a:pt x="2997315" y="2134201"/>
                    <a:pt x="2979815" y="2116701"/>
                    <a:pt x="2979815" y="2095114"/>
                  </a:cubicBezTo>
                  <a:cubicBezTo>
                    <a:pt x="2979815" y="2073527"/>
                    <a:pt x="2997315" y="2056027"/>
                    <a:pt x="3018902" y="2056027"/>
                  </a:cubicBezTo>
                  <a:close/>
                  <a:moveTo>
                    <a:pt x="2924263" y="2056027"/>
                  </a:moveTo>
                  <a:cubicBezTo>
                    <a:pt x="2945850" y="2056027"/>
                    <a:pt x="2963349" y="2073527"/>
                    <a:pt x="2963349" y="2095114"/>
                  </a:cubicBezTo>
                  <a:cubicBezTo>
                    <a:pt x="2963349" y="2116701"/>
                    <a:pt x="2945850" y="2134201"/>
                    <a:pt x="2924263" y="2134201"/>
                  </a:cubicBezTo>
                  <a:cubicBezTo>
                    <a:pt x="2902675" y="2134201"/>
                    <a:pt x="2885175" y="2116701"/>
                    <a:pt x="2885175" y="2095114"/>
                  </a:cubicBezTo>
                  <a:cubicBezTo>
                    <a:pt x="2885175" y="2073527"/>
                    <a:pt x="2902675" y="2056027"/>
                    <a:pt x="2924263" y="2056027"/>
                  </a:cubicBezTo>
                  <a:close/>
                  <a:moveTo>
                    <a:pt x="2831987" y="2056026"/>
                  </a:moveTo>
                  <a:cubicBezTo>
                    <a:pt x="2853574" y="2056026"/>
                    <a:pt x="2871074" y="2073526"/>
                    <a:pt x="2871074" y="2095113"/>
                  </a:cubicBezTo>
                  <a:cubicBezTo>
                    <a:pt x="2871074" y="2116700"/>
                    <a:pt x="2853574" y="2134200"/>
                    <a:pt x="2831987" y="2134200"/>
                  </a:cubicBezTo>
                  <a:cubicBezTo>
                    <a:pt x="2810400" y="2134200"/>
                    <a:pt x="2792900" y="2116700"/>
                    <a:pt x="2792900" y="2095113"/>
                  </a:cubicBezTo>
                  <a:cubicBezTo>
                    <a:pt x="2792900" y="2073526"/>
                    <a:pt x="2810400" y="2056026"/>
                    <a:pt x="2831987" y="2056026"/>
                  </a:cubicBezTo>
                  <a:close/>
                  <a:moveTo>
                    <a:pt x="2737355" y="2056026"/>
                  </a:moveTo>
                  <a:cubicBezTo>
                    <a:pt x="2758934" y="2056026"/>
                    <a:pt x="2776434" y="2073526"/>
                    <a:pt x="2776434" y="2095113"/>
                  </a:cubicBezTo>
                  <a:cubicBezTo>
                    <a:pt x="2776434" y="2116700"/>
                    <a:pt x="2758934" y="2134200"/>
                    <a:pt x="2737355" y="2134200"/>
                  </a:cubicBezTo>
                  <a:cubicBezTo>
                    <a:pt x="2715766" y="2134200"/>
                    <a:pt x="2698264" y="2116700"/>
                    <a:pt x="2698264" y="2095113"/>
                  </a:cubicBezTo>
                  <a:cubicBezTo>
                    <a:pt x="2698264" y="2073526"/>
                    <a:pt x="2715766" y="2056026"/>
                    <a:pt x="2737355" y="2056026"/>
                  </a:cubicBezTo>
                  <a:close/>
                  <a:moveTo>
                    <a:pt x="2645073" y="2056026"/>
                  </a:moveTo>
                  <a:cubicBezTo>
                    <a:pt x="2666661" y="2056026"/>
                    <a:pt x="2684163" y="2073526"/>
                    <a:pt x="2684163" y="2095113"/>
                  </a:cubicBezTo>
                  <a:cubicBezTo>
                    <a:pt x="2684163" y="2116700"/>
                    <a:pt x="2666661" y="2134200"/>
                    <a:pt x="2645073" y="2134200"/>
                  </a:cubicBezTo>
                  <a:cubicBezTo>
                    <a:pt x="2623487" y="2134200"/>
                    <a:pt x="2605987" y="2116700"/>
                    <a:pt x="2605987" y="2095113"/>
                  </a:cubicBezTo>
                  <a:cubicBezTo>
                    <a:pt x="2605987" y="2073526"/>
                    <a:pt x="2623487" y="2056026"/>
                    <a:pt x="2645073" y="2056026"/>
                  </a:cubicBezTo>
                  <a:close/>
                  <a:moveTo>
                    <a:pt x="2550435" y="2056026"/>
                  </a:moveTo>
                  <a:cubicBezTo>
                    <a:pt x="2572023" y="2056026"/>
                    <a:pt x="2589522" y="2073526"/>
                    <a:pt x="2589522" y="2095113"/>
                  </a:cubicBezTo>
                  <a:cubicBezTo>
                    <a:pt x="2589522" y="2116700"/>
                    <a:pt x="2572023" y="2134200"/>
                    <a:pt x="2550435" y="2134200"/>
                  </a:cubicBezTo>
                  <a:cubicBezTo>
                    <a:pt x="2528848" y="2134200"/>
                    <a:pt x="2511350" y="2116700"/>
                    <a:pt x="2511350" y="2095113"/>
                  </a:cubicBezTo>
                  <a:cubicBezTo>
                    <a:pt x="2511350" y="2073526"/>
                    <a:pt x="2528848" y="2056026"/>
                    <a:pt x="2550435" y="2056026"/>
                  </a:cubicBezTo>
                  <a:close/>
                  <a:moveTo>
                    <a:pt x="2458164" y="2056026"/>
                  </a:moveTo>
                  <a:cubicBezTo>
                    <a:pt x="2479749" y="2056026"/>
                    <a:pt x="2497250" y="2073526"/>
                    <a:pt x="2497250" y="2095113"/>
                  </a:cubicBezTo>
                  <a:cubicBezTo>
                    <a:pt x="2497250" y="2116700"/>
                    <a:pt x="2479749" y="2134200"/>
                    <a:pt x="2458164" y="2134200"/>
                  </a:cubicBezTo>
                  <a:cubicBezTo>
                    <a:pt x="2436578" y="2134200"/>
                    <a:pt x="2419078" y="2116700"/>
                    <a:pt x="2419078" y="2095113"/>
                  </a:cubicBezTo>
                  <a:cubicBezTo>
                    <a:pt x="2419078" y="2073526"/>
                    <a:pt x="2436578" y="2056026"/>
                    <a:pt x="2458164" y="2056026"/>
                  </a:cubicBezTo>
                  <a:close/>
                  <a:moveTo>
                    <a:pt x="2363524" y="2056026"/>
                  </a:moveTo>
                  <a:cubicBezTo>
                    <a:pt x="2385111" y="2056026"/>
                    <a:pt x="2402609" y="2073526"/>
                    <a:pt x="2402609" y="2095113"/>
                  </a:cubicBezTo>
                  <a:cubicBezTo>
                    <a:pt x="2402609" y="2116700"/>
                    <a:pt x="2385111" y="2134200"/>
                    <a:pt x="2363524" y="2134200"/>
                  </a:cubicBezTo>
                  <a:cubicBezTo>
                    <a:pt x="2341937" y="2134200"/>
                    <a:pt x="2324437" y="2116700"/>
                    <a:pt x="2324437" y="2095113"/>
                  </a:cubicBezTo>
                  <a:cubicBezTo>
                    <a:pt x="2324437" y="2073526"/>
                    <a:pt x="2341937" y="2056026"/>
                    <a:pt x="2363524" y="2056026"/>
                  </a:cubicBezTo>
                  <a:close/>
                  <a:moveTo>
                    <a:pt x="2266520" y="2056026"/>
                  </a:moveTo>
                  <a:cubicBezTo>
                    <a:pt x="2288105" y="2056026"/>
                    <a:pt x="2305606" y="2073526"/>
                    <a:pt x="2305606" y="2095113"/>
                  </a:cubicBezTo>
                  <a:cubicBezTo>
                    <a:pt x="2305606" y="2116700"/>
                    <a:pt x="2288105" y="2134200"/>
                    <a:pt x="2266520" y="2134200"/>
                  </a:cubicBezTo>
                  <a:cubicBezTo>
                    <a:pt x="2244929" y="2134200"/>
                    <a:pt x="2227431" y="2116700"/>
                    <a:pt x="2227431" y="2095113"/>
                  </a:cubicBezTo>
                  <a:cubicBezTo>
                    <a:pt x="2227431" y="2073526"/>
                    <a:pt x="2244929" y="2056026"/>
                    <a:pt x="2266520" y="2056026"/>
                  </a:cubicBezTo>
                  <a:close/>
                  <a:moveTo>
                    <a:pt x="856407" y="2056026"/>
                  </a:moveTo>
                  <a:cubicBezTo>
                    <a:pt x="877993" y="2056026"/>
                    <a:pt x="895492" y="2073526"/>
                    <a:pt x="895492" y="2095113"/>
                  </a:cubicBezTo>
                  <a:cubicBezTo>
                    <a:pt x="895492" y="2116700"/>
                    <a:pt x="877993" y="2134200"/>
                    <a:pt x="856407" y="2134200"/>
                  </a:cubicBezTo>
                  <a:cubicBezTo>
                    <a:pt x="834821" y="2134200"/>
                    <a:pt x="817323" y="2116700"/>
                    <a:pt x="817323" y="2095113"/>
                  </a:cubicBezTo>
                  <a:cubicBezTo>
                    <a:pt x="817323" y="2073526"/>
                    <a:pt x="834821" y="2056026"/>
                    <a:pt x="856407" y="2056026"/>
                  </a:cubicBezTo>
                  <a:close/>
                  <a:moveTo>
                    <a:pt x="764138" y="2056026"/>
                  </a:moveTo>
                  <a:cubicBezTo>
                    <a:pt x="785725" y="2056026"/>
                    <a:pt x="803223" y="2073526"/>
                    <a:pt x="803223" y="2095113"/>
                  </a:cubicBezTo>
                  <a:cubicBezTo>
                    <a:pt x="803223" y="2116700"/>
                    <a:pt x="785725" y="2134200"/>
                    <a:pt x="764138" y="2134200"/>
                  </a:cubicBezTo>
                  <a:cubicBezTo>
                    <a:pt x="742548" y="2134200"/>
                    <a:pt x="725053" y="2116700"/>
                    <a:pt x="725053" y="2095113"/>
                  </a:cubicBezTo>
                  <a:cubicBezTo>
                    <a:pt x="725053" y="2073526"/>
                    <a:pt x="742548" y="2056026"/>
                    <a:pt x="764138" y="2056026"/>
                  </a:cubicBezTo>
                  <a:close/>
                  <a:moveTo>
                    <a:pt x="3584377" y="1973215"/>
                  </a:moveTo>
                  <a:cubicBezTo>
                    <a:pt x="3605964" y="1973215"/>
                    <a:pt x="3623463" y="1990715"/>
                    <a:pt x="3623463" y="2012302"/>
                  </a:cubicBezTo>
                  <a:cubicBezTo>
                    <a:pt x="3623463" y="2033889"/>
                    <a:pt x="3605964" y="2051389"/>
                    <a:pt x="3584377" y="2051389"/>
                  </a:cubicBezTo>
                  <a:cubicBezTo>
                    <a:pt x="3562789" y="2051389"/>
                    <a:pt x="3545289" y="2033889"/>
                    <a:pt x="3545289" y="2012302"/>
                  </a:cubicBezTo>
                  <a:cubicBezTo>
                    <a:pt x="3545289" y="1990715"/>
                    <a:pt x="3562789" y="1973215"/>
                    <a:pt x="3584377" y="1973215"/>
                  </a:cubicBezTo>
                  <a:close/>
                  <a:moveTo>
                    <a:pt x="3489737" y="1973215"/>
                  </a:moveTo>
                  <a:cubicBezTo>
                    <a:pt x="3511324" y="1973215"/>
                    <a:pt x="3528823" y="1990715"/>
                    <a:pt x="3528823" y="2012302"/>
                  </a:cubicBezTo>
                  <a:cubicBezTo>
                    <a:pt x="3528823" y="2033889"/>
                    <a:pt x="3511324" y="2051389"/>
                    <a:pt x="3489737" y="2051389"/>
                  </a:cubicBezTo>
                  <a:cubicBezTo>
                    <a:pt x="3468149" y="2051389"/>
                    <a:pt x="3450649" y="2033889"/>
                    <a:pt x="3450649" y="2012302"/>
                  </a:cubicBezTo>
                  <a:cubicBezTo>
                    <a:pt x="3450649" y="1990715"/>
                    <a:pt x="3468149" y="1973215"/>
                    <a:pt x="3489737" y="1973215"/>
                  </a:cubicBezTo>
                  <a:close/>
                  <a:moveTo>
                    <a:pt x="3392731" y="1973215"/>
                  </a:moveTo>
                  <a:cubicBezTo>
                    <a:pt x="3414319" y="1973215"/>
                    <a:pt x="3431819" y="1990715"/>
                    <a:pt x="3431819" y="2012302"/>
                  </a:cubicBezTo>
                  <a:cubicBezTo>
                    <a:pt x="3431819" y="2033889"/>
                    <a:pt x="3414319" y="2051389"/>
                    <a:pt x="3392731" y="2051389"/>
                  </a:cubicBezTo>
                  <a:cubicBezTo>
                    <a:pt x="3371144" y="2051389"/>
                    <a:pt x="3353644" y="2033889"/>
                    <a:pt x="3353644" y="2012302"/>
                  </a:cubicBezTo>
                  <a:cubicBezTo>
                    <a:pt x="3353644" y="1990715"/>
                    <a:pt x="3371144" y="1973215"/>
                    <a:pt x="3392731" y="1973215"/>
                  </a:cubicBezTo>
                  <a:close/>
                  <a:moveTo>
                    <a:pt x="3205815" y="1973215"/>
                  </a:moveTo>
                  <a:cubicBezTo>
                    <a:pt x="3227403" y="1973215"/>
                    <a:pt x="3244903" y="1990715"/>
                    <a:pt x="3244903" y="2012302"/>
                  </a:cubicBezTo>
                  <a:cubicBezTo>
                    <a:pt x="3244903" y="2033889"/>
                    <a:pt x="3227403" y="2051389"/>
                    <a:pt x="3205815" y="2051389"/>
                  </a:cubicBezTo>
                  <a:cubicBezTo>
                    <a:pt x="3184228" y="2051389"/>
                    <a:pt x="3166728" y="2033889"/>
                    <a:pt x="3166728" y="2012302"/>
                  </a:cubicBezTo>
                  <a:cubicBezTo>
                    <a:pt x="3166728" y="1990715"/>
                    <a:pt x="3184228" y="1973215"/>
                    <a:pt x="3205815" y="1973215"/>
                  </a:cubicBezTo>
                  <a:close/>
                  <a:moveTo>
                    <a:pt x="3111175" y="1973215"/>
                  </a:moveTo>
                  <a:cubicBezTo>
                    <a:pt x="3132763" y="1973215"/>
                    <a:pt x="3150263" y="1990715"/>
                    <a:pt x="3150263" y="2012302"/>
                  </a:cubicBezTo>
                  <a:cubicBezTo>
                    <a:pt x="3150263" y="2033889"/>
                    <a:pt x="3132763" y="2051389"/>
                    <a:pt x="3111175" y="2051389"/>
                  </a:cubicBezTo>
                  <a:cubicBezTo>
                    <a:pt x="3089588" y="2051389"/>
                    <a:pt x="3072088" y="2033889"/>
                    <a:pt x="3072088" y="2012302"/>
                  </a:cubicBezTo>
                  <a:cubicBezTo>
                    <a:pt x="3072088" y="1990715"/>
                    <a:pt x="3089588" y="1973215"/>
                    <a:pt x="3111175" y="1973215"/>
                  </a:cubicBezTo>
                  <a:close/>
                  <a:moveTo>
                    <a:pt x="3018902" y="1973215"/>
                  </a:moveTo>
                  <a:cubicBezTo>
                    <a:pt x="3040489" y="1973215"/>
                    <a:pt x="3057989" y="1990715"/>
                    <a:pt x="3057989" y="2012302"/>
                  </a:cubicBezTo>
                  <a:cubicBezTo>
                    <a:pt x="3057989" y="2033889"/>
                    <a:pt x="3040489" y="2051389"/>
                    <a:pt x="3018902" y="2051389"/>
                  </a:cubicBezTo>
                  <a:cubicBezTo>
                    <a:pt x="2997315" y="2051389"/>
                    <a:pt x="2979815" y="2033889"/>
                    <a:pt x="2979815" y="2012302"/>
                  </a:cubicBezTo>
                  <a:cubicBezTo>
                    <a:pt x="2979815" y="1990715"/>
                    <a:pt x="2997315" y="1973215"/>
                    <a:pt x="3018902" y="1973215"/>
                  </a:cubicBezTo>
                  <a:close/>
                  <a:moveTo>
                    <a:pt x="2924263" y="1973215"/>
                  </a:moveTo>
                  <a:cubicBezTo>
                    <a:pt x="2945850" y="1973215"/>
                    <a:pt x="2963349" y="1990715"/>
                    <a:pt x="2963349" y="2012302"/>
                  </a:cubicBezTo>
                  <a:cubicBezTo>
                    <a:pt x="2963349" y="2033889"/>
                    <a:pt x="2945850" y="2051389"/>
                    <a:pt x="2924263" y="2051389"/>
                  </a:cubicBezTo>
                  <a:cubicBezTo>
                    <a:pt x="2902675" y="2051389"/>
                    <a:pt x="2885175" y="2033889"/>
                    <a:pt x="2885175" y="2012302"/>
                  </a:cubicBezTo>
                  <a:cubicBezTo>
                    <a:pt x="2885175" y="1990715"/>
                    <a:pt x="2902675" y="1973215"/>
                    <a:pt x="2924263" y="1973215"/>
                  </a:cubicBezTo>
                  <a:close/>
                  <a:moveTo>
                    <a:pt x="2831987" y="1973215"/>
                  </a:moveTo>
                  <a:cubicBezTo>
                    <a:pt x="2853574" y="1973215"/>
                    <a:pt x="2871074" y="1990715"/>
                    <a:pt x="2871074" y="2012302"/>
                  </a:cubicBezTo>
                  <a:cubicBezTo>
                    <a:pt x="2871074" y="2033889"/>
                    <a:pt x="2853574" y="2051389"/>
                    <a:pt x="2831987" y="2051389"/>
                  </a:cubicBezTo>
                  <a:cubicBezTo>
                    <a:pt x="2810400" y="2051389"/>
                    <a:pt x="2792900" y="2033889"/>
                    <a:pt x="2792900" y="2012302"/>
                  </a:cubicBezTo>
                  <a:cubicBezTo>
                    <a:pt x="2792900" y="1990715"/>
                    <a:pt x="2810400" y="1973215"/>
                    <a:pt x="2831987" y="1973215"/>
                  </a:cubicBezTo>
                  <a:close/>
                  <a:moveTo>
                    <a:pt x="2737356" y="1973215"/>
                  </a:moveTo>
                  <a:cubicBezTo>
                    <a:pt x="2758934" y="1973215"/>
                    <a:pt x="2776434" y="1990715"/>
                    <a:pt x="2776434" y="2012302"/>
                  </a:cubicBezTo>
                  <a:cubicBezTo>
                    <a:pt x="2776434" y="2033889"/>
                    <a:pt x="2758934" y="2051389"/>
                    <a:pt x="2737356" y="2051389"/>
                  </a:cubicBezTo>
                  <a:cubicBezTo>
                    <a:pt x="2715766" y="2051389"/>
                    <a:pt x="2698264" y="2033889"/>
                    <a:pt x="2698264" y="2012302"/>
                  </a:cubicBezTo>
                  <a:cubicBezTo>
                    <a:pt x="2698264" y="1990715"/>
                    <a:pt x="2715766" y="1973215"/>
                    <a:pt x="2737356" y="1973215"/>
                  </a:cubicBezTo>
                  <a:close/>
                  <a:moveTo>
                    <a:pt x="2645073" y="1973215"/>
                  </a:moveTo>
                  <a:cubicBezTo>
                    <a:pt x="2666661" y="1973215"/>
                    <a:pt x="2684163" y="1990715"/>
                    <a:pt x="2684163" y="2012302"/>
                  </a:cubicBezTo>
                  <a:cubicBezTo>
                    <a:pt x="2684163" y="2033889"/>
                    <a:pt x="2666661" y="2051389"/>
                    <a:pt x="2645073" y="2051389"/>
                  </a:cubicBezTo>
                  <a:cubicBezTo>
                    <a:pt x="2623487" y="2051389"/>
                    <a:pt x="2605987" y="2033889"/>
                    <a:pt x="2605987" y="2012302"/>
                  </a:cubicBezTo>
                  <a:cubicBezTo>
                    <a:pt x="2605987" y="1990715"/>
                    <a:pt x="2623487" y="1973215"/>
                    <a:pt x="2645073" y="1973215"/>
                  </a:cubicBezTo>
                  <a:close/>
                  <a:moveTo>
                    <a:pt x="2550435" y="1973215"/>
                  </a:moveTo>
                  <a:cubicBezTo>
                    <a:pt x="2572023" y="1973215"/>
                    <a:pt x="2589522" y="1990715"/>
                    <a:pt x="2589522" y="2012302"/>
                  </a:cubicBezTo>
                  <a:cubicBezTo>
                    <a:pt x="2589522" y="2033889"/>
                    <a:pt x="2572023" y="2051389"/>
                    <a:pt x="2550435" y="2051389"/>
                  </a:cubicBezTo>
                  <a:cubicBezTo>
                    <a:pt x="2528848" y="2051389"/>
                    <a:pt x="2511351" y="2033889"/>
                    <a:pt x="2511351" y="2012302"/>
                  </a:cubicBezTo>
                  <a:cubicBezTo>
                    <a:pt x="2511351" y="1990715"/>
                    <a:pt x="2528848" y="1973215"/>
                    <a:pt x="2550435" y="1973215"/>
                  </a:cubicBezTo>
                  <a:close/>
                  <a:moveTo>
                    <a:pt x="2458164" y="1973215"/>
                  </a:moveTo>
                  <a:cubicBezTo>
                    <a:pt x="2479749" y="1973215"/>
                    <a:pt x="2497250" y="1990715"/>
                    <a:pt x="2497250" y="2012302"/>
                  </a:cubicBezTo>
                  <a:cubicBezTo>
                    <a:pt x="2497250" y="2033889"/>
                    <a:pt x="2479749" y="2051389"/>
                    <a:pt x="2458164" y="2051389"/>
                  </a:cubicBezTo>
                  <a:cubicBezTo>
                    <a:pt x="2436579" y="2051389"/>
                    <a:pt x="2419078" y="2033889"/>
                    <a:pt x="2419078" y="2012302"/>
                  </a:cubicBezTo>
                  <a:cubicBezTo>
                    <a:pt x="2419078" y="1990715"/>
                    <a:pt x="2436579" y="1973215"/>
                    <a:pt x="2458164" y="1973215"/>
                  </a:cubicBezTo>
                  <a:close/>
                  <a:moveTo>
                    <a:pt x="2363524" y="1973215"/>
                  </a:moveTo>
                  <a:cubicBezTo>
                    <a:pt x="2385111" y="1973215"/>
                    <a:pt x="2402609" y="1990715"/>
                    <a:pt x="2402609" y="2012302"/>
                  </a:cubicBezTo>
                  <a:cubicBezTo>
                    <a:pt x="2402609" y="2033889"/>
                    <a:pt x="2385111" y="2051389"/>
                    <a:pt x="2363524" y="2051389"/>
                  </a:cubicBezTo>
                  <a:cubicBezTo>
                    <a:pt x="2341939" y="2051389"/>
                    <a:pt x="2324437" y="2033889"/>
                    <a:pt x="2324437" y="2012302"/>
                  </a:cubicBezTo>
                  <a:cubicBezTo>
                    <a:pt x="2324437" y="1990715"/>
                    <a:pt x="2341939" y="1973215"/>
                    <a:pt x="2363524" y="1973215"/>
                  </a:cubicBezTo>
                  <a:close/>
                  <a:moveTo>
                    <a:pt x="2266521" y="1973215"/>
                  </a:moveTo>
                  <a:cubicBezTo>
                    <a:pt x="2288105" y="1973215"/>
                    <a:pt x="2305606" y="1990715"/>
                    <a:pt x="2305606" y="2012302"/>
                  </a:cubicBezTo>
                  <a:cubicBezTo>
                    <a:pt x="2305606" y="2033889"/>
                    <a:pt x="2288105" y="2051389"/>
                    <a:pt x="2266521" y="2051389"/>
                  </a:cubicBezTo>
                  <a:cubicBezTo>
                    <a:pt x="2244929" y="2051389"/>
                    <a:pt x="2227431" y="2033889"/>
                    <a:pt x="2227431" y="2012302"/>
                  </a:cubicBezTo>
                  <a:cubicBezTo>
                    <a:pt x="2227431" y="1990715"/>
                    <a:pt x="2244929" y="1973215"/>
                    <a:pt x="2266521" y="1973215"/>
                  </a:cubicBezTo>
                  <a:close/>
                  <a:moveTo>
                    <a:pt x="1142694" y="1973215"/>
                  </a:moveTo>
                  <a:cubicBezTo>
                    <a:pt x="1164282" y="1973215"/>
                    <a:pt x="1181781" y="1990715"/>
                    <a:pt x="1181781" y="2012302"/>
                  </a:cubicBezTo>
                  <a:cubicBezTo>
                    <a:pt x="1181781" y="2033889"/>
                    <a:pt x="1164282" y="2051389"/>
                    <a:pt x="1142694" y="2051389"/>
                  </a:cubicBezTo>
                  <a:cubicBezTo>
                    <a:pt x="1121104" y="2051389"/>
                    <a:pt x="1103602" y="2033889"/>
                    <a:pt x="1103602" y="2012302"/>
                  </a:cubicBezTo>
                  <a:cubicBezTo>
                    <a:pt x="1103602" y="1990715"/>
                    <a:pt x="1121104" y="1973215"/>
                    <a:pt x="1142694" y="1973215"/>
                  </a:cubicBezTo>
                  <a:close/>
                  <a:moveTo>
                    <a:pt x="764140" y="1973215"/>
                  </a:moveTo>
                  <a:cubicBezTo>
                    <a:pt x="785728" y="1973215"/>
                    <a:pt x="803226" y="1990715"/>
                    <a:pt x="803226" y="2012302"/>
                  </a:cubicBezTo>
                  <a:cubicBezTo>
                    <a:pt x="803226" y="2033889"/>
                    <a:pt x="785728" y="2051389"/>
                    <a:pt x="764140" y="2051389"/>
                  </a:cubicBezTo>
                  <a:cubicBezTo>
                    <a:pt x="742552" y="2051389"/>
                    <a:pt x="725056" y="2033889"/>
                    <a:pt x="725056" y="2012302"/>
                  </a:cubicBezTo>
                  <a:cubicBezTo>
                    <a:pt x="725056" y="1990715"/>
                    <a:pt x="742552" y="1973215"/>
                    <a:pt x="764140" y="1973215"/>
                  </a:cubicBezTo>
                  <a:close/>
                  <a:moveTo>
                    <a:pt x="669495" y="1973215"/>
                  </a:moveTo>
                  <a:cubicBezTo>
                    <a:pt x="691093" y="1973215"/>
                    <a:pt x="708592" y="1990715"/>
                    <a:pt x="708592" y="2012302"/>
                  </a:cubicBezTo>
                  <a:cubicBezTo>
                    <a:pt x="708592" y="2033889"/>
                    <a:pt x="691093" y="2051389"/>
                    <a:pt x="669495" y="2051389"/>
                  </a:cubicBezTo>
                  <a:cubicBezTo>
                    <a:pt x="647918" y="2051389"/>
                    <a:pt x="630416" y="2033889"/>
                    <a:pt x="630416" y="2012302"/>
                  </a:cubicBezTo>
                  <a:cubicBezTo>
                    <a:pt x="630416" y="1990715"/>
                    <a:pt x="647918" y="1973215"/>
                    <a:pt x="669495" y="1973215"/>
                  </a:cubicBezTo>
                  <a:close/>
                  <a:moveTo>
                    <a:pt x="577223" y="1973215"/>
                  </a:moveTo>
                  <a:cubicBezTo>
                    <a:pt x="598813" y="1973215"/>
                    <a:pt x="616315" y="1990715"/>
                    <a:pt x="616315" y="2012302"/>
                  </a:cubicBezTo>
                  <a:cubicBezTo>
                    <a:pt x="616315" y="2033889"/>
                    <a:pt x="598813" y="2051389"/>
                    <a:pt x="577223" y="2051389"/>
                  </a:cubicBezTo>
                  <a:cubicBezTo>
                    <a:pt x="555634" y="2051389"/>
                    <a:pt x="538132" y="2033889"/>
                    <a:pt x="538132" y="2012302"/>
                  </a:cubicBezTo>
                  <a:cubicBezTo>
                    <a:pt x="538132" y="1990715"/>
                    <a:pt x="555634" y="1973215"/>
                    <a:pt x="577223" y="1973215"/>
                  </a:cubicBezTo>
                  <a:close/>
                  <a:moveTo>
                    <a:pt x="484944" y="1973215"/>
                  </a:moveTo>
                  <a:cubicBezTo>
                    <a:pt x="506530" y="1973215"/>
                    <a:pt x="524029" y="1990715"/>
                    <a:pt x="524029" y="2012302"/>
                  </a:cubicBezTo>
                  <a:cubicBezTo>
                    <a:pt x="524029" y="2033889"/>
                    <a:pt x="506530" y="2051389"/>
                    <a:pt x="484944" y="2051389"/>
                  </a:cubicBezTo>
                  <a:cubicBezTo>
                    <a:pt x="463352" y="2051389"/>
                    <a:pt x="445862" y="2033889"/>
                    <a:pt x="445862" y="2012302"/>
                  </a:cubicBezTo>
                  <a:cubicBezTo>
                    <a:pt x="445862" y="1990715"/>
                    <a:pt x="463352" y="1973215"/>
                    <a:pt x="484944" y="1973215"/>
                  </a:cubicBezTo>
                  <a:close/>
                  <a:moveTo>
                    <a:pt x="3679017" y="1892773"/>
                  </a:moveTo>
                  <a:cubicBezTo>
                    <a:pt x="3700604" y="1892773"/>
                    <a:pt x="3718103" y="1910273"/>
                    <a:pt x="3718103" y="1931860"/>
                  </a:cubicBezTo>
                  <a:cubicBezTo>
                    <a:pt x="3718103" y="1953447"/>
                    <a:pt x="3700604" y="1970947"/>
                    <a:pt x="3679017" y="1970947"/>
                  </a:cubicBezTo>
                  <a:cubicBezTo>
                    <a:pt x="3657429" y="1970947"/>
                    <a:pt x="3639929" y="1953447"/>
                    <a:pt x="3639929" y="1931860"/>
                  </a:cubicBezTo>
                  <a:cubicBezTo>
                    <a:pt x="3639929" y="1910273"/>
                    <a:pt x="3657429" y="1892773"/>
                    <a:pt x="3679017" y="1892773"/>
                  </a:cubicBezTo>
                  <a:close/>
                  <a:moveTo>
                    <a:pt x="3584377" y="1892773"/>
                  </a:moveTo>
                  <a:cubicBezTo>
                    <a:pt x="3605964" y="1892773"/>
                    <a:pt x="3623463" y="1910273"/>
                    <a:pt x="3623463" y="1931860"/>
                  </a:cubicBezTo>
                  <a:cubicBezTo>
                    <a:pt x="3623463" y="1953447"/>
                    <a:pt x="3605964" y="1970947"/>
                    <a:pt x="3584377" y="1970947"/>
                  </a:cubicBezTo>
                  <a:cubicBezTo>
                    <a:pt x="3562789" y="1970947"/>
                    <a:pt x="3545289" y="1953447"/>
                    <a:pt x="3545289" y="1931860"/>
                  </a:cubicBezTo>
                  <a:cubicBezTo>
                    <a:pt x="3545289" y="1910273"/>
                    <a:pt x="3562789" y="1892773"/>
                    <a:pt x="3584377" y="1892773"/>
                  </a:cubicBezTo>
                  <a:close/>
                  <a:moveTo>
                    <a:pt x="3489737" y="1892773"/>
                  </a:moveTo>
                  <a:cubicBezTo>
                    <a:pt x="3511324" y="1892773"/>
                    <a:pt x="3528823" y="1910273"/>
                    <a:pt x="3528823" y="1931860"/>
                  </a:cubicBezTo>
                  <a:cubicBezTo>
                    <a:pt x="3528823" y="1953447"/>
                    <a:pt x="3511324" y="1970947"/>
                    <a:pt x="3489737" y="1970947"/>
                  </a:cubicBezTo>
                  <a:cubicBezTo>
                    <a:pt x="3468149" y="1970947"/>
                    <a:pt x="3450649" y="1953447"/>
                    <a:pt x="3450649" y="1931860"/>
                  </a:cubicBezTo>
                  <a:cubicBezTo>
                    <a:pt x="3450649" y="1910273"/>
                    <a:pt x="3468149" y="1892773"/>
                    <a:pt x="3489737" y="1892773"/>
                  </a:cubicBezTo>
                  <a:close/>
                  <a:moveTo>
                    <a:pt x="3392731" y="1892773"/>
                  </a:moveTo>
                  <a:cubicBezTo>
                    <a:pt x="3414319" y="1892773"/>
                    <a:pt x="3431819" y="1910273"/>
                    <a:pt x="3431819" y="1931860"/>
                  </a:cubicBezTo>
                  <a:cubicBezTo>
                    <a:pt x="3431819" y="1953447"/>
                    <a:pt x="3414319" y="1970947"/>
                    <a:pt x="3392731" y="1970947"/>
                  </a:cubicBezTo>
                  <a:cubicBezTo>
                    <a:pt x="3371144" y="1970947"/>
                    <a:pt x="3353644" y="1953447"/>
                    <a:pt x="3353644" y="1931860"/>
                  </a:cubicBezTo>
                  <a:cubicBezTo>
                    <a:pt x="3353644" y="1910273"/>
                    <a:pt x="3371144" y="1892773"/>
                    <a:pt x="3392731" y="1892773"/>
                  </a:cubicBezTo>
                  <a:close/>
                  <a:moveTo>
                    <a:pt x="3205815" y="1892773"/>
                  </a:moveTo>
                  <a:cubicBezTo>
                    <a:pt x="3227403" y="1892773"/>
                    <a:pt x="3244903" y="1910273"/>
                    <a:pt x="3244903" y="1931860"/>
                  </a:cubicBezTo>
                  <a:cubicBezTo>
                    <a:pt x="3244903" y="1953447"/>
                    <a:pt x="3227403" y="1970947"/>
                    <a:pt x="3205815" y="1970947"/>
                  </a:cubicBezTo>
                  <a:cubicBezTo>
                    <a:pt x="3184228" y="1970947"/>
                    <a:pt x="3166728" y="1953447"/>
                    <a:pt x="3166728" y="1931860"/>
                  </a:cubicBezTo>
                  <a:cubicBezTo>
                    <a:pt x="3166728" y="1910273"/>
                    <a:pt x="3184228" y="1892773"/>
                    <a:pt x="3205815" y="1892773"/>
                  </a:cubicBezTo>
                  <a:close/>
                  <a:moveTo>
                    <a:pt x="3111175" y="1892773"/>
                  </a:moveTo>
                  <a:cubicBezTo>
                    <a:pt x="3132763" y="1892773"/>
                    <a:pt x="3150263" y="1910273"/>
                    <a:pt x="3150263" y="1931860"/>
                  </a:cubicBezTo>
                  <a:cubicBezTo>
                    <a:pt x="3150263" y="1953447"/>
                    <a:pt x="3132763" y="1970947"/>
                    <a:pt x="3111175" y="1970947"/>
                  </a:cubicBezTo>
                  <a:cubicBezTo>
                    <a:pt x="3089588" y="1970947"/>
                    <a:pt x="3072088" y="1953447"/>
                    <a:pt x="3072088" y="1931860"/>
                  </a:cubicBezTo>
                  <a:cubicBezTo>
                    <a:pt x="3072088" y="1910273"/>
                    <a:pt x="3089588" y="1892773"/>
                    <a:pt x="3111175" y="1892773"/>
                  </a:cubicBezTo>
                  <a:close/>
                  <a:moveTo>
                    <a:pt x="3018902" y="1892773"/>
                  </a:moveTo>
                  <a:cubicBezTo>
                    <a:pt x="3040489" y="1892773"/>
                    <a:pt x="3057989" y="1910273"/>
                    <a:pt x="3057989" y="1931860"/>
                  </a:cubicBezTo>
                  <a:cubicBezTo>
                    <a:pt x="3057989" y="1953447"/>
                    <a:pt x="3040489" y="1970947"/>
                    <a:pt x="3018902" y="1970947"/>
                  </a:cubicBezTo>
                  <a:cubicBezTo>
                    <a:pt x="2997315" y="1970947"/>
                    <a:pt x="2979815" y="1953447"/>
                    <a:pt x="2979815" y="1931860"/>
                  </a:cubicBezTo>
                  <a:cubicBezTo>
                    <a:pt x="2979815" y="1910273"/>
                    <a:pt x="2997315" y="1892773"/>
                    <a:pt x="3018902" y="1892773"/>
                  </a:cubicBezTo>
                  <a:close/>
                  <a:moveTo>
                    <a:pt x="2924263" y="1892773"/>
                  </a:moveTo>
                  <a:cubicBezTo>
                    <a:pt x="2945850" y="1892773"/>
                    <a:pt x="2963349" y="1910273"/>
                    <a:pt x="2963349" y="1931860"/>
                  </a:cubicBezTo>
                  <a:cubicBezTo>
                    <a:pt x="2963349" y="1953447"/>
                    <a:pt x="2945850" y="1970947"/>
                    <a:pt x="2924263" y="1970947"/>
                  </a:cubicBezTo>
                  <a:cubicBezTo>
                    <a:pt x="2902675" y="1970947"/>
                    <a:pt x="2885175" y="1953447"/>
                    <a:pt x="2885175" y="1931860"/>
                  </a:cubicBezTo>
                  <a:cubicBezTo>
                    <a:pt x="2885175" y="1910273"/>
                    <a:pt x="2902675" y="1892773"/>
                    <a:pt x="2924263" y="1892773"/>
                  </a:cubicBezTo>
                  <a:close/>
                  <a:moveTo>
                    <a:pt x="2831987" y="1892773"/>
                  </a:moveTo>
                  <a:cubicBezTo>
                    <a:pt x="2853574" y="1892773"/>
                    <a:pt x="2871074" y="1910273"/>
                    <a:pt x="2871074" y="1931860"/>
                  </a:cubicBezTo>
                  <a:cubicBezTo>
                    <a:pt x="2871074" y="1953447"/>
                    <a:pt x="2853574" y="1970947"/>
                    <a:pt x="2831987" y="1970947"/>
                  </a:cubicBezTo>
                  <a:cubicBezTo>
                    <a:pt x="2810400" y="1970947"/>
                    <a:pt x="2792900" y="1953447"/>
                    <a:pt x="2792900" y="1931860"/>
                  </a:cubicBezTo>
                  <a:cubicBezTo>
                    <a:pt x="2792900" y="1910273"/>
                    <a:pt x="2810400" y="1892773"/>
                    <a:pt x="2831987" y="1892773"/>
                  </a:cubicBezTo>
                  <a:close/>
                  <a:moveTo>
                    <a:pt x="2737356" y="1892773"/>
                  </a:moveTo>
                  <a:cubicBezTo>
                    <a:pt x="2758934" y="1892773"/>
                    <a:pt x="2776434" y="1910273"/>
                    <a:pt x="2776434" y="1931860"/>
                  </a:cubicBezTo>
                  <a:cubicBezTo>
                    <a:pt x="2776434" y="1953447"/>
                    <a:pt x="2758934" y="1970947"/>
                    <a:pt x="2737356" y="1970947"/>
                  </a:cubicBezTo>
                  <a:cubicBezTo>
                    <a:pt x="2715766" y="1970947"/>
                    <a:pt x="2698265" y="1953447"/>
                    <a:pt x="2698265" y="1931860"/>
                  </a:cubicBezTo>
                  <a:cubicBezTo>
                    <a:pt x="2698265" y="1910273"/>
                    <a:pt x="2715766" y="1892773"/>
                    <a:pt x="2737356" y="1892773"/>
                  </a:cubicBezTo>
                  <a:close/>
                  <a:moveTo>
                    <a:pt x="2645073" y="1892773"/>
                  </a:moveTo>
                  <a:cubicBezTo>
                    <a:pt x="2666661" y="1892773"/>
                    <a:pt x="2684163" y="1910273"/>
                    <a:pt x="2684163" y="1931860"/>
                  </a:cubicBezTo>
                  <a:cubicBezTo>
                    <a:pt x="2684163" y="1953447"/>
                    <a:pt x="2666661" y="1970947"/>
                    <a:pt x="2645073" y="1970947"/>
                  </a:cubicBezTo>
                  <a:cubicBezTo>
                    <a:pt x="2623487" y="1970947"/>
                    <a:pt x="2605987" y="1953447"/>
                    <a:pt x="2605987" y="1931860"/>
                  </a:cubicBezTo>
                  <a:cubicBezTo>
                    <a:pt x="2605987" y="1910273"/>
                    <a:pt x="2623487" y="1892773"/>
                    <a:pt x="2645073" y="1892773"/>
                  </a:cubicBezTo>
                  <a:close/>
                  <a:moveTo>
                    <a:pt x="2550436" y="1892773"/>
                  </a:moveTo>
                  <a:cubicBezTo>
                    <a:pt x="2572023" y="1892773"/>
                    <a:pt x="2589522" y="1910273"/>
                    <a:pt x="2589522" y="1931860"/>
                  </a:cubicBezTo>
                  <a:cubicBezTo>
                    <a:pt x="2589522" y="1953447"/>
                    <a:pt x="2572023" y="1970947"/>
                    <a:pt x="2550436" y="1970947"/>
                  </a:cubicBezTo>
                  <a:cubicBezTo>
                    <a:pt x="2528849" y="1970947"/>
                    <a:pt x="2511351" y="1953447"/>
                    <a:pt x="2511351" y="1931860"/>
                  </a:cubicBezTo>
                  <a:cubicBezTo>
                    <a:pt x="2511351" y="1910273"/>
                    <a:pt x="2528849" y="1892773"/>
                    <a:pt x="2550436" y="1892773"/>
                  </a:cubicBezTo>
                  <a:close/>
                  <a:moveTo>
                    <a:pt x="2458164" y="1892773"/>
                  </a:moveTo>
                  <a:cubicBezTo>
                    <a:pt x="2479752" y="1892773"/>
                    <a:pt x="2497251" y="1910273"/>
                    <a:pt x="2497251" y="1931860"/>
                  </a:cubicBezTo>
                  <a:cubicBezTo>
                    <a:pt x="2497251" y="1953447"/>
                    <a:pt x="2479752" y="1970947"/>
                    <a:pt x="2458164" y="1970947"/>
                  </a:cubicBezTo>
                  <a:cubicBezTo>
                    <a:pt x="2436580" y="1970947"/>
                    <a:pt x="2419078" y="1953447"/>
                    <a:pt x="2419078" y="1931860"/>
                  </a:cubicBezTo>
                  <a:cubicBezTo>
                    <a:pt x="2419078" y="1910273"/>
                    <a:pt x="2436580" y="1892773"/>
                    <a:pt x="2458164" y="1892773"/>
                  </a:cubicBezTo>
                  <a:close/>
                  <a:moveTo>
                    <a:pt x="2363524" y="1892773"/>
                  </a:moveTo>
                  <a:cubicBezTo>
                    <a:pt x="2385113" y="1892773"/>
                    <a:pt x="2402611" y="1910273"/>
                    <a:pt x="2402611" y="1931860"/>
                  </a:cubicBezTo>
                  <a:cubicBezTo>
                    <a:pt x="2402611" y="1953447"/>
                    <a:pt x="2385113" y="1970947"/>
                    <a:pt x="2363524" y="1970947"/>
                  </a:cubicBezTo>
                  <a:cubicBezTo>
                    <a:pt x="2341940" y="1970947"/>
                    <a:pt x="2324437" y="1953447"/>
                    <a:pt x="2324437" y="1931860"/>
                  </a:cubicBezTo>
                  <a:cubicBezTo>
                    <a:pt x="2324437" y="1910273"/>
                    <a:pt x="2341940" y="1892773"/>
                    <a:pt x="2363524" y="1892773"/>
                  </a:cubicBezTo>
                  <a:close/>
                  <a:moveTo>
                    <a:pt x="2266521" y="1892773"/>
                  </a:moveTo>
                  <a:cubicBezTo>
                    <a:pt x="2288107" y="1892773"/>
                    <a:pt x="2305606" y="1910273"/>
                    <a:pt x="2305606" y="1931860"/>
                  </a:cubicBezTo>
                  <a:cubicBezTo>
                    <a:pt x="2305606" y="1953447"/>
                    <a:pt x="2288107" y="1970947"/>
                    <a:pt x="2266521" y="1970947"/>
                  </a:cubicBezTo>
                  <a:cubicBezTo>
                    <a:pt x="2244929" y="1970947"/>
                    <a:pt x="2227432" y="1953447"/>
                    <a:pt x="2227432" y="1931860"/>
                  </a:cubicBezTo>
                  <a:cubicBezTo>
                    <a:pt x="2227432" y="1910273"/>
                    <a:pt x="2244929" y="1892773"/>
                    <a:pt x="2266521" y="1892773"/>
                  </a:cubicBezTo>
                  <a:close/>
                  <a:moveTo>
                    <a:pt x="951048" y="1892773"/>
                  </a:moveTo>
                  <a:cubicBezTo>
                    <a:pt x="972633" y="1892773"/>
                    <a:pt x="990133" y="1910273"/>
                    <a:pt x="990133" y="1931860"/>
                  </a:cubicBezTo>
                  <a:cubicBezTo>
                    <a:pt x="990133" y="1953447"/>
                    <a:pt x="972633" y="1970947"/>
                    <a:pt x="951048" y="1970947"/>
                  </a:cubicBezTo>
                  <a:cubicBezTo>
                    <a:pt x="929462" y="1970947"/>
                    <a:pt x="911963" y="1953447"/>
                    <a:pt x="911963" y="1931860"/>
                  </a:cubicBezTo>
                  <a:cubicBezTo>
                    <a:pt x="911963" y="1910273"/>
                    <a:pt x="929462" y="1892773"/>
                    <a:pt x="951048" y="1892773"/>
                  </a:cubicBezTo>
                  <a:close/>
                  <a:moveTo>
                    <a:pt x="764144" y="1892773"/>
                  </a:moveTo>
                  <a:cubicBezTo>
                    <a:pt x="785731" y="1892773"/>
                    <a:pt x="803230" y="1910273"/>
                    <a:pt x="803230" y="1931860"/>
                  </a:cubicBezTo>
                  <a:cubicBezTo>
                    <a:pt x="803230" y="1953447"/>
                    <a:pt x="785731" y="1970947"/>
                    <a:pt x="764144" y="1970947"/>
                  </a:cubicBezTo>
                  <a:cubicBezTo>
                    <a:pt x="742556" y="1970947"/>
                    <a:pt x="725059" y="1953447"/>
                    <a:pt x="725059" y="1931860"/>
                  </a:cubicBezTo>
                  <a:cubicBezTo>
                    <a:pt x="725059" y="1910273"/>
                    <a:pt x="742556" y="1892773"/>
                    <a:pt x="764144" y="1892773"/>
                  </a:cubicBezTo>
                  <a:close/>
                  <a:moveTo>
                    <a:pt x="577226" y="1892773"/>
                  </a:moveTo>
                  <a:cubicBezTo>
                    <a:pt x="598816" y="1892773"/>
                    <a:pt x="616318" y="1910273"/>
                    <a:pt x="616318" y="1931860"/>
                  </a:cubicBezTo>
                  <a:cubicBezTo>
                    <a:pt x="616318" y="1953447"/>
                    <a:pt x="598816" y="1970947"/>
                    <a:pt x="577226" y="1970947"/>
                  </a:cubicBezTo>
                  <a:cubicBezTo>
                    <a:pt x="555636" y="1970947"/>
                    <a:pt x="538134" y="1953447"/>
                    <a:pt x="538134" y="1931860"/>
                  </a:cubicBezTo>
                  <a:cubicBezTo>
                    <a:pt x="538134" y="1910273"/>
                    <a:pt x="555636" y="1892773"/>
                    <a:pt x="577226" y="1892773"/>
                  </a:cubicBezTo>
                  <a:close/>
                  <a:moveTo>
                    <a:pt x="484945" y="1892773"/>
                  </a:moveTo>
                  <a:cubicBezTo>
                    <a:pt x="506533" y="1892773"/>
                    <a:pt x="524032" y="1910273"/>
                    <a:pt x="524032" y="1931860"/>
                  </a:cubicBezTo>
                  <a:cubicBezTo>
                    <a:pt x="524032" y="1953447"/>
                    <a:pt x="506533" y="1970947"/>
                    <a:pt x="484945" y="1970947"/>
                  </a:cubicBezTo>
                  <a:cubicBezTo>
                    <a:pt x="463353" y="1970947"/>
                    <a:pt x="445867" y="1953447"/>
                    <a:pt x="445867" y="1931860"/>
                  </a:cubicBezTo>
                  <a:cubicBezTo>
                    <a:pt x="445867" y="1910273"/>
                    <a:pt x="463353" y="1892773"/>
                    <a:pt x="484945" y="1892773"/>
                  </a:cubicBezTo>
                  <a:close/>
                  <a:moveTo>
                    <a:pt x="3861717" y="1806975"/>
                  </a:moveTo>
                  <a:lnTo>
                    <a:pt x="3858023" y="1880127"/>
                  </a:lnTo>
                  <a:lnTo>
                    <a:pt x="3838294" y="1871955"/>
                  </a:lnTo>
                  <a:cubicBezTo>
                    <a:pt x="3831220" y="1864881"/>
                    <a:pt x="3826845" y="1855109"/>
                    <a:pt x="3826845" y="1844316"/>
                  </a:cubicBezTo>
                  <a:cubicBezTo>
                    <a:pt x="3826845" y="1833522"/>
                    <a:pt x="3831220" y="1823750"/>
                    <a:pt x="3838294" y="1816677"/>
                  </a:cubicBezTo>
                  <a:close/>
                  <a:moveTo>
                    <a:pt x="3679017" y="1805229"/>
                  </a:moveTo>
                  <a:cubicBezTo>
                    <a:pt x="3700604" y="1805229"/>
                    <a:pt x="3718103" y="1822729"/>
                    <a:pt x="3718103" y="1844316"/>
                  </a:cubicBezTo>
                  <a:cubicBezTo>
                    <a:pt x="3718103" y="1865903"/>
                    <a:pt x="3700604" y="1883404"/>
                    <a:pt x="3679017" y="1883404"/>
                  </a:cubicBezTo>
                  <a:cubicBezTo>
                    <a:pt x="3657429" y="1883404"/>
                    <a:pt x="3639929" y="1865903"/>
                    <a:pt x="3639929" y="1844316"/>
                  </a:cubicBezTo>
                  <a:cubicBezTo>
                    <a:pt x="3639929" y="1822729"/>
                    <a:pt x="3657429" y="1805229"/>
                    <a:pt x="3679017" y="1805229"/>
                  </a:cubicBezTo>
                  <a:close/>
                  <a:moveTo>
                    <a:pt x="3300457" y="1805229"/>
                  </a:moveTo>
                  <a:cubicBezTo>
                    <a:pt x="3322044" y="1805229"/>
                    <a:pt x="3339544" y="1822729"/>
                    <a:pt x="3339544" y="1844316"/>
                  </a:cubicBezTo>
                  <a:cubicBezTo>
                    <a:pt x="3339544" y="1865903"/>
                    <a:pt x="3322044" y="1883404"/>
                    <a:pt x="3300457" y="1883404"/>
                  </a:cubicBezTo>
                  <a:cubicBezTo>
                    <a:pt x="3278869" y="1883404"/>
                    <a:pt x="3261369" y="1865903"/>
                    <a:pt x="3261369" y="1844316"/>
                  </a:cubicBezTo>
                  <a:cubicBezTo>
                    <a:pt x="3261369" y="1822729"/>
                    <a:pt x="3278869" y="1805229"/>
                    <a:pt x="3300457" y="1805229"/>
                  </a:cubicBezTo>
                  <a:close/>
                  <a:moveTo>
                    <a:pt x="3111175" y="1805229"/>
                  </a:moveTo>
                  <a:cubicBezTo>
                    <a:pt x="3132763" y="1805229"/>
                    <a:pt x="3150263" y="1822729"/>
                    <a:pt x="3150263" y="1844316"/>
                  </a:cubicBezTo>
                  <a:cubicBezTo>
                    <a:pt x="3150263" y="1865903"/>
                    <a:pt x="3132763" y="1883404"/>
                    <a:pt x="3111175" y="1883404"/>
                  </a:cubicBezTo>
                  <a:cubicBezTo>
                    <a:pt x="3089588" y="1883404"/>
                    <a:pt x="3072088" y="1865903"/>
                    <a:pt x="3072088" y="1844316"/>
                  </a:cubicBezTo>
                  <a:cubicBezTo>
                    <a:pt x="3072088" y="1822729"/>
                    <a:pt x="3089588" y="1805229"/>
                    <a:pt x="3111175" y="1805229"/>
                  </a:cubicBezTo>
                  <a:close/>
                  <a:moveTo>
                    <a:pt x="3018902" y="1805229"/>
                  </a:moveTo>
                  <a:cubicBezTo>
                    <a:pt x="3040489" y="1805229"/>
                    <a:pt x="3057989" y="1822729"/>
                    <a:pt x="3057989" y="1844316"/>
                  </a:cubicBezTo>
                  <a:cubicBezTo>
                    <a:pt x="3057989" y="1865903"/>
                    <a:pt x="3040489" y="1883404"/>
                    <a:pt x="3018902" y="1883404"/>
                  </a:cubicBezTo>
                  <a:cubicBezTo>
                    <a:pt x="2997315" y="1883404"/>
                    <a:pt x="2979815" y="1865903"/>
                    <a:pt x="2979815" y="1844316"/>
                  </a:cubicBezTo>
                  <a:cubicBezTo>
                    <a:pt x="2979815" y="1822729"/>
                    <a:pt x="2997315" y="1805229"/>
                    <a:pt x="3018902" y="1805229"/>
                  </a:cubicBezTo>
                  <a:close/>
                  <a:moveTo>
                    <a:pt x="2831988" y="1805229"/>
                  </a:moveTo>
                  <a:cubicBezTo>
                    <a:pt x="2853575" y="1805229"/>
                    <a:pt x="2871075" y="1822729"/>
                    <a:pt x="2871075" y="1844316"/>
                  </a:cubicBezTo>
                  <a:cubicBezTo>
                    <a:pt x="2871075" y="1865903"/>
                    <a:pt x="2853575" y="1883404"/>
                    <a:pt x="2831988" y="1883404"/>
                  </a:cubicBezTo>
                  <a:cubicBezTo>
                    <a:pt x="2810401" y="1883404"/>
                    <a:pt x="2792901" y="1865903"/>
                    <a:pt x="2792901" y="1844316"/>
                  </a:cubicBezTo>
                  <a:cubicBezTo>
                    <a:pt x="2792901" y="1822729"/>
                    <a:pt x="2810401" y="1805229"/>
                    <a:pt x="2831988" y="1805229"/>
                  </a:cubicBezTo>
                  <a:close/>
                  <a:moveTo>
                    <a:pt x="2737358" y="1805229"/>
                  </a:moveTo>
                  <a:cubicBezTo>
                    <a:pt x="2758934" y="1805229"/>
                    <a:pt x="2776434" y="1822729"/>
                    <a:pt x="2776434" y="1844316"/>
                  </a:cubicBezTo>
                  <a:cubicBezTo>
                    <a:pt x="2776434" y="1865903"/>
                    <a:pt x="2758934" y="1883404"/>
                    <a:pt x="2737358" y="1883404"/>
                  </a:cubicBezTo>
                  <a:cubicBezTo>
                    <a:pt x="2715768" y="1883404"/>
                    <a:pt x="2698265" y="1865903"/>
                    <a:pt x="2698265" y="1844316"/>
                  </a:cubicBezTo>
                  <a:cubicBezTo>
                    <a:pt x="2698265" y="1822729"/>
                    <a:pt x="2715768" y="1805229"/>
                    <a:pt x="2737358" y="1805229"/>
                  </a:cubicBezTo>
                  <a:close/>
                  <a:moveTo>
                    <a:pt x="2645073" y="1805229"/>
                  </a:moveTo>
                  <a:cubicBezTo>
                    <a:pt x="2666661" y="1805229"/>
                    <a:pt x="2684163" y="1822729"/>
                    <a:pt x="2684163" y="1844316"/>
                  </a:cubicBezTo>
                  <a:cubicBezTo>
                    <a:pt x="2684163" y="1865903"/>
                    <a:pt x="2666661" y="1883404"/>
                    <a:pt x="2645073" y="1883404"/>
                  </a:cubicBezTo>
                  <a:cubicBezTo>
                    <a:pt x="2623487" y="1883404"/>
                    <a:pt x="2605987" y="1865903"/>
                    <a:pt x="2605987" y="1844316"/>
                  </a:cubicBezTo>
                  <a:cubicBezTo>
                    <a:pt x="2605987" y="1822729"/>
                    <a:pt x="2623487" y="1805229"/>
                    <a:pt x="2645073" y="1805229"/>
                  </a:cubicBezTo>
                  <a:close/>
                  <a:moveTo>
                    <a:pt x="2550436" y="1805229"/>
                  </a:moveTo>
                  <a:cubicBezTo>
                    <a:pt x="2572023" y="1805229"/>
                    <a:pt x="2589522" y="1822729"/>
                    <a:pt x="2589522" y="1844316"/>
                  </a:cubicBezTo>
                  <a:cubicBezTo>
                    <a:pt x="2589522" y="1865903"/>
                    <a:pt x="2572023" y="1883404"/>
                    <a:pt x="2550436" y="1883404"/>
                  </a:cubicBezTo>
                  <a:cubicBezTo>
                    <a:pt x="2528849" y="1883404"/>
                    <a:pt x="2511352" y="1865903"/>
                    <a:pt x="2511352" y="1844316"/>
                  </a:cubicBezTo>
                  <a:cubicBezTo>
                    <a:pt x="2511352" y="1822729"/>
                    <a:pt x="2528849" y="1805229"/>
                    <a:pt x="2550436" y="1805229"/>
                  </a:cubicBezTo>
                  <a:close/>
                  <a:moveTo>
                    <a:pt x="2363525" y="1805229"/>
                  </a:moveTo>
                  <a:cubicBezTo>
                    <a:pt x="2385114" y="1805229"/>
                    <a:pt x="2402611" y="1822729"/>
                    <a:pt x="2402611" y="1844316"/>
                  </a:cubicBezTo>
                  <a:cubicBezTo>
                    <a:pt x="2402611" y="1865903"/>
                    <a:pt x="2385114" y="1883404"/>
                    <a:pt x="2363525" y="1883404"/>
                  </a:cubicBezTo>
                  <a:cubicBezTo>
                    <a:pt x="2341941" y="1883404"/>
                    <a:pt x="2324438" y="1865903"/>
                    <a:pt x="2324438" y="1844316"/>
                  </a:cubicBezTo>
                  <a:cubicBezTo>
                    <a:pt x="2324438" y="1822729"/>
                    <a:pt x="2341941" y="1805229"/>
                    <a:pt x="2363525" y="1805229"/>
                  </a:cubicBezTo>
                  <a:close/>
                  <a:moveTo>
                    <a:pt x="3771293" y="1805229"/>
                  </a:moveTo>
                  <a:cubicBezTo>
                    <a:pt x="3792880" y="1805229"/>
                    <a:pt x="3810379" y="1822728"/>
                    <a:pt x="3810379" y="1844316"/>
                  </a:cubicBezTo>
                  <a:cubicBezTo>
                    <a:pt x="3810379" y="1865903"/>
                    <a:pt x="3792880" y="1883403"/>
                    <a:pt x="3771293" y="1883403"/>
                  </a:cubicBezTo>
                  <a:cubicBezTo>
                    <a:pt x="3749705" y="1883403"/>
                    <a:pt x="3732205" y="1865903"/>
                    <a:pt x="3732205" y="1844316"/>
                  </a:cubicBezTo>
                  <a:cubicBezTo>
                    <a:pt x="3732205" y="1822728"/>
                    <a:pt x="3749705" y="1805229"/>
                    <a:pt x="3771293" y="1805229"/>
                  </a:cubicBezTo>
                  <a:close/>
                  <a:moveTo>
                    <a:pt x="3584377" y="1805229"/>
                  </a:moveTo>
                  <a:cubicBezTo>
                    <a:pt x="3605964" y="1805229"/>
                    <a:pt x="3623463" y="1822728"/>
                    <a:pt x="3623463" y="1844316"/>
                  </a:cubicBezTo>
                  <a:cubicBezTo>
                    <a:pt x="3623463" y="1865903"/>
                    <a:pt x="3605964" y="1883403"/>
                    <a:pt x="3584377" y="1883403"/>
                  </a:cubicBezTo>
                  <a:cubicBezTo>
                    <a:pt x="3562789" y="1883403"/>
                    <a:pt x="3545289" y="1865903"/>
                    <a:pt x="3545289" y="1844316"/>
                  </a:cubicBezTo>
                  <a:cubicBezTo>
                    <a:pt x="3545289" y="1822728"/>
                    <a:pt x="3562789" y="1805229"/>
                    <a:pt x="3584377" y="1805229"/>
                  </a:cubicBezTo>
                  <a:close/>
                  <a:moveTo>
                    <a:pt x="3489737" y="1805229"/>
                  </a:moveTo>
                  <a:cubicBezTo>
                    <a:pt x="3511324" y="1805229"/>
                    <a:pt x="3528823" y="1822728"/>
                    <a:pt x="3528823" y="1844316"/>
                  </a:cubicBezTo>
                  <a:cubicBezTo>
                    <a:pt x="3528823" y="1865903"/>
                    <a:pt x="3511324" y="1883403"/>
                    <a:pt x="3489737" y="1883403"/>
                  </a:cubicBezTo>
                  <a:cubicBezTo>
                    <a:pt x="3468149" y="1883403"/>
                    <a:pt x="3450649" y="1865903"/>
                    <a:pt x="3450649" y="1844316"/>
                  </a:cubicBezTo>
                  <a:cubicBezTo>
                    <a:pt x="3450649" y="1822728"/>
                    <a:pt x="3468149" y="1805229"/>
                    <a:pt x="3489737" y="1805229"/>
                  </a:cubicBezTo>
                  <a:close/>
                  <a:moveTo>
                    <a:pt x="3392731" y="1805229"/>
                  </a:moveTo>
                  <a:cubicBezTo>
                    <a:pt x="3414319" y="1805229"/>
                    <a:pt x="3431819" y="1822728"/>
                    <a:pt x="3431819" y="1844316"/>
                  </a:cubicBezTo>
                  <a:cubicBezTo>
                    <a:pt x="3431819" y="1865903"/>
                    <a:pt x="3414319" y="1883403"/>
                    <a:pt x="3392731" y="1883403"/>
                  </a:cubicBezTo>
                  <a:cubicBezTo>
                    <a:pt x="3371144" y="1883403"/>
                    <a:pt x="3353644" y="1865903"/>
                    <a:pt x="3353644" y="1844316"/>
                  </a:cubicBezTo>
                  <a:cubicBezTo>
                    <a:pt x="3353644" y="1822728"/>
                    <a:pt x="3371144" y="1805229"/>
                    <a:pt x="3392731" y="1805229"/>
                  </a:cubicBezTo>
                  <a:close/>
                  <a:moveTo>
                    <a:pt x="3205817" y="1805229"/>
                  </a:moveTo>
                  <a:cubicBezTo>
                    <a:pt x="3227404" y="1805229"/>
                    <a:pt x="3244904" y="1822728"/>
                    <a:pt x="3244904" y="1844316"/>
                  </a:cubicBezTo>
                  <a:cubicBezTo>
                    <a:pt x="3244904" y="1865903"/>
                    <a:pt x="3227404" y="1883403"/>
                    <a:pt x="3205817" y="1883403"/>
                  </a:cubicBezTo>
                  <a:cubicBezTo>
                    <a:pt x="3184229" y="1883403"/>
                    <a:pt x="3166729" y="1865903"/>
                    <a:pt x="3166729" y="1844316"/>
                  </a:cubicBezTo>
                  <a:cubicBezTo>
                    <a:pt x="3166729" y="1822728"/>
                    <a:pt x="3184229" y="1805229"/>
                    <a:pt x="3205817" y="1805229"/>
                  </a:cubicBezTo>
                  <a:close/>
                  <a:moveTo>
                    <a:pt x="2924263" y="1805229"/>
                  </a:moveTo>
                  <a:cubicBezTo>
                    <a:pt x="2945850" y="1805229"/>
                    <a:pt x="2963349" y="1822728"/>
                    <a:pt x="2963349" y="1844316"/>
                  </a:cubicBezTo>
                  <a:cubicBezTo>
                    <a:pt x="2963349" y="1865903"/>
                    <a:pt x="2945850" y="1883403"/>
                    <a:pt x="2924263" y="1883403"/>
                  </a:cubicBezTo>
                  <a:cubicBezTo>
                    <a:pt x="2902675" y="1883403"/>
                    <a:pt x="2885175" y="1865903"/>
                    <a:pt x="2885175" y="1844316"/>
                  </a:cubicBezTo>
                  <a:cubicBezTo>
                    <a:pt x="2885175" y="1822728"/>
                    <a:pt x="2902675" y="1805229"/>
                    <a:pt x="2924263" y="1805229"/>
                  </a:cubicBezTo>
                  <a:close/>
                  <a:moveTo>
                    <a:pt x="2458164" y="1805229"/>
                  </a:moveTo>
                  <a:cubicBezTo>
                    <a:pt x="2479753" y="1805229"/>
                    <a:pt x="2497252" y="1822728"/>
                    <a:pt x="2497252" y="1844316"/>
                  </a:cubicBezTo>
                  <a:cubicBezTo>
                    <a:pt x="2497252" y="1865903"/>
                    <a:pt x="2479753" y="1883403"/>
                    <a:pt x="2458164" y="1883403"/>
                  </a:cubicBezTo>
                  <a:cubicBezTo>
                    <a:pt x="2436582" y="1883403"/>
                    <a:pt x="2419079" y="1865903"/>
                    <a:pt x="2419079" y="1844316"/>
                  </a:cubicBezTo>
                  <a:cubicBezTo>
                    <a:pt x="2419079" y="1822728"/>
                    <a:pt x="2436582" y="1805229"/>
                    <a:pt x="2458164" y="1805229"/>
                  </a:cubicBezTo>
                  <a:close/>
                  <a:moveTo>
                    <a:pt x="2266523" y="1805229"/>
                  </a:moveTo>
                  <a:cubicBezTo>
                    <a:pt x="2288108" y="1805229"/>
                    <a:pt x="2305609" y="1822728"/>
                    <a:pt x="2305609" y="1844316"/>
                  </a:cubicBezTo>
                  <a:cubicBezTo>
                    <a:pt x="2305609" y="1865903"/>
                    <a:pt x="2288108" y="1883403"/>
                    <a:pt x="2266523" y="1883403"/>
                  </a:cubicBezTo>
                  <a:cubicBezTo>
                    <a:pt x="2244931" y="1883403"/>
                    <a:pt x="2227433" y="1865903"/>
                    <a:pt x="2227433" y="1844316"/>
                  </a:cubicBezTo>
                  <a:cubicBezTo>
                    <a:pt x="2227433" y="1822728"/>
                    <a:pt x="2244931" y="1805229"/>
                    <a:pt x="2266523" y="1805229"/>
                  </a:cubicBezTo>
                  <a:close/>
                  <a:moveTo>
                    <a:pt x="577230" y="1805229"/>
                  </a:moveTo>
                  <a:cubicBezTo>
                    <a:pt x="598820" y="1805229"/>
                    <a:pt x="616322" y="1822728"/>
                    <a:pt x="616322" y="1844316"/>
                  </a:cubicBezTo>
                  <a:cubicBezTo>
                    <a:pt x="616322" y="1865903"/>
                    <a:pt x="598820" y="1883403"/>
                    <a:pt x="577230" y="1883403"/>
                  </a:cubicBezTo>
                  <a:cubicBezTo>
                    <a:pt x="555640" y="1883403"/>
                    <a:pt x="538137" y="1865903"/>
                    <a:pt x="538137" y="1844316"/>
                  </a:cubicBezTo>
                  <a:cubicBezTo>
                    <a:pt x="538137" y="1822728"/>
                    <a:pt x="555640" y="1805229"/>
                    <a:pt x="577230" y="1805229"/>
                  </a:cubicBezTo>
                  <a:close/>
                  <a:moveTo>
                    <a:pt x="484947" y="1805229"/>
                  </a:moveTo>
                  <a:cubicBezTo>
                    <a:pt x="506537" y="1805229"/>
                    <a:pt x="524035" y="1822728"/>
                    <a:pt x="524035" y="1844316"/>
                  </a:cubicBezTo>
                  <a:cubicBezTo>
                    <a:pt x="524035" y="1865903"/>
                    <a:pt x="506537" y="1883403"/>
                    <a:pt x="484947" y="1883403"/>
                  </a:cubicBezTo>
                  <a:cubicBezTo>
                    <a:pt x="463357" y="1883403"/>
                    <a:pt x="445867" y="1865903"/>
                    <a:pt x="445867" y="1844316"/>
                  </a:cubicBezTo>
                  <a:cubicBezTo>
                    <a:pt x="445867" y="1822728"/>
                    <a:pt x="463357" y="1805229"/>
                    <a:pt x="484947" y="1805229"/>
                  </a:cubicBezTo>
                  <a:close/>
                  <a:moveTo>
                    <a:pt x="390307" y="1805229"/>
                  </a:moveTo>
                  <a:cubicBezTo>
                    <a:pt x="411895" y="1805229"/>
                    <a:pt x="429399" y="1822728"/>
                    <a:pt x="429399" y="1844316"/>
                  </a:cubicBezTo>
                  <a:cubicBezTo>
                    <a:pt x="429399" y="1865903"/>
                    <a:pt x="411895" y="1883403"/>
                    <a:pt x="390307" y="1883403"/>
                  </a:cubicBezTo>
                  <a:cubicBezTo>
                    <a:pt x="368727" y="1883403"/>
                    <a:pt x="351227" y="1865903"/>
                    <a:pt x="351227" y="1844316"/>
                  </a:cubicBezTo>
                  <a:cubicBezTo>
                    <a:pt x="351227" y="1822728"/>
                    <a:pt x="368727" y="1805229"/>
                    <a:pt x="390307" y="1805229"/>
                  </a:cubicBezTo>
                  <a:close/>
                  <a:moveTo>
                    <a:pt x="3858672" y="1720694"/>
                  </a:moveTo>
                  <a:lnTo>
                    <a:pt x="3862373" y="1793978"/>
                  </a:lnTo>
                  <a:lnTo>
                    <a:pt x="3862353" y="1794377"/>
                  </a:lnTo>
                  <a:lnTo>
                    <a:pt x="3838294" y="1784412"/>
                  </a:lnTo>
                  <a:cubicBezTo>
                    <a:pt x="3831220" y="1777339"/>
                    <a:pt x="3826845" y="1767568"/>
                    <a:pt x="3826845" y="1756774"/>
                  </a:cubicBezTo>
                  <a:cubicBezTo>
                    <a:pt x="3826845" y="1745980"/>
                    <a:pt x="3831220" y="1736208"/>
                    <a:pt x="3838294" y="1729135"/>
                  </a:cubicBezTo>
                  <a:close/>
                  <a:moveTo>
                    <a:pt x="3771293" y="1717686"/>
                  </a:moveTo>
                  <a:cubicBezTo>
                    <a:pt x="3792880" y="1717686"/>
                    <a:pt x="3810379" y="1735186"/>
                    <a:pt x="3810379" y="1756774"/>
                  </a:cubicBezTo>
                  <a:cubicBezTo>
                    <a:pt x="3810379" y="1778361"/>
                    <a:pt x="3792880" y="1795860"/>
                    <a:pt x="3771293" y="1795860"/>
                  </a:cubicBezTo>
                  <a:cubicBezTo>
                    <a:pt x="3749705" y="1795860"/>
                    <a:pt x="3732205" y="1778361"/>
                    <a:pt x="3732205" y="1756774"/>
                  </a:cubicBezTo>
                  <a:cubicBezTo>
                    <a:pt x="3732205" y="1735186"/>
                    <a:pt x="3749705" y="1717686"/>
                    <a:pt x="3771293" y="1717686"/>
                  </a:cubicBezTo>
                  <a:close/>
                  <a:moveTo>
                    <a:pt x="3679017" y="1717686"/>
                  </a:moveTo>
                  <a:cubicBezTo>
                    <a:pt x="3700604" y="1717686"/>
                    <a:pt x="3718103" y="1735186"/>
                    <a:pt x="3718103" y="1756774"/>
                  </a:cubicBezTo>
                  <a:cubicBezTo>
                    <a:pt x="3718103" y="1778361"/>
                    <a:pt x="3700604" y="1795860"/>
                    <a:pt x="3679017" y="1795860"/>
                  </a:cubicBezTo>
                  <a:cubicBezTo>
                    <a:pt x="3657429" y="1795860"/>
                    <a:pt x="3639929" y="1778361"/>
                    <a:pt x="3639929" y="1756774"/>
                  </a:cubicBezTo>
                  <a:cubicBezTo>
                    <a:pt x="3639929" y="1735186"/>
                    <a:pt x="3657429" y="1717686"/>
                    <a:pt x="3679017" y="1717686"/>
                  </a:cubicBezTo>
                  <a:close/>
                  <a:moveTo>
                    <a:pt x="3584377" y="1717686"/>
                  </a:moveTo>
                  <a:cubicBezTo>
                    <a:pt x="3605964" y="1717686"/>
                    <a:pt x="3623463" y="1735186"/>
                    <a:pt x="3623463" y="1756774"/>
                  </a:cubicBezTo>
                  <a:cubicBezTo>
                    <a:pt x="3623463" y="1778361"/>
                    <a:pt x="3605964" y="1795860"/>
                    <a:pt x="3584377" y="1795860"/>
                  </a:cubicBezTo>
                  <a:cubicBezTo>
                    <a:pt x="3562789" y="1795860"/>
                    <a:pt x="3545289" y="1778361"/>
                    <a:pt x="3545289" y="1756774"/>
                  </a:cubicBezTo>
                  <a:cubicBezTo>
                    <a:pt x="3545289" y="1735186"/>
                    <a:pt x="3562789" y="1717686"/>
                    <a:pt x="3584377" y="1717686"/>
                  </a:cubicBezTo>
                  <a:close/>
                  <a:moveTo>
                    <a:pt x="3489737" y="1717686"/>
                  </a:moveTo>
                  <a:cubicBezTo>
                    <a:pt x="3511324" y="1717686"/>
                    <a:pt x="3528823" y="1735186"/>
                    <a:pt x="3528823" y="1756774"/>
                  </a:cubicBezTo>
                  <a:cubicBezTo>
                    <a:pt x="3528823" y="1778361"/>
                    <a:pt x="3511324" y="1795860"/>
                    <a:pt x="3489737" y="1795860"/>
                  </a:cubicBezTo>
                  <a:cubicBezTo>
                    <a:pt x="3468149" y="1795860"/>
                    <a:pt x="3450649" y="1778361"/>
                    <a:pt x="3450649" y="1756774"/>
                  </a:cubicBezTo>
                  <a:cubicBezTo>
                    <a:pt x="3450649" y="1735186"/>
                    <a:pt x="3468149" y="1717686"/>
                    <a:pt x="3489737" y="1717686"/>
                  </a:cubicBezTo>
                  <a:close/>
                  <a:moveTo>
                    <a:pt x="3392731" y="1717686"/>
                  </a:moveTo>
                  <a:cubicBezTo>
                    <a:pt x="3414319" y="1717686"/>
                    <a:pt x="3431819" y="1735186"/>
                    <a:pt x="3431819" y="1756774"/>
                  </a:cubicBezTo>
                  <a:cubicBezTo>
                    <a:pt x="3431819" y="1778361"/>
                    <a:pt x="3414319" y="1795860"/>
                    <a:pt x="3392731" y="1795860"/>
                  </a:cubicBezTo>
                  <a:cubicBezTo>
                    <a:pt x="3371144" y="1795860"/>
                    <a:pt x="3353644" y="1778361"/>
                    <a:pt x="3353644" y="1756774"/>
                  </a:cubicBezTo>
                  <a:cubicBezTo>
                    <a:pt x="3353644" y="1735186"/>
                    <a:pt x="3371144" y="1717686"/>
                    <a:pt x="3392731" y="1717686"/>
                  </a:cubicBezTo>
                  <a:close/>
                  <a:moveTo>
                    <a:pt x="3300457" y="1717686"/>
                  </a:moveTo>
                  <a:cubicBezTo>
                    <a:pt x="3322044" y="1717686"/>
                    <a:pt x="3339544" y="1735186"/>
                    <a:pt x="3339544" y="1756774"/>
                  </a:cubicBezTo>
                  <a:cubicBezTo>
                    <a:pt x="3339544" y="1778361"/>
                    <a:pt x="3322044" y="1795860"/>
                    <a:pt x="3300457" y="1795860"/>
                  </a:cubicBezTo>
                  <a:cubicBezTo>
                    <a:pt x="3278869" y="1795860"/>
                    <a:pt x="3261369" y="1778361"/>
                    <a:pt x="3261369" y="1756774"/>
                  </a:cubicBezTo>
                  <a:cubicBezTo>
                    <a:pt x="3261369" y="1735186"/>
                    <a:pt x="3278869" y="1717686"/>
                    <a:pt x="3300457" y="1717686"/>
                  </a:cubicBezTo>
                  <a:close/>
                  <a:moveTo>
                    <a:pt x="3205817" y="1717686"/>
                  </a:moveTo>
                  <a:cubicBezTo>
                    <a:pt x="3227404" y="1717686"/>
                    <a:pt x="3244904" y="1735186"/>
                    <a:pt x="3244904" y="1756774"/>
                  </a:cubicBezTo>
                  <a:cubicBezTo>
                    <a:pt x="3244904" y="1778361"/>
                    <a:pt x="3227404" y="1795860"/>
                    <a:pt x="3205817" y="1795860"/>
                  </a:cubicBezTo>
                  <a:cubicBezTo>
                    <a:pt x="3184229" y="1795860"/>
                    <a:pt x="3166729" y="1778361"/>
                    <a:pt x="3166729" y="1756774"/>
                  </a:cubicBezTo>
                  <a:cubicBezTo>
                    <a:pt x="3166729" y="1735186"/>
                    <a:pt x="3184229" y="1717686"/>
                    <a:pt x="3205817" y="1717686"/>
                  </a:cubicBezTo>
                  <a:close/>
                  <a:moveTo>
                    <a:pt x="3111175" y="1717686"/>
                  </a:moveTo>
                  <a:cubicBezTo>
                    <a:pt x="3132763" y="1717686"/>
                    <a:pt x="3150263" y="1735186"/>
                    <a:pt x="3150263" y="1756774"/>
                  </a:cubicBezTo>
                  <a:cubicBezTo>
                    <a:pt x="3150263" y="1778361"/>
                    <a:pt x="3132763" y="1795860"/>
                    <a:pt x="3111175" y="1795860"/>
                  </a:cubicBezTo>
                  <a:cubicBezTo>
                    <a:pt x="3089588" y="1795860"/>
                    <a:pt x="3072088" y="1778361"/>
                    <a:pt x="3072088" y="1756774"/>
                  </a:cubicBezTo>
                  <a:cubicBezTo>
                    <a:pt x="3072088" y="1735186"/>
                    <a:pt x="3089588" y="1717686"/>
                    <a:pt x="3111175" y="1717686"/>
                  </a:cubicBezTo>
                  <a:close/>
                  <a:moveTo>
                    <a:pt x="3018902" y="1717686"/>
                  </a:moveTo>
                  <a:cubicBezTo>
                    <a:pt x="3040489" y="1717686"/>
                    <a:pt x="3057989" y="1735186"/>
                    <a:pt x="3057989" y="1756774"/>
                  </a:cubicBezTo>
                  <a:cubicBezTo>
                    <a:pt x="3057989" y="1778361"/>
                    <a:pt x="3040489" y="1795860"/>
                    <a:pt x="3018902" y="1795860"/>
                  </a:cubicBezTo>
                  <a:cubicBezTo>
                    <a:pt x="2997315" y="1795860"/>
                    <a:pt x="2979815" y="1778361"/>
                    <a:pt x="2979815" y="1756774"/>
                  </a:cubicBezTo>
                  <a:cubicBezTo>
                    <a:pt x="2979815" y="1735186"/>
                    <a:pt x="2997315" y="1717686"/>
                    <a:pt x="3018902" y="1717686"/>
                  </a:cubicBezTo>
                  <a:close/>
                  <a:moveTo>
                    <a:pt x="2924263" y="1717686"/>
                  </a:moveTo>
                  <a:cubicBezTo>
                    <a:pt x="2945850" y="1717686"/>
                    <a:pt x="2963349" y="1735186"/>
                    <a:pt x="2963349" y="1756774"/>
                  </a:cubicBezTo>
                  <a:cubicBezTo>
                    <a:pt x="2963349" y="1778361"/>
                    <a:pt x="2945850" y="1795860"/>
                    <a:pt x="2924263" y="1795860"/>
                  </a:cubicBezTo>
                  <a:cubicBezTo>
                    <a:pt x="2902675" y="1795860"/>
                    <a:pt x="2885175" y="1778361"/>
                    <a:pt x="2885175" y="1756774"/>
                  </a:cubicBezTo>
                  <a:cubicBezTo>
                    <a:pt x="2885175" y="1735186"/>
                    <a:pt x="2902675" y="1717686"/>
                    <a:pt x="2924263" y="1717686"/>
                  </a:cubicBezTo>
                  <a:close/>
                  <a:moveTo>
                    <a:pt x="2831988" y="1717686"/>
                  </a:moveTo>
                  <a:cubicBezTo>
                    <a:pt x="2853575" y="1717686"/>
                    <a:pt x="2871075" y="1735186"/>
                    <a:pt x="2871075" y="1756774"/>
                  </a:cubicBezTo>
                  <a:cubicBezTo>
                    <a:pt x="2871075" y="1778361"/>
                    <a:pt x="2853575" y="1795860"/>
                    <a:pt x="2831988" y="1795860"/>
                  </a:cubicBezTo>
                  <a:cubicBezTo>
                    <a:pt x="2810401" y="1795860"/>
                    <a:pt x="2792901" y="1778361"/>
                    <a:pt x="2792901" y="1756774"/>
                  </a:cubicBezTo>
                  <a:cubicBezTo>
                    <a:pt x="2792901" y="1735186"/>
                    <a:pt x="2810401" y="1717686"/>
                    <a:pt x="2831988" y="1717686"/>
                  </a:cubicBezTo>
                  <a:close/>
                  <a:moveTo>
                    <a:pt x="2737359" y="1717686"/>
                  </a:moveTo>
                  <a:cubicBezTo>
                    <a:pt x="2758934" y="1717686"/>
                    <a:pt x="2776434" y="1735186"/>
                    <a:pt x="2776434" y="1756774"/>
                  </a:cubicBezTo>
                  <a:cubicBezTo>
                    <a:pt x="2776434" y="1778361"/>
                    <a:pt x="2758934" y="1795860"/>
                    <a:pt x="2737359" y="1795860"/>
                  </a:cubicBezTo>
                  <a:cubicBezTo>
                    <a:pt x="2715768" y="1795860"/>
                    <a:pt x="2698265" y="1778361"/>
                    <a:pt x="2698265" y="1756774"/>
                  </a:cubicBezTo>
                  <a:cubicBezTo>
                    <a:pt x="2698265" y="1735186"/>
                    <a:pt x="2715768" y="1717686"/>
                    <a:pt x="2737359" y="1717686"/>
                  </a:cubicBezTo>
                  <a:close/>
                  <a:moveTo>
                    <a:pt x="2645073" y="1717686"/>
                  </a:moveTo>
                  <a:cubicBezTo>
                    <a:pt x="2666662" y="1717686"/>
                    <a:pt x="2684164" y="1735186"/>
                    <a:pt x="2684164" y="1756774"/>
                  </a:cubicBezTo>
                  <a:cubicBezTo>
                    <a:pt x="2684164" y="1778361"/>
                    <a:pt x="2666662" y="1795860"/>
                    <a:pt x="2645073" y="1795860"/>
                  </a:cubicBezTo>
                  <a:cubicBezTo>
                    <a:pt x="2623487" y="1795860"/>
                    <a:pt x="2605987" y="1778361"/>
                    <a:pt x="2605987" y="1756774"/>
                  </a:cubicBezTo>
                  <a:cubicBezTo>
                    <a:pt x="2605987" y="1735186"/>
                    <a:pt x="2623487" y="1717686"/>
                    <a:pt x="2645073" y="1717686"/>
                  </a:cubicBezTo>
                  <a:close/>
                  <a:moveTo>
                    <a:pt x="2550436" y="1717686"/>
                  </a:moveTo>
                  <a:cubicBezTo>
                    <a:pt x="2572023" y="1717686"/>
                    <a:pt x="2589522" y="1735186"/>
                    <a:pt x="2589522" y="1756774"/>
                  </a:cubicBezTo>
                  <a:cubicBezTo>
                    <a:pt x="2589522" y="1778361"/>
                    <a:pt x="2572023" y="1795860"/>
                    <a:pt x="2550436" y="1795860"/>
                  </a:cubicBezTo>
                  <a:cubicBezTo>
                    <a:pt x="2528849" y="1795860"/>
                    <a:pt x="2511353" y="1778361"/>
                    <a:pt x="2511353" y="1756774"/>
                  </a:cubicBezTo>
                  <a:cubicBezTo>
                    <a:pt x="2511353" y="1735186"/>
                    <a:pt x="2528849" y="1717686"/>
                    <a:pt x="2550436" y="1717686"/>
                  </a:cubicBezTo>
                  <a:close/>
                  <a:moveTo>
                    <a:pt x="2458164" y="1717686"/>
                  </a:moveTo>
                  <a:cubicBezTo>
                    <a:pt x="2479753" y="1717686"/>
                    <a:pt x="2497252" y="1735186"/>
                    <a:pt x="2497252" y="1756774"/>
                  </a:cubicBezTo>
                  <a:cubicBezTo>
                    <a:pt x="2497252" y="1778361"/>
                    <a:pt x="2479753" y="1795860"/>
                    <a:pt x="2458164" y="1795860"/>
                  </a:cubicBezTo>
                  <a:cubicBezTo>
                    <a:pt x="2436583" y="1795860"/>
                    <a:pt x="2419080" y="1778361"/>
                    <a:pt x="2419080" y="1756774"/>
                  </a:cubicBezTo>
                  <a:cubicBezTo>
                    <a:pt x="2419080" y="1735186"/>
                    <a:pt x="2436583" y="1717686"/>
                    <a:pt x="2458164" y="1717686"/>
                  </a:cubicBezTo>
                  <a:close/>
                  <a:moveTo>
                    <a:pt x="2363525" y="1717686"/>
                  </a:moveTo>
                  <a:cubicBezTo>
                    <a:pt x="2385114" y="1717686"/>
                    <a:pt x="2402611" y="1735186"/>
                    <a:pt x="2402611" y="1756774"/>
                  </a:cubicBezTo>
                  <a:cubicBezTo>
                    <a:pt x="2402611" y="1778361"/>
                    <a:pt x="2385114" y="1795860"/>
                    <a:pt x="2363525" y="1795860"/>
                  </a:cubicBezTo>
                  <a:cubicBezTo>
                    <a:pt x="2341941" y="1795860"/>
                    <a:pt x="2324438" y="1778361"/>
                    <a:pt x="2324438" y="1756774"/>
                  </a:cubicBezTo>
                  <a:cubicBezTo>
                    <a:pt x="2324438" y="1735186"/>
                    <a:pt x="2341941" y="1717686"/>
                    <a:pt x="2363525" y="1717686"/>
                  </a:cubicBezTo>
                  <a:close/>
                  <a:moveTo>
                    <a:pt x="951054" y="1717686"/>
                  </a:moveTo>
                  <a:cubicBezTo>
                    <a:pt x="972639" y="1717686"/>
                    <a:pt x="990138" y="1735186"/>
                    <a:pt x="990138" y="1756774"/>
                  </a:cubicBezTo>
                  <a:cubicBezTo>
                    <a:pt x="990138" y="1778361"/>
                    <a:pt x="972639" y="1795860"/>
                    <a:pt x="951054" y="1795860"/>
                  </a:cubicBezTo>
                  <a:cubicBezTo>
                    <a:pt x="929469" y="1795860"/>
                    <a:pt x="911970" y="1778361"/>
                    <a:pt x="911970" y="1756774"/>
                  </a:cubicBezTo>
                  <a:cubicBezTo>
                    <a:pt x="911970" y="1735186"/>
                    <a:pt x="929469" y="1717686"/>
                    <a:pt x="951054" y="1717686"/>
                  </a:cubicBezTo>
                  <a:close/>
                  <a:moveTo>
                    <a:pt x="577233" y="1717686"/>
                  </a:moveTo>
                  <a:cubicBezTo>
                    <a:pt x="598824" y="1717686"/>
                    <a:pt x="616327" y="1735186"/>
                    <a:pt x="616327" y="1756774"/>
                  </a:cubicBezTo>
                  <a:cubicBezTo>
                    <a:pt x="616327" y="1778361"/>
                    <a:pt x="598824" y="1795860"/>
                    <a:pt x="577233" y="1795860"/>
                  </a:cubicBezTo>
                  <a:cubicBezTo>
                    <a:pt x="555643" y="1795860"/>
                    <a:pt x="538140" y="1778361"/>
                    <a:pt x="538140" y="1756774"/>
                  </a:cubicBezTo>
                  <a:cubicBezTo>
                    <a:pt x="538140" y="1735186"/>
                    <a:pt x="555643" y="1717686"/>
                    <a:pt x="577233" y="1717686"/>
                  </a:cubicBezTo>
                  <a:close/>
                  <a:moveTo>
                    <a:pt x="484950" y="1717686"/>
                  </a:moveTo>
                  <a:cubicBezTo>
                    <a:pt x="506539" y="1717686"/>
                    <a:pt x="524038" y="1735186"/>
                    <a:pt x="524038" y="1756774"/>
                  </a:cubicBezTo>
                  <a:cubicBezTo>
                    <a:pt x="524038" y="1778361"/>
                    <a:pt x="506539" y="1795860"/>
                    <a:pt x="484950" y="1795860"/>
                  </a:cubicBezTo>
                  <a:cubicBezTo>
                    <a:pt x="463359" y="1795860"/>
                    <a:pt x="445871" y="1778361"/>
                    <a:pt x="445871" y="1756774"/>
                  </a:cubicBezTo>
                  <a:cubicBezTo>
                    <a:pt x="445871" y="1735186"/>
                    <a:pt x="463359" y="1717686"/>
                    <a:pt x="484950" y="1717686"/>
                  </a:cubicBezTo>
                  <a:close/>
                  <a:moveTo>
                    <a:pt x="390308" y="1717686"/>
                  </a:moveTo>
                  <a:cubicBezTo>
                    <a:pt x="411895" y="1717686"/>
                    <a:pt x="429402" y="1735186"/>
                    <a:pt x="429402" y="1756774"/>
                  </a:cubicBezTo>
                  <a:cubicBezTo>
                    <a:pt x="429402" y="1778361"/>
                    <a:pt x="411895" y="1795860"/>
                    <a:pt x="390308" y="1795860"/>
                  </a:cubicBezTo>
                  <a:cubicBezTo>
                    <a:pt x="368730" y="1795860"/>
                    <a:pt x="351231" y="1778361"/>
                    <a:pt x="351231" y="1756774"/>
                  </a:cubicBezTo>
                  <a:cubicBezTo>
                    <a:pt x="351231" y="1735186"/>
                    <a:pt x="368730" y="1717686"/>
                    <a:pt x="390308" y="1717686"/>
                  </a:cubicBezTo>
                  <a:close/>
                  <a:moveTo>
                    <a:pt x="298037" y="1717686"/>
                  </a:moveTo>
                  <a:cubicBezTo>
                    <a:pt x="319621" y="1717686"/>
                    <a:pt x="337130" y="1735186"/>
                    <a:pt x="337130" y="1756774"/>
                  </a:cubicBezTo>
                  <a:cubicBezTo>
                    <a:pt x="337130" y="1778361"/>
                    <a:pt x="319621" y="1795860"/>
                    <a:pt x="298037" y="1795860"/>
                  </a:cubicBezTo>
                  <a:cubicBezTo>
                    <a:pt x="276449" y="1795860"/>
                    <a:pt x="258948" y="1778361"/>
                    <a:pt x="258948" y="1756774"/>
                  </a:cubicBezTo>
                  <a:cubicBezTo>
                    <a:pt x="258948" y="1735186"/>
                    <a:pt x="276449" y="1717686"/>
                    <a:pt x="298037" y="1717686"/>
                  </a:cubicBezTo>
                  <a:close/>
                  <a:moveTo>
                    <a:pt x="3854460" y="1637264"/>
                  </a:moveTo>
                  <a:lnTo>
                    <a:pt x="3858001" y="1707402"/>
                  </a:lnTo>
                  <a:lnTo>
                    <a:pt x="3838292" y="1699238"/>
                  </a:lnTo>
                  <a:cubicBezTo>
                    <a:pt x="3831219" y="1692165"/>
                    <a:pt x="3826844" y="1682393"/>
                    <a:pt x="3826844" y="1671599"/>
                  </a:cubicBezTo>
                  <a:cubicBezTo>
                    <a:pt x="3826844" y="1660806"/>
                    <a:pt x="3831219" y="1651034"/>
                    <a:pt x="3838292" y="1643961"/>
                  </a:cubicBezTo>
                  <a:close/>
                  <a:moveTo>
                    <a:pt x="3771291" y="1632512"/>
                  </a:moveTo>
                  <a:cubicBezTo>
                    <a:pt x="3792879" y="1632512"/>
                    <a:pt x="3810379" y="1650012"/>
                    <a:pt x="3810379" y="1671599"/>
                  </a:cubicBezTo>
                  <a:cubicBezTo>
                    <a:pt x="3810379" y="1693187"/>
                    <a:pt x="3792879" y="1710687"/>
                    <a:pt x="3771291" y="1710687"/>
                  </a:cubicBezTo>
                  <a:cubicBezTo>
                    <a:pt x="3749704" y="1710687"/>
                    <a:pt x="3732204" y="1693187"/>
                    <a:pt x="3732204" y="1671599"/>
                  </a:cubicBezTo>
                  <a:cubicBezTo>
                    <a:pt x="3732204" y="1650012"/>
                    <a:pt x="3749704" y="1632512"/>
                    <a:pt x="3771291" y="1632512"/>
                  </a:cubicBezTo>
                  <a:close/>
                  <a:moveTo>
                    <a:pt x="3584377" y="1632512"/>
                  </a:moveTo>
                  <a:cubicBezTo>
                    <a:pt x="3605964" y="1632512"/>
                    <a:pt x="3623463" y="1650012"/>
                    <a:pt x="3623463" y="1671599"/>
                  </a:cubicBezTo>
                  <a:cubicBezTo>
                    <a:pt x="3623463" y="1693187"/>
                    <a:pt x="3605964" y="1710687"/>
                    <a:pt x="3584377" y="1710687"/>
                  </a:cubicBezTo>
                  <a:cubicBezTo>
                    <a:pt x="3562789" y="1710687"/>
                    <a:pt x="3545289" y="1693187"/>
                    <a:pt x="3545289" y="1671599"/>
                  </a:cubicBezTo>
                  <a:cubicBezTo>
                    <a:pt x="3545289" y="1650012"/>
                    <a:pt x="3562789" y="1632512"/>
                    <a:pt x="3584377" y="1632512"/>
                  </a:cubicBezTo>
                  <a:close/>
                  <a:moveTo>
                    <a:pt x="3489737" y="1632512"/>
                  </a:moveTo>
                  <a:cubicBezTo>
                    <a:pt x="3511324" y="1632512"/>
                    <a:pt x="3528823" y="1650012"/>
                    <a:pt x="3528823" y="1671599"/>
                  </a:cubicBezTo>
                  <a:cubicBezTo>
                    <a:pt x="3528823" y="1693187"/>
                    <a:pt x="3511324" y="1710687"/>
                    <a:pt x="3489737" y="1710687"/>
                  </a:cubicBezTo>
                  <a:cubicBezTo>
                    <a:pt x="3468149" y="1710687"/>
                    <a:pt x="3450649" y="1693187"/>
                    <a:pt x="3450649" y="1671599"/>
                  </a:cubicBezTo>
                  <a:cubicBezTo>
                    <a:pt x="3450649" y="1650012"/>
                    <a:pt x="3468149" y="1632512"/>
                    <a:pt x="3489737" y="1632512"/>
                  </a:cubicBezTo>
                  <a:close/>
                  <a:moveTo>
                    <a:pt x="3392731" y="1632512"/>
                  </a:moveTo>
                  <a:cubicBezTo>
                    <a:pt x="3414319" y="1632512"/>
                    <a:pt x="3431819" y="1650012"/>
                    <a:pt x="3431819" y="1671599"/>
                  </a:cubicBezTo>
                  <a:cubicBezTo>
                    <a:pt x="3431819" y="1693187"/>
                    <a:pt x="3414319" y="1710687"/>
                    <a:pt x="3392731" y="1710687"/>
                  </a:cubicBezTo>
                  <a:cubicBezTo>
                    <a:pt x="3371144" y="1710687"/>
                    <a:pt x="3353644" y="1693187"/>
                    <a:pt x="3353644" y="1671599"/>
                  </a:cubicBezTo>
                  <a:cubicBezTo>
                    <a:pt x="3353644" y="1650012"/>
                    <a:pt x="3371144" y="1632512"/>
                    <a:pt x="3392731" y="1632512"/>
                  </a:cubicBezTo>
                  <a:close/>
                  <a:moveTo>
                    <a:pt x="2924263" y="1632512"/>
                  </a:moveTo>
                  <a:cubicBezTo>
                    <a:pt x="2945850" y="1632512"/>
                    <a:pt x="2963349" y="1650012"/>
                    <a:pt x="2963349" y="1671599"/>
                  </a:cubicBezTo>
                  <a:cubicBezTo>
                    <a:pt x="2963349" y="1693187"/>
                    <a:pt x="2945850" y="1710687"/>
                    <a:pt x="2924263" y="1710687"/>
                  </a:cubicBezTo>
                  <a:cubicBezTo>
                    <a:pt x="2902675" y="1710687"/>
                    <a:pt x="2885175" y="1693187"/>
                    <a:pt x="2885175" y="1671599"/>
                  </a:cubicBezTo>
                  <a:cubicBezTo>
                    <a:pt x="2885175" y="1650012"/>
                    <a:pt x="2902675" y="1632512"/>
                    <a:pt x="2924263" y="1632512"/>
                  </a:cubicBezTo>
                  <a:close/>
                  <a:moveTo>
                    <a:pt x="2458164" y="1632512"/>
                  </a:moveTo>
                  <a:cubicBezTo>
                    <a:pt x="2479753" y="1632512"/>
                    <a:pt x="2497252" y="1650012"/>
                    <a:pt x="2497252" y="1671599"/>
                  </a:cubicBezTo>
                  <a:cubicBezTo>
                    <a:pt x="2497252" y="1693187"/>
                    <a:pt x="2479753" y="1710687"/>
                    <a:pt x="2458164" y="1710687"/>
                  </a:cubicBezTo>
                  <a:cubicBezTo>
                    <a:pt x="2436583" y="1710687"/>
                    <a:pt x="2419080" y="1693187"/>
                    <a:pt x="2419080" y="1671599"/>
                  </a:cubicBezTo>
                  <a:cubicBezTo>
                    <a:pt x="2419080" y="1650012"/>
                    <a:pt x="2436583" y="1632512"/>
                    <a:pt x="2458164" y="1632512"/>
                  </a:cubicBezTo>
                  <a:close/>
                  <a:moveTo>
                    <a:pt x="951057" y="1632512"/>
                  </a:moveTo>
                  <a:cubicBezTo>
                    <a:pt x="972642" y="1632512"/>
                    <a:pt x="990141" y="1650012"/>
                    <a:pt x="990141" y="1671599"/>
                  </a:cubicBezTo>
                  <a:cubicBezTo>
                    <a:pt x="990141" y="1693187"/>
                    <a:pt x="972642" y="1710687"/>
                    <a:pt x="951057" y="1710687"/>
                  </a:cubicBezTo>
                  <a:cubicBezTo>
                    <a:pt x="929472" y="1710687"/>
                    <a:pt x="911973" y="1693187"/>
                    <a:pt x="911973" y="1671599"/>
                  </a:cubicBezTo>
                  <a:cubicBezTo>
                    <a:pt x="911973" y="1650012"/>
                    <a:pt x="929472" y="1632512"/>
                    <a:pt x="951057" y="1632512"/>
                  </a:cubicBezTo>
                  <a:close/>
                  <a:moveTo>
                    <a:pt x="856425" y="1632512"/>
                  </a:moveTo>
                  <a:cubicBezTo>
                    <a:pt x="878010" y="1632512"/>
                    <a:pt x="895509" y="1650012"/>
                    <a:pt x="895509" y="1671599"/>
                  </a:cubicBezTo>
                  <a:cubicBezTo>
                    <a:pt x="895509" y="1693187"/>
                    <a:pt x="878010" y="1710687"/>
                    <a:pt x="856425" y="1710687"/>
                  </a:cubicBezTo>
                  <a:cubicBezTo>
                    <a:pt x="834839" y="1710687"/>
                    <a:pt x="817341" y="1693187"/>
                    <a:pt x="817341" y="1671599"/>
                  </a:cubicBezTo>
                  <a:cubicBezTo>
                    <a:pt x="817341" y="1650012"/>
                    <a:pt x="834839" y="1632512"/>
                    <a:pt x="856425" y="1632512"/>
                  </a:cubicBezTo>
                  <a:close/>
                  <a:moveTo>
                    <a:pt x="669521" y="1632512"/>
                  </a:moveTo>
                  <a:cubicBezTo>
                    <a:pt x="691111" y="1632512"/>
                    <a:pt x="708609" y="1650012"/>
                    <a:pt x="708609" y="1671599"/>
                  </a:cubicBezTo>
                  <a:cubicBezTo>
                    <a:pt x="708609" y="1693187"/>
                    <a:pt x="691111" y="1710687"/>
                    <a:pt x="669521" y="1710687"/>
                  </a:cubicBezTo>
                  <a:cubicBezTo>
                    <a:pt x="647936" y="1710687"/>
                    <a:pt x="630433" y="1693187"/>
                    <a:pt x="630433" y="1671599"/>
                  </a:cubicBezTo>
                  <a:cubicBezTo>
                    <a:pt x="630433" y="1650012"/>
                    <a:pt x="647936" y="1632512"/>
                    <a:pt x="669521" y="1632512"/>
                  </a:cubicBezTo>
                  <a:close/>
                  <a:moveTo>
                    <a:pt x="577237" y="1632512"/>
                  </a:moveTo>
                  <a:cubicBezTo>
                    <a:pt x="598829" y="1632512"/>
                    <a:pt x="616330" y="1650012"/>
                    <a:pt x="616330" y="1671599"/>
                  </a:cubicBezTo>
                  <a:cubicBezTo>
                    <a:pt x="616330" y="1693187"/>
                    <a:pt x="598829" y="1710687"/>
                    <a:pt x="577237" y="1710687"/>
                  </a:cubicBezTo>
                  <a:cubicBezTo>
                    <a:pt x="555647" y="1710687"/>
                    <a:pt x="538144" y="1693187"/>
                    <a:pt x="538144" y="1671599"/>
                  </a:cubicBezTo>
                  <a:cubicBezTo>
                    <a:pt x="538144" y="1650012"/>
                    <a:pt x="555647" y="1632512"/>
                    <a:pt x="577237" y="1632512"/>
                  </a:cubicBezTo>
                  <a:close/>
                  <a:moveTo>
                    <a:pt x="484957" y="1632512"/>
                  </a:moveTo>
                  <a:cubicBezTo>
                    <a:pt x="506543" y="1632512"/>
                    <a:pt x="524042" y="1650012"/>
                    <a:pt x="524042" y="1671599"/>
                  </a:cubicBezTo>
                  <a:cubicBezTo>
                    <a:pt x="524042" y="1693187"/>
                    <a:pt x="506543" y="1710687"/>
                    <a:pt x="484957" y="1710687"/>
                  </a:cubicBezTo>
                  <a:cubicBezTo>
                    <a:pt x="463364" y="1710687"/>
                    <a:pt x="445875" y="1693187"/>
                    <a:pt x="445875" y="1671599"/>
                  </a:cubicBezTo>
                  <a:cubicBezTo>
                    <a:pt x="445875" y="1650012"/>
                    <a:pt x="463364" y="1632512"/>
                    <a:pt x="484957" y="1632512"/>
                  </a:cubicBezTo>
                  <a:close/>
                  <a:moveTo>
                    <a:pt x="390314" y="1632512"/>
                  </a:moveTo>
                  <a:cubicBezTo>
                    <a:pt x="411907" y="1632512"/>
                    <a:pt x="429406" y="1650012"/>
                    <a:pt x="429406" y="1671599"/>
                  </a:cubicBezTo>
                  <a:cubicBezTo>
                    <a:pt x="429406" y="1693187"/>
                    <a:pt x="411907" y="1710687"/>
                    <a:pt x="390314" y="1710687"/>
                  </a:cubicBezTo>
                  <a:cubicBezTo>
                    <a:pt x="368735" y="1710687"/>
                    <a:pt x="351235" y="1693187"/>
                    <a:pt x="351235" y="1671599"/>
                  </a:cubicBezTo>
                  <a:cubicBezTo>
                    <a:pt x="351235" y="1650012"/>
                    <a:pt x="368735" y="1632512"/>
                    <a:pt x="390314" y="1632512"/>
                  </a:cubicBezTo>
                  <a:close/>
                  <a:moveTo>
                    <a:pt x="298040" y="1632512"/>
                  </a:moveTo>
                  <a:cubicBezTo>
                    <a:pt x="319624" y="1632512"/>
                    <a:pt x="337133" y="1650012"/>
                    <a:pt x="337133" y="1671599"/>
                  </a:cubicBezTo>
                  <a:cubicBezTo>
                    <a:pt x="337133" y="1693187"/>
                    <a:pt x="319624" y="1710687"/>
                    <a:pt x="298040" y="1710687"/>
                  </a:cubicBezTo>
                  <a:cubicBezTo>
                    <a:pt x="276452" y="1710687"/>
                    <a:pt x="258951" y="1693187"/>
                    <a:pt x="258951" y="1671599"/>
                  </a:cubicBezTo>
                  <a:cubicBezTo>
                    <a:pt x="258951" y="1650012"/>
                    <a:pt x="276452" y="1632512"/>
                    <a:pt x="298040" y="1632512"/>
                  </a:cubicBezTo>
                  <a:close/>
                  <a:moveTo>
                    <a:pt x="3679017" y="1632512"/>
                  </a:moveTo>
                  <a:cubicBezTo>
                    <a:pt x="3700604" y="1632512"/>
                    <a:pt x="3718103" y="1650011"/>
                    <a:pt x="3718103" y="1671598"/>
                  </a:cubicBezTo>
                  <a:cubicBezTo>
                    <a:pt x="3718103" y="1693186"/>
                    <a:pt x="3700604" y="1710685"/>
                    <a:pt x="3679017" y="1710685"/>
                  </a:cubicBezTo>
                  <a:cubicBezTo>
                    <a:pt x="3657429" y="1710685"/>
                    <a:pt x="3639929" y="1693186"/>
                    <a:pt x="3639929" y="1671598"/>
                  </a:cubicBezTo>
                  <a:cubicBezTo>
                    <a:pt x="3639929" y="1650011"/>
                    <a:pt x="3657429" y="1632512"/>
                    <a:pt x="3679017" y="1632512"/>
                  </a:cubicBezTo>
                  <a:close/>
                  <a:moveTo>
                    <a:pt x="3300455" y="1632512"/>
                  </a:moveTo>
                  <a:cubicBezTo>
                    <a:pt x="3322043" y="1632512"/>
                    <a:pt x="3339543" y="1650011"/>
                    <a:pt x="3339543" y="1671598"/>
                  </a:cubicBezTo>
                  <a:cubicBezTo>
                    <a:pt x="3339543" y="1693186"/>
                    <a:pt x="3322043" y="1710685"/>
                    <a:pt x="3300455" y="1710685"/>
                  </a:cubicBezTo>
                  <a:cubicBezTo>
                    <a:pt x="3278868" y="1710685"/>
                    <a:pt x="3261368" y="1693186"/>
                    <a:pt x="3261368" y="1671598"/>
                  </a:cubicBezTo>
                  <a:cubicBezTo>
                    <a:pt x="3261368" y="1650011"/>
                    <a:pt x="3278868" y="1632512"/>
                    <a:pt x="3300455" y="1632512"/>
                  </a:cubicBezTo>
                  <a:close/>
                  <a:moveTo>
                    <a:pt x="3111175" y="1632512"/>
                  </a:moveTo>
                  <a:cubicBezTo>
                    <a:pt x="3132763" y="1632512"/>
                    <a:pt x="3150263" y="1650011"/>
                    <a:pt x="3150263" y="1671598"/>
                  </a:cubicBezTo>
                  <a:cubicBezTo>
                    <a:pt x="3150263" y="1693186"/>
                    <a:pt x="3132763" y="1710685"/>
                    <a:pt x="3111175" y="1710685"/>
                  </a:cubicBezTo>
                  <a:cubicBezTo>
                    <a:pt x="3089588" y="1710685"/>
                    <a:pt x="3072088" y="1693186"/>
                    <a:pt x="3072088" y="1671598"/>
                  </a:cubicBezTo>
                  <a:cubicBezTo>
                    <a:pt x="3072088" y="1650011"/>
                    <a:pt x="3089588" y="1632512"/>
                    <a:pt x="3111175" y="1632512"/>
                  </a:cubicBezTo>
                  <a:close/>
                  <a:moveTo>
                    <a:pt x="3018902" y="1632512"/>
                  </a:moveTo>
                  <a:cubicBezTo>
                    <a:pt x="3040489" y="1632512"/>
                    <a:pt x="3057989" y="1650011"/>
                    <a:pt x="3057989" y="1671598"/>
                  </a:cubicBezTo>
                  <a:cubicBezTo>
                    <a:pt x="3057989" y="1693186"/>
                    <a:pt x="3040489" y="1710685"/>
                    <a:pt x="3018902" y="1710685"/>
                  </a:cubicBezTo>
                  <a:cubicBezTo>
                    <a:pt x="2997315" y="1710685"/>
                    <a:pt x="2979815" y="1693186"/>
                    <a:pt x="2979815" y="1671598"/>
                  </a:cubicBezTo>
                  <a:cubicBezTo>
                    <a:pt x="2979815" y="1650011"/>
                    <a:pt x="2997315" y="1632512"/>
                    <a:pt x="3018902" y="1632512"/>
                  </a:cubicBezTo>
                  <a:close/>
                  <a:moveTo>
                    <a:pt x="2831987" y="1632512"/>
                  </a:moveTo>
                  <a:cubicBezTo>
                    <a:pt x="2853574" y="1632512"/>
                    <a:pt x="2871074" y="1650011"/>
                    <a:pt x="2871074" y="1671598"/>
                  </a:cubicBezTo>
                  <a:cubicBezTo>
                    <a:pt x="2871074" y="1693186"/>
                    <a:pt x="2853574" y="1710685"/>
                    <a:pt x="2831987" y="1710685"/>
                  </a:cubicBezTo>
                  <a:cubicBezTo>
                    <a:pt x="2810400" y="1710685"/>
                    <a:pt x="2792900" y="1693186"/>
                    <a:pt x="2792900" y="1671598"/>
                  </a:cubicBezTo>
                  <a:cubicBezTo>
                    <a:pt x="2792900" y="1650011"/>
                    <a:pt x="2810400" y="1632512"/>
                    <a:pt x="2831987" y="1632512"/>
                  </a:cubicBezTo>
                  <a:close/>
                  <a:moveTo>
                    <a:pt x="2737359" y="1632512"/>
                  </a:moveTo>
                  <a:cubicBezTo>
                    <a:pt x="2758934" y="1632512"/>
                    <a:pt x="2776434" y="1650011"/>
                    <a:pt x="2776434" y="1671598"/>
                  </a:cubicBezTo>
                  <a:cubicBezTo>
                    <a:pt x="2776434" y="1693186"/>
                    <a:pt x="2758934" y="1710685"/>
                    <a:pt x="2737359" y="1710685"/>
                  </a:cubicBezTo>
                  <a:cubicBezTo>
                    <a:pt x="2715769" y="1710685"/>
                    <a:pt x="2698267" y="1693186"/>
                    <a:pt x="2698267" y="1671598"/>
                  </a:cubicBezTo>
                  <a:cubicBezTo>
                    <a:pt x="2698267" y="1650011"/>
                    <a:pt x="2715769" y="1632512"/>
                    <a:pt x="2737359" y="1632512"/>
                  </a:cubicBezTo>
                  <a:close/>
                  <a:moveTo>
                    <a:pt x="2645073" y="1632512"/>
                  </a:moveTo>
                  <a:cubicBezTo>
                    <a:pt x="2666662" y="1632512"/>
                    <a:pt x="2684164" y="1650011"/>
                    <a:pt x="2684164" y="1671598"/>
                  </a:cubicBezTo>
                  <a:cubicBezTo>
                    <a:pt x="2684164" y="1693186"/>
                    <a:pt x="2666662" y="1710685"/>
                    <a:pt x="2645073" y="1710685"/>
                  </a:cubicBezTo>
                  <a:cubicBezTo>
                    <a:pt x="2623487" y="1710685"/>
                    <a:pt x="2605987" y="1693186"/>
                    <a:pt x="2605987" y="1671598"/>
                  </a:cubicBezTo>
                  <a:cubicBezTo>
                    <a:pt x="2605987" y="1650011"/>
                    <a:pt x="2623487" y="1632512"/>
                    <a:pt x="2645073" y="1632512"/>
                  </a:cubicBezTo>
                  <a:close/>
                  <a:moveTo>
                    <a:pt x="2550437" y="1632512"/>
                  </a:moveTo>
                  <a:cubicBezTo>
                    <a:pt x="2572023" y="1632512"/>
                    <a:pt x="2589522" y="1650011"/>
                    <a:pt x="2589522" y="1671598"/>
                  </a:cubicBezTo>
                  <a:cubicBezTo>
                    <a:pt x="2589522" y="1693186"/>
                    <a:pt x="2572023" y="1710685"/>
                    <a:pt x="2550437" y="1710685"/>
                  </a:cubicBezTo>
                  <a:cubicBezTo>
                    <a:pt x="2528849" y="1710685"/>
                    <a:pt x="2511353" y="1693186"/>
                    <a:pt x="2511353" y="1671598"/>
                  </a:cubicBezTo>
                  <a:cubicBezTo>
                    <a:pt x="2511353" y="1650011"/>
                    <a:pt x="2528849" y="1632512"/>
                    <a:pt x="2550437" y="1632512"/>
                  </a:cubicBezTo>
                  <a:close/>
                  <a:moveTo>
                    <a:pt x="2363525" y="1632512"/>
                  </a:moveTo>
                  <a:cubicBezTo>
                    <a:pt x="2385115" y="1632512"/>
                    <a:pt x="2402612" y="1650011"/>
                    <a:pt x="2402612" y="1671598"/>
                  </a:cubicBezTo>
                  <a:cubicBezTo>
                    <a:pt x="2402612" y="1693186"/>
                    <a:pt x="2385115" y="1710685"/>
                    <a:pt x="2363525" y="1710685"/>
                  </a:cubicBezTo>
                  <a:cubicBezTo>
                    <a:pt x="2341941" y="1710685"/>
                    <a:pt x="2324438" y="1693186"/>
                    <a:pt x="2324438" y="1671598"/>
                  </a:cubicBezTo>
                  <a:cubicBezTo>
                    <a:pt x="2324438" y="1650011"/>
                    <a:pt x="2341941" y="1632512"/>
                    <a:pt x="2363525" y="1632512"/>
                  </a:cubicBezTo>
                  <a:close/>
                  <a:moveTo>
                    <a:pt x="764159" y="1632512"/>
                  </a:moveTo>
                  <a:cubicBezTo>
                    <a:pt x="785745" y="1632512"/>
                    <a:pt x="803243" y="1650011"/>
                    <a:pt x="803243" y="1671598"/>
                  </a:cubicBezTo>
                  <a:cubicBezTo>
                    <a:pt x="803243" y="1693186"/>
                    <a:pt x="785745" y="1710685"/>
                    <a:pt x="764159" y="1710685"/>
                  </a:cubicBezTo>
                  <a:cubicBezTo>
                    <a:pt x="742570" y="1710685"/>
                    <a:pt x="725074" y="1693186"/>
                    <a:pt x="725074" y="1671598"/>
                  </a:cubicBezTo>
                  <a:cubicBezTo>
                    <a:pt x="725074" y="1650011"/>
                    <a:pt x="742570" y="1632512"/>
                    <a:pt x="764159" y="1632512"/>
                  </a:cubicBezTo>
                  <a:close/>
                  <a:moveTo>
                    <a:pt x="3846758" y="1555277"/>
                  </a:moveTo>
                  <a:lnTo>
                    <a:pt x="3852080" y="1590149"/>
                  </a:lnTo>
                  <a:lnTo>
                    <a:pt x="3853608" y="1620406"/>
                  </a:lnTo>
                  <a:lnTo>
                    <a:pt x="3838292" y="1614061"/>
                  </a:lnTo>
                  <a:cubicBezTo>
                    <a:pt x="3831219" y="1606988"/>
                    <a:pt x="3826844" y="1597216"/>
                    <a:pt x="3826844" y="1586423"/>
                  </a:cubicBezTo>
                  <a:cubicBezTo>
                    <a:pt x="3826844" y="1575629"/>
                    <a:pt x="3831219" y="1565857"/>
                    <a:pt x="3838292" y="1558784"/>
                  </a:cubicBezTo>
                  <a:close/>
                  <a:moveTo>
                    <a:pt x="3771291" y="1547335"/>
                  </a:moveTo>
                  <a:cubicBezTo>
                    <a:pt x="3792879" y="1547335"/>
                    <a:pt x="3810379" y="1564835"/>
                    <a:pt x="3810379" y="1586423"/>
                  </a:cubicBezTo>
                  <a:cubicBezTo>
                    <a:pt x="3810379" y="1608009"/>
                    <a:pt x="3792879" y="1625510"/>
                    <a:pt x="3771291" y="1625510"/>
                  </a:cubicBezTo>
                  <a:cubicBezTo>
                    <a:pt x="3749704" y="1625510"/>
                    <a:pt x="3732204" y="1608009"/>
                    <a:pt x="3732204" y="1586423"/>
                  </a:cubicBezTo>
                  <a:cubicBezTo>
                    <a:pt x="3732204" y="1564835"/>
                    <a:pt x="3749704" y="1547335"/>
                    <a:pt x="3771291" y="1547335"/>
                  </a:cubicBezTo>
                  <a:close/>
                  <a:moveTo>
                    <a:pt x="3679017" y="1547335"/>
                  </a:moveTo>
                  <a:cubicBezTo>
                    <a:pt x="3700604" y="1547335"/>
                    <a:pt x="3718103" y="1564835"/>
                    <a:pt x="3718103" y="1586423"/>
                  </a:cubicBezTo>
                  <a:cubicBezTo>
                    <a:pt x="3718103" y="1608009"/>
                    <a:pt x="3700604" y="1625510"/>
                    <a:pt x="3679017" y="1625510"/>
                  </a:cubicBezTo>
                  <a:cubicBezTo>
                    <a:pt x="3657429" y="1625510"/>
                    <a:pt x="3639929" y="1608009"/>
                    <a:pt x="3639929" y="1586423"/>
                  </a:cubicBezTo>
                  <a:cubicBezTo>
                    <a:pt x="3639929" y="1564835"/>
                    <a:pt x="3657429" y="1547335"/>
                    <a:pt x="3679017" y="1547335"/>
                  </a:cubicBezTo>
                  <a:close/>
                  <a:moveTo>
                    <a:pt x="3584377" y="1547335"/>
                  </a:moveTo>
                  <a:cubicBezTo>
                    <a:pt x="3605964" y="1547335"/>
                    <a:pt x="3623463" y="1564835"/>
                    <a:pt x="3623463" y="1586423"/>
                  </a:cubicBezTo>
                  <a:cubicBezTo>
                    <a:pt x="3623463" y="1608009"/>
                    <a:pt x="3605964" y="1625510"/>
                    <a:pt x="3584377" y="1625510"/>
                  </a:cubicBezTo>
                  <a:cubicBezTo>
                    <a:pt x="3562789" y="1625510"/>
                    <a:pt x="3545289" y="1608009"/>
                    <a:pt x="3545289" y="1586423"/>
                  </a:cubicBezTo>
                  <a:cubicBezTo>
                    <a:pt x="3545289" y="1564835"/>
                    <a:pt x="3562789" y="1547335"/>
                    <a:pt x="3584377" y="1547335"/>
                  </a:cubicBezTo>
                  <a:close/>
                  <a:moveTo>
                    <a:pt x="3489737" y="1547335"/>
                  </a:moveTo>
                  <a:cubicBezTo>
                    <a:pt x="3511324" y="1547335"/>
                    <a:pt x="3528823" y="1564835"/>
                    <a:pt x="3528823" y="1586423"/>
                  </a:cubicBezTo>
                  <a:cubicBezTo>
                    <a:pt x="3528823" y="1608009"/>
                    <a:pt x="3511324" y="1625510"/>
                    <a:pt x="3489737" y="1625510"/>
                  </a:cubicBezTo>
                  <a:cubicBezTo>
                    <a:pt x="3468149" y="1625510"/>
                    <a:pt x="3450649" y="1608009"/>
                    <a:pt x="3450649" y="1586423"/>
                  </a:cubicBezTo>
                  <a:cubicBezTo>
                    <a:pt x="3450649" y="1564835"/>
                    <a:pt x="3468149" y="1547335"/>
                    <a:pt x="3489737" y="1547335"/>
                  </a:cubicBezTo>
                  <a:close/>
                  <a:moveTo>
                    <a:pt x="3392731" y="1547335"/>
                  </a:moveTo>
                  <a:cubicBezTo>
                    <a:pt x="3414319" y="1547335"/>
                    <a:pt x="3431819" y="1564835"/>
                    <a:pt x="3431819" y="1586423"/>
                  </a:cubicBezTo>
                  <a:cubicBezTo>
                    <a:pt x="3431819" y="1608009"/>
                    <a:pt x="3414319" y="1625510"/>
                    <a:pt x="3392731" y="1625510"/>
                  </a:cubicBezTo>
                  <a:cubicBezTo>
                    <a:pt x="3371144" y="1625510"/>
                    <a:pt x="3353644" y="1608009"/>
                    <a:pt x="3353644" y="1586423"/>
                  </a:cubicBezTo>
                  <a:cubicBezTo>
                    <a:pt x="3353644" y="1564835"/>
                    <a:pt x="3371144" y="1547335"/>
                    <a:pt x="3392731" y="1547335"/>
                  </a:cubicBezTo>
                  <a:close/>
                  <a:moveTo>
                    <a:pt x="3300455" y="1547335"/>
                  </a:moveTo>
                  <a:cubicBezTo>
                    <a:pt x="3322043" y="1547335"/>
                    <a:pt x="3339543" y="1564835"/>
                    <a:pt x="3339543" y="1586423"/>
                  </a:cubicBezTo>
                  <a:cubicBezTo>
                    <a:pt x="3339543" y="1608009"/>
                    <a:pt x="3322043" y="1625510"/>
                    <a:pt x="3300455" y="1625510"/>
                  </a:cubicBezTo>
                  <a:cubicBezTo>
                    <a:pt x="3278868" y="1625510"/>
                    <a:pt x="3261368" y="1608009"/>
                    <a:pt x="3261368" y="1586423"/>
                  </a:cubicBezTo>
                  <a:cubicBezTo>
                    <a:pt x="3261368" y="1564835"/>
                    <a:pt x="3278868" y="1547335"/>
                    <a:pt x="3300455" y="1547335"/>
                  </a:cubicBezTo>
                  <a:close/>
                  <a:moveTo>
                    <a:pt x="2737361" y="1547335"/>
                  </a:moveTo>
                  <a:cubicBezTo>
                    <a:pt x="2758934" y="1547335"/>
                    <a:pt x="2776434" y="1564835"/>
                    <a:pt x="2776434" y="1586423"/>
                  </a:cubicBezTo>
                  <a:cubicBezTo>
                    <a:pt x="2776434" y="1608009"/>
                    <a:pt x="2758934" y="1625510"/>
                    <a:pt x="2737361" y="1625510"/>
                  </a:cubicBezTo>
                  <a:cubicBezTo>
                    <a:pt x="2715769" y="1625510"/>
                    <a:pt x="2698267" y="1608009"/>
                    <a:pt x="2698267" y="1586423"/>
                  </a:cubicBezTo>
                  <a:cubicBezTo>
                    <a:pt x="2698267" y="1564835"/>
                    <a:pt x="2715769" y="1547335"/>
                    <a:pt x="2737361" y="1547335"/>
                  </a:cubicBezTo>
                  <a:close/>
                  <a:moveTo>
                    <a:pt x="2645073" y="1547335"/>
                  </a:moveTo>
                  <a:cubicBezTo>
                    <a:pt x="2666662" y="1547335"/>
                    <a:pt x="2684164" y="1564835"/>
                    <a:pt x="2684164" y="1586423"/>
                  </a:cubicBezTo>
                  <a:cubicBezTo>
                    <a:pt x="2684164" y="1608009"/>
                    <a:pt x="2666662" y="1625510"/>
                    <a:pt x="2645073" y="1625510"/>
                  </a:cubicBezTo>
                  <a:cubicBezTo>
                    <a:pt x="2623487" y="1625510"/>
                    <a:pt x="2605987" y="1608009"/>
                    <a:pt x="2605987" y="1586423"/>
                  </a:cubicBezTo>
                  <a:cubicBezTo>
                    <a:pt x="2605987" y="1564835"/>
                    <a:pt x="2623487" y="1547335"/>
                    <a:pt x="2645073" y="1547335"/>
                  </a:cubicBezTo>
                  <a:close/>
                  <a:moveTo>
                    <a:pt x="2550437" y="1547335"/>
                  </a:moveTo>
                  <a:cubicBezTo>
                    <a:pt x="2572023" y="1547335"/>
                    <a:pt x="2589523" y="1564835"/>
                    <a:pt x="2589523" y="1586423"/>
                  </a:cubicBezTo>
                  <a:cubicBezTo>
                    <a:pt x="2589523" y="1608009"/>
                    <a:pt x="2572023" y="1625510"/>
                    <a:pt x="2550437" y="1625510"/>
                  </a:cubicBezTo>
                  <a:cubicBezTo>
                    <a:pt x="2528849" y="1625510"/>
                    <a:pt x="2511353" y="1608009"/>
                    <a:pt x="2511353" y="1586423"/>
                  </a:cubicBezTo>
                  <a:cubicBezTo>
                    <a:pt x="2511353" y="1564835"/>
                    <a:pt x="2528849" y="1547335"/>
                    <a:pt x="2550437" y="1547335"/>
                  </a:cubicBezTo>
                  <a:close/>
                  <a:moveTo>
                    <a:pt x="2458164" y="1547335"/>
                  </a:moveTo>
                  <a:cubicBezTo>
                    <a:pt x="2479753" y="1547335"/>
                    <a:pt x="2497252" y="1564835"/>
                    <a:pt x="2497252" y="1586423"/>
                  </a:cubicBezTo>
                  <a:cubicBezTo>
                    <a:pt x="2497252" y="1608009"/>
                    <a:pt x="2479753" y="1625510"/>
                    <a:pt x="2458164" y="1625510"/>
                  </a:cubicBezTo>
                  <a:cubicBezTo>
                    <a:pt x="2436583" y="1625510"/>
                    <a:pt x="2419081" y="1608009"/>
                    <a:pt x="2419081" y="1586423"/>
                  </a:cubicBezTo>
                  <a:cubicBezTo>
                    <a:pt x="2419081" y="1564835"/>
                    <a:pt x="2436583" y="1547335"/>
                    <a:pt x="2458164" y="1547335"/>
                  </a:cubicBezTo>
                  <a:close/>
                  <a:moveTo>
                    <a:pt x="951061" y="1547335"/>
                  </a:moveTo>
                  <a:cubicBezTo>
                    <a:pt x="972645" y="1547335"/>
                    <a:pt x="990144" y="1564835"/>
                    <a:pt x="990144" y="1586423"/>
                  </a:cubicBezTo>
                  <a:cubicBezTo>
                    <a:pt x="990144" y="1608009"/>
                    <a:pt x="972645" y="1625510"/>
                    <a:pt x="951061" y="1625510"/>
                  </a:cubicBezTo>
                  <a:cubicBezTo>
                    <a:pt x="929475" y="1625510"/>
                    <a:pt x="911977" y="1608009"/>
                    <a:pt x="911977" y="1586423"/>
                  </a:cubicBezTo>
                  <a:cubicBezTo>
                    <a:pt x="911977" y="1564835"/>
                    <a:pt x="929475" y="1547335"/>
                    <a:pt x="951061" y="1547335"/>
                  </a:cubicBezTo>
                  <a:close/>
                  <a:moveTo>
                    <a:pt x="856428" y="1547335"/>
                  </a:moveTo>
                  <a:cubicBezTo>
                    <a:pt x="878014" y="1547335"/>
                    <a:pt x="895513" y="1564835"/>
                    <a:pt x="895513" y="1586423"/>
                  </a:cubicBezTo>
                  <a:cubicBezTo>
                    <a:pt x="895513" y="1608009"/>
                    <a:pt x="878014" y="1625510"/>
                    <a:pt x="856428" y="1625510"/>
                  </a:cubicBezTo>
                  <a:cubicBezTo>
                    <a:pt x="834844" y="1625510"/>
                    <a:pt x="817346" y="1608009"/>
                    <a:pt x="817346" y="1586423"/>
                  </a:cubicBezTo>
                  <a:cubicBezTo>
                    <a:pt x="817346" y="1564835"/>
                    <a:pt x="834844" y="1547335"/>
                    <a:pt x="856428" y="1547335"/>
                  </a:cubicBezTo>
                  <a:close/>
                  <a:moveTo>
                    <a:pt x="764163" y="1547335"/>
                  </a:moveTo>
                  <a:cubicBezTo>
                    <a:pt x="785749" y="1547335"/>
                    <a:pt x="803247" y="1564835"/>
                    <a:pt x="803247" y="1586423"/>
                  </a:cubicBezTo>
                  <a:cubicBezTo>
                    <a:pt x="803247" y="1608009"/>
                    <a:pt x="785749" y="1625510"/>
                    <a:pt x="764163" y="1625510"/>
                  </a:cubicBezTo>
                  <a:cubicBezTo>
                    <a:pt x="742573" y="1625510"/>
                    <a:pt x="725079" y="1608009"/>
                    <a:pt x="725079" y="1586423"/>
                  </a:cubicBezTo>
                  <a:cubicBezTo>
                    <a:pt x="725079" y="1564835"/>
                    <a:pt x="742573" y="1547335"/>
                    <a:pt x="764163" y="1547335"/>
                  </a:cubicBezTo>
                  <a:close/>
                  <a:moveTo>
                    <a:pt x="669521" y="1547335"/>
                  </a:moveTo>
                  <a:cubicBezTo>
                    <a:pt x="691116" y="1547335"/>
                    <a:pt x="708613" y="1564835"/>
                    <a:pt x="708613" y="1586423"/>
                  </a:cubicBezTo>
                  <a:cubicBezTo>
                    <a:pt x="708613" y="1608009"/>
                    <a:pt x="691116" y="1625510"/>
                    <a:pt x="669521" y="1625510"/>
                  </a:cubicBezTo>
                  <a:cubicBezTo>
                    <a:pt x="647940" y="1625510"/>
                    <a:pt x="630438" y="1608009"/>
                    <a:pt x="630438" y="1586423"/>
                  </a:cubicBezTo>
                  <a:cubicBezTo>
                    <a:pt x="630438" y="1564835"/>
                    <a:pt x="647940" y="1547335"/>
                    <a:pt x="669521" y="1547335"/>
                  </a:cubicBezTo>
                  <a:close/>
                  <a:moveTo>
                    <a:pt x="577241" y="1547335"/>
                  </a:moveTo>
                  <a:cubicBezTo>
                    <a:pt x="598832" y="1547335"/>
                    <a:pt x="616335" y="1564835"/>
                    <a:pt x="616335" y="1586423"/>
                  </a:cubicBezTo>
                  <a:cubicBezTo>
                    <a:pt x="616335" y="1608009"/>
                    <a:pt x="598832" y="1625510"/>
                    <a:pt x="577241" y="1625510"/>
                  </a:cubicBezTo>
                  <a:cubicBezTo>
                    <a:pt x="555651" y="1625510"/>
                    <a:pt x="538147" y="1608009"/>
                    <a:pt x="538147" y="1586423"/>
                  </a:cubicBezTo>
                  <a:cubicBezTo>
                    <a:pt x="538147" y="1564835"/>
                    <a:pt x="555651" y="1547335"/>
                    <a:pt x="577241" y="1547335"/>
                  </a:cubicBezTo>
                  <a:close/>
                  <a:moveTo>
                    <a:pt x="484957" y="1547335"/>
                  </a:moveTo>
                  <a:cubicBezTo>
                    <a:pt x="506545" y="1547335"/>
                    <a:pt x="524045" y="1564835"/>
                    <a:pt x="524045" y="1586423"/>
                  </a:cubicBezTo>
                  <a:cubicBezTo>
                    <a:pt x="524045" y="1608009"/>
                    <a:pt x="506545" y="1625510"/>
                    <a:pt x="484957" y="1625510"/>
                  </a:cubicBezTo>
                  <a:cubicBezTo>
                    <a:pt x="463365" y="1625510"/>
                    <a:pt x="445879" y="1608009"/>
                    <a:pt x="445879" y="1586423"/>
                  </a:cubicBezTo>
                  <a:cubicBezTo>
                    <a:pt x="445879" y="1564835"/>
                    <a:pt x="463365" y="1547335"/>
                    <a:pt x="484957" y="1547335"/>
                  </a:cubicBezTo>
                  <a:close/>
                  <a:moveTo>
                    <a:pt x="390314" y="1547335"/>
                  </a:moveTo>
                  <a:cubicBezTo>
                    <a:pt x="411908" y="1547335"/>
                    <a:pt x="429410" y="1564835"/>
                    <a:pt x="429410" y="1586423"/>
                  </a:cubicBezTo>
                  <a:cubicBezTo>
                    <a:pt x="429410" y="1608009"/>
                    <a:pt x="411908" y="1625510"/>
                    <a:pt x="390314" y="1625510"/>
                  </a:cubicBezTo>
                  <a:cubicBezTo>
                    <a:pt x="368739" y="1625510"/>
                    <a:pt x="351238" y="1608009"/>
                    <a:pt x="351238" y="1586423"/>
                  </a:cubicBezTo>
                  <a:cubicBezTo>
                    <a:pt x="351238" y="1564835"/>
                    <a:pt x="368739" y="1547335"/>
                    <a:pt x="390314" y="1547335"/>
                  </a:cubicBezTo>
                  <a:close/>
                  <a:moveTo>
                    <a:pt x="298043" y="1547335"/>
                  </a:moveTo>
                  <a:cubicBezTo>
                    <a:pt x="319627" y="1547335"/>
                    <a:pt x="337137" y="1564835"/>
                    <a:pt x="337137" y="1586423"/>
                  </a:cubicBezTo>
                  <a:cubicBezTo>
                    <a:pt x="337137" y="1608009"/>
                    <a:pt x="319627" y="1625510"/>
                    <a:pt x="298043" y="1625510"/>
                  </a:cubicBezTo>
                  <a:cubicBezTo>
                    <a:pt x="276456" y="1625510"/>
                    <a:pt x="258954" y="1608009"/>
                    <a:pt x="258954" y="1586423"/>
                  </a:cubicBezTo>
                  <a:cubicBezTo>
                    <a:pt x="258954" y="1564835"/>
                    <a:pt x="276456" y="1547335"/>
                    <a:pt x="298043" y="1547335"/>
                  </a:cubicBezTo>
                  <a:close/>
                  <a:moveTo>
                    <a:pt x="203400" y="1547335"/>
                  </a:moveTo>
                  <a:cubicBezTo>
                    <a:pt x="224988" y="1547335"/>
                    <a:pt x="242489" y="1564835"/>
                    <a:pt x="242489" y="1586423"/>
                  </a:cubicBezTo>
                  <a:cubicBezTo>
                    <a:pt x="242489" y="1608009"/>
                    <a:pt x="224988" y="1625510"/>
                    <a:pt x="203400" y="1625510"/>
                  </a:cubicBezTo>
                  <a:cubicBezTo>
                    <a:pt x="181814" y="1625510"/>
                    <a:pt x="164314" y="1608009"/>
                    <a:pt x="164314" y="1586423"/>
                  </a:cubicBezTo>
                  <a:cubicBezTo>
                    <a:pt x="164314" y="1564835"/>
                    <a:pt x="181814" y="1547335"/>
                    <a:pt x="203400" y="1547335"/>
                  </a:cubicBezTo>
                  <a:close/>
                  <a:moveTo>
                    <a:pt x="3835635" y="1482393"/>
                  </a:moveTo>
                  <a:lnTo>
                    <a:pt x="3843416" y="1533374"/>
                  </a:lnTo>
                  <a:lnTo>
                    <a:pt x="3838294" y="1531252"/>
                  </a:lnTo>
                  <a:cubicBezTo>
                    <a:pt x="3831220" y="1524179"/>
                    <a:pt x="3826845" y="1514407"/>
                    <a:pt x="3826845" y="1503614"/>
                  </a:cubicBezTo>
                  <a:close/>
                  <a:moveTo>
                    <a:pt x="3771293" y="1464526"/>
                  </a:moveTo>
                  <a:cubicBezTo>
                    <a:pt x="3792880" y="1464526"/>
                    <a:pt x="3810379" y="1482026"/>
                    <a:pt x="3810379" y="1503614"/>
                  </a:cubicBezTo>
                  <a:cubicBezTo>
                    <a:pt x="3810379" y="1525201"/>
                    <a:pt x="3792880" y="1542701"/>
                    <a:pt x="3771293" y="1542701"/>
                  </a:cubicBezTo>
                  <a:cubicBezTo>
                    <a:pt x="3749705" y="1542701"/>
                    <a:pt x="3732205" y="1525201"/>
                    <a:pt x="3732205" y="1503614"/>
                  </a:cubicBezTo>
                  <a:cubicBezTo>
                    <a:pt x="3732205" y="1482026"/>
                    <a:pt x="3749705" y="1464526"/>
                    <a:pt x="3771293" y="1464526"/>
                  </a:cubicBezTo>
                  <a:close/>
                  <a:moveTo>
                    <a:pt x="3679018" y="1464526"/>
                  </a:moveTo>
                  <a:cubicBezTo>
                    <a:pt x="3700605" y="1464526"/>
                    <a:pt x="3718105" y="1482026"/>
                    <a:pt x="3718105" y="1503614"/>
                  </a:cubicBezTo>
                  <a:cubicBezTo>
                    <a:pt x="3718105" y="1525201"/>
                    <a:pt x="3700605" y="1542701"/>
                    <a:pt x="3679018" y="1542701"/>
                  </a:cubicBezTo>
                  <a:cubicBezTo>
                    <a:pt x="3657431" y="1542701"/>
                    <a:pt x="3639931" y="1525201"/>
                    <a:pt x="3639931" y="1503614"/>
                  </a:cubicBezTo>
                  <a:cubicBezTo>
                    <a:pt x="3639931" y="1482026"/>
                    <a:pt x="3657431" y="1464526"/>
                    <a:pt x="3679018" y="1464526"/>
                  </a:cubicBezTo>
                  <a:close/>
                  <a:moveTo>
                    <a:pt x="3489737" y="1464526"/>
                  </a:moveTo>
                  <a:cubicBezTo>
                    <a:pt x="3511324" y="1464526"/>
                    <a:pt x="3528823" y="1482026"/>
                    <a:pt x="3528823" y="1503614"/>
                  </a:cubicBezTo>
                  <a:cubicBezTo>
                    <a:pt x="3528823" y="1525201"/>
                    <a:pt x="3511324" y="1542701"/>
                    <a:pt x="3489737" y="1542701"/>
                  </a:cubicBezTo>
                  <a:cubicBezTo>
                    <a:pt x="3468149" y="1542701"/>
                    <a:pt x="3450649" y="1525201"/>
                    <a:pt x="3450649" y="1503614"/>
                  </a:cubicBezTo>
                  <a:cubicBezTo>
                    <a:pt x="3450649" y="1482026"/>
                    <a:pt x="3468149" y="1464526"/>
                    <a:pt x="3489737" y="1464526"/>
                  </a:cubicBezTo>
                  <a:close/>
                  <a:moveTo>
                    <a:pt x="3392731" y="1464526"/>
                  </a:moveTo>
                  <a:cubicBezTo>
                    <a:pt x="3414319" y="1464526"/>
                    <a:pt x="3431819" y="1482026"/>
                    <a:pt x="3431819" y="1503614"/>
                  </a:cubicBezTo>
                  <a:cubicBezTo>
                    <a:pt x="3431819" y="1525201"/>
                    <a:pt x="3414319" y="1542701"/>
                    <a:pt x="3392731" y="1542701"/>
                  </a:cubicBezTo>
                  <a:cubicBezTo>
                    <a:pt x="3371144" y="1542701"/>
                    <a:pt x="3353644" y="1525201"/>
                    <a:pt x="3353644" y="1503614"/>
                  </a:cubicBezTo>
                  <a:cubicBezTo>
                    <a:pt x="3353644" y="1482026"/>
                    <a:pt x="3371144" y="1464526"/>
                    <a:pt x="3392731" y="1464526"/>
                  </a:cubicBezTo>
                  <a:close/>
                  <a:moveTo>
                    <a:pt x="3300457" y="1464526"/>
                  </a:moveTo>
                  <a:cubicBezTo>
                    <a:pt x="3322044" y="1464526"/>
                    <a:pt x="3339544" y="1482026"/>
                    <a:pt x="3339544" y="1503614"/>
                  </a:cubicBezTo>
                  <a:cubicBezTo>
                    <a:pt x="3339544" y="1525201"/>
                    <a:pt x="3322044" y="1542701"/>
                    <a:pt x="3300457" y="1542701"/>
                  </a:cubicBezTo>
                  <a:cubicBezTo>
                    <a:pt x="3278869" y="1542701"/>
                    <a:pt x="3261369" y="1525201"/>
                    <a:pt x="3261369" y="1503614"/>
                  </a:cubicBezTo>
                  <a:cubicBezTo>
                    <a:pt x="3261369" y="1482026"/>
                    <a:pt x="3278869" y="1464526"/>
                    <a:pt x="3300457" y="1464526"/>
                  </a:cubicBezTo>
                  <a:close/>
                  <a:moveTo>
                    <a:pt x="3205817" y="1464526"/>
                  </a:moveTo>
                  <a:cubicBezTo>
                    <a:pt x="3227404" y="1464526"/>
                    <a:pt x="3244904" y="1482026"/>
                    <a:pt x="3244904" y="1503614"/>
                  </a:cubicBezTo>
                  <a:cubicBezTo>
                    <a:pt x="3244904" y="1525201"/>
                    <a:pt x="3227404" y="1542701"/>
                    <a:pt x="3205817" y="1542701"/>
                  </a:cubicBezTo>
                  <a:cubicBezTo>
                    <a:pt x="3184229" y="1542701"/>
                    <a:pt x="3166729" y="1525201"/>
                    <a:pt x="3166729" y="1503614"/>
                  </a:cubicBezTo>
                  <a:cubicBezTo>
                    <a:pt x="3166729" y="1482026"/>
                    <a:pt x="3184229" y="1464526"/>
                    <a:pt x="3205817" y="1464526"/>
                  </a:cubicBezTo>
                  <a:close/>
                  <a:moveTo>
                    <a:pt x="3111177" y="1464526"/>
                  </a:moveTo>
                  <a:cubicBezTo>
                    <a:pt x="3132764" y="1464526"/>
                    <a:pt x="3150264" y="1482026"/>
                    <a:pt x="3150264" y="1503614"/>
                  </a:cubicBezTo>
                  <a:cubicBezTo>
                    <a:pt x="3150264" y="1525201"/>
                    <a:pt x="3132764" y="1542701"/>
                    <a:pt x="3111177" y="1542701"/>
                  </a:cubicBezTo>
                  <a:cubicBezTo>
                    <a:pt x="3089589" y="1542701"/>
                    <a:pt x="3072089" y="1525201"/>
                    <a:pt x="3072089" y="1503614"/>
                  </a:cubicBezTo>
                  <a:cubicBezTo>
                    <a:pt x="3072089" y="1482026"/>
                    <a:pt x="3089589" y="1464526"/>
                    <a:pt x="3111177" y="1464526"/>
                  </a:cubicBezTo>
                  <a:close/>
                  <a:moveTo>
                    <a:pt x="3018902" y="1464526"/>
                  </a:moveTo>
                  <a:cubicBezTo>
                    <a:pt x="3040489" y="1464526"/>
                    <a:pt x="3057989" y="1482026"/>
                    <a:pt x="3057989" y="1503614"/>
                  </a:cubicBezTo>
                  <a:cubicBezTo>
                    <a:pt x="3057989" y="1525201"/>
                    <a:pt x="3040489" y="1542701"/>
                    <a:pt x="3018902" y="1542701"/>
                  </a:cubicBezTo>
                  <a:cubicBezTo>
                    <a:pt x="2997315" y="1542701"/>
                    <a:pt x="2979815" y="1525201"/>
                    <a:pt x="2979815" y="1503614"/>
                  </a:cubicBezTo>
                  <a:cubicBezTo>
                    <a:pt x="2979815" y="1482026"/>
                    <a:pt x="2997315" y="1464526"/>
                    <a:pt x="3018902" y="1464526"/>
                  </a:cubicBezTo>
                  <a:close/>
                  <a:moveTo>
                    <a:pt x="2831988" y="1464526"/>
                  </a:moveTo>
                  <a:cubicBezTo>
                    <a:pt x="2853575" y="1464526"/>
                    <a:pt x="2871075" y="1482026"/>
                    <a:pt x="2871075" y="1503614"/>
                  </a:cubicBezTo>
                  <a:cubicBezTo>
                    <a:pt x="2871075" y="1525201"/>
                    <a:pt x="2853575" y="1542701"/>
                    <a:pt x="2831988" y="1542701"/>
                  </a:cubicBezTo>
                  <a:cubicBezTo>
                    <a:pt x="2810401" y="1542701"/>
                    <a:pt x="2792901" y="1525201"/>
                    <a:pt x="2792901" y="1503614"/>
                  </a:cubicBezTo>
                  <a:cubicBezTo>
                    <a:pt x="2792901" y="1482026"/>
                    <a:pt x="2810401" y="1464526"/>
                    <a:pt x="2831988" y="1464526"/>
                  </a:cubicBezTo>
                  <a:close/>
                  <a:moveTo>
                    <a:pt x="2458167" y="1464526"/>
                  </a:moveTo>
                  <a:cubicBezTo>
                    <a:pt x="2479755" y="1464526"/>
                    <a:pt x="2497253" y="1482026"/>
                    <a:pt x="2497253" y="1503614"/>
                  </a:cubicBezTo>
                  <a:cubicBezTo>
                    <a:pt x="2497253" y="1525201"/>
                    <a:pt x="2479755" y="1542701"/>
                    <a:pt x="2458167" y="1542701"/>
                  </a:cubicBezTo>
                  <a:cubicBezTo>
                    <a:pt x="2436585" y="1542701"/>
                    <a:pt x="2419081" y="1525201"/>
                    <a:pt x="2419081" y="1503614"/>
                  </a:cubicBezTo>
                  <a:cubicBezTo>
                    <a:pt x="2419081" y="1482026"/>
                    <a:pt x="2436585" y="1464526"/>
                    <a:pt x="2458167" y="1464526"/>
                  </a:cubicBezTo>
                  <a:close/>
                  <a:moveTo>
                    <a:pt x="2363529" y="1464526"/>
                  </a:moveTo>
                  <a:cubicBezTo>
                    <a:pt x="2385118" y="1464526"/>
                    <a:pt x="2402614" y="1482026"/>
                    <a:pt x="2402614" y="1503614"/>
                  </a:cubicBezTo>
                  <a:cubicBezTo>
                    <a:pt x="2402614" y="1525201"/>
                    <a:pt x="2385118" y="1542701"/>
                    <a:pt x="2363529" y="1542701"/>
                  </a:cubicBezTo>
                  <a:cubicBezTo>
                    <a:pt x="2341943" y="1542701"/>
                    <a:pt x="2324441" y="1525201"/>
                    <a:pt x="2324441" y="1503614"/>
                  </a:cubicBezTo>
                  <a:cubicBezTo>
                    <a:pt x="2324441" y="1482026"/>
                    <a:pt x="2341943" y="1464526"/>
                    <a:pt x="2363529" y="1464526"/>
                  </a:cubicBezTo>
                  <a:close/>
                  <a:moveTo>
                    <a:pt x="1045696" y="1464526"/>
                  </a:moveTo>
                  <a:cubicBezTo>
                    <a:pt x="1067282" y="1464526"/>
                    <a:pt x="1084784" y="1482026"/>
                    <a:pt x="1084784" y="1503614"/>
                  </a:cubicBezTo>
                  <a:cubicBezTo>
                    <a:pt x="1084784" y="1525201"/>
                    <a:pt x="1067282" y="1542701"/>
                    <a:pt x="1045696" y="1542701"/>
                  </a:cubicBezTo>
                  <a:cubicBezTo>
                    <a:pt x="1024110" y="1542701"/>
                    <a:pt x="1006612" y="1525201"/>
                    <a:pt x="1006612" y="1503614"/>
                  </a:cubicBezTo>
                  <a:cubicBezTo>
                    <a:pt x="1006612" y="1482026"/>
                    <a:pt x="1024110" y="1464526"/>
                    <a:pt x="1045696" y="1464526"/>
                  </a:cubicBezTo>
                  <a:close/>
                  <a:moveTo>
                    <a:pt x="951064" y="1464526"/>
                  </a:moveTo>
                  <a:cubicBezTo>
                    <a:pt x="972649" y="1464526"/>
                    <a:pt x="990147" y="1482026"/>
                    <a:pt x="990147" y="1503614"/>
                  </a:cubicBezTo>
                  <a:cubicBezTo>
                    <a:pt x="990147" y="1525201"/>
                    <a:pt x="972649" y="1542701"/>
                    <a:pt x="951064" y="1542701"/>
                  </a:cubicBezTo>
                  <a:cubicBezTo>
                    <a:pt x="929479" y="1542701"/>
                    <a:pt x="911980" y="1525201"/>
                    <a:pt x="911980" y="1503614"/>
                  </a:cubicBezTo>
                  <a:cubicBezTo>
                    <a:pt x="911980" y="1482026"/>
                    <a:pt x="929479" y="1464526"/>
                    <a:pt x="951064" y="1464526"/>
                  </a:cubicBezTo>
                  <a:close/>
                  <a:moveTo>
                    <a:pt x="856433" y="1464526"/>
                  </a:moveTo>
                  <a:cubicBezTo>
                    <a:pt x="878018" y="1464526"/>
                    <a:pt x="895517" y="1482026"/>
                    <a:pt x="895517" y="1503614"/>
                  </a:cubicBezTo>
                  <a:cubicBezTo>
                    <a:pt x="895517" y="1525201"/>
                    <a:pt x="878018" y="1542701"/>
                    <a:pt x="856433" y="1542701"/>
                  </a:cubicBezTo>
                  <a:cubicBezTo>
                    <a:pt x="834848" y="1542701"/>
                    <a:pt x="817350" y="1525201"/>
                    <a:pt x="817350" y="1503614"/>
                  </a:cubicBezTo>
                  <a:cubicBezTo>
                    <a:pt x="817350" y="1482026"/>
                    <a:pt x="834848" y="1464526"/>
                    <a:pt x="856433" y="1464526"/>
                  </a:cubicBezTo>
                  <a:close/>
                  <a:moveTo>
                    <a:pt x="764168" y="1464526"/>
                  </a:moveTo>
                  <a:cubicBezTo>
                    <a:pt x="785753" y="1464526"/>
                    <a:pt x="803252" y="1482026"/>
                    <a:pt x="803252" y="1503614"/>
                  </a:cubicBezTo>
                  <a:cubicBezTo>
                    <a:pt x="803252" y="1525201"/>
                    <a:pt x="785753" y="1542701"/>
                    <a:pt x="764168" y="1542701"/>
                  </a:cubicBezTo>
                  <a:cubicBezTo>
                    <a:pt x="742576" y="1542701"/>
                    <a:pt x="725083" y="1525201"/>
                    <a:pt x="725083" y="1503614"/>
                  </a:cubicBezTo>
                  <a:cubicBezTo>
                    <a:pt x="725083" y="1482026"/>
                    <a:pt x="742576" y="1464526"/>
                    <a:pt x="764168" y="1464526"/>
                  </a:cubicBezTo>
                  <a:close/>
                  <a:moveTo>
                    <a:pt x="669521" y="1464526"/>
                  </a:moveTo>
                  <a:cubicBezTo>
                    <a:pt x="691121" y="1464526"/>
                    <a:pt x="708620" y="1482026"/>
                    <a:pt x="708620" y="1503614"/>
                  </a:cubicBezTo>
                  <a:cubicBezTo>
                    <a:pt x="708620" y="1525201"/>
                    <a:pt x="691121" y="1542701"/>
                    <a:pt x="669521" y="1542701"/>
                  </a:cubicBezTo>
                  <a:cubicBezTo>
                    <a:pt x="647946" y="1542701"/>
                    <a:pt x="630443" y="1525201"/>
                    <a:pt x="630443" y="1503614"/>
                  </a:cubicBezTo>
                  <a:cubicBezTo>
                    <a:pt x="630443" y="1482026"/>
                    <a:pt x="647946" y="1464526"/>
                    <a:pt x="669521" y="1464526"/>
                  </a:cubicBezTo>
                  <a:close/>
                  <a:moveTo>
                    <a:pt x="577246" y="1464526"/>
                  </a:moveTo>
                  <a:cubicBezTo>
                    <a:pt x="598837" y="1464526"/>
                    <a:pt x="616341" y="1482026"/>
                    <a:pt x="616341" y="1503614"/>
                  </a:cubicBezTo>
                  <a:cubicBezTo>
                    <a:pt x="616341" y="1525201"/>
                    <a:pt x="598837" y="1542701"/>
                    <a:pt x="577246" y="1542701"/>
                  </a:cubicBezTo>
                  <a:cubicBezTo>
                    <a:pt x="555655" y="1542701"/>
                    <a:pt x="538151" y="1525201"/>
                    <a:pt x="538151" y="1503614"/>
                  </a:cubicBezTo>
                  <a:cubicBezTo>
                    <a:pt x="538151" y="1482026"/>
                    <a:pt x="555655" y="1464526"/>
                    <a:pt x="577246" y="1464526"/>
                  </a:cubicBezTo>
                  <a:close/>
                  <a:moveTo>
                    <a:pt x="484961" y="1464526"/>
                  </a:moveTo>
                  <a:cubicBezTo>
                    <a:pt x="506550" y="1464526"/>
                    <a:pt x="524048" y="1482026"/>
                    <a:pt x="524048" y="1503614"/>
                  </a:cubicBezTo>
                  <a:cubicBezTo>
                    <a:pt x="524048" y="1525201"/>
                    <a:pt x="506550" y="1542701"/>
                    <a:pt x="484961" y="1542701"/>
                  </a:cubicBezTo>
                  <a:cubicBezTo>
                    <a:pt x="463368" y="1542701"/>
                    <a:pt x="445884" y="1525201"/>
                    <a:pt x="445884" y="1503614"/>
                  </a:cubicBezTo>
                  <a:cubicBezTo>
                    <a:pt x="445884" y="1482026"/>
                    <a:pt x="463368" y="1464526"/>
                    <a:pt x="484961" y="1464526"/>
                  </a:cubicBezTo>
                  <a:close/>
                  <a:moveTo>
                    <a:pt x="390321" y="1464526"/>
                  </a:moveTo>
                  <a:cubicBezTo>
                    <a:pt x="411908" y="1464526"/>
                    <a:pt x="429414" y="1482026"/>
                    <a:pt x="429414" y="1503614"/>
                  </a:cubicBezTo>
                  <a:cubicBezTo>
                    <a:pt x="429414" y="1525201"/>
                    <a:pt x="411908" y="1542701"/>
                    <a:pt x="390321" y="1542701"/>
                  </a:cubicBezTo>
                  <a:cubicBezTo>
                    <a:pt x="368742" y="1542701"/>
                    <a:pt x="351243" y="1525201"/>
                    <a:pt x="351243" y="1503614"/>
                  </a:cubicBezTo>
                  <a:cubicBezTo>
                    <a:pt x="351243" y="1482026"/>
                    <a:pt x="368742" y="1464526"/>
                    <a:pt x="390321" y="1464526"/>
                  </a:cubicBezTo>
                  <a:close/>
                  <a:moveTo>
                    <a:pt x="298048" y="1464526"/>
                  </a:moveTo>
                  <a:cubicBezTo>
                    <a:pt x="319631" y="1464526"/>
                    <a:pt x="337143" y="1482026"/>
                    <a:pt x="337143" y="1503614"/>
                  </a:cubicBezTo>
                  <a:cubicBezTo>
                    <a:pt x="337143" y="1525201"/>
                    <a:pt x="319631" y="1542701"/>
                    <a:pt x="298048" y="1542701"/>
                  </a:cubicBezTo>
                  <a:cubicBezTo>
                    <a:pt x="276459" y="1542701"/>
                    <a:pt x="258959" y="1525201"/>
                    <a:pt x="258959" y="1503614"/>
                  </a:cubicBezTo>
                  <a:cubicBezTo>
                    <a:pt x="258959" y="1482026"/>
                    <a:pt x="276459" y="1464526"/>
                    <a:pt x="298048" y="1464526"/>
                  </a:cubicBezTo>
                  <a:close/>
                  <a:moveTo>
                    <a:pt x="203404" y="1464526"/>
                  </a:moveTo>
                  <a:cubicBezTo>
                    <a:pt x="224994" y="1464526"/>
                    <a:pt x="242493" y="1482026"/>
                    <a:pt x="242493" y="1503614"/>
                  </a:cubicBezTo>
                  <a:cubicBezTo>
                    <a:pt x="242493" y="1525201"/>
                    <a:pt x="224994" y="1542701"/>
                    <a:pt x="203404" y="1542701"/>
                  </a:cubicBezTo>
                  <a:cubicBezTo>
                    <a:pt x="181818" y="1542701"/>
                    <a:pt x="164318" y="1525201"/>
                    <a:pt x="164318" y="1503614"/>
                  </a:cubicBezTo>
                  <a:cubicBezTo>
                    <a:pt x="164318" y="1482026"/>
                    <a:pt x="181818" y="1464526"/>
                    <a:pt x="203404" y="1464526"/>
                  </a:cubicBezTo>
                  <a:close/>
                  <a:moveTo>
                    <a:pt x="111130" y="1464526"/>
                  </a:moveTo>
                  <a:cubicBezTo>
                    <a:pt x="132718" y="1464526"/>
                    <a:pt x="150218" y="1482026"/>
                    <a:pt x="150218" y="1503614"/>
                  </a:cubicBezTo>
                  <a:cubicBezTo>
                    <a:pt x="150218" y="1525201"/>
                    <a:pt x="132718" y="1542701"/>
                    <a:pt x="111130" y="1542701"/>
                  </a:cubicBezTo>
                  <a:cubicBezTo>
                    <a:pt x="89543" y="1542701"/>
                    <a:pt x="72044" y="1525201"/>
                    <a:pt x="72044" y="1503614"/>
                  </a:cubicBezTo>
                  <a:cubicBezTo>
                    <a:pt x="72044" y="1482026"/>
                    <a:pt x="89543" y="1464526"/>
                    <a:pt x="111130" y="1464526"/>
                  </a:cubicBezTo>
                  <a:close/>
                  <a:moveTo>
                    <a:pt x="111134" y="1376985"/>
                  </a:moveTo>
                  <a:cubicBezTo>
                    <a:pt x="132721" y="1376985"/>
                    <a:pt x="150221" y="1394485"/>
                    <a:pt x="150221" y="1416072"/>
                  </a:cubicBezTo>
                  <a:cubicBezTo>
                    <a:pt x="150221" y="1437659"/>
                    <a:pt x="132721" y="1455159"/>
                    <a:pt x="111134" y="1455159"/>
                  </a:cubicBezTo>
                  <a:cubicBezTo>
                    <a:pt x="89547" y="1455159"/>
                    <a:pt x="72048" y="1437659"/>
                    <a:pt x="72048" y="1416072"/>
                  </a:cubicBezTo>
                  <a:cubicBezTo>
                    <a:pt x="72048" y="1394485"/>
                    <a:pt x="89547" y="1376985"/>
                    <a:pt x="111134" y="1376985"/>
                  </a:cubicBezTo>
                  <a:close/>
                  <a:moveTo>
                    <a:pt x="484966" y="1376984"/>
                  </a:moveTo>
                  <a:cubicBezTo>
                    <a:pt x="506553" y="1376984"/>
                    <a:pt x="524052" y="1394484"/>
                    <a:pt x="524052" y="1416071"/>
                  </a:cubicBezTo>
                  <a:cubicBezTo>
                    <a:pt x="524052" y="1437658"/>
                    <a:pt x="506553" y="1455159"/>
                    <a:pt x="484966" y="1455159"/>
                  </a:cubicBezTo>
                  <a:cubicBezTo>
                    <a:pt x="463373" y="1455159"/>
                    <a:pt x="445888" y="1437658"/>
                    <a:pt x="445888" y="1416071"/>
                  </a:cubicBezTo>
                  <a:cubicBezTo>
                    <a:pt x="445888" y="1394484"/>
                    <a:pt x="463373" y="1376984"/>
                    <a:pt x="484966" y="1376984"/>
                  </a:cubicBezTo>
                  <a:close/>
                  <a:moveTo>
                    <a:pt x="390321" y="1376984"/>
                  </a:moveTo>
                  <a:cubicBezTo>
                    <a:pt x="411908" y="1376984"/>
                    <a:pt x="429417" y="1394484"/>
                    <a:pt x="429417" y="1416071"/>
                  </a:cubicBezTo>
                  <a:cubicBezTo>
                    <a:pt x="429417" y="1437658"/>
                    <a:pt x="411908" y="1455159"/>
                    <a:pt x="390321" y="1455159"/>
                  </a:cubicBezTo>
                  <a:cubicBezTo>
                    <a:pt x="368747" y="1455159"/>
                    <a:pt x="351248" y="1437658"/>
                    <a:pt x="351248" y="1416071"/>
                  </a:cubicBezTo>
                  <a:cubicBezTo>
                    <a:pt x="351248" y="1394484"/>
                    <a:pt x="368747" y="1376984"/>
                    <a:pt x="390321" y="1376984"/>
                  </a:cubicBezTo>
                  <a:close/>
                  <a:moveTo>
                    <a:pt x="298052" y="1376984"/>
                  </a:moveTo>
                  <a:cubicBezTo>
                    <a:pt x="319635" y="1376984"/>
                    <a:pt x="337147" y="1394484"/>
                    <a:pt x="337147" y="1416071"/>
                  </a:cubicBezTo>
                  <a:cubicBezTo>
                    <a:pt x="337147" y="1437658"/>
                    <a:pt x="319635" y="1455159"/>
                    <a:pt x="298052" y="1455159"/>
                  </a:cubicBezTo>
                  <a:cubicBezTo>
                    <a:pt x="276463" y="1455159"/>
                    <a:pt x="258963" y="1437658"/>
                    <a:pt x="258963" y="1416071"/>
                  </a:cubicBezTo>
                  <a:cubicBezTo>
                    <a:pt x="258963" y="1394484"/>
                    <a:pt x="276463" y="1376984"/>
                    <a:pt x="298052" y="1376984"/>
                  </a:cubicBezTo>
                  <a:close/>
                  <a:moveTo>
                    <a:pt x="203408" y="1376984"/>
                  </a:moveTo>
                  <a:cubicBezTo>
                    <a:pt x="224998" y="1376984"/>
                    <a:pt x="242497" y="1394484"/>
                    <a:pt x="242497" y="1416071"/>
                  </a:cubicBezTo>
                  <a:cubicBezTo>
                    <a:pt x="242497" y="1437658"/>
                    <a:pt x="224998" y="1455159"/>
                    <a:pt x="203408" y="1455159"/>
                  </a:cubicBezTo>
                  <a:cubicBezTo>
                    <a:pt x="181822" y="1455159"/>
                    <a:pt x="164322" y="1437658"/>
                    <a:pt x="164322" y="1416071"/>
                  </a:cubicBezTo>
                  <a:cubicBezTo>
                    <a:pt x="164322" y="1394484"/>
                    <a:pt x="181822" y="1376984"/>
                    <a:pt x="203408" y="1376984"/>
                  </a:cubicBezTo>
                  <a:close/>
                  <a:moveTo>
                    <a:pt x="3771293" y="1376983"/>
                  </a:moveTo>
                  <a:cubicBezTo>
                    <a:pt x="3792880" y="1376983"/>
                    <a:pt x="3810379" y="1394483"/>
                    <a:pt x="3810379" y="1416070"/>
                  </a:cubicBezTo>
                  <a:cubicBezTo>
                    <a:pt x="3810379" y="1437657"/>
                    <a:pt x="3792880" y="1455158"/>
                    <a:pt x="3771293" y="1455158"/>
                  </a:cubicBezTo>
                  <a:cubicBezTo>
                    <a:pt x="3749705" y="1455158"/>
                    <a:pt x="3732205" y="1437657"/>
                    <a:pt x="3732205" y="1416070"/>
                  </a:cubicBezTo>
                  <a:cubicBezTo>
                    <a:pt x="3732205" y="1394483"/>
                    <a:pt x="3749705" y="1376983"/>
                    <a:pt x="3771293" y="1376983"/>
                  </a:cubicBezTo>
                  <a:close/>
                  <a:moveTo>
                    <a:pt x="3679018" y="1376983"/>
                  </a:moveTo>
                  <a:cubicBezTo>
                    <a:pt x="3700605" y="1376983"/>
                    <a:pt x="3718105" y="1394483"/>
                    <a:pt x="3718105" y="1416070"/>
                  </a:cubicBezTo>
                  <a:cubicBezTo>
                    <a:pt x="3718105" y="1437657"/>
                    <a:pt x="3700605" y="1455158"/>
                    <a:pt x="3679018" y="1455158"/>
                  </a:cubicBezTo>
                  <a:cubicBezTo>
                    <a:pt x="3657431" y="1455158"/>
                    <a:pt x="3639931" y="1437657"/>
                    <a:pt x="3639931" y="1416070"/>
                  </a:cubicBezTo>
                  <a:cubicBezTo>
                    <a:pt x="3639931" y="1394483"/>
                    <a:pt x="3657431" y="1376983"/>
                    <a:pt x="3679018" y="1376983"/>
                  </a:cubicBezTo>
                  <a:close/>
                  <a:moveTo>
                    <a:pt x="3489737" y="1376983"/>
                  </a:moveTo>
                  <a:cubicBezTo>
                    <a:pt x="3511324" y="1376983"/>
                    <a:pt x="3528823" y="1394483"/>
                    <a:pt x="3528823" y="1416070"/>
                  </a:cubicBezTo>
                  <a:cubicBezTo>
                    <a:pt x="3528823" y="1437657"/>
                    <a:pt x="3511324" y="1455158"/>
                    <a:pt x="3489737" y="1455158"/>
                  </a:cubicBezTo>
                  <a:cubicBezTo>
                    <a:pt x="3468149" y="1455158"/>
                    <a:pt x="3450649" y="1437657"/>
                    <a:pt x="3450649" y="1416070"/>
                  </a:cubicBezTo>
                  <a:cubicBezTo>
                    <a:pt x="3450649" y="1394483"/>
                    <a:pt x="3468149" y="1376983"/>
                    <a:pt x="3489737" y="1376983"/>
                  </a:cubicBezTo>
                  <a:close/>
                  <a:moveTo>
                    <a:pt x="3392731" y="1376983"/>
                  </a:moveTo>
                  <a:cubicBezTo>
                    <a:pt x="3414319" y="1376983"/>
                    <a:pt x="3431819" y="1394483"/>
                    <a:pt x="3431819" y="1416070"/>
                  </a:cubicBezTo>
                  <a:cubicBezTo>
                    <a:pt x="3431819" y="1437657"/>
                    <a:pt x="3414319" y="1455158"/>
                    <a:pt x="3392731" y="1455158"/>
                  </a:cubicBezTo>
                  <a:cubicBezTo>
                    <a:pt x="3371144" y="1455158"/>
                    <a:pt x="3353644" y="1437657"/>
                    <a:pt x="3353644" y="1416070"/>
                  </a:cubicBezTo>
                  <a:cubicBezTo>
                    <a:pt x="3353644" y="1394483"/>
                    <a:pt x="3371144" y="1376983"/>
                    <a:pt x="3392731" y="1376983"/>
                  </a:cubicBezTo>
                  <a:close/>
                  <a:moveTo>
                    <a:pt x="3300457" y="1376983"/>
                  </a:moveTo>
                  <a:cubicBezTo>
                    <a:pt x="3322044" y="1376983"/>
                    <a:pt x="3339544" y="1394483"/>
                    <a:pt x="3339544" y="1416070"/>
                  </a:cubicBezTo>
                  <a:cubicBezTo>
                    <a:pt x="3339544" y="1437657"/>
                    <a:pt x="3322044" y="1455158"/>
                    <a:pt x="3300457" y="1455158"/>
                  </a:cubicBezTo>
                  <a:cubicBezTo>
                    <a:pt x="3278869" y="1455158"/>
                    <a:pt x="3261369" y="1437657"/>
                    <a:pt x="3261369" y="1416070"/>
                  </a:cubicBezTo>
                  <a:cubicBezTo>
                    <a:pt x="3261369" y="1394483"/>
                    <a:pt x="3278869" y="1376983"/>
                    <a:pt x="3300457" y="1376983"/>
                  </a:cubicBezTo>
                  <a:close/>
                  <a:moveTo>
                    <a:pt x="3205817" y="1376983"/>
                  </a:moveTo>
                  <a:cubicBezTo>
                    <a:pt x="3227404" y="1376983"/>
                    <a:pt x="3244904" y="1394483"/>
                    <a:pt x="3244904" y="1416070"/>
                  </a:cubicBezTo>
                  <a:cubicBezTo>
                    <a:pt x="3244904" y="1437657"/>
                    <a:pt x="3227404" y="1455158"/>
                    <a:pt x="3205817" y="1455158"/>
                  </a:cubicBezTo>
                  <a:cubicBezTo>
                    <a:pt x="3184229" y="1455158"/>
                    <a:pt x="3166729" y="1437657"/>
                    <a:pt x="3166729" y="1416070"/>
                  </a:cubicBezTo>
                  <a:cubicBezTo>
                    <a:pt x="3166729" y="1394483"/>
                    <a:pt x="3184229" y="1376983"/>
                    <a:pt x="3205817" y="1376983"/>
                  </a:cubicBezTo>
                  <a:close/>
                  <a:moveTo>
                    <a:pt x="3111177" y="1376983"/>
                  </a:moveTo>
                  <a:cubicBezTo>
                    <a:pt x="3132764" y="1376983"/>
                    <a:pt x="3150264" y="1394483"/>
                    <a:pt x="3150264" y="1416070"/>
                  </a:cubicBezTo>
                  <a:cubicBezTo>
                    <a:pt x="3150264" y="1437657"/>
                    <a:pt x="3132764" y="1455158"/>
                    <a:pt x="3111177" y="1455158"/>
                  </a:cubicBezTo>
                  <a:cubicBezTo>
                    <a:pt x="3089589" y="1455158"/>
                    <a:pt x="3072089" y="1437657"/>
                    <a:pt x="3072089" y="1416070"/>
                  </a:cubicBezTo>
                  <a:cubicBezTo>
                    <a:pt x="3072089" y="1394483"/>
                    <a:pt x="3089589" y="1376983"/>
                    <a:pt x="3111177" y="1376983"/>
                  </a:cubicBezTo>
                  <a:close/>
                  <a:moveTo>
                    <a:pt x="3018902" y="1376983"/>
                  </a:moveTo>
                  <a:cubicBezTo>
                    <a:pt x="3040489" y="1376983"/>
                    <a:pt x="3057989" y="1394483"/>
                    <a:pt x="3057989" y="1416070"/>
                  </a:cubicBezTo>
                  <a:cubicBezTo>
                    <a:pt x="3057989" y="1437657"/>
                    <a:pt x="3040489" y="1455158"/>
                    <a:pt x="3018902" y="1455158"/>
                  </a:cubicBezTo>
                  <a:cubicBezTo>
                    <a:pt x="2997315" y="1455158"/>
                    <a:pt x="2979815" y="1437657"/>
                    <a:pt x="2979815" y="1416070"/>
                  </a:cubicBezTo>
                  <a:cubicBezTo>
                    <a:pt x="2979815" y="1394483"/>
                    <a:pt x="2997315" y="1376983"/>
                    <a:pt x="3018902" y="1376983"/>
                  </a:cubicBezTo>
                  <a:close/>
                  <a:moveTo>
                    <a:pt x="2924263" y="1376983"/>
                  </a:moveTo>
                  <a:cubicBezTo>
                    <a:pt x="2945850" y="1376983"/>
                    <a:pt x="2963349" y="1394483"/>
                    <a:pt x="2963349" y="1416070"/>
                  </a:cubicBezTo>
                  <a:cubicBezTo>
                    <a:pt x="2963349" y="1437657"/>
                    <a:pt x="2945850" y="1455158"/>
                    <a:pt x="2924263" y="1455158"/>
                  </a:cubicBezTo>
                  <a:cubicBezTo>
                    <a:pt x="2902675" y="1455158"/>
                    <a:pt x="2885175" y="1437657"/>
                    <a:pt x="2885175" y="1416070"/>
                  </a:cubicBezTo>
                  <a:cubicBezTo>
                    <a:pt x="2885175" y="1394483"/>
                    <a:pt x="2902675" y="1376983"/>
                    <a:pt x="2924263" y="1376983"/>
                  </a:cubicBezTo>
                  <a:close/>
                  <a:moveTo>
                    <a:pt x="2831988" y="1376983"/>
                  </a:moveTo>
                  <a:cubicBezTo>
                    <a:pt x="2853575" y="1376983"/>
                    <a:pt x="2871075" y="1394483"/>
                    <a:pt x="2871075" y="1416070"/>
                  </a:cubicBezTo>
                  <a:cubicBezTo>
                    <a:pt x="2871075" y="1437657"/>
                    <a:pt x="2853575" y="1455158"/>
                    <a:pt x="2831988" y="1455158"/>
                  </a:cubicBezTo>
                  <a:cubicBezTo>
                    <a:pt x="2810401" y="1455158"/>
                    <a:pt x="2792901" y="1437657"/>
                    <a:pt x="2792901" y="1416070"/>
                  </a:cubicBezTo>
                  <a:cubicBezTo>
                    <a:pt x="2792901" y="1394483"/>
                    <a:pt x="2810401" y="1376983"/>
                    <a:pt x="2831988" y="1376983"/>
                  </a:cubicBezTo>
                  <a:close/>
                  <a:moveTo>
                    <a:pt x="2550437" y="1376983"/>
                  </a:moveTo>
                  <a:cubicBezTo>
                    <a:pt x="2572024" y="1376983"/>
                    <a:pt x="2589523" y="1394483"/>
                    <a:pt x="2589523" y="1416070"/>
                  </a:cubicBezTo>
                  <a:cubicBezTo>
                    <a:pt x="2589523" y="1437657"/>
                    <a:pt x="2572024" y="1455158"/>
                    <a:pt x="2550437" y="1455158"/>
                  </a:cubicBezTo>
                  <a:cubicBezTo>
                    <a:pt x="2528850" y="1455158"/>
                    <a:pt x="2511354" y="1437657"/>
                    <a:pt x="2511354" y="1416070"/>
                  </a:cubicBezTo>
                  <a:cubicBezTo>
                    <a:pt x="2511354" y="1394483"/>
                    <a:pt x="2528850" y="1376983"/>
                    <a:pt x="2550437" y="1376983"/>
                  </a:cubicBezTo>
                  <a:close/>
                  <a:moveTo>
                    <a:pt x="2458167" y="1376983"/>
                  </a:moveTo>
                  <a:cubicBezTo>
                    <a:pt x="2479755" y="1376983"/>
                    <a:pt x="2497254" y="1394483"/>
                    <a:pt x="2497254" y="1416070"/>
                  </a:cubicBezTo>
                  <a:cubicBezTo>
                    <a:pt x="2497254" y="1437657"/>
                    <a:pt x="2479755" y="1455158"/>
                    <a:pt x="2458167" y="1455158"/>
                  </a:cubicBezTo>
                  <a:cubicBezTo>
                    <a:pt x="2436585" y="1455158"/>
                    <a:pt x="2419083" y="1437657"/>
                    <a:pt x="2419083" y="1416070"/>
                  </a:cubicBezTo>
                  <a:cubicBezTo>
                    <a:pt x="2419083" y="1394483"/>
                    <a:pt x="2436585" y="1376983"/>
                    <a:pt x="2458167" y="1376983"/>
                  </a:cubicBezTo>
                  <a:close/>
                  <a:moveTo>
                    <a:pt x="2363529" y="1376983"/>
                  </a:moveTo>
                  <a:cubicBezTo>
                    <a:pt x="2385119" y="1376983"/>
                    <a:pt x="2402614" y="1394483"/>
                    <a:pt x="2402614" y="1416070"/>
                  </a:cubicBezTo>
                  <a:cubicBezTo>
                    <a:pt x="2402614" y="1437657"/>
                    <a:pt x="2385119" y="1455158"/>
                    <a:pt x="2363529" y="1455158"/>
                  </a:cubicBezTo>
                  <a:cubicBezTo>
                    <a:pt x="2341945" y="1455158"/>
                    <a:pt x="2324442" y="1437657"/>
                    <a:pt x="2324442" y="1416070"/>
                  </a:cubicBezTo>
                  <a:cubicBezTo>
                    <a:pt x="2324442" y="1394483"/>
                    <a:pt x="2341945" y="1376983"/>
                    <a:pt x="2363529" y="1376983"/>
                  </a:cubicBezTo>
                  <a:close/>
                  <a:moveTo>
                    <a:pt x="1142717" y="1376983"/>
                  </a:moveTo>
                  <a:cubicBezTo>
                    <a:pt x="1164308" y="1376983"/>
                    <a:pt x="1181806" y="1394483"/>
                    <a:pt x="1181806" y="1416070"/>
                  </a:cubicBezTo>
                  <a:cubicBezTo>
                    <a:pt x="1181806" y="1437657"/>
                    <a:pt x="1164308" y="1455158"/>
                    <a:pt x="1142717" y="1455158"/>
                  </a:cubicBezTo>
                  <a:cubicBezTo>
                    <a:pt x="1121126" y="1455158"/>
                    <a:pt x="1103622" y="1437657"/>
                    <a:pt x="1103622" y="1416070"/>
                  </a:cubicBezTo>
                  <a:cubicBezTo>
                    <a:pt x="1103622" y="1394483"/>
                    <a:pt x="1121126" y="1376983"/>
                    <a:pt x="1142717" y="1376983"/>
                  </a:cubicBezTo>
                  <a:close/>
                  <a:moveTo>
                    <a:pt x="1045699" y="1376983"/>
                  </a:moveTo>
                  <a:cubicBezTo>
                    <a:pt x="1067284" y="1376983"/>
                    <a:pt x="1084788" y="1394483"/>
                    <a:pt x="1084788" y="1416070"/>
                  </a:cubicBezTo>
                  <a:cubicBezTo>
                    <a:pt x="1084788" y="1437657"/>
                    <a:pt x="1067284" y="1455158"/>
                    <a:pt x="1045699" y="1455158"/>
                  </a:cubicBezTo>
                  <a:cubicBezTo>
                    <a:pt x="1024114" y="1455158"/>
                    <a:pt x="1006615" y="1437657"/>
                    <a:pt x="1006615" y="1416070"/>
                  </a:cubicBezTo>
                  <a:cubicBezTo>
                    <a:pt x="1006615" y="1394483"/>
                    <a:pt x="1024114" y="1376983"/>
                    <a:pt x="1045699" y="1376983"/>
                  </a:cubicBezTo>
                  <a:close/>
                  <a:moveTo>
                    <a:pt x="951068" y="1376983"/>
                  </a:moveTo>
                  <a:cubicBezTo>
                    <a:pt x="972653" y="1376983"/>
                    <a:pt x="990151" y="1394483"/>
                    <a:pt x="990151" y="1416070"/>
                  </a:cubicBezTo>
                  <a:cubicBezTo>
                    <a:pt x="990151" y="1437657"/>
                    <a:pt x="972653" y="1455158"/>
                    <a:pt x="951068" y="1455158"/>
                  </a:cubicBezTo>
                  <a:cubicBezTo>
                    <a:pt x="929482" y="1455158"/>
                    <a:pt x="911984" y="1437657"/>
                    <a:pt x="911984" y="1416070"/>
                  </a:cubicBezTo>
                  <a:cubicBezTo>
                    <a:pt x="911984" y="1394483"/>
                    <a:pt x="929482" y="1376983"/>
                    <a:pt x="951068" y="1376983"/>
                  </a:cubicBezTo>
                  <a:close/>
                  <a:moveTo>
                    <a:pt x="856438" y="1376983"/>
                  </a:moveTo>
                  <a:cubicBezTo>
                    <a:pt x="878022" y="1376983"/>
                    <a:pt x="895520" y="1394483"/>
                    <a:pt x="895520" y="1416070"/>
                  </a:cubicBezTo>
                  <a:cubicBezTo>
                    <a:pt x="895520" y="1437657"/>
                    <a:pt x="878022" y="1455158"/>
                    <a:pt x="856438" y="1455158"/>
                  </a:cubicBezTo>
                  <a:cubicBezTo>
                    <a:pt x="834853" y="1455158"/>
                    <a:pt x="817355" y="1437657"/>
                    <a:pt x="817355" y="1416070"/>
                  </a:cubicBezTo>
                  <a:cubicBezTo>
                    <a:pt x="817355" y="1394483"/>
                    <a:pt x="834853" y="1376983"/>
                    <a:pt x="856438" y="1376983"/>
                  </a:cubicBezTo>
                  <a:close/>
                  <a:moveTo>
                    <a:pt x="764173" y="1376983"/>
                  </a:moveTo>
                  <a:cubicBezTo>
                    <a:pt x="785757" y="1376983"/>
                    <a:pt x="803257" y="1394483"/>
                    <a:pt x="803257" y="1416070"/>
                  </a:cubicBezTo>
                  <a:cubicBezTo>
                    <a:pt x="803257" y="1437657"/>
                    <a:pt x="785757" y="1455158"/>
                    <a:pt x="764173" y="1455158"/>
                  </a:cubicBezTo>
                  <a:cubicBezTo>
                    <a:pt x="742582" y="1455158"/>
                    <a:pt x="725090" y="1437657"/>
                    <a:pt x="725090" y="1416070"/>
                  </a:cubicBezTo>
                  <a:cubicBezTo>
                    <a:pt x="725090" y="1394483"/>
                    <a:pt x="742582" y="1376983"/>
                    <a:pt x="764173" y="1376983"/>
                  </a:cubicBezTo>
                  <a:close/>
                  <a:moveTo>
                    <a:pt x="669534" y="1376983"/>
                  </a:moveTo>
                  <a:cubicBezTo>
                    <a:pt x="691128" y="1376983"/>
                    <a:pt x="708624" y="1394483"/>
                    <a:pt x="708624" y="1416070"/>
                  </a:cubicBezTo>
                  <a:cubicBezTo>
                    <a:pt x="708624" y="1437657"/>
                    <a:pt x="691128" y="1455158"/>
                    <a:pt x="669534" y="1455158"/>
                  </a:cubicBezTo>
                  <a:cubicBezTo>
                    <a:pt x="647952" y="1455158"/>
                    <a:pt x="630448" y="1437657"/>
                    <a:pt x="630448" y="1416070"/>
                  </a:cubicBezTo>
                  <a:cubicBezTo>
                    <a:pt x="630448" y="1394483"/>
                    <a:pt x="647952" y="1376983"/>
                    <a:pt x="669534" y="1376983"/>
                  </a:cubicBezTo>
                  <a:close/>
                  <a:moveTo>
                    <a:pt x="577250" y="1376983"/>
                  </a:moveTo>
                  <a:cubicBezTo>
                    <a:pt x="598842" y="1376983"/>
                    <a:pt x="616345" y="1394483"/>
                    <a:pt x="616345" y="1416070"/>
                  </a:cubicBezTo>
                  <a:cubicBezTo>
                    <a:pt x="616345" y="1437657"/>
                    <a:pt x="598842" y="1455158"/>
                    <a:pt x="577250" y="1455158"/>
                  </a:cubicBezTo>
                  <a:cubicBezTo>
                    <a:pt x="555659" y="1455158"/>
                    <a:pt x="538155" y="1437657"/>
                    <a:pt x="538155" y="1416070"/>
                  </a:cubicBezTo>
                  <a:cubicBezTo>
                    <a:pt x="538155" y="1394483"/>
                    <a:pt x="555659" y="1376983"/>
                    <a:pt x="577250" y="1376983"/>
                  </a:cubicBezTo>
                  <a:close/>
                  <a:moveTo>
                    <a:pt x="3679017" y="1291809"/>
                  </a:moveTo>
                  <a:cubicBezTo>
                    <a:pt x="3700604" y="1291809"/>
                    <a:pt x="3718103" y="1309309"/>
                    <a:pt x="3718103" y="1330896"/>
                  </a:cubicBezTo>
                  <a:cubicBezTo>
                    <a:pt x="3718103" y="1352483"/>
                    <a:pt x="3700604" y="1369983"/>
                    <a:pt x="3679017" y="1369983"/>
                  </a:cubicBezTo>
                  <a:cubicBezTo>
                    <a:pt x="3657429" y="1369983"/>
                    <a:pt x="3639929" y="1352483"/>
                    <a:pt x="3639929" y="1330896"/>
                  </a:cubicBezTo>
                  <a:cubicBezTo>
                    <a:pt x="3639929" y="1309309"/>
                    <a:pt x="3657429" y="1291809"/>
                    <a:pt x="3679017" y="1291809"/>
                  </a:cubicBezTo>
                  <a:close/>
                  <a:moveTo>
                    <a:pt x="3584377" y="1291809"/>
                  </a:moveTo>
                  <a:cubicBezTo>
                    <a:pt x="3605964" y="1291809"/>
                    <a:pt x="3623463" y="1309309"/>
                    <a:pt x="3623463" y="1330896"/>
                  </a:cubicBezTo>
                  <a:cubicBezTo>
                    <a:pt x="3623463" y="1352483"/>
                    <a:pt x="3605964" y="1369983"/>
                    <a:pt x="3584377" y="1369983"/>
                  </a:cubicBezTo>
                  <a:cubicBezTo>
                    <a:pt x="3562789" y="1369983"/>
                    <a:pt x="3545289" y="1352483"/>
                    <a:pt x="3545289" y="1330896"/>
                  </a:cubicBezTo>
                  <a:cubicBezTo>
                    <a:pt x="3545289" y="1309309"/>
                    <a:pt x="3562789" y="1291809"/>
                    <a:pt x="3584377" y="1291809"/>
                  </a:cubicBezTo>
                  <a:close/>
                  <a:moveTo>
                    <a:pt x="3489737" y="1291809"/>
                  </a:moveTo>
                  <a:cubicBezTo>
                    <a:pt x="3511324" y="1291809"/>
                    <a:pt x="3528823" y="1309309"/>
                    <a:pt x="3528823" y="1330896"/>
                  </a:cubicBezTo>
                  <a:cubicBezTo>
                    <a:pt x="3528823" y="1352483"/>
                    <a:pt x="3511324" y="1369983"/>
                    <a:pt x="3489737" y="1369983"/>
                  </a:cubicBezTo>
                  <a:cubicBezTo>
                    <a:pt x="3468149" y="1369983"/>
                    <a:pt x="3450649" y="1352483"/>
                    <a:pt x="3450649" y="1330896"/>
                  </a:cubicBezTo>
                  <a:cubicBezTo>
                    <a:pt x="3450649" y="1309309"/>
                    <a:pt x="3468149" y="1291809"/>
                    <a:pt x="3489737" y="1291809"/>
                  </a:cubicBezTo>
                  <a:close/>
                  <a:moveTo>
                    <a:pt x="3392731" y="1291809"/>
                  </a:moveTo>
                  <a:cubicBezTo>
                    <a:pt x="3414319" y="1291809"/>
                    <a:pt x="3431819" y="1309309"/>
                    <a:pt x="3431819" y="1330896"/>
                  </a:cubicBezTo>
                  <a:cubicBezTo>
                    <a:pt x="3431819" y="1352483"/>
                    <a:pt x="3414319" y="1369983"/>
                    <a:pt x="3392731" y="1369983"/>
                  </a:cubicBezTo>
                  <a:cubicBezTo>
                    <a:pt x="3371144" y="1369983"/>
                    <a:pt x="3353644" y="1352483"/>
                    <a:pt x="3353644" y="1330896"/>
                  </a:cubicBezTo>
                  <a:cubicBezTo>
                    <a:pt x="3353644" y="1309309"/>
                    <a:pt x="3371144" y="1291809"/>
                    <a:pt x="3392731" y="1291809"/>
                  </a:cubicBezTo>
                  <a:close/>
                  <a:moveTo>
                    <a:pt x="3300457" y="1291809"/>
                  </a:moveTo>
                  <a:cubicBezTo>
                    <a:pt x="3322044" y="1291809"/>
                    <a:pt x="3339544" y="1309309"/>
                    <a:pt x="3339544" y="1330896"/>
                  </a:cubicBezTo>
                  <a:cubicBezTo>
                    <a:pt x="3339544" y="1352483"/>
                    <a:pt x="3322044" y="1369983"/>
                    <a:pt x="3300457" y="1369983"/>
                  </a:cubicBezTo>
                  <a:cubicBezTo>
                    <a:pt x="3278869" y="1369983"/>
                    <a:pt x="3261369" y="1352483"/>
                    <a:pt x="3261369" y="1330896"/>
                  </a:cubicBezTo>
                  <a:cubicBezTo>
                    <a:pt x="3261369" y="1309309"/>
                    <a:pt x="3278869" y="1291809"/>
                    <a:pt x="3300457" y="1291809"/>
                  </a:cubicBezTo>
                  <a:close/>
                  <a:moveTo>
                    <a:pt x="3111177" y="1291809"/>
                  </a:moveTo>
                  <a:cubicBezTo>
                    <a:pt x="3132764" y="1291809"/>
                    <a:pt x="3150264" y="1309309"/>
                    <a:pt x="3150264" y="1330896"/>
                  </a:cubicBezTo>
                  <a:cubicBezTo>
                    <a:pt x="3150264" y="1352483"/>
                    <a:pt x="3132764" y="1369983"/>
                    <a:pt x="3111177" y="1369983"/>
                  </a:cubicBezTo>
                  <a:cubicBezTo>
                    <a:pt x="3089589" y="1369983"/>
                    <a:pt x="3072089" y="1352483"/>
                    <a:pt x="3072089" y="1330896"/>
                  </a:cubicBezTo>
                  <a:cubicBezTo>
                    <a:pt x="3072089" y="1309309"/>
                    <a:pt x="3089589" y="1291809"/>
                    <a:pt x="3111177" y="1291809"/>
                  </a:cubicBezTo>
                  <a:close/>
                  <a:moveTo>
                    <a:pt x="3018902" y="1291809"/>
                  </a:moveTo>
                  <a:cubicBezTo>
                    <a:pt x="3040489" y="1291809"/>
                    <a:pt x="3057989" y="1309309"/>
                    <a:pt x="3057989" y="1330896"/>
                  </a:cubicBezTo>
                  <a:cubicBezTo>
                    <a:pt x="3057989" y="1352483"/>
                    <a:pt x="3040489" y="1369983"/>
                    <a:pt x="3018902" y="1369983"/>
                  </a:cubicBezTo>
                  <a:cubicBezTo>
                    <a:pt x="2997315" y="1369983"/>
                    <a:pt x="2979815" y="1352483"/>
                    <a:pt x="2979815" y="1330896"/>
                  </a:cubicBezTo>
                  <a:cubicBezTo>
                    <a:pt x="2979815" y="1309309"/>
                    <a:pt x="2997315" y="1291809"/>
                    <a:pt x="3018902" y="1291809"/>
                  </a:cubicBezTo>
                  <a:close/>
                  <a:moveTo>
                    <a:pt x="2924263" y="1291809"/>
                  </a:moveTo>
                  <a:cubicBezTo>
                    <a:pt x="2945850" y="1291809"/>
                    <a:pt x="2963349" y="1309309"/>
                    <a:pt x="2963349" y="1330896"/>
                  </a:cubicBezTo>
                  <a:cubicBezTo>
                    <a:pt x="2963349" y="1352483"/>
                    <a:pt x="2945850" y="1369983"/>
                    <a:pt x="2924263" y="1369983"/>
                  </a:cubicBezTo>
                  <a:cubicBezTo>
                    <a:pt x="2902675" y="1369983"/>
                    <a:pt x="2885175" y="1352483"/>
                    <a:pt x="2885175" y="1330896"/>
                  </a:cubicBezTo>
                  <a:cubicBezTo>
                    <a:pt x="2885175" y="1309309"/>
                    <a:pt x="2902675" y="1291809"/>
                    <a:pt x="2924263" y="1291809"/>
                  </a:cubicBezTo>
                  <a:close/>
                  <a:moveTo>
                    <a:pt x="2831988" y="1291809"/>
                  </a:moveTo>
                  <a:cubicBezTo>
                    <a:pt x="2853575" y="1291809"/>
                    <a:pt x="2871075" y="1309309"/>
                    <a:pt x="2871075" y="1330896"/>
                  </a:cubicBezTo>
                  <a:cubicBezTo>
                    <a:pt x="2871075" y="1352483"/>
                    <a:pt x="2853575" y="1369983"/>
                    <a:pt x="2831988" y="1369983"/>
                  </a:cubicBezTo>
                  <a:cubicBezTo>
                    <a:pt x="2810401" y="1369983"/>
                    <a:pt x="2792901" y="1352483"/>
                    <a:pt x="2792901" y="1330896"/>
                  </a:cubicBezTo>
                  <a:cubicBezTo>
                    <a:pt x="2792901" y="1309309"/>
                    <a:pt x="2810401" y="1291809"/>
                    <a:pt x="2831988" y="1291809"/>
                  </a:cubicBezTo>
                  <a:close/>
                  <a:moveTo>
                    <a:pt x="2737365" y="1291809"/>
                  </a:moveTo>
                  <a:cubicBezTo>
                    <a:pt x="2758935" y="1291809"/>
                    <a:pt x="2776435" y="1309309"/>
                    <a:pt x="2776435" y="1330896"/>
                  </a:cubicBezTo>
                  <a:cubicBezTo>
                    <a:pt x="2776435" y="1352483"/>
                    <a:pt x="2758935" y="1369983"/>
                    <a:pt x="2737365" y="1369983"/>
                  </a:cubicBezTo>
                  <a:cubicBezTo>
                    <a:pt x="2715773" y="1369983"/>
                    <a:pt x="2698269" y="1352483"/>
                    <a:pt x="2698269" y="1330896"/>
                  </a:cubicBezTo>
                  <a:cubicBezTo>
                    <a:pt x="2698269" y="1309309"/>
                    <a:pt x="2715773" y="1291809"/>
                    <a:pt x="2737365" y="1291809"/>
                  </a:cubicBezTo>
                  <a:close/>
                  <a:moveTo>
                    <a:pt x="2645074" y="1291809"/>
                  </a:moveTo>
                  <a:cubicBezTo>
                    <a:pt x="2666662" y="1291809"/>
                    <a:pt x="2684165" y="1309309"/>
                    <a:pt x="2684165" y="1330896"/>
                  </a:cubicBezTo>
                  <a:cubicBezTo>
                    <a:pt x="2684165" y="1352483"/>
                    <a:pt x="2666662" y="1369983"/>
                    <a:pt x="2645074" y="1369983"/>
                  </a:cubicBezTo>
                  <a:cubicBezTo>
                    <a:pt x="2623488" y="1369983"/>
                    <a:pt x="2605987" y="1352483"/>
                    <a:pt x="2605987" y="1330896"/>
                  </a:cubicBezTo>
                  <a:cubicBezTo>
                    <a:pt x="2605987" y="1309309"/>
                    <a:pt x="2623488" y="1291809"/>
                    <a:pt x="2645074" y="1291809"/>
                  </a:cubicBezTo>
                  <a:close/>
                  <a:moveTo>
                    <a:pt x="2550437" y="1291809"/>
                  </a:moveTo>
                  <a:cubicBezTo>
                    <a:pt x="2572024" y="1291809"/>
                    <a:pt x="2589523" y="1309309"/>
                    <a:pt x="2589523" y="1330896"/>
                  </a:cubicBezTo>
                  <a:cubicBezTo>
                    <a:pt x="2589523" y="1352483"/>
                    <a:pt x="2572024" y="1369983"/>
                    <a:pt x="2550437" y="1369983"/>
                  </a:cubicBezTo>
                  <a:cubicBezTo>
                    <a:pt x="2528850" y="1369983"/>
                    <a:pt x="2511355" y="1352483"/>
                    <a:pt x="2511355" y="1330896"/>
                  </a:cubicBezTo>
                  <a:cubicBezTo>
                    <a:pt x="2511355" y="1309309"/>
                    <a:pt x="2528850" y="1291809"/>
                    <a:pt x="2550437" y="1291809"/>
                  </a:cubicBezTo>
                  <a:close/>
                  <a:moveTo>
                    <a:pt x="1232635" y="1291809"/>
                  </a:moveTo>
                  <a:cubicBezTo>
                    <a:pt x="1254221" y="1291809"/>
                    <a:pt x="1271713" y="1309309"/>
                    <a:pt x="1271713" y="1330896"/>
                  </a:cubicBezTo>
                  <a:cubicBezTo>
                    <a:pt x="1271713" y="1352483"/>
                    <a:pt x="1254221" y="1369983"/>
                    <a:pt x="1232635" y="1369983"/>
                  </a:cubicBezTo>
                  <a:cubicBezTo>
                    <a:pt x="1211043" y="1369983"/>
                    <a:pt x="1193549" y="1352483"/>
                    <a:pt x="1193549" y="1330896"/>
                  </a:cubicBezTo>
                  <a:cubicBezTo>
                    <a:pt x="1193549" y="1309309"/>
                    <a:pt x="1211043" y="1291809"/>
                    <a:pt x="1232635" y="1291809"/>
                  </a:cubicBezTo>
                  <a:close/>
                  <a:moveTo>
                    <a:pt x="1142722" y="1291809"/>
                  </a:moveTo>
                  <a:cubicBezTo>
                    <a:pt x="1164313" y="1291809"/>
                    <a:pt x="1181812" y="1309309"/>
                    <a:pt x="1181812" y="1330896"/>
                  </a:cubicBezTo>
                  <a:cubicBezTo>
                    <a:pt x="1181812" y="1352483"/>
                    <a:pt x="1164313" y="1369983"/>
                    <a:pt x="1142722" y="1369983"/>
                  </a:cubicBezTo>
                  <a:cubicBezTo>
                    <a:pt x="1121129" y="1369983"/>
                    <a:pt x="1103625" y="1352483"/>
                    <a:pt x="1103625" y="1330896"/>
                  </a:cubicBezTo>
                  <a:cubicBezTo>
                    <a:pt x="1103625" y="1309309"/>
                    <a:pt x="1121129" y="1291809"/>
                    <a:pt x="1142722" y="1291809"/>
                  </a:cubicBezTo>
                  <a:close/>
                  <a:moveTo>
                    <a:pt x="1045702" y="1291809"/>
                  </a:moveTo>
                  <a:cubicBezTo>
                    <a:pt x="1067287" y="1291809"/>
                    <a:pt x="1084791" y="1309309"/>
                    <a:pt x="1084791" y="1330896"/>
                  </a:cubicBezTo>
                  <a:cubicBezTo>
                    <a:pt x="1084791" y="1352483"/>
                    <a:pt x="1067287" y="1369983"/>
                    <a:pt x="1045702" y="1369983"/>
                  </a:cubicBezTo>
                  <a:cubicBezTo>
                    <a:pt x="1024117" y="1369983"/>
                    <a:pt x="1006620" y="1352483"/>
                    <a:pt x="1006620" y="1330896"/>
                  </a:cubicBezTo>
                  <a:cubicBezTo>
                    <a:pt x="1006620" y="1309309"/>
                    <a:pt x="1024117" y="1291809"/>
                    <a:pt x="1045702" y="1291809"/>
                  </a:cubicBezTo>
                  <a:close/>
                  <a:moveTo>
                    <a:pt x="951072" y="1291809"/>
                  </a:moveTo>
                  <a:cubicBezTo>
                    <a:pt x="972656" y="1291809"/>
                    <a:pt x="990154" y="1309309"/>
                    <a:pt x="990154" y="1330896"/>
                  </a:cubicBezTo>
                  <a:cubicBezTo>
                    <a:pt x="990154" y="1352483"/>
                    <a:pt x="972656" y="1369983"/>
                    <a:pt x="951072" y="1369983"/>
                  </a:cubicBezTo>
                  <a:cubicBezTo>
                    <a:pt x="929487" y="1369983"/>
                    <a:pt x="911989" y="1352483"/>
                    <a:pt x="911989" y="1330896"/>
                  </a:cubicBezTo>
                  <a:cubicBezTo>
                    <a:pt x="911989" y="1309309"/>
                    <a:pt x="929487" y="1291809"/>
                    <a:pt x="951072" y="1291809"/>
                  </a:cubicBezTo>
                  <a:close/>
                  <a:moveTo>
                    <a:pt x="856442" y="1291809"/>
                  </a:moveTo>
                  <a:cubicBezTo>
                    <a:pt x="878027" y="1291809"/>
                    <a:pt x="895525" y="1309309"/>
                    <a:pt x="895525" y="1330896"/>
                  </a:cubicBezTo>
                  <a:cubicBezTo>
                    <a:pt x="895525" y="1352483"/>
                    <a:pt x="878027" y="1369983"/>
                    <a:pt x="856442" y="1369983"/>
                  </a:cubicBezTo>
                  <a:cubicBezTo>
                    <a:pt x="834858" y="1369983"/>
                    <a:pt x="817359" y="1352483"/>
                    <a:pt x="817359" y="1330896"/>
                  </a:cubicBezTo>
                  <a:cubicBezTo>
                    <a:pt x="817359" y="1309309"/>
                    <a:pt x="834858" y="1291809"/>
                    <a:pt x="856442" y="1291809"/>
                  </a:cubicBezTo>
                  <a:close/>
                  <a:moveTo>
                    <a:pt x="764178" y="1291809"/>
                  </a:moveTo>
                  <a:cubicBezTo>
                    <a:pt x="785763" y="1291809"/>
                    <a:pt x="803262" y="1309309"/>
                    <a:pt x="803262" y="1330896"/>
                  </a:cubicBezTo>
                  <a:cubicBezTo>
                    <a:pt x="803262" y="1352483"/>
                    <a:pt x="785763" y="1369983"/>
                    <a:pt x="764178" y="1369983"/>
                  </a:cubicBezTo>
                  <a:cubicBezTo>
                    <a:pt x="742587" y="1369983"/>
                    <a:pt x="725094" y="1352483"/>
                    <a:pt x="725094" y="1330896"/>
                  </a:cubicBezTo>
                  <a:cubicBezTo>
                    <a:pt x="725094" y="1309309"/>
                    <a:pt x="742587" y="1291809"/>
                    <a:pt x="764178" y="1291809"/>
                  </a:cubicBezTo>
                  <a:close/>
                  <a:moveTo>
                    <a:pt x="669534" y="1291809"/>
                  </a:moveTo>
                  <a:cubicBezTo>
                    <a:pt x="691132" y="1291809"/>
                    <a:pt x="708631" y="1309309"/>
                    <a:pt x="708631" y="1330896"/>
                  </a:cubicBezTo>
                  <a:cubicBezTo>
                    <a:pt x="708631" y="1352483"/>
                    <a:pt x="691132" y="1369983"/>
                    <a:pt x="669534" y="1369983"/>
                  </a:cubicBezTo>
                  <a:cubicBezTo>
                    <a:pt x="647957" y="1369983"/>
                    <a:pt x="630454" y="1352483"/>
                    <a:pt x="630454" y="1330896"/>
                  </a:cubicBezTo>
                  <a:cubicBezTo>
                    <a:pt x="630454" y="1309309"/>
                    <a:pt x="647957" y="1291809"/>
                    <a:pt x="669534" y="1291809"/>
                  </a:cubicBezTo>
                  <a:close/>
                  <a:moveTo>
                    <a:pt x="577255" y="1291809"/>
                  </a:moveTo>
                  <a:cubicBezTo>
                    <a:pt x="598847" y="1291809"/>
                    <a:pt x="616350" y="1309309"/>
                    <a:pt x="616350" y="1330896"/>
                  </a:cubicBezTo>
                  <a:cubicBezTo>
                    <a:pt x="616350" y="1352483"/>
                    <a:pt x="598847" y="1369983"/>
                    <a:pt x="577255" y="1369983"/>
                  </a:cubicBezTo>
                  <a:cubicBezTo>
                    <a:pt x="555663" y="1369983"/>
                    <a:pt x="538159" y="1352483"/>
                    <a:pt x="538159" y="1330896"/>
                  </a:cubicBezTo>
                  <a:cubicBezTo>
                    <a:pt x="538159" y="1309309"/>
                    <a:pt x="555663" y="1291809"/>
                    <a:pt x="577255" y="1291809"/>
                  </a:cubicBezTo>
                  <a:close/>
                  <a:moveTo>
                    <a:pt x="484969" y="1291809"/>
                  </a:moveTo>
                  <a:cubicBezTo>
                    <a:pt x="506557" y="1291809"/>
                    <a:pt x="524056" y="1309309"/>
                    <a:pt x="524056" y="1330896"/>
                  </a:cubicBezTo>
                  <a:cubicBezTo>
                    <a:pt x="524056" y="1352483"/>
                    <a:pt x="506557" y="1369983"/>
                    <a:pt x="484969" y="1369983"/>
                  </a:cubicBezTo>
                  <a:cubicBezTo>
                    <a:pt x="463376" y="1369983"/>
                    <a:pt x="445892" y="1352483"/>
                    <a:pt x="445892" y="1330896"/>
                  </a:cubicBezTo>
                  <a:cubicBezTo>
                    <a:pt x="445892" y="1309309"/>
                    <a:pt x="463376" y="1291809"/>
                    <a:pt x="484969" y="1291809"/>
                  </a:cubicBezTo>
                  <a:close/>
                  <a:moveTo>
                    <a:pt x="390321" y="1291809"/>
                  </a:moveTo>
                  <a:cubicBezTo>
                    <a:pt x="411908" y="1291809"/>
                    <a:pt x="429422" y="1309309"/>
                    <a:pt x="429422" y="1330896"/>
                  </a:cubicBezTo>
                  <a:cubicBezTo>
                    <a:pt x="429422" y="1352483"/>
                    <a:pt x="411908" y="1369983"/>
                    <a:pt x="390321" y="1369983"/>
                  </a:cubicBezTo>
                  <a:cubicBezTo>
                    <a:pt x="368752" y="1369983"/>
                    <a:pt x="351252" y="1352483"/>
                    <a:pt x="351252" y="1330896"/>
                  </a:cubicBezTo>
                  <a:cubicBezTo>
                    <a:pt x="351252" y="1309309"/>
                    <a:pt x="368752" y="1291809"/>
                    <a:pt x="390321" y="1291809"/>
                  </a:cubicBezTo>
                  <a:close/>
                  <a:moveTo>
                    <a:pt x="298056" y="1291809"/>
                  </a:moveTo>
                  <a:cubicBezTo>
                    <a:pt x="319638" y="1291809"/>
                    <a:pt x="337151" y="1309309"/>
                    <a:pt x="337151" y="1330896"/>
                  </a:cubicBezTo>
                  <a:cubicBezTo>
                    <a:pt x="337151" y="1352483"/>
                    <a:pt x="319638" y="1369983"/>
                    <a:pt x="298056" y="1369983"/>
                  </a:cubicBezTo>
                  <a:cubicBezTo>
                    <a:pt x="276465" y="1369983"/>
                    <a:pt x="258966" y="1352483"/>
                    <a:pt x="258966" y="1330896"/>
                  </a:cubicBezTo>
                  <a:cubicBezTo>
                    <a:pt x="258966" y="1309309"/>
                    <a:pt x="276465" y="1291809"/>
                    <a:pt x="298056" y="1291809"/>
                  </a:cubicBezTo>
                  <a:close/>
                  <a:moveTo>
                    <a:pt x="203411" y="1291809"/>
                  </a:moveTo>
                  <a:cubicBezTo>
                    <a:pt x="225000" y="1291809"/>
                    <a:pt x="242500" y="1309309"/>
                    <a:pt x="242500" y="1330896"/>
                  </a:cubicBezTo>
                  <a:cubicBezTo>
                    <a:pt x="242500" y="1352483"/>
                    <a:pt x="225000" y="1369983"/>
                    <a:pt x="203411" y="1369983"/>
                  </a:cubicBezTo>
                  <a:cubicBezTo>
                    <a:pt x="181825" y="1369983"/>
                    <a:pt x="164325" y="1352483"/>
                    <a:pt x="164325" y="1330896"/>
                  </a:cubicBezTo>
                  <a:cubicBezTo>
                    <a:pt x="164325" y="1309309"/>
                    <a:pt x="181825" y="1291809"/>
                    <a:pt x="203411" y="1291809"/>
                  </a:cubicBezTo>
                  <a:close/>
                  <a:moveTo>
                    <a:pt x="111138" y="1291809"/>
                  </a:moveTo>
                  <a:cubicBezTo>
                    <a:pt x="132725" y="1291809"/>
                    <a:pt x="150225" y="1309309"/>
                    <a:pt x="150225" y="1330896"/>
                  </a:cubicBezTo>
                  <a:cubicBezTo>
                    <a:pt x="150225" y="1352483"/>
                    <a:pt x="132725" y="1369983"/>
                    <a:pt x="111138" y="1369983"/>
                  </a:cubicBezTo>
                  <a:cubicBezTo>
                    <a:pt x="89550" y="1369983"/>
                    <a:pt x="72052" y="1352483"/>
                    <a:pt x="72052" y="1330896"/>
                  </a:cubicBezTo>
                  <a:cubicBezTo>
                    <a:pt x="72052" y="1309309"/>
                    <a:pt x="89550" y="1291809"/>
                    <a:pt x="111138" y="1291809"/>
                  </a:cubicBezTo>
                  <a:close/>
                  <a:moveTo>
                    <a:pt x="2458171" y="1291807"/>
                  </a:moveTo>
                  <a:cubicBezTo>
                    <a:pt x="2479759" y="1291807"/>
                    <a:pt x="2497259" y="1309307"/>
                    <a:pt x="2497259" y="1330894"/>
                  </a:cubicBezTo>
                  <a:cubicBezTo>
                    <a:pt x="2497259" y="1352482"/>
                    <a:pt x="2479759" y="1369981"/>
                    <a:pt x="2458171" y="1369981"/>
                  </a:cubicBezTo>
                  <a:cubicBezTo>
                    <a:pt x="2436595" y="1369981"/>
                    <a:pt x="2419089" y="1352482"/>
                    <a:pt x="2419089" y="1330894"/>
                  </a:cubicBezTo>
                  <a:cubicBezTo>
                    <a:pt x="2419089" y="1309307"/>
                    <a:pt x="2436595" y="1291807"/>
                    <a:pt x="2458171" y="1291807"/>
                  </a:cubicBezTo>
                  <a:close/>
                  <a:moveTo>
                    <a:pt x="2363519" y="1291807"/>
                  </a:moveTo>
                  <a:cubicBezTo>
                    <a:pt x="2385107" y="1291807"/>
                    <a:pt x="2402607" y="1309307"/>
                    <a:pt x="2402607" y="1330894"/>
                  </a:cubicBezTo>
                  <a:cubicBezTo>
                    <a:pt x="2402607" y="1352481"/>
                    <a:pt x="2385107" y="1369981"/>
                    <a:pt x="2363519" y="1369981"/>
                  </a:cubicBezTo>
                  <a:cubicBezTo>
                    <a:pt x="2341932" y="1369981"/>
                    <a:pt x="2324432" y="1352481"/>
                    <a:pt x="2324432" y="1330894"/>
                  </a:cubicBezTo>
                  <a:cubicBezTo>
                    <a:pt x="2324432" y="1309307"/>
                    <a:pt x="2341932" y="1291807"/>
                    <a:pt x="2363519" y="1291807"/>
                  </a:cubicBezTo>
                  <a:close/>
                  <a:moveTo>
                    <a:pt x="3771293" y="1208998"/>
                  </a:moveTo>
                  <a:lnTo>
                    <a:pt x="3775177" y="1210607"/>
                  </a:lnTo>
                  <a:lnTo>
                    <a:pt x="3792595" y="1278349"/>
                  </a:lnTo>
                  <a:lnTo>
                    <a:pt x="3771293" y="1287173"/>
                  </a:lnTo>
                  <a:cubicBezTo>
                    <a:pt x="3749705" y="1287173"/>
                    <a:pt x="3732205" y="1269672"/>
                    <a:pt x="3732205" y="1248085"/>
                  </a:cubicBezTo>
                  <a:cubicBezTo>
                    <a:pt x="3732205" y="1226498"/>
                    <a:pt x="3749705" y="1208998"/>
                    <a:pt x="3771293" y="1208998"/>
                  </a:cubicBezTo>
                  <a:close/>
                  <a:moveTo>
                    <a:pt x="3679017" y="1208998"/>
                  </a:moveTo>
                  <a:cubicBezTo>
                    <a:pt x="3700604" y="1208998"/>
                    <a:pt x="3718103" y="1226498"/>
                    <a:pt x="3718103" y="1248085"/>
                  </a:cubicBezTo>
                  <a:cubicBezTo>
                    <a:pt x="3718103" y="1269672"/>
                    <a:pt x="3700604" y="1287173"/>
                    <a:pt x="3679017" y="1287173"/>
                  </a:cubicBezTo>
                  <a:cubicBezTo>
                    <a:pt x="3657429" y="1287173"/>
                    <a:pt x="3639929" y="1269672"/>
                    <a:pt x="3639929" y="1248085"/>
                  </a:cubicBezTo>
                  <a:cubicBezTo>
                    <a:pt x="3639929" y="1226498"/>
                    <a:pt x="3657429" y="1208998"/>
                    <a:pt x="3679017" y="1208998"/>
                  </a:cubicBezTo>
                  <a:close/>
                  <a:moveTo>
                    <a:pt x="3584377" y="1208998"/>
                  </a:moveTo>
                  <a:cubicBezTo>
                    <a:pt x="3605964" y="1208998"/>
                    <a:pt x="3623463" y="1226498"/>
                    <a:pt x="3623463" y="1248085"/>
                  </a:cubicBezTo>
                  <a:cubicBezTo>
                    <a:pt x="3623463" y="1269672"/>
                    <a:pt x="3605964" y="1287173"/>
                    <a:pt x="3584377" y="1287173"/>
                  </a:cubicBezTo>
                  <a:cubicBezTo>
                    <a:pt x="3562789" y="1287173"/>
                    <a:pt x="3545289" y="1269672"/>
                    <a:pt x="3545289" y="1248085"/>
                  </a:cubicBezTo>
                  <a:cubicBezTo>
                    <a:pt x="3545289" y="1226498"/>
                    <a:pt x="3562789" y="1208998"/>
                    <a:pt x="3584377" y="1208998"/>
                  </a:cubicBezTo>
                  <a:close/>
                  <a:moveTo>
                    <a:pt x="3489737" y="1208998"/>
                  </a:moveTo>
                  <a:cubicBezTo>
                    <a:pt x="3511324" y="1208998"/>
                    <a:pt x="3528823" y="1226498"/>
                    <a:pt x="3528823" y="1248085"/>
                  </a:cubicBezTo>
                  <a:cubicBezTo>
                    <a:pt x="3528823" y="1269672"/>
                    <a:pt x="3511324" y="1287173"/>
                    <a:pt x="3489737" y="1287173"/>
                  </a:cubicBezTo>
                  <a:cubicBezTo>
                    <a:pt x="3468149" y="1287173"/>
                    <a:pt x="3450649" y="1269672"/>
                    <a:pt x="3450649" y="1248085"/>
                  </a:cubicBezTo>
                  <a:cubicBezTo>
                    <a:pt x="3450649" y="1226498"/>
                    <a:pt x="3468149" y="1208998"/>
                    <a:pt x="3489737" y="1208998"/>
                  </a:cubicBezTo>
                  <a:close/>
                  <a:moveTo>
                    <a:pt x="3392731" y="1208998"/>
                  </a:moveTo>
                  <a:cubicBezTo>
                    <a:pt x="3414319" y="1208998"/>
                    <a:pt x="3431819" y="1226498"/>
                    <a:pt x="3431819" y="1248085"/>
                  </a:cubicBezTo>
                  <a:cubicBezTo>
                    <a:pt x="3431819" y="1269672"/>
                    <a:pt x="3414319" y="1287173"/>
                    <a:pt x="3392731" y="1287173"/>
                  </a:cubicBezTo>
                  <a:cubicBezTo>
                    <a:pt x="3371144" y="1287173"/>
                    <a:pt x="3353644" y="1269672"/>
                    <a:pt x="3353644" y="1248085"/>
                  </a:cubicBezTo>
                  <a:cubicBezTo>
                    <a:pt x="3353644" y="1226498"/>
                    <a:pt x="3371144" y="1208998"/>
                    <a:pt x="3392731" y="1208998"/>
                  </a:cubicBezTo>
                  <a:close/>
                  <a:moveTo>
                    <a:pt x="3300457" y="1208998"/>
                  </a:moveTo>
                  <a:cubicBezTo>
                    <a:pt x="3322044" y="1208998"/>
                    <a:pt x="3339544" y="1226498"/>
                    <a:pt x="3339544" y="1248085"/>
                  </a:cubicBezTo>
                  <a:cubicBezTo>
                    <a:pt x="3339544" y="1269672"/>
                    <a:pt x="3322044" y="1287173"/>
                    <a:pt x="3300457" y="1287173"/>
                  </a:cubicBezTo>
                  <a:cubicBezTo>
                    <a:pt x="3278869" y="1287173"/>
                    <a:pt x="3261369" y="1269672"/>
                    <a:pt x="3261369" y="1248085"/>
                  </a:cubicBezTo>
                  <a:cubicBezTo>
                    <a:pt x="3261369" y="1226498"/>
                    <a:pt x="3278869" y="1208998"/>
                    <a:pt x="3300457" y="1208998"/>
                  </a:cubicBezTo>
                  <a:close/>
                  <a:moveTo>
                    <a:pt x="3205817" y="1208998"/>
                  </a:moveTo>
                  <a:cubicBezTo>
                    <a:pt x="3227404" y="1208998"/>
                    <a:pt x="3244904" y="1226498"/>
                    <a:pt x="3244904" y="1248085"/>
                  </a:cubicBezTo>
                  <a:cubicBezTo>
                    <a:pt x="3244904" y="1269672"/>
                    <a:pt x="3227404" y="1287173"/>
                    <a:pt x="3205817" y="1287173"/>
                  </a:cubicBezTo>
                  <a:cubicBezTo>
                    <a:pt x="3184229" y="1287173"/>
                    <a:pt x="3166729" y="1269672"/>
                    <a:pt x="3166729" y="1248085"/>
                  </a:cubicBezTo>
                  <a:cubicBezTo>
                    <a:pt x="3166729" y="1226498"/>
                    <a:pt x="3184229" y="1208998"/>
                    <a:pt x="3205817" y="1208998"/>
                  </a:cubicBezTo>
                  <a:close/>
                  <a:moveTo>
                    <a:pt x="3111177" y="1208998"/>
                  </a:moveTo>
                  <a:cubicBezTo>
                    <a:pt x="3132764" y="1208998"/>
                    <a:pt x="3150264" y="1226498"/>
                    <a:pt x="3150264" y="1248085"/>
                  </a:cubicBezTo>
                  <a:cubicBezTo>
                    <a:pt x="3150264" y="1269672"/>
                    <a:pt x="3132764" y="1287173"/>
                    <a:pt x="3111177" y="1287173"/>
                  </a:cubicBezTo>
                  <a:cubicBezTo>
                    <a:pt x="3089589" y="1287173"/>
                    <a:pt x="3072089" y="1269672"/>
                    <a:pt x="3072089" y="1248085"/>
                  </a:cubicBezTo>
                  <a:cubicBezTo>
                    <a:pt x="3072089" y="1226498"/>
                    <a:pt x="3089589" y="1208998"/>
                    <a:pt x="3111177" y="1208998"/>
                  </a:cubicBezTo>
                  <a:close/>
                  <a:moveTo>
                    <a:pt x="3018902" y="1208998"/>
                  </a:moveTo>
                  <a:cubicBezTo>
                    <a:pt x="3040489" y="1208998"/>
                    <a:pt x="3057989" y="1226498"/>
                    <a:pt x="3057989" y="1248085"/>
                  </a:cubicBezTo>
                  <a:cubicBezTo>
                    <a:pt x="3057989" y="1269672"/>
                    <a:pt x="3040489" y="1287173"/>
                    <a:pt x="3018902" y="1287173"/>
                  </a:cubicBezTo>
                  <a:cubicBezTo>
                    <a:pt x="2997315" y="1287173"/>
                    <a:pt x="2979815" y="1269672"/>
                    <a:pt x="2979815" y="1248085"/>
                  </a:cubicBezTo>
                  <a:cubicBezTo>
                    <a:pt x="2979815" y="1226498"/>
                    <a:pt x="2997315" y="1208998"/>
                    <a:pt x="3018902" y="1208998"/>
                  </a:cubicBezTo>
                  <a:close/>
                  <a:moveTo>
                    <a:pt x="2924263" y="1208998"/>
                  </a:moveTo>
                  <a:cubicBezTo>
                    <a:pt x="2945850" y="1208998"/>
                    <a:pt x="2963349" y="1226498"/>
                    <a:pt x="2963349" y="1248085"/>
                  </a:cubicBezTo>
                  <a:cubicBezTo>
                    <a:pt x="2963349" y="1269672"/>
                    <a:pt x="2945850" y="1287173"/>
                    <a:pt x="2924263" y="1287173"/>
                  </a:cubicBezTo>
                  <a:cubicBezTo>
                    <a:pt x="2902675" y="1287173"/>
                    <a:pt x="2885175" y="1269672"/>
                    <a:pt x="2885175" y="1248085"/>
                  </a:cubicBezTo>
                  <a:cubicBezTo>
                    <a:pt x="2885175" y="1226498"/>
                    <a:pt x="2902675" y="1208998"/>
                    <a:pt x="2924263" y="1208998"/>
                  </a:cubicBezTo>
                  <a:close/>
                  <a:moveTo>
                    <a:pt x="2831988" y="1208998"/>
                  </a:moveTo>
                  <a:cubicBezTo>
                    <a:pt x="2853575" y="1208998"/>
                    <a:pt x="2871075" y="1226498"/>
                    <a:pt x="2871075" y="1248085"/>
                  </a:cubicBezTo>
                  <a:cubicBezTo>
                    <a:pt x="2871075" y="1269672"/>
                    <a:pt x="2853575" y="1287173"/>
                    <a:pt x="2831988" y="1287173"/>
                  </a:cubicBezTo>
                  <a:cubicBezTo>
                    <a:pt x="2810401" y="1287173"/>
                    <a:pt x="2792901" y="1269672"/>
                    <a:pt x="2792901" y="1248085"/>
                  </a:cubicBezTo>
                  <a:cubicBezTo>
                    <a:pt x="2792901" y="1226498"/>
                    <a:pt x="2810401" y="1208998"/>
                    <a:pt x="2831988" y="1208998"/>
                  </a:cubicBezTo>
                  <a:close/>
                  <a:moveTo>
                    <a:pt x="2737366" y="1208998"/>
                  </a:moveTo>
                  <a:cubicBezTo>
                    <a:pt x="2758935" y="1208998"/>
                    <a:pt x="2776435" y="1226498"/>
                    <a:pt x="2776435" y="1248085"/>
                  </a:cubicBezTo>
                  <a:cubicBezTo>
                    <a:pt x="2776435" y="1269672"/>
                    <a:pt x="2758935" y="1287173"/>
                    <a:pt x="2737366" y="1287173"/>
                  </a:cubicBezTo>
                  <a:cubicBezTo>
                    <a:pt x="2715775" y="1287173"/>
                    <a:pt x="2698269" y="1269672"/>
                    <a:pt x="2698269" y="1248085"/>
                  </a:cubicBezTo>
                  <a:cubicBezTo>
                    <a:pt x="2698269" y="1226498"/>
                    <a:pt x="2715775" y="1208998"/>
                    <a:pt x="2737366" y="1208998"/>
                  </a:cubicBezTo>
                  <a:close/>
                  <a:moveTo>
                    <a:pt x="2645076" y="1208998"/>
                  </a:moveTo>
                  <a:cubicBezTo>
                    <a:pt x="2666663" y="1208998"/>
                    <a:pt x="2684167" y="1226498"/>
                    <a:pt x="2684167" y="1248085"/>
                  </a:cubicBezTo>
                  <a:cubicBezTo>
                    <a:pt x="2684167" y="1269672"/>
                    <a:pt x="2666663" y="1287173"/>
                    <a:pt x="2645076" y="1287173"/>
                  </a:cubicBezTo>
                  <a:cubicBezTo>
                    <a:pt x="2623489" y="1287173"/>
                    <a:pt x="2605987" y="1269672"/>
                    <a:pt x="2605987" y="1248085"/>
                  </a:cubicBezTo>
                  <a:cubicBezTo>
                    <a:pt x="2605987" y="1226498"/>
                    <a:pt x="2623489" y="1208998"/>
                    <a:pt x="2645076" y="1208998"/>
                  </a:cubicBezTo>
                  <a:close/>
                  <a:moveTo>
                    <a:pt x="2550439" y="1208998"/>
                  </a:moveTo>
                  <a:cubicBezTo>
                    <a:pt x="2572024" y="1208998"/>
                    <a:pt x="2589523" y="1226498"/>
                    <a:pt x="2589523" y="1248085"/>
                  </a:cubicBezTo>
                  <a:cubicBezTo>
                    <a:pt x="2589523" y="1269672"/>
                    <a:pt x="2572024" y="1287173"/>
                    <a:pt x="2550439" y="1287173"/>
                  </a:cubicBezTo>
                  <a:cubicBezTo>
                    <a:pt x="2528851" y="1287173"/>
                    <a:pt x="2511356" y="1269672"/>
                    <a:pt x="2511356" y="1248085"/>
                  </a:cubicBezTo>
                  <a:cubicBezTo>
                    <a:pt x="2511356" y="1226498"/>
                    <a:pt x="2528851" y="1208998"/>
                    <a:pt x="2550439" y="1208998"/>
                  </a:cubicBezTo>
                  <a:close/>
                  <a:moveTo>
                    <a:pt x="1419546" y="1208998"/>
                  </a:moveTo>
                  <a:cubicBezTo>
                    <a:pt x="1441132" y="1208998"/>
                    <a:pt x="1458634" y="1226498"/>
                    <a:pt x="1458634" y="1248085"/>
                  </a:cubicBezTo>
                  <a:cubicBezTo>
                    <a:pt x="1458634" y="1269672"/>
                    <a:pt x="1441132" y="1287173"/>
                    <a:pt x="1419546" y="1287173"/>
                  </a:cubicBezTo>
                  <a:cubicBezTo>
                    <a:pt x="1397954" y="1287173"/>
                    <a:pt x="1380453" y="1269672"/>
                    <a:pt x="1380453" y="1248085"/>
                  </a:cubicBezTo>
                  <a:cubicBezTo>
                    <a:pt x="1380453" y="1226498"/>
                    <a:pt x="1397954" y="1208998"/>
                    <a:pt x="1419546" y="1208998"/>
                  </a:cubicBezTo>
                  <a:close/>
                  <a:moveTo>
                    <a:pt x="1329634" y="1208998"/>
                  </a:moveTo>
                  <a:cubicBezTo>
                    <a:pt x="1351222" y="1208998"/>
                    <a:pt x="1368722" y="1226498"/>
                    <a:pt x="1368722" y="1248085"/>
                  </a:cubicBezTo>
                  <a:cubicBezTo>
                    <a:pt x="1368722" y="1269672"/>
                    <a:pt x="1351222" y="1287173"/>
                    <a:pt x="1329634" y="1287173"/>
                  </a:cubicBezTo>
                  <a:cubicBezTo>
                    <a:pt x="1308050" y="1287173"/>
                    <a:pt x="1290553" y="1269672"/>
                    <a:pt x="1290553" y="1248085"/>
                  </a:cubicBezTo>
                  <a:cubicBezTo>
                    <a:pt x="1290553" y="1226498"/>
                    <a:pt x="1308050" y="1208998"/>
                    <a:pt x="1329634" y="1208998"/>
                  </a:cubicBezTo>
                  <a:close/>
                  <a:moveTo>
                    <a:pt x="1232640" y="1208998"/>
                  </a:moveTo>
                  <a:cubicBezTo>
                    <a:pt x="1254222" y="1208998"/>
                    <a:pt x="1271716" y="1226498"/>
                    <a:pt x="1271716" y="1248085"/>
                  </a:cubicBezTo>
                  <a:cubicBezTo>
                    <a:pt x="1271716" y="1269672"/>
                    <a:pt x="1254222" y="1287173"/>
                    <a:pt x="1232640" y="1287173"/>
                  </a:cubicBezTo>
                  <a:cubicBezTo>
                    <a:pt x="1211049" y="1287173"/>
                    <a:pt x="1193553" y="1269672"/>
                    <a:pt x="1193553" y="1248085"/>
                  </a:cubicBezTo>
                  <a:cubicBezTo>
                    <a:pt x="1193553" y="1226498"/>
                    <a:pt x="1211049" y="1208998"/>
                    <a:pt x="1232640" y="1208998"/>
                  </a:cubicBezTo>
                  <a:close/>
                  <a:moveTo>
                    <a:pt x="1142726" y="1208998"/>
                  </a:moveTo>
                  <a:cubicBezTo>
                    <a:pt x="1164318" y="1208998"/>
                    <a:pt x="1181817" y="1226498"/>
                    <a:pt x="1181817" y="1248085"/>
                  </a:cubicBezTo>
                  <a:cubicBezTo>
                    <a:pt x="1181817" y="1269672"/>
                    <a:pt x="1164318" y="1287173"/>
                    <a:pt x="1142726" y="1287173"/>
                  </a:cubicBezTo>
                  <a:cubicBezTo>
                    <a:pt x="1121134" y="1287173"/>
                    <a:pt x="1103630" y="1269672"/>
                    <a:pt x="1103630" y="1248085"/>
                  </a:cubicBezTo>
                  <a:cubicBezTo>
                    <a:pt x="1103630" y="1226498"/>
                    <a:pt x="1121134" y="1208998"/>
                    <a:pt x="1142726" y="1208998"/>
                  </a:cubicBezTo>
                  <a:close/>
                  <a:moveTo>
                    <a:pt x="1045706" y="1208998"/>
                  </a:moveTo>
                  <a:cubicBezTo>
                    <a:pt x="1067291" y="1208998"/>
                    <a:pt x="1084795" y="1226498"/>
                    <a:pt x="1084795" y="1248085"/>
                  </a:cubicBezTo>
                  <a:cubicBezTo>
                    <a:pt x="1084795" y="1269672"/>
                    <a:pt x="1067291" y="1287173"/>
                    <a:pt x="1045706" y="1287173"/>
                  </a:cubicBezTo>
                  <a:cubicBezTo>
                    <a:pt x="1024121" y="1287173"/>
                    <a:pt x="1006623" y="1269672"/>
                    <a:pt x="1006623" y="1248085"/>
                  </a:cubicBezTo>
                  <a:cubicBezTo>
                    <a:pt x="1006623" y="1226498"/>
                    <a:pt x="1024121" y="1208998"/>
                    <a:pt x="1045706" y="1208998"/>
                  </a:cubicBezTo>
                  <a:close/>
                  <a:moveTo>
                    <a:pt x="951076" y="1208998"/>
                  </a:moveTo>
                  <a:cubicBezTo>
                    <a:pt x="972661" y="1208998"/>
                    <a:pt x="990159" y="1226498"/>
                    <a:pt x="990159" y="1248085"/>
                  </a:cubicBezTo>
                  <a:cubicBezTo>
                    <a:pt x="990159" y="1269672"/>
                    <a:pt x="972661" y="1287173"/>
                    <a:pt x="951076" y="1287173"/>
                  </a:cubicBezTo>
                  <a:cubicBezTo>
                    <a:pt x="929492" y="1287173"/>
                    <a:pt x="911993" y="1269672"/>
                    <a:pt x="911993" y="1248085"/>
                  </a:cubicBezTo>
                  <a:cubicBezTo>
                    <a:pt x="911993" y="1226498"/>
                    <a:pt x="929492" y="1208998"/>
                    <a:pt x="951076" y="1208998"/>
                  </a:cubicBezTo>
                  <a:close/>
                  <a:moveTo>
                    <a:pt x="856447" y="1208998"/>
                  </a:moveTo>
                  <a:cubicBezTo>
                    <a:pt x="878032" y="1208998"/>
                    <a:pt x="895530" y="1226498"/>
                    <a:pt x="895530" y="1248085"/>
                  </a:cubicBezTo>
                  <a:cubicBezTo>
                    <a:pt x="895530" y="1269672"/>
                    <a:pt x="878032" y="1287173"/>
                    <a:pt x="856447" y="1287173"/>
                  </a:cubicBezTo>
                  <a:cubicBezTo>
                    <a:pt x="834863" y="1287173"/>
                    <a:pt x="817365" y="1269672"/>
                    <a:pt x="817365" y="1248085"/>
                  </a:cubicBezTo>
                  <a:cubicBezTo>
                    <a:pt x="817365" y="1226498"/>
                    <a:pt x="834863" y="1208998"/>
                    <a:pt x="856447" y="1208998"/>
                  </a:cubicBezTo>
                  <a:close/>
                  <a:moveTo>
                    <a:pt x="764185" y="1208998"/>
                  </a:moveTo>
                  <a:cubicBezTo>
                    <a:pt x="785769" y="1208998"/>
                    <a:pt x="803268" y="1226498"/>
                    <a:pt x="803268" y="1248085"/>
                  </a:cubicBezTo>
                  <a:cubicBezTo>
                    <a:pt x="803268" y="1269672"/>
                    <a:pt x="785769" y="1287173"/>
                    <a:pt x="764185" y="1287173"/>
                  </a:cubicBezTo>
                  <a:cubicBezTo>
                    <a:pt x="742593" y="1287173"/>
                    <a:pt x="725101" y="1269672"/>
                    <a:pt x="725101" y="1248085"/>
                  </a:cubicBezTo>
                  <a:cubicBezTo>
                    <a:pt x="725101" y="1226498"/>
                    <a:pt x="742593" y="1208998"/>
                    <a:pt x="764185" y="1208998"/>
                  </a:cubicBezTo>
                  <a:close/>
                  <a:moveTo>
                    <a:pt x="669534" y="1208998"/>
                  </a:moveTo>
                  <a:cubicBezTo>
                    <a:pt x="691139" y="1208998"/>
                    <a:pt x="708638" y="1226498"/>
                    <a:pt x="708638" y="1248085"/>
                  </a:cubicBezTo>
                  <a:cubicBezTo>
                    <a:pt x="708638" y="1269672"/>
                    <a:pt x="691139" y="1287173"/>
                    <a:pt x="669534" y="1287173"/>
                  </a:cubicBezTo>
                  <a:cubicBezTo>
                    <a:pt x="647964" y="1287173"/>
                    <a:pt x="630460" y="1269672"/>
                    <a:pt x="630460" y="1248085"/>
                  </a:cubicBezTo>
                  <a:cubicBezTo>
                    <a:pt x="630460" y="1226498"/>
                    <a:pt x="647964" y="1208998"/>
                    <a:pt x="669534" y="1208998"/>
                  </a:cubicBezTo>
                  <a:close/>
                  <a:moveTo>
                    <a:pt x="577261" y="1208998"/>
                  </a:moveTo>
                  <a:cubicBezTo>
                    <a:pt x="598853" y="1208998"/>
                    <a:pt x="616357" y="1226498"/>
                    <a:pt x="616357" y="1248085"/>
                  </a:cubicBezTo>
                  <a:cubicBezTo>
                    <a:pt x="616357" y="1269672"/>
                    <a:pt x="598853" y="1287173"/>
                    <a:pt x="577261" y="1287173"/>
                  </a:cubicBezTo>
                  <a:cubicBezTo>
                    <a:pt x="555668" y="1287173"/>
                    <a:pt x="538164" y="1269672"/>
                    <a:pt x="538164" y="1248085"/>
                  </a:cubicBezTo>
                  <a:cubicBezTo>
                    <a:pt x="538164" y="1226498"/>
                    <a:pt x="555668" y="1208998"/>
                    <a:pt x="577261" y="1208998"/>
                  </a:cubicBezTo>
                  <a:close/>
                  <a:moveTo>
                    <a:pt x="484976" y="1208998"/>
                  </a:moveTo>
                  <a:cubicBezTo>
                    <a:pt x="506562" y="1208998"/>
                    <a:pt x="524060" y="1226498"/>
                    <a:pt x="524060" y="1248085"/>
                  </a:cubicBezTo>
                  <a:cubicBezTo>
                    <a:pt x="524060" y="1269672"/>
                    <a:pt x="506562" y="1287173"/>
                    <a:pt x="484976" y="1287173"/>
                  </a:cubicBezTo>
                  <a:cubicBezTo>
                    <a:pt x="463381" y="1287173"/>
                    <a:pt x="445900" y="1269672"/>
                    <a:pt x="445900" y="1248085"/>
                  </a:cubicBezTo>
                  <a:cubicBezTo>
                    <a:pt x="445900" y="1226498"/>
                    <a:pt x="463381" y="1208998"/>
                    <a:pt x="484976" y="1208998"/>
                  </a:cubicBezTo>
                  <a:close/>
                  <a:moveTo>
                    <a:pt x="390329" y="1208998"/>
                  </a:moveTo>
                  <a:cubicBezTo>
                    <a:pt x="411922" y="1208998"/>
                    <a:pt x="429427" y="1226498"/>
                    <a:pt x="429427" y="1248085"/>
                  </a:cubicBezTo>
                  <a:cubicBezTo>
                    <a:pt x="429427" y="1269672"/>
                    <a:pt x="411922" y="1287173"/>
                    <a:pt x="390329" y="1287173"/>
                  </a:cubicBezTo>
                  <a:cubicBezTo>
                    <a:pt x="368757" y="1287173"/>
                    <a:pt x="351257" y="1269672"/>
                    <a:pt x="351257" y="1248085"/>
                  </a:cubicBezTo>
                  <a:cubicBezTo>
                    <a:pt x="351257" y="1226498"/>
                    <a:pt x="368757" y="1208998"/>
                    <a:pt x="390329" y="1208998"/>
                  </a:cubicBezTo>
                  <a:close/>
                  <a:moveTo>
                    <a:pt x="298060" y="1208998"/>
                  </a:moveTo>
                  <a:cubicBezTo>
                    <a:pt x="319643" y="1208998"/>
                    <a:pt x="337156" y="1226498"/>
                    <a:pt x="337156" y="1248085"/>
                  </a:cubicBezTo>
                  <a:cubicBezTo>
                    <a:pt x="337156" y="1269672"/>
                    <a:pt x="319643" y="1287173"/>
                    <a:pt x="298060" y="1287173"/>
                  </a:cubicBezTo>
                  <a:cubicBezTo>
                    <a:pt x="276469" y="1287173"/>
                    <a:pt x="258971" y="1269672"/>
                    <a:pt x="258971" y="1248085"/>
                  </a:cubicBezTo>
                  <a:cubicBezTo>
                    <a:pt x="258971" y="1226498"/>
                    <a:pt x="276469" y="1208998"/>
                    <a:pt x="298060" y="1208998"/>
                  </a:cubicBezTo>
                  <a:close/>
                  <a:moveTo>
                    <a:pt x="203415" y="1208998"/>
                  </a:moveTo>
                  <a:cubicBezTo>
                    <a:pt x="225006" y="1208998"/>
                    <a:pt x="242504" y="1226498"/>
                    <a:pt x="242504" y="1248085"/>
                  </a:cubicBezTo>
                  <a:cubicBezTo>
                    <a:pt x="242504" y="1269672"/>
                    <a:pt x="225006" y="1287173"/>
                    <a:pt x="203415" y="1287173"/>
                  </a:cubicBezTo>
                  <a:cubicBezTo>
                    <a:pt x="181830" y="1287173"/>
                    <a:pt x="164330" y="1269672"/>
                    <a:pt x="164330" y="1248085"/>
                  </a:cubicBezTo>
                  <a:cubicBezTo>
                    <a:pt x="164330" y="1226498"/>
                    <a:pt x="181830" y="1208998"/>
                    <a:pt x="203415" y="1208998"/>
                  </a:cubicBezTo>
                  <a:close/>
                  <a:moveTo>
                    <a:pt x="111142" y="1208998"/>
                  </a:moveTo>
                  <a:cubicBezTo>
                    <a:pt x="132728" y="1208998"/>
                    <a:pt x="150229" y="1226498"/>
                    <a:pt x="150229" y="1248085"/>
                  </a:cubicBezTo>
                  <a:cubicBezTo>
                    <a:pt x="150229" y="1269672"/>
                    <a:pt x="132728" y="1287173"/>
                    <a:pt x="111142" y="1287173"/>
                  </a:cubicBezTo>
                  <a:cubicBezTo>
                    <a:pt x="89555" y="1287173"/>
                    <a:pt x="72056" y="1269672"/>
                    <a:pt x="72056" y="1248085"/>
                  </a:cubicBezTo>
                  <a:cubicBezTo>
                    <a:pt x="72056" y="1226498"/>
                    <a:pt x="89555" y="1208998"/>
                    <a:pt x="111142" y="1208998"/>
                  </a:cubicBezTo>
                  <a:close/>
                  <a:moveTo>
                    <a:pt x="3746476" y="1129380"/>
                  </a:moveTo>
                  <a:lnTo>
                    <a:pt x="3771318" y="1197252"/>
                  </a:lnTo>
                  <a:lnTo>
                    <a:pt x="3771293" y="1197263"/>
                  </a:lnTo>
                  <a:cubicBezTo>
                    <a:pt x="3749705" y="1197263"/>
                    <a:pt x="3732205" y="1179775"/>
                    <a:pt x="3732205" y="1158188"/>
                  </a:cubicBezTo>
                  <a:cubicBezTo>
                    <a:pt x="3732205" y="1147394"/>
                    <a:pt x="3736580" y="1137623"/>
                    <a:pt x="3743654" y="1130550"/>
                  </a:cubicBezTo>
                  <a:close/>
                  <a:moveTo>
                    <a:pt x="577266" y="1119103"/>
                  </a:moveTo>
                  <a:cubicBezTo>
                    <a:pt x="598858" y="1119103"/>
                    <a:pt x="616362" y="1136603"/>
                    <a:pt x="616362" y="1158190"/>
                  </a:cubicBezTo>
                  <a:cubicBezTo>
                    <a:pt x="616362" y="1179777"/>
                    <a:pt x="598858" y="1197265"/>
                    <a:pt x="577266" y="1197265"/>
                  </a:cubicBezTo>
                  <a:cubicBezTo>
                    <a:pt x="555673" y="1197265"/>
                    <a:pt x="538168" y="1179777"/>
                    <a:pt x="538168" y="1158190"/>
                  </a:cubicBezTo>
                  <a:cubicBezTo>
                    <a:pt x="538168" y="1136603"/>
                    <a:pt x="555673" y="1119103"/>
                    <a:pt x="577266" y="1119103"/>
                  </a:cubicBezTo>
                  <a:close/>
                  <a:moveTo>
                    <a:pt x="484978" y="1119103"/>
                  </a:moveTo>
                  <a:cubicBezTo>
                    <a:pt x="506566" y="1119103"/>
                    <a:pt x="524065" y="1136603"/>
                    <a:pt x="524065" y="1158190"/>
                  </a:cubicBezTo>
                  <a:cubicBezTo>
                    <a:pt x="524065" y="1179777"/>
                    <a:pt x="506566" y="1197265"/>
                    <a:pt x="484978" y="1197265"/>
                  </a:cubicBezTo>
                  <a:cubicBezTo>
                    <a:pt x="463384" y="1197265"/>
                    <a:pt x="445905" y="1179777"/>
                    <a:pt x="445905" y="1158190"/>
                  </a:cubicBezTo>
                  <a:cubicBezTo>
                    <a:pt x="445905" y="1136603"/>
                    <a:pt x="463384" y="1119103"/>
                    <a:pt x="484978" y="1119103"/>
                  </a:cubicBezTo>
                  <a:close/>
                  <a:moveTo>
                    <a:pt x="390329" y="1119103"/>
                  </a:moveTo>
                  <a:cubicBezTo>
                    <a:pt x="411922" y="1119103"/>
                    <a:pt x="429432" y="1136603"/>
                    <a:pt x="429432" y="1158190"/>
                  </a:cubicBezTo>
                  <a:cubicBezTo>
                    <a:pt x="429432" y="1179777"/>
                    <a:pt x="411922" y="1197265"/>
                    <a:pt x="390329" y="1197265"/>
                  </a:cubicBezTo>
                  <a:cubicBezTo>
                    <a:pt x="368763" y="1197265"/>
                    <a:pt x="351262" y="1179777"/>
                    <a:pt x="351262" y="1158190"/>
                  </a:cubicBezTo>
                  <a:cubicBezTo>
                    <a:pt x="351262" y="1136603"/>
                    <a:pt x="368763" y="1119103"/>
                    <a:pt x="390329" y="1119103"/>
                  </a:cubicBezTo>
                  <a:close/>
                  <a:moveTo>
                    <a:pt x="298063" y="1119103"/>
                  </a:moveTo>
                  <a:cubicBezTo>
                    <a:pt x="319646" y="1119103"/>
                    <a:pt x="337159" y="1136603"/>
                    <a:pt x="337159" y="1158190"/>
                  </a:cubicBezTo>
                  <a:cubicBezTo>
                    <a:pt x="337159" y="1179777"/>
                    <a:pt x="319646" y="1197265"/>
                    <a:pt x="298063" y="1197265"/>
                  </a:cubicBezTo>
                  <a:cubicBezTo>
                    <a:pt x="276475" y="1197265"/>
                    <a:pt x="258974" y="1179777"/>
                    <a:pt x="258974" y="1158190"/>
                  </a:cubicBezTo>
                  <a:cubicBezTo>
                    <a:pt x="258974" y="1136603"/>
                    <a:pt x="276475" y="1119103"/>
                    <a:pt x="298063" y="1119103"/>
                  </a:cubicBezTo>
                  <a:close/>
                  <a:moveTo>
                    <a:pt x="203418" y="1119103"/>
                  </a:moveTo>
                  <a:cubicBezTo>
                    <a:pt x="225008" y="1119103"/>
                    <a:pt x="242508" y="1136603"/>
                    <a:pt x="242508" y="1158190"/>
                  </a:cubicBezTo>
                  <a:cubicBezTo>
                    <a:pt x="242508" y="1179777"/>
                    <a:pt x="225008" y="1197265"/>
                    <a:pt x="203418" y="1197265"/>
                  </a:cubicBezTo>
                  <a:cubicBezTo>
                    <a:pt x="181832" y="1197265"/>
                    <a:pt x="164333" y="1179777"/>
                    <a:pt x="164333" y="1158190"/>
                  </a:cubicBezTo>
                  <a:cubicBezTo>
                    <a:pt x="164333" y="1136603"/>
                    <a:pt x="181832" y="1119103"/>
                    <a:pt x="203418" y="1119103"/>
                  </a:cubicBezTo>
                  <a:close/>
                  <a:moveTo>
                    <a:pt x="3679018" y="1119102"/>
                  </a:moveTo>
                  <a:cubicBezTo>
                    <a:pt x="3700605" y="1119102"/>
                    <a:pt x="3718105" y="1136601"/>
                    <a:pt x="3718105" y="1158188"/>
                  </a:cubicBezTo>
                  <a:cubicBezTo>
                    <a:pt x="3718105" y="1179775"/>
                    <a:pt x="3700605" y="1197263"/>
                    <a:pt x="3679018" y="1197263"/>
                  </a:cubicBezTo>
                  <a:cubicBezTo>
                    <a:pt x="3657431" y="1197263"/>
                    <a:pt x="3639931" y="1179775"/>
                    <a:pt x="3639931" y="1158188"/>
                  </a:cubicBezTo>
                  <a:cubicBezTo>
                    <a:pt x="3639931" y="1136601"/>
                    <a:pt x="3657431" y="1119102"/>
                    <a:pt x="3679018" y="1119102"/>
                  </a:cubicBezTo>
                  <a:close/>
                  <a:moveTo>
                    <a:pt x="3584377" y="1119102"/>
                  </a:moveTo>
                  <a:cubicBezTo>
                    <a:pt x="3605964" y="1119102"/>
                    <a:pt x="3623463" y="1136601"/>
                    <a:pt x="3623463" y="1158188"/>
                  </a:cubicBezTo>
                  <a:cubicBezTo>
                    <a:pt x="3623463" y="1179775"/>
                    <a:pt x="3605964" y="1197263"/>
                    <a:pt x="3584377" y="1197263"/>
                  </a:cubicBezTo>
                  <a:cubicBezTo>
                    <a:pt x="3562789" y="1197263"/>
                    <a:pt x="3545289" y="1179775"/>
                    <a:pt x="3545289" y="1158188"/>
                  </a:cubicBezTo>
                  <a:cubicBezTo>
                    <a:pt x="3545289" y="1136601"/>
                    <a:pt x="3562789" y="1119102"/>
                    <a:pt x="3584377" y="1119102"/>
                  </a:cubicBezTo>
                  <a:close/>
                  <a:moveTo>
                    <a:pt x="3489737" y="1119102"/>
                  </a:moveTo>
                  <a:cubicBezTo>
                    <a:pt x="3511324" y="1119102"/>
                    <a:pt x="3528823" y="1136601"/>
                    <a:pt x="3528823" y="1158188"/>
                  </a:cubicBezTo>
                  <a:cubicBezTo>
                    <a:pt x="3528823" y="1179775"/>
                    <a:pt x="3511324" y="1197263"/>
                    <a:pt x="3489737" y="1197263"/>
                  </a:cubicBezTo>
                  <a:cubicBezTo>
                    <a:pt x="3468149" y="1197263"/>
                    <a:pt x="3450649" y="1179775"/>
                    <a:pt x="3450649" y="1158188"/>
                  </a:cubicBezTo>
                  <a:cubicBezTo>
                    <a:pt x="3450649" y="1136601"/>
                    <a:pt x="3468149" y="1119102"/>
                    <a:pt x="3489737" y="1119102"/>
                  </a:cubicBezTo>
                  <a:close/>
                  <a:moveTo>
                    <a:pt x="3392731" y="1119102"/>
                  </a:moveTo>
                  <a:cubicBezTo>
                    <a:pt x="3414319" y="1119102"/>
                    <a:pt x="3431819" y="1136601"/>
                    <a:pt x="3431819" y="1158188"/>
                  </a:cubicBezTo>
                  <a:cubicBezTo>
                    <a:pt x="3431819" y="1179775"/>
                    <a:pt x="3414319" y="1197263"/>
                    <a:pt x="3392731" y="1197263"/>
                  </a:cubicBezTo>
                  <a:cubicBezTo>
                    <a:pt x="3371144" y="1197263"/>
                    <a:pt x="3353644" y="1179775"/>
                    <a:pt x="3353644" y="1158188"/>
                  </a:cubicBezTo>
                  <a:cubicBezTo>
                    <a:pt x="3353644" y="1136601"/>
                    <a:pt x="3371144" y="1119102"/>
                    <a:pt x="3392731" y="1119102"/>
                  </a:cubicBezTo>
                  <a:close/>
                  <a:moveTo>
                    <a:pt x="3300457" y="1119102"/>
                  </a:moveTo>
                  <a:cubicBezTo>
                    <a:pt x="3322044" y="1119102"/>
                    <a:pt x="3339544" y="1136601"/>
                    <a:pt x="3339544" y="1158188"/>
                  </a:cubicBezTo>
                  <a:cubicBezTo>
                    <a:pt x="3339544" y="1179775"/>
                    <a:pt x="3322044" y="1197263"/>
                    <a:pt x="3300457" y="1197263"/>
                  </a:cubicBezTo>
                  <a:cubicBezTo>
                    <a:pt x="3278869" y="1197263"/>
                    <a:pt x="3261369" y="1179775"/>
                    <a:pt x="3261369" y="1158188"/>
                  </a:cubicBezTo>
                  <a:cubicBezTo>
                    <a:pt x="3261369" y="1136601"/>
                    <a:pt x="3278869" y="1119102"/>
                    <a:pt x="3300457" y="1119102"/>
                  </a:cubicBezTo>
                  <a:close/>
                  <a:moveTo>
                    <a:pt x="3205817" y="1119102"/>
                  </a:moveTo>
                  <a:cubicBezTo>
                    <a:pt x="3227404" y="1119102"/>
                    <a:pt x="3244904" y="1136601"/>
                    <a:pt x="3244904" y="1158188"/>
                  </a:cubicBezTo>
                  <a:cubicBezTo>
                    <a:pt x="3244904" y="1179775"/>
                    <a:pt x="3227404" y="1197263"/>
                    <a:pt x="3205817" y="1197263"/>
                  </a:cubicBezTo>
                  <a:cubicBezTo>
                    <a:pt x="3184229" y="1197263"/>
                    <a:pt x="3166729" y="1179775"/>
                    <a:pt x="3166729" y="1158188"/>
                  </a:cubicBezTo>
                  <a:cubicBezTo>
                    <a:pt x="3166729" y="1136601"/>
                    <a:pt x="3184229" y="1119102"/>
                    <a:pt x="3205817" y="1119102"/>
                  </a:cubicBezTo>
                  <a:close/>
                  <a:moveTo>
                    <a:pt x="3018902" y="1119102"/>
                  </a:moveTo>
                  <a:cubicBezTo>
                    <a:pt x="3040489" y="1119102"/>
                    <a:pt x="3057989" y="1136601"/>
                    <a:pt x="3057989" y="1158188"/>
                  </a:cubicBezTo>
                  <a:cubicBezTo>
                    <a:pt x="3057989" y="1179775"/>
                    <a:pt x="3040489" y="1197263"/>
                    <a:pt x="3018902" y="1197263"/>
                  </a:cubicBezTo>
                  <a:cubicBezTo>
                    <a:pt x="2997315" y="1197263"/>
                    <a:pt x="2979815" y="1179775"/>
                    <a:pt x="2979815" y="1158188"/>
                  </a:cubicBezTo>
                  <a:cubicBezTo>
                    <a:pt x="2979815" y="1136601"/>
                    <a:pt x="2997315" y="1119102"/>
                    <a:pt x="3018902" y="1119102"/>
                  </a:cubicBezTo>
                  <a:close/>
                  <a:moveTo>
                    <a:pt x="2924263" y="1119102"/>
                  </a:moveTo>
                  <a:cubicBezTo>
                    <a:pt x="2945850" y="1119102"/>
                    <a:pt x="2963349" y="1136601"/>
                    <a:pt x="2963349" y="1158188"/>
                  </a:cubicBezTo>
                  <a:cubicBezTo>
                    <a:pt x="2963349" y="1179775"/>
                    <a:pt x="2945850" y="1197263"/>
                    <a:pt x="2924263" y="1197263"/>
                  </a:cubicBezTo>
                  <a:cubicBezTo>
                    <a:pt x="2902675" y="1197263"/>
                    <a:pt x="2885175" y="1179775"/>
                    <a:pt x="2885175" y="1158188"/>
                  </a:cubicBezTo>
                  <a:cubicBezTo>
                    <a:pt x="2885175" y="1136601"/>
                    <a:pt x="2902675" y="1119102"/>
                    <a:pt x="2924263" y="1119102"/>
                  </a:cubicBezTo>
                  <a:close/>
                  <a:moveTo>
                    <a:pt x="2831988" y="1119102"/>
                  </a:moveTo>
                  <a:cubicBezTo>
                    <a:pt x="2853575" y="1119102"/>
                    <a:pt x="2871075" y="1136601"/>
                    <a:pt x="2871075" y="1158188"/>
                  </a:cubicBezTo>
                  <a:cubicBezTo>
                    <a:pt x="2871075" y="1179775"/>
                    <a:pt x="2853575" y="1197263"/>
                    <a:pt x="2831988" y="1197263"/>
                  </a:cubicBezTo>
                  <a:cubicBezTo>
                    <a:pt x="2810401" y="1197263"/>
                    <a:pt x="2792901" y="1179775"/>
                    <a:pt x="2792901" y="1158188"/>
                  </a:cubicBezTo>
                  <a:cubicBezTo>
                    <a:pt x="2792901" y="1136601"/>
                    <a:pt x="2810401" y="1119102"/>
                    <a:pt x="2831988" y="1119102"/>
                  </a:cubicBezTo>
                  <a:close/>
                  <a:moveTo>
                    <a:pt x="2737367" y="1119102"/>
                  </a:moveTo>
                  <a:cubicBezTo>
                    <a:pt x="2758935" y="1119102"/>
                    <a:pt x="2776435" y="1136601"/>
                    <a:pt x="2776435" y="1158188"/>
                  </a:cubicBezTo>
                  <a:cubicBezTo>
                    <a:pt x="2776435" y="1179775"/>
                    <a:pt x="2758935" y="1197263"/>
                    <a:pt x="2737367" y="1197263"/>
                  </a:cubicBezTo>
                  <a:cubicBezTo>
                    <a:pt x="2715775" y="1197263"/>
                    <a:pt x="2698271" y="1179775"/>
                    <a:pt x="2698271" y="1158188"/>
                  </a:cubicBezTo>
                  <a:cubicBezTo>
                    <a:pt x="2698271" y="1136601"/>
                    <a:pt x="2715775" y="1119102"/>
                    <a:pt x="2737367" y="1119102"/>
                  </a:cubicBezTo>
                  <a:close/>
                  <a:moveTo>
                    <a:pt x="2645076" y="1119102"/>
                  </a:moveTo>
                  <a:cubicBezTo>
                    <a:pt x="2666663" y="1119102"/>
                    <a:pt x="2684167" y="1136601"/>
                    <a:pt x="2684167" y="1158188"/>
                  </a:cubicBezTo>
                  <a:cubicBezTo>
                    <a:pt x="2684167" y="1179775"/>
                    <a:pt x="2666663" y="1197263"/>
                    <a:pt x="2645076" y="1197263"/>
                  </a:cubicBezTo>
                  <a:cubicBezTo>
                    <a:pt x="2623490" y="1197263"/>
                    <a:pt x="2605987" y="1179775"/>
                    <a:pt x="2605987" y="1158188"/>
                  </a:cubicBezTo>
                  <a:cubicBezTo>
                    <a:pt x="2605987" y="1136601"/>
                    <a:pt x="2623490" y="1119102"/>
                    <a:pt x="2645076" y="1119102"/>
                  </a:cubicBezTo>
                  <a:close/>
                  <a:moveTo>
                    <a:pt x="2550439" y="1119102"/>
                  </a:moveTo>
                  <a:cubicBezTo>
                    <a:pt x="2572024" y="1119102"/>
                    <a:pt x="2589523" y="1136601"/>
                    <a:pt x="2589523" y="1158188"/>
                  </a:cubicBezTo>
                  <a:cubicBezTo>
                    <a:pt x="2589523" y="1179775"/>
                    <a:pt x="2572024" y="1197263"/>
                    <a:pt x="2550439" y="1197263"/>
                  </a:cubicBezTo>
                  <a:cubicBezTo>
                    <a:pt x="2528851" y="1197263"/>
                    <a:pt x="2511357" y="1179775"/>
                    <a:pt x="2511357" y="1158188"/>
                  </a:cubicBezTo>
                  <a:cubicBezTo>
                    <a:pt x="2511357" y="1136601"/>
                    <a:pt x="2528851" y="1119102"/>
                    <a:pt x="2550439" y="1119102"/>
                  </a:cubicBezTo>
                  <a:close/>
                  <a:moveTo>
                    <a:pt x="2458167" y="1119102"/>
                  </a:moveTo>
                  <a:cubicBezTo>
                    <a:pt x="2479755" y="1119102"/>
                    <a:pt x="2497254" y="1136601"/>
                    <a:pt x="2497254" y="1158188"/>
                  </a:cubicBezTo>
                  <a:cubicBezTo>
                    <a:pt x="2497254" y="1179775"/>
                    <a:pt x="2479755" y="1197263"/>
                    <a:pt x="2458167" y="1197263"/>
                  </a:cubicBezTo>
                  <a:cubicBezTo>
                    <a:pt x="2436589" y="1197263"/>
                    <a:pt x="2419085" y="1179775"/>
                    <a:pt x="2419085" y="1158188"/>
                  </a:cubicBezTo>
                  <a:cubicBezTo>
                    <a:pt x="2419085" y="1136601"/>
                    <a:pt x="2436589" y="1119102"/>
                    <a:pt x="2458167" y="1119102"/>
                  </a:cubicBezTo>
                  <a:close/>
                  <a:moveTo>
                    <a:pt x="1419551" y="1119102"/>
                  </a:moveTo>
                  <a:cubicBezTo>
                    <a:pt x="1441137" y="1119102"/>
                    <a:pt x="1458638" y="1136601"/>
                    <a:pt x="1458638" y="1158188"/>
                  </a:cubicBezTo>
                  <a:cubicBezTo>
                    <a:pt x="1458638" y="1179775"/>
                    <a:pt x="1441137" y="1197263"/>
                    <a:pt x="1419551" y="1197263"/>
                  </a:cubicBezTo>
                  <a:cubicBezTo>
                    <a:pt x="1397958" y="1197263"/>
                    <a:pt x="1380457" y="1179775"/>
                    <a:pt x="1380457" y="1158188"/>
                  </a:cubicBezTo>
                  <a:cubicBezTo>
                    <a:pt x="1380457" y="1136601"/>
                    <a:pt x="1397958" y="1119102"/>
                    <a:pt x="1419551" y="1119102"/>
                  </a:cubicBezTo>
                  <a:close/>
                  <a:moveTo>
                    <a:pt x="1329639" y="1119102"/>
                  </a:moveTo>
                  <a:cubicBezTo>
                    <a:pt x="1351226" y="1119102"/>
                    <a:pt x="1368728" y="1136601"/>
                    <a:pt x="1368728" y="1158188"/>
                  </a:cubicBezTo>
                  <a:cubicBezTo>
                    <a:pt x="1368728" y="1179775"/>
                    <a:pt x="1351226" y="1197263"/>
                    <a:pt x="1329639" y="1197263"/>
                  </a:cubicBezTo>
                  <a:cubicBezTo>
                    <a:pt x="1308055" y="1197263"/>
                    <a:pt x="1290557" y="1179775"/>
                    <a:pt x="1290557" y="1158188"/>
                  </a:cubicBezTo>
                  <a:cubicBezTo>
                    <a:pt x="1290557" y="1136601"/>
                    <a:pt x="1308055" y="1119102"/>
                    <a:pt x="1329639" y="1119102"/>
                  </a:cubicBezTo>
                  <a:close/>
                  <a:moveTo>
                    <a:pt x="1232644" y="1119102"/>
                  </a:moveTo>
                  <a:cubicBezTo>
                    <a:pt x="1254227" y="1119102"/>
                    <a:pt x="1271718" y="1136601"/>
                    <a:pt x="1271718" y="1158188"/>
                  </a:cubicBezTo>
                  <a:cubicBezTo>
                    <a:pt x="1271718" y="1179775"/>
                    <a:pt x="1254227" y="1197263"/>
                    <a:pt x="1232644" y="1197263"/>
                  </a:cubicBezTo>
                  <a:cubicBezTo>
                    <a:pt x="1211054" y="1197263"/>
                    <a:pt x="1193557" y="1179775"/>
                    <a:pt x="1193557" y="1158188"/>
                  </a:cubicBezTo>
                  <a:cubicBezTo>
                    <a:pt x="1193557" y="1136601"/>
                    <a:pt x="1211054" y="1119102"/>
                    <a:pt x="1232644" y="1119102"/>
                  </a:cubicBezTo>
                  <a:close/>
                  <a:moveTo>
                    <a:pt x="1142731" y="1119102"/>
                  </a:moveTo>
                  <a:cubicBezTo>
                    <a:pt x="1164323" y="1119102"/>
                    <a:pt x="1181822" y="1136601"/>
                    <a:pt x="1181822" y="1158188"/>
                  </a:cubicBezTo>
                  <a:cubicBezTo>
                    <a:pt x="1181822" y="1179775"/>
                    <a:pt x="1164323" y="1197263"/>
                    <a:pt x="1142731" y="1197263"/>
                  </a:cubicBezTo>
                  <a:cubicBezTo>
                    <a:pt x="1121139" y="1197263"/>
                    <a:pt x="1103634" y="1179775"/>
                    <a:pt x="1103634" y="1158188"/>
                  </a:cubicBezTo>
                  <a:cubicBezTo>
                    <a:pt x="1103634" y="1136601"/>
                    <a:pt x="1121139" y="1119102"/>
                    <a:pt x="1142731" y="1119102"/>
                  </a:cubicBezTo>
                  <a:close/>
                  <a:moveTo>
                    <a:pt x="1045709" y="1119102"/>
                  </a:moveTo>
                  <a:cubicBezTo>
                    <a:pt x="1067294" y="1119102"/>
                    <a:pt x="1084799" y="1136601"/>
                    <a:pt x="1084799" y="1158188"/>
                  </a:cubicBezTo>
                  <a:cubicBezTo>
                    <a:pt x="1084799" y="1179775"/>
                    <a:pt x="1067294" y="1197263"/>
                    <a:pt x="1045709" y="1197263"/>
                  </a:cubicBezTo>
                  <a:cubicBezTo>
                    <a:pt x="1024126" y="1197263"/>
                    <a:pt x="1006627" y="1179775"/>
                    <a:pt x="1006627" y="1158188"/>
                  </a:cubicBezTo>
                  <a:cubicBezTo>
                    <a:pt x="1006627" y="1136601"/>
                    <a:pt x="1024126" y="1119102"/>
                    <a:pt x="1045709" y="1119102"/>
                  </a:cubicBezTo>
                  <a:close/>
                  <a:moveTo>
                    <a:pt x="951081" y="1119102"/>
                  </a:moveTo>
                  <a:cubicBezTo>
                    <a:pt x="972665" y="1119102"/>
                    <a:pt x="990163" y="1136601"/>
                    <a:pt x="990163" y="1158188"/>
                  </a:cubicBezTo>
                  <a:cubicBezTo>
                    <a:pt x="990163" y="1179775"/>
                    <a:pt x="972665" y="1197263"/>
                    <a:pt x="951081" y="1197263"/>
                  </a:cubicBezTo>
                  <a:cubicBezTo>
                    <a:pt x="929496" y="1197263"/>
                    <a:pt x="911999" y="1179775"/>
                    <a:pt x="911999" y="1158188"/>
                  </a:cubicBezTo>
                  <a:cubicBezTo>
                    <a:pt x="911999" y="1136601"/>
                    <a:pt x="929496" y="1119102"/>
                    <a:pt x="951081" y="1119102"/>
                  </a:cubicBezTo>
                  <a:close/>
                  <a:moveTo>
                    <a:pt x="856453" y="1119102"/>
                  </a:moveTo>
                  <a:cubicBezTo>
                    <a:pt x="878037" y="1119102"/>
                    <a:pt x="895535" y="1136601"/>
                    <a:pt x="895535" y="1158188"/>
                  </a:cubicBezTo>
                  <a:cubicBezTo>
                    <a:pt x="895535" y="1179775"/>
                    <a:pt x="878037" y="1197263"/>
                    <a:pt x="856453" y="1197263"/>
                  </a:cubicBezTo>
                  <a:cubicBezTo>
                    <a:pt x="834868" y="1197263"/>
                    <a:pt x="817371" y="1179775"/>
                    <a:pt x="817371" y="1158188"/>
                  </a:cubicBezTo>
                  <a:cubicBezTo>
                    <a:pt x="817371" y="1136601"/>
                    <a:pt x="834868" y="1119102"/>
                    <a:pt x="856453" y="1119102"/>
                  </a:cubicBezTo>
                  <a:close/>
                  <a:moveTo>
                    <a:pt x="764190" y="1119102"/>
                  </a:moveTo>
                  <a:cubicBezTo>
                    <a:pt x="785775" y="1119102"/>
                    <a:pt x="803273" y="1136601"/>
                    <a:pt x="803273" y="1158188"/>
                  </a:cubicBezTo>
                  <a:cubicBezTo>
                    <a:pt x="803273" y="1179775"/>
                    <a:pt x="785775" y="1197263"/>
                    <a:pt x="764190" y="1197263"/>
                  </a:cubicBezTo>
                  <a:cubicBezTo>
                    <a:pt x="742599" y="1197263"/>
                    <a:pt x="725108" y="1179775"/>
                    <a:pt x="725108" y="1158188"/>
                  </a:cubicBezTo>
                  <a:cubicBezTo>
                    <a:pt x="725108" y="1136601"/>
                    <a:pt x="742599" y="1119102"/>
                    <a:pt x="764190" y="1119102"/>
                  </a:cubicBezTo>
                  <a:close/>
                  <a:moveTo>
                    <a:pt x="669546" y="1119102"/>
                  </a:moveTo>
                  <a:cubicBezTo>
                    <a:pt x="691146" y="1119102"/>
                    <a:pt x="708645" y="1136601"/>
                    <a:pt x="708645" y="1158188"/>
                  </a:cubicBezTo>
                  <a:cubicBezTo>
                    <a:pt x="708645" y="1179775"/>
                    <a:pt x="691146" y="1197263"/>
                    <a:pt x="669546" y="1197263"/>
                  </a:cubicBezTo>
                  <a:cubicBezTo>
                    <a:pt x="647970" y="1197263"/>
                    <a:pt x="630466" y="1179775"/>
                    <a:pt x="630466" y="1158188"/>
                  </a:cubicBezTo>
                  <a:cubicBezTo>
                    <a:pt x="630466" y="1136601"/>
                    <a:pt x="647970" y="1119102"/>
                    <a:pt x="669546" y="1119102"/>
                  </a:cubicBezTo>
                  <a:close/>
                  <a:moveTo>
                    <a:pt x="111145" y="1119102"/>
                  </a:moveTo>
                  <a:cubicBezTo>
                    <a:pt x="132732" y="1119102"/>
                    <a:pt x="150233" y="1136602"/>
                    <a:pt x="150233" y="1158188"/>
                  </a:cubicBezTo>
                  <a:cubicBezTo>
                    <a:pt x="150233" y="1179776"/>
                    <a:pt x="132732" y="1197263"/>
                    <a:pt x="111145" y="1197263"/>
                  </a:cubicBezTo>
                  <a:cubicBezTo>
                    <a:pt x="89558" y="1197263"/>
                    <a:pt x="72060" y="1179776"/>
                    <a:pt x="72060" y="1158188"/>
                  </a:cubicBezTo>
                  <a:cubicBezTo>
                    <a:pt x="72060" y="1136602"/>
                    <a:pt x="89558" y="1119102"/>
                    <a:pt x="111145" y="1119102"/>
                  </a:cubicBezTo>
                  <a:close/>
                  <a:moveTo>
                    <a:pt x="24845" y="1037379"/>
                  </a:moveTo>
                  <a:lnTo>
                    <a:pt x="44149" y="1045374"/>
                  </a:lnTo>
                  <a:cubicBezTo>
                    <a:pt x="51222" y="1052447"/>
                    <a:pt x="55597" y="1062219"/>
                    <a:pt x="55597" y="1073013"/>
                  </a:cubicBezTo>
                  <a:cubicBezTo>
                    <a:pt x="55597" y="1094599"/>
                    <a:pt x="38097" y="1112099"/>
                    <a:pt x="16510" y="1112099"/>
                  </a:cubicBezTo>
                  <a:lnTo>
                    <a:pt x="0" y="1105261"/>
                  </a:lnTo>
                  <a:close/>
                  <a:moveTo>
                    <a:pt x="3679017" y="1033926"/>
                  </a:moveTo>
                  <a:cubicBezTo>
                    <a:pt x="3700604" y="1033926"/>
                    <a:pt x="3718103" y="1051425"/>
                    <a:pt x="3718103" y="1073013"/>
                  </a:cubicBezTo>
                  <a:cubicBezTo>
                    <a:pt x="3718103" y="1094599"/>
                    <a:pt x="3700604" y="1112099"/>
                    <a:pt x="3679017" y="1112099"/>
                  </a:cubicBezTo>
                  <a:cubicBezTo>
                    <a:pt x="3657429" y="1112099"/>
                    <a:pt x="3639929" y="1094599"/>
                    <a:pt x="3639929" y="1073013"/>
                  </a:cubicBezTo>
                  <a:cubicBezTo>
                    <a:pt x="3639929" y="1051425"/>
                    <a:pt x="3657429" y="1033926"/>
                    <a:pt x="3679017" y="1033926"/>
                  </a:cubicBezTo>
                  <a:close/>
                  <a:moveTo>
                    <a:pt x="3584377" y="1033926"/>
                  </a:moveTo>
                  <a:cubicBezTo>
                    <a:pt x="3605964" y="1033926"/>
                    <a:pt x="3623463" y="1051425"/>
                    <a:pt x="3623463" y="1073013"/>
                  </a:cubicBezTo>
                  <a:cubicBezTo>
                    <a:pt x="3623463" y="1094599"/>
                    <a:pt x="3605964" y="1112099"/>
                    <a:pt x="3584377" y="1112099"/>
                  </a:cubicBezTo>
                  <a:cubicBezTo>
                    <a:pt x="3562789" y="1112099"/>
                    <a:pt x="3545289" y="1094599"/>
                    <a:pt x="3545289" y="1073013"/>
                  </a:cubicBezTo>
                  <a:cubicBezTo>
                    <a:pt x="3545289" y="1051425"/>
                    <a:pt x="3562789" y="1033926"/>
                    <a:pt x="3584377" y="1033926"/>
                  </a:cubicBezTo>
                  <a:close/>
                  <a:moveTo>
                    <a:pt x="3489737" y="1033926"/>
                  </a:moveTo>
                  <a:cubicBezTo>
                    <a:pt x="3511324" y="1033926"/>
                    <a:pt x="3528823" y="1051425"/>
                    <a:pt x="3528823" y="1073013"/>
                  </a:cubicBezTo>
                  <a:cubicBezTo>
                    <a:pt x="3528823" y="1094599"/>
                    <a:pt x="3511324" y="1112099"/>
                    <a:pt x="3489737" y="1112099"/>
                  </a:cubicBezTo>
                  <a:cubicBezTo>
                    <a:pt x="3468149" y="1112099"/>
                    <a:pt x="3450649" y="1094599"/>
                    <a:pt x="3450649" y="1073013"/>
                  </a:cubicBezTo>
                  <a:cubicBezTo>
                    <a:pt x="3450649" y="1051425"/>
                    <a:pt x="3468149" y="1033926"/>
                    <a:pt x="3489737" y="1033926"/>
                  </a:cubicBezTo>
                  <a:close/>
                  <a:moveTo>
                    <a:pt x="3392731" y="1033926"/>
                  </a:moveTo>
                  <a:cubicBezTo>
                    <a:pt x="3414319" y="1033926"/>
                    <a:pt x="3431819" y="1051425"/>
                    <a:pt x="3431819" y="1073013"/>
                  </a:cubicBezTo>
                  <a:cubicBezTo>
                    <a:pt x="3431819" y="1094599"/>
                    <a:pt x="3414319" y="1112099"/>
                    <a:pt x="3392731" y="1112099"/>
                  </a:cubicBezTo>
                  <a:cubicBezTo>
                    <a:pt x="3371144" y="1112099"/>
                    <a:pt x="3353644" y="1094599"/>
                    <a:pt x="3353644" y="1073013"/>
                  </a:cubicBezTo>
                  <a:cubicBezTo>
                    <a:pt x="3353644" y="1051425"/>
                    <a:pt x="3371144" y="1033926"/>
                    <a:pt x="3392731" y="1033926"/>
                  </a:cubicBezTo>
                  <a:close/>
                  <a:moveTo>
                    <a:pt x="3300455" y="1033926"/>
                  </a:moveTo>
                  <a:cubicBezTo>
                    <a:pt x="3322043" y="1033926"/>
                    <a:pt x="3339543" y="1051425"/>
                    <a:pt x="3339543" y="1073013"/>
                  </a:cubicBezTo>
                  <a:cubicBezTo>
                    <a:pt x="3339543" y="1094599"/>
                    <a:pt x="3322043" y="1112099"/>
                    <a:pt x="3300455" y="1112099"/>
                  </a:cubicBezTo>
                  <a:cubicBezTo>
                    <a:pt x="3278868" y="1112099"/>
                    <a:pt x="3261368" y="1094599"/>
                    <a:pt x="3261368" y="1073013"/>
                  </a:cubicBezTo>
                  <a:cubicBezTo>
                    <a:pt x="3261368" y="1051425"/>
                    <a:pt x="3278868" y="1033926"/>
                    <a:pt x="3300455" y="1033926"/>
                  </a:cubicBezTo>
                  <a:close/>
                  <a:moveTo>
                    <a:pt x="3205815" y="1033926"/>
                  </a:moveTo>
                  <a:cubicBezTo>
                    <a:pt x="3227403" y="1033926"/>
                    <a:pt x="3244903" y="1051425"/>
                    <a:pt x="3244903" y="1073013"/>
                  </a:cubicBezTo>
                  <a:cubicBezTo>
                    <a:pt x="3244903" y="1094599"/>
                    <a:pt x="3227403" y="1112099"/>
                    <a:pt x="3205815" y="1112099"/>
                  </a:cubicBezTo>
                  <a:cubicBezTo>
                    <a:pt x="3184228" y="1112099"/>
                    <a:pt x="3166728" y="1094599"/>
                    <a:pt x="3166728" y="1073013"/>
                  </a:cubicBezTo>
                  <a:cubicBezTo>
                    <a:pt x="3166728" y="1051425"/>
                    <a:pt x="3184228" y="1033926"/>
                    <a:pt x="3205815" y="1033926"/>
                  </a:cubicBezTo>
                  <a:close/>
                  <a:moveTo>
                    <a:pt x="3111175" y="1033926"/>
                  </a:moveTo>
                  <a:cubicBezTo>
                    <a:pt x="3132763" y="1033926"/>
                    <a:pt x="3150263" y="1051425"/>
                    <a:pt x="3150263" y="1073013"/>
                  </a:cubicBezTo>
                  <a:cubicBezTo>
                    <a:pt x="3150263" y="1094599"/>
                    <a:pt x="3132763" y="1112099"/>
                    <a:pt x="3111175" y="1112099"/>
                  </a:cubicBezTo>
                  <a:cubicBezTo>
                    <a:pt x="3089588" y="1112099"/>
                    <a:pt x="3072088" y="1094599"/>
                    <a:pt x="3072088" y="1073013"/>
                  </a:cubicBezTo>
                  <a:cubicBezTo>
                    <a:pt x="3072088" y="1051425"/>
                    <a:pt x="3089588" y="1033926"/>
                    <a:pt x="3111175" y="1033926"/>
                  </a:cubicBezTo>
                  <a:close/>
                  <a:moveTo>
                    <a:pt x="3018902" y="1033926"/>
                  </a:moveTo>
                  <a:cubicBezTo>
                    <a:pt x="3040489" y="1033926"/>
                    <a:pt x="3057989" y="1051425"/>
                    <a:pt x="3057989" y="1073013"/>
                  </a:cubicBezTo>
                  <a:cubicBezTo>
                    <a:pt x="3057989" y="1094599"/>
                    <a:pt x="3040489" y="1112099"/>
                    <a:pt x="3018902" y="1112099"/>
                  </a:cubicBezTo>
                  <a:cubicBezTo>
                    <a:pt x="2997315" y="1112099"/>
                    <a:pt x="2979815" y="1094599"/>
                    <a:pt x="2979815" y="1073013"/>
                  </a:cubicBezTo>
                  <a:cubicBezTo>
                    <a:pt x="2979815" y="1051425"/>
                    <a:pt x="2997315" y="1033926"/>
                    <a:pt x="3018902" y="1033926"/>
                  </a:cubicBezTo>
                  <a:close/>
                  <a:moveTo>
                    <a:pt x="2924263" y="1033926"/>
                  </a:moveTo>
                  <a:cubicBezTo>
                    <a:pt x="2945850" y="1033926"/>
                    <a:pt x="2963349" y="1051425"/>
                    <a:pt x="2963349" y="1073013"/>
                  </a:cubicBezTo>
                  <a:cubicBezTo>
                    <a:pt x="2963349" y="1094599"/>
                    <a:pt x="2945850" y="1112099"/>
                    <a:pt x="2924263" y="1112099"/>
                  </a:cubicBezTo>
                  <a:cubicBezTo>
                    <a:pt x="2902675" y="1112099"/>
                    <a:pt x="2885175" y="1094599"/>
                    <a:pt x="2885175" y="1073013"/>
                  </a:cubicBezTo>
                  <a:cubicBezTo>
                    <a:pt x="2885175" y="1051425"/>
                    <a:pt x="2902675" y="1033926"/>
                    <a:pt x="2924263" y="1033926"/>
                  </a:cubicBezTo>
                  <a:close/>
                  <a:moveTo>
                    <a:pt x="2831987" y="1033926"/>
                  </a:moveTo>
                  <a:cubicBezTo>
                    <a:pt x="2853574" y="1033926"/>
                    <a:pt x="2871074" y="1051425"/>
                    <a:pt x="2871074" y="1073013"/>
                  </a:cubicBezTo>
                  <a:cubicBezTo>
                    <a:pt x="2871074" y="1094599"/>
                    <a:pt x="2853574" y="1112099"/>
                    <a:pt x="2831987" y="1112099"/>
                  </a:cubicBezTo>
                  <a:cubicBezTo>
                    <a:pt x="2810400" y="1112099"/>
                    <a:pt x="2792900" y="1094599"/>
                    <a:pt x="2792900" y="1073013"/>
                  </a:cubicBezTo>
                  <a:cubicBezTo>
                    <a:pt x="2792900" y="1051425"/>
                    <a:pt x="2810400" y="1033926"/>
                    <a:pt x="2831987" y="1033926"/>
                  </a:cubicBezTo>
                  <a:close/>
                  <a:moveTo>
                    <a:pt x="2737368" y="1033926"/>
                  </a:moveTo>
                  <a:cubicBezTo>
                    <a:pt x="2758934" y="1033926"/>
                    <a:pt x="2776434" y="1051425"/>
                    <a:pt x="2776434" y="1073013"/>
                  </a:cubicBezTo>
                  <a:cubicBezTo>
                    <a:pt x="2776434" y="1094599"/>
                    <a:pt x="2758934" y="1112099"/>
                    <a:pt x="2737368" y="1112099"/>
                  </a:cubicBezTo>
                  <a:cubicBezTo>
                    <a:pt x="2715775" y="1112099"/>
                    <a:pt x="2698271" y="1094599"/>
                    <a:pt x="2698271" y="1073013"/>
                  </a:cubicBezTo>
                  <a:cubicBezTo>
                    <a:pt x="2698271" y="1051425"/>
                    <a:pt x="2715775" y="1033926"/>
                    <a:pt x="2737368" y="1033926"/>
                  </a:cubicBezTo>
                  <a:close/>
                  <a:moveTo>
                    <a:pt x="2645074" y="1033926"/>
                  </a:moveTo>
                  <a:cubicBezTo>
                    <a:pt x="2666662" y="1033926"/>
                    <a:pt x="2684167" y="1051425"/>
                    <a:pt x="2684167" y="1073013"/>
                  </a:cubicBezTo>
                  <a:cubicBezTo>
                    <a:pt x="2684167" y="1094599"/>
                    <a:pt x="2666662" y="1112099"/>
                    <a:pt x="2645074" y="1112099"/>
                  </a:cubicBezTo>
                  <a:cubicBezTo>
                    <a:pt x="2623489" y="1112099"/>
                    <a:pt x="2605987" y="1094599"/>
                    <a:pt x="2605987" y="1073013"/>
                  </a:cubicBezTo>
                  <a:cubicBezTo>
                    <a:pt x="2605987" y="1051425"/>
                    <a:pt x="2623489" y="1033926"/>
                    <a:pt x="2645074" y="1033926"/>
                  </a:cubicBezTo>
                  <a:close/>
                  <a:moveTo>
                    <a:pt x="2550439" y="1033926"/>
                  </a:moveTo>
                  <a:cubicBezTo>
                    <a:pt x="2572024" y="1033926"/>
                    <a:pt x="2589524" y="1051425"/>
                    <a:pt x="2589524" y="1073013"/>
                  </a:cubicBezTo>
                  <a:cubicBezTo>
                    <a:pt x="2589524" y="1094599"/>
                    <a:pt x="2572024" y="1112099"/>
                    <a:pt x="2550439" y="1112099"/>
                  </a:cubicBezTo>
                  <a:cubicBezTo>
                    <a:pt x="2528852" y="1112099"/>
                    <a:pt x="2511357" y="1094599"/>
                    <a:pt x="2511357" y="1073013"/>
                  </a:cubicBezTo>
                  <a:cubicBezTo>
                    <a:pt x="2511357" y="1051425"/>
                    <a:pt x="2528852" y="1033926"/>
                    <a:pt x="2550439" y="1033926"/>
                  </a:cubicBezTo>
                  <a:close/>
                  <a:moveTo>
                    <a:pt x="2458167" y="1033926"/>
                  </a:moveTo>
                  <a:cubicBezTo>
                    <a:pt x="2479755" y="1033926"/>
                    <a:pt x="2497254" y="1051425"/>
                    <a:pt x="2497254" y="1073013"/>
                  </a:cubicBezTo>
                  <a:cubicBezTo>
                    <a:pt x="2497254" y="1094599"/>
                    <a:pt x="2479755" y="1112099"/>
                    <a:pt x="2458167" y="1112099"/>
                  </a:cubicBezTo>
                  <a:cubicBezTo>
                    <a:pt x="2436589" y="1112099"/>
                    <a:pt x="2419085" y="1094599"/>
                    <a:pt x="2419085" y="1073013"/>
                  </a:cubicBezTo>
                  <a:cubicBezTo>
                    <a:pt x="2419085" y="1051425"/>
                    <a:pt x="2436589" y="1033926"/>
                    <a:pt x="2458167" y="1033926"/>
                  </a:cubicBezTo>
                  <a:close/>
                  <a:moveTo>
                    <a:pt x="2363531" y="1033926"/>
                  </a:moveTo>
                  <a:cubicBezTo>
                    <a:pt x="2385121" y="1033926"/>
                    <a:pt x="2402615" y="1051425"/>
                    <a:pt x="2402615" y="1073013"/>
                  </a:cubicBezTo>
                  <a:cubicBezTo>
                    <a:pt x="2402615" y="1094599"/>
                    <a:pt x="2385121" y="1112099"/>
                    <a:pt x="2363531" y="1112099"/>
                  </a:cubicBezTo>
                  <a:cubicBezTo>
                    <a:pt x="2341947" y="1112099"/>
                    <a:pt x="2324444" y="1094599"/>
                    <a:pt x="2324444" y="1073013"/>
                  </a:cubicBezTo>
                  <a:cubicBezTo>
                    <a:pt x="2324444" y="1051425"/>
                    <a:pt x="2341947" y="1033926"/>
                    <a:pt x="2363531" y="1033926"/>
                  </a:cubicBezTo>
                  <a:close/>
                  <a:moveTo>
                    <a:pt x="1419556" y="1033926"/>
                  </a:moveTo>
                  <a:cubicBezTo>
                    <a:pt x="1441140" y="1033926"/>
                    <a:pt x="1458643" y="1051425"/>
                    <a:pt x="1458643" y="1073013"/>
                  </a:cubicBezTo>
                  <a:cubicBezTo>
                    <a:pt x="1458643" y="1094599"/>
                    <a:pt x="1441140" y="1112099"/>
                    <a:pt x="1419556" y="1112099"/>
                  </a:cubicBezTo>
                  <a:cubicBezTo>
                    <a:pt x="1397963" y="1112099"/>
                    <a:pt x="1380461" y="1094599"/>
                    <a:pt x="1380461" y="1073013"/>
                  </a:cubicBezTo>
                  <a:cubicBezTo>
                    <a:pt x="1380461" y="1051425"/>
                    <a:pt x="1397963" y="1033926"/>
                    <a:pt x="1419556" y="1033926"/>
                  </a:cubicBezTo>
                  <a:close/>
                  <a:moveTo>
                    <a:pt x="1329642" y="1033926"/>
                  </a:moveTo>
                  <a:cubicBezTo>
                    <a:pt x="1351228" y="1033926"/>
                    <a:pt x="1368731" y="1051425"/>
                    <a:pt x="1368731" y="1073013"/>
                  </a:cubicBezTo>
                  <a:cubicBezTo>
                    <a:pt x="1368731" y="1094599"/>
                    <a:pt x="1351228" y="1112099"/>
                    <a:pt x="1329642" y="1112099"/>
                  </a:cubicBezTo>
                  <a:cubicBezTo>
                    <a:pt x="1308059" y="1112099"/>
                    <a:pt x="1290561" y="1094599"/>
                    <a:pt x="1290561" y="1073013"/>
                  </a:cubicBezTo>
                  <a:cubicBezTo>
                    <a:pt x="1290561" y="1051425"/>
                    <a:pt x="1308059" y="1033926"/>
                    <a:pt x="1329642" y="1033926"/>
                  </a:cubicBezTo>
                  <a:close/>
                  <a:moveTo>
                    <a:pt x="1232649" y="1033926"/>
                  </a:moveTo>
                  <a:cubicBezTo>
                    <a:pt x="1254235" y="1033926"/>
                    <a:pt x="1271722" y="1051425"/>
                    <a:pt x="1271722" y="1073013"/>
                  </a:cubicBezTo>
                  <a:cubicBezTo>
                    <a:pt x="1271722" y="1094599"/>
                    <a:pt x="1254235" y="1112099"/>
                    <a:pt x="1232649" y="1112099"/>
                  </a:cubicBezTo>
                  <a:cubicBezTo>
                    <a:pt x="1211058" y="1112099"/>
                    <a:pt x="1193565" y="1094599"/>
                    <a:pt x="1193565" y="1073013"/>
                  </a:cubicBezTo>
                  <a:cubicBezTo>
                    <a:pt x="1193565" y="1051425"/>
                    <a:pt x="1211058" y="1033926"/>
                    <a:pt x="1232649" y="1033926"/>
                  </a:cubicBezTo>
                  <a:close/>
                  <a:moveTo>
                    <a:pt x="1142736" y="1033926"/>
                  </a:moveTo>
                  <a:cubicBezTo>
                    <a:pt x="1164329" y="1033926"/>
                    <a:pt x="1181828" y="1051425"/>
                    <a:pt x="1181828" y="1073013"/>
                  </a:cubicBezTo>
                  <a:cubicBezTo>
                    <a:pt x="1181828" y="1094599"/>
                    <a:pt x="1164329" y="1112099"/>
                    <a:pt x="1142736" y="1112099"/>
                  </a:cubicBezTo>
                  <a:cubicBezTo>
                    <a:pt x="1121143" y="1112099"/>
                    <a:pt x="1103639" y="1094599"/>
                    <a:pt x="1103639" y="1073013"/>
                  </a:cubicBezTo>
                  <a:cubicBezTo>
                    <a:pt x="1103639" y="1051425"/>
                    <a:pt x="1121143" y="1033926"/>
                    <a:pt x="1142736" y="1033926"/>
                  </a:cubicBezTo>
                  <a:close/>
                  <a:moveTo>
                    <a:pt x="1045712" y="1033926"/>
                  </a:moveTo>
                  <a:cubicBezTo>
                    <a:pt x="1067297" y="1033926"/>
                    <a:pt x="1084802" y="1051425"/>
                    <a:pt x="1084802" y="1073013"/>
                  </a:cubicBezTo>
                  <a:cubicBezTo>
                    <a:pt x="1084802" y="1094599"/>
                    <a:pt x="1067297" y="1112099"/>
                    <a:pt x="1045712" y="1112099"/>
                  </a:cubicBezTo>
                  <a:cubicBezTo>
                    <a:pt x="1024128" y="1112099"/>
                    <a:pt x="1006631" y="1094599"/>
                    <a:pt x="1006631" y="1073013"/>
                  </a:cubicBezTo>
                  <a:cubicBezTo>
                    <a:pt x="1006631" y="1051425"/>
                    <a:pt x="1024128" y="1033926"/>
                    <a:pt x="1045712" y="1033926"/>
                  </a:cubicBezTo>
                  <a:close/>
                  <a:moveTo>
                    <a:pt x="951085" y="1033926"/>
                  </a:moveTo>
                  <a:cubicBezTo>
                    <a:pt x="972669" y="1033926"/>
                    <a:pt x="990166" y="1051425"/>
                    <a:pt x="990166" y="1073013"/>
                  </a:cubicBezTo>
                  <a:cubicBezTo>
                    <a:pt x="990166" y="1094599"/>
                    <a:pt x="972669" y="1112099"/>
                    <a:pt x="951085" y="1112099"/>
                  </a:cubicBezTo>
                  <a:cubicBezTo>
                    <a:pt x="929501" y="1112099"/>
                    <a:pt x="912003" y="1094599"/>
                    <a:pt x="912003" y="1073013"/>
                  </a:cubicBezTo>
                  <a:cubicBezTo>
                    <a:pt x="912003" y="1051425"/>
                    <a:pt x="929501" y="1033926"/>
                    <a:pt x="951085" y="1033926"/>
                  </a:cubicBezTo>
                  <a:close/>
                  <a:moveTo>
                    <a:pt x="856458" y="1033926"/>
                  </a:moveTo>
                  <a:cubicBezTo>
                    <a:pt x="878042" y="1033926"/>
                    <a:pt x="895540" y="1051425"/>
                    <a:pt x="895540" y="1073013"/>
                  </a:cubicBezTo>
                  <a:cubicBezTo>
                    <a:pt x="895540" y="1094599"/>
                    <a:pt x="878042" y="1112099"/>
                    <a:pt x="856458" y="1112099"/>
                  </a:cubicBezTo>
                  <a:cubicBezTo>
                    <a:pt x="834874" y="1112099"/>
                    <a:pt x="817376" y="1094599"/>
                    <a:pt x="817376" y="1073013"/>
                  </a:cubicBezTo>
                  <a:cubicBezTo>
                    <a:pt x="817376" y="1051425"/>
                    <a:pt x="834874" y="1033926"/>
                    <a:pt x="856458" y="1033926"/>
                  </a:cubicBezTo>
                  <a:close/>
                  <a:moveTo>
                    <a:pt x="764197" y="1033926"/>
                  </a:moveTo>
                  <a:cubicBezTo>
                    <a:pt x="785781" y="1033926"/>
                    <a:pt x="803279" y="1051425"/>
                    <a:pt x="803279" y="1073013"/>
                  </a:cubicBezTo>
                  <a:cubicBezTo>
                    <a:pt x="803279" y="1094599"/>
                    <a:pt x="785781" y="1112099"/>
                    <a:pt x="764197" y="1112099"/>
                  </a:cubicBezTo>
                  <a:cubicBezTo>
                    <a:pt x="742604" y="1112099"/>
                    <a:pt x="725113" y="1094599"/>
                    <a:pt x="725113" y="1073013"/>
                  </a:cubicBezTo>
                  <a:cubicBezTo>
                    <a:pt x="725113" y="1051425"/>
                    <a:pt x="742604" y="1033926"/>
                    <a:pt x="764197" y="1033926"/>
                  </a:cubicBezTo>
                  <a:close/>
                  <a:moveTo>
                    <a:pt x="669546" y="1033926"/>
                  </a:moveTo>
                  <a:cubicBezTo>
                    <a:pt x="691152" y="1033926"/>
                    <a:pt x="708650" y="1051425"/>
                    <a:pt x="708650" y="1073013"/>
                  </a:cubicBezTo>
                  <a:cubicBezTo>
                    <a:pt x="708650" y="1094599"/>
                    <a:pt x="691152" y="1112099"/>
                    <a:pt x="669546" y="1112099"/>
                  </a:cubicBezTo>
                  <a:cubicBezTo>
                    <a:pt x="647977" y="1112099"/>
                    <a:pt x="630473" y="1094599"/>
                    <a:pt x="630473" y="1073013"/>
                  </a:cubicBezTo>
                  <a:cubicBezTo>
                    <a:pt x="630473" y="1051425"/>
                    <a:pt x="647977" y="1033926"/>
                    <a:pt x="669546" y="1033926"/>
                  </a:cubicBezTo>
                  <a:close/>
                  <a:moveTo>
                    <a:pt x="577271" y="1033926"/>
                  </a:moveTo>
                  <a:cubicBezTo>
                    <a:pt x="598864" y="1033926"/>
                    <a:pt x="616368" y="1051425"/>
                    <a:pt x="616368" y="1073013"/>
                  </a:cubicBezTo>
                  <a:cubicBezTo>
                    <a:pt x="616368" y="1094599"/>
                    <a:pt x="598864" y="1112099"/>
                    <a:pt x="577271" y="1112099"/>
                  </a:cubicBezTo>
                  <a:cubicBezTo>
                    <a:pt x="555678" y="1112099"/>
                    <a:pt x="538174" y="1094599"/>
                    <a:pt x="538174" y="1073013"/>
                  </a:cubicBezTo>
                  <a:cubicBezTo>
                    <a:pt x="538174" y="1051425"/>
                    <a:pt x="555678" y="1033926"/>
                    <a:pt x="577271" y="1033926"/>
                  </a:cubicBezTo>
                  <a:close/>
                  <a:moveTo>
                    <a:pt x="484984" y="1033926"/>
                  </a:moveTo>
                  <a:cubicBezTo>
                    <a:pt x="506570" y="1033926"/>
                    <a:pt x="524069" y="1051425"/>
                    <a:pt x="524069" y="1073013"/>
                  </a:cubicBezTo>
                  <a:cubicBezTo>
                    <a:pt x="524069" y="1094599"/>
                    <a:pt x="506570" y="1112099"/>
                    <a:pt x="484984" y="1112099"/>
                  </a:cubicBezTo>
                  <a:cubicBezTo>
                    <a:pt x="463388" y="1112099"/>
                    <a:pt x="445908" y="1094599"/>
                    <a:pt x="445908" y="1073013"/>
                  </a:cubicBezTo>
                  <a:cubicBezTo>
                    <a:pt x="445908" y="1051425"/>
                    <a:pt x="463388" y="1033926"/>
                    <a:pt x="484984" y="1033926"/>
                  </a:cubicBezTo>
                  <a:close/>
                  <a:moveTo>
                    <a:pt x="390337" y="1033926"/>
                  </a:moveTo>
                  <a:cubicBezTo>
                    <a:pt x="411922" y="1033926"/>
                    <a:pt x="429437" y="1051425"/>
                    <a:pt x="429437" y="1073013"/>
                  </a:cubicBezTo>
                  <a:cubicBezTo>
                    <a:pt x="429437" y="1094599"/>
                    <a:pt x="411922" y="1112099"/>
                    <a:pt x="390337" y="1112099"/>
                  </a:cubicBezTo>
                  <a:cubicBezTo>
                    <a:pt x="368768" y="1112099"/>
                    <a:pt x="351267" y="1094599"/>
                    <a:pt x="351267" y="1073013"/>
                  </a:cubicBezTo>
                  <a:cubicBezTo>
                    <a:pt x="351267" y="1051425"/>
                    <a:pt x="368768" y="1033926"/>
                    <a:pt x="390337" y="1033926"/>
                  </a:cubicBezTo>
                  <a:close/>
                  <a:moveTo>
                    <a:pt x="298068" y="1033926"/>
                  </a:moveTo>
                  <a:cubicBezTo>
                    <a:pt x="319650" y="1033926"/>
                    <a:pt x="337166" y="1051425"/>
                    <a:pt x="337166" y="1073013"/>
                  </a:cubicBezTo>
                  <a:cubicBezTo>
                    <a:pt x="337166" y="1094599"/>
                    <a:pt x="319650" y="1112099"/>
                    <a:pt x="298068" y="1112099"/>
                  </a:cubicBezTo>
                  <a:cubicBezTo>
                    <a:pt x="276478" y="1112099"/>
                    <a:pt x="258978" y="1094599"/>
                    <a:pt x="258978" y="1073013"/>
                  </a:cubicBezTo>
                  <a:cubicBezTo>
                    <a:pt x="258978" y="1051425"/>
                    <a:pt x="276478" y="1033926"/>
                    <a:pt x="298068" y="1033926"/>
                  </a:cubicBezTo>
                  <a:close/>
                  <a:moveTo>
                    <a:pt x="203423" y="1033926"/>
                  </a:moveTo>
                  <a:cubicBezTo>
                    <a:pt x="225013" y="1033926"/>
                    <a:pt x="242512" y="1051425"/>
                    <a:pt x="242512" y="1073013"/>
                  </a:cubicBezTo>
                  <a:cubicBezTo>
                    <a:pt x="242512" y="1094599"/>
                    <a:pt x="225013" y="1112099"/>
                    <a:pt x="203423" y="1112099"/>
                  </a:cubicBezTo>
                  <a:cubicBezTo>
                    <a:pt x="181837" y="1112099"/>
                    <a:pt x="164337" y="1094599"/>
                    <a:pt x="164337" y="1073013"/>
                  </a:cubicBezTo>
                  <a:cubicBezTo>
                    <a:pt x="164337" y="1051425"/>
                    <a:pt x="181837" y="1033926"/>
                    <a:pt x="203423" y="1033926"/>
                  </a:cubicBezTo>
                  <a:close/>
                  <a:moveTo>
                    <a:pt x="111150" y="1033926"/>
                  </a:moveTo>
                  <a:cubicBezTo>
                    <a:pt x="132737" y="1033926"/>
                    <a:pt x="150237" y="1051425"/>
                    <a:pt x="150237" y="1073013"/>
                  </a:cubicBezTo>
                  <a:cubicBezTo>
                    <a:pt x="150237" y="1094599"/>
                    <a:pt x="132737" y="1112099"/>
                    <a:pt x="111150" y="1112099"/>
                  </a:cubicBezTo>
                  <a:cubicBezTo>
                    <a:pt x="89563" y="1112099"/>
                    <a:pt x="72064" y="1094599"/>
                    <a:pt x="72064" y="1073013"/>
                  </a:cubicBezTo>
                  <a:cubicBezTo>
                    <a:pt x="72064" y="1051425"/>
                    <a:pt x="89563" y="1033926"/>
                    <a:pt x="111150" y="1033926"/>
                  </a:cubicBezTo>
                  <a:close/>
                  <a:moveTo>
                    <a:pt x="51905" y="976551"/>
                  </a:moveTo>
                  <a:lnTo>
                    <a:pt x="55600" y="985473"/>
                  </a:lnTo>
                  <a:cubicBezTo>
                    <a:pt x="55600" y="996267"/>
                    <a:pt x="51225" y="1006038"/>
                    <a:pt x="44152" y="1013112"/>
                  </a:cubicBezTo>
                  <a:lnTo>
                    <a:pt x="31864" y="1018202"/>
                  </a:lnTo>
                  <a:lnTo>
                    <a:pt x="31938" y="1017999"/>
                  </a:lnTo>
                  <a:close/>
                  <a:moveTo>
                    <a:pt x="3672511" y="949081"/>
                  </a:moveTo>
                  <a:lnTo>
                    <a:pt x="3703905" y="1014251"/>
                  </a:lnTo>
                  <a:lnTo>
                    <a:pt x="3679017" y="1024560"/>
                  </a:lnTo>
                  <a:cubicBezTo>
                    <a:pt x="3657429" y="1024560"/>
                    <a:pt x="3639929" y="1007060"/>
                    <a:pt x="3639929" y="985473"/>
                  </a:cubicBezTo>
                  <a:cubicBezTo>
                    <a:pt x="3639929" y="974679"/>
                    <a:pt x="3644304" y="964908"/>
                    <a:pt x="3651378" y="957835"/>
                  </a:cubicBezTo>
                  <a:close/>
                  <a:moveTo>
                    <a:pt x="3584377" y="946387"/>
                  </a:moveTo>
                  <a:cubicBezTo>
                    <a:pt x="3605964" y="946387"/>
                    <a:pt x="3623463" y="963886"/>
                    <a:pt x="3623463" y="985473"/>
                  </a:cubicBezTo>
                  <a:cubicBezTo>
                    <a:pt x="3623463" y="1007060"/>
                    <a:pt x="3605964" y="1024560"/>
                    <a:pt x="3584377" y="1024560"/>
                  </a:cubicBezTo>
                  <a:cubicBezTo>
                    <a:pt x="3562789" y="1024560"/>
                    <a:pt x="3545289" y="1007060"/>
                    <a:pt x="3545289" y="985473"/>
                  </a:cubicBezTo>
                  <a:cubicBezTo>
                    <a:pt x="3545289" y="963886"/>
                    <a:pt x="3562789" y="946387"/>
                    <a:pt x="3584377" y="946387"/>
                  </a:cubicBezTo>
                  <a:close/>
                  <a:moveTo>
                    <a:pt x="3489737" y="946387"/>
                  </a:moveTo>
                  <a:cubicBezTo>
                    <a:pt x="3511324" y="946387"/>
                    <a:pt x="3528823" y="963886"/>
                    <a:pt x="3528823" y="985473"/>
                  </a:cubicBezTo>
                  <a:cubicBezTo>
                    <a:pt x="3528823" y="1007060"/>
                    <a:pt x="3511324" y="1024560"/>
                    <a:pt x="3489737" y="1024560"/>
                  </a:cubicBezTo>
                  <a:cubicBezTo>
                    <a:pt x="3468149" y="1024560"/>
                    <a:pt x="3450649" y="1007060"/>
                    <a:pt x="3450649" y="985473"/>
                  </a:cubicBezTo>
                  <a:cubicBezTo>
                    <a:pt x="3450649" y="963886"/>
                    <a:pt x="3468149" y="946387"/>
                    <a:pt x="3489737" y="946387"/>
                  </a:cubicBezTo>
                  <a:close/>
                  <a:moveTo>
                    <a:pt x="3392731" y="946387"/>
                  </a:moveTo>
                  <a:cubicBezTo>
                    <a:pt x="3414319" y="946387"/>
                    <a:pt x="3431819" y="963886"/>
                    <a:pt x="3431819" y="985473"/>
                  </a:cubicBezTo>
                  <a:cubicBezTo>
                    <a:pt x="3431819" y="1007060"/>
                    <a:pt x="3414319" y="1024560"/>
                    <a:pt x="3392731" y="1024560"/>
                  </a:cubicBezTo>
                  <a:cubicBezTo>
                    <a:pt x="3371144" y="1024560"/>
                    <a:pt x="3353644" y="1007060"/>
                    <a:pt x="3353644" y="985473"/>
                  </a:cubicBezTo>
                  <a:cubicBezTo>
                    <a:pt x="3353644" y="963886"/>
                    <a:pt x="3371144" y="946387"/>
                    <a:pt x="3392731" y="946387"/>
                  </a:cubicBezTo>
                  <a:close/>
                  <a:moveTo>
                    <a:pt x="3300455" y="946387"/>
                  </a:moveTo>
                  <a:cubicBezTo>
                    <a:pt x="3322043" y="946387"/>
                    <a:pt x="3339543" y="963886"/>
                    <a:pt x="3339543" y="985473"/>
                  </a:cubicBezTo>
                  <a:cubicBezTo>
                    <a:pt x="3339543" y="1007060"/>
                    <a:pt x="3322043" y="1024560"/>
                    <a:pt x="3300455" y="1024560"/>
                  </a:cubicBezTo>
                  <a:cubicBezTo>
                    <a:pt x="3278868" y="1024560"/>
                    <a:pt x="3261368" y="1007060"/>
                    <a:pt x="3261368" y="985473"/>
                  </a:cubicBezTo>
                  <a:cubicBezTo>
                    <a:pt x="3261368" y="963886"/>
                    <a:pt x="3278868" y="946387"/>
                    <a:pt x="3300455" y="946387"/>
                  </a:cubicBezTo>
                  <a:close/>
                  <a:moveTo>
                    <a:pt x="3205815" y="946387"/>
                  </a:moveTo>
                  <a:cubicBezTo>
                    <a:pt x="3227403" y="946387"/>
                    <a:pt x="3244903" y="963886"/>
                    <a:pt x="3244903" y="985473"/>
                  </a:cubicBezTo>
                  <a:cubicBezTo>
                    <a:pt x="3244903" y="1007060"/>
                    <a:pt x="3227403" y="1024560"/>
                    <a:pt x="3205815" y="1024560"/>
                  </a:cubicBezTo>
                  <a:cubicBezTo>
                    <a:pt x="3184228" y="1024560"/>
                    <a:pt x="3166728" y="1007060"/>
                    <a:pt x="3166728" y="985473"/>
                  </a:cubicBezTo>
                  <a:cubicBezTo>
                    <a:pt x="3166728" y="963886"/>
                    <a:pt x="3184228" y="946387"/>
                    <a:pt x="3205815" y="946387"/>
                  </a:cubicBezTo>
                  <a:close/>
                  <a:moveTo>
                    <a:pt x="3111175" y="946387"/>
                  </a:moveTo>
                  <a:cubicBezTo>
                    <a:pt x="3132763" y="946387"/>
                    <a:pt x="3150263" y="963886"/>
                    <a:pt x="3150263" y="985473"/>
                  </a:cubicBezTo>
                  <a:cubicBezTo>
                    <a:pt x="3150263" y="1007060"/>
                    <a:pt x="3132763" y="1024560"/>
                    <a:pt x="3111175" y="1024560"/>
                  </a:cubicBezTo>
                  <a:cubicBezTo>
                    <a:pt x="3089588" y="1024560"/>
                    <a:pt x="3072088" y="1007060"/>
                    <a:pt x="3072088" y="985473"/>
                  </a:cubicBezTo>
                  <a:cubicBezTo>
                    <a:pt x="3072088" y="963886"/>
                    <a:pt x="3089588" y="946387"/>
                    <a:pt x="3111175" y="946387"/>
                  </a:cubicBezTo>
                  <a:close/>
                  <a:moveTo>
                    <a:pt x="3018902" y="946387"/>
                  </a:moveTo>
                  <a:cubicBezTo>
                    <a:pt x="3040489" y="946387"/>
                    <a:pt x="3057989" y="963886"/>
                    <a:pt x="3057989" y="985473"/>
                  </a:cubicBezTo>
                  <a:cubicBezTo>
                    <a:pt x="3057989" y="1007060"/>
                    <a:pt x="3040489" y="1024560"/>
                    <a:pt x="3018902" y="1024560"/>
                  </a:cubicBezTo>
                  <a:cubicBezTo>
                    <a:pt x="2997315" y="1024560"/>
                    <a:pt x="2979815" y="1007060"/>
                    <a:pt x="2979815" y="985473"/>
                  </a:cubicBezTo>
                  <a:cubicBezTo>
                    <a:pt x="2979815" y="963886"/>
                    <a:pt x="2997315" y="946387"/>
                    <a:pt x="3018902" y="946387"/>
                  </a:cubicBezTo>
                  <a:close/>
                  <a:moveTo>
                    <a:pt x="2737369" y="946387"/>
                  </a:moveTo>
                  <a:cubicBezTo>
                    <a:pt x="2758934" y="946387"/>
                    <a:pt x="2776434" y="963886"/>
                    <a:pt x="2776434" y="985473"/>
                  </a:cubicBezTo>
                  <a:cubicBezTo>
                    <a:pt x="2776434" y="1007060"/>
                    <a:pt x="2758934" y="1024560"/>
                    <a:pt x="2737369" y="1024560"/>
                  </a:cubicBezTo>
                  <a:cubicBezTo>
                    <a:pt x="2715775" y="1024560"/>
                    <a:pt x="2698271" y="1007060"/>
                    <a:pt x="2698271" y="985473"/>
                  </a:cubicBezTo>
                  <a:cubicBezTo>
                    <a:pt x="2698271" y="963886"/>
                    <a:pt x="2715775" y="946387"/>
                    <a:pt x="2737369" y="946387"/>
                  </a:cubicBezTo>
                  <a:close/>
                  <a:moveTo>
                    <a:pt x="2458167" y="946387"/>
                  </a:moveTo>
                  <a:cubicBezTo>
                    <a:pt x="2479755" y="946387"/>
                    <a:pt x="2497255" y="963886"/>
                    <a:pt x="2497255" y="985473"/>
                  </a:cubicBezTo>
                  <a:cubicBezTo>
                    <a:pt x="2497255" y="1007060"/>
                    <a:pt x="2479755" y="1024560"/>
                    <a:pt x="2458167" y="1024560"/>
                  </a:cubicBezTo>
                  <a:cubicBezTo>
                    <a:pt x="2436591" y="1024560"/>
                    <a:pt x="2419086" y="1007060"/>
                    <a:pt x="2419086" y="985473"/>
                  </a:cubicBezTo>
                  <a:cubicBezTo>
                    <a:pt x="2419086" y="963886"/>
                    <a:pt x="2436591" y="946387"/>
                    <a:pt x="2458167" y="946387"/>
                  </a:cubicBezTo>
                  <a:close/>
                  <a:moveTo>
                    <a:pt x="1329646" y="946387"/>
                  </a:moveTo>
                  <a:cubicBezTo>
                    <a:pt x="1351233" y="946387"/>
                    <a:pt x="1368735" y="963886"/>
                    <a:pt x="1368735" y="985473"/>
                  </a:cubicBezTo>
                  <a:cubicBezTo>
                    <a:pt x="1368735" y="1007060"/>
                    <a:pt x="1351233" y="1024560"/>
                    <a:pt x="1329646" y="1024560"/>
                  </a:cubicBezTo>
                  <a:cubicBezTo>
                    <a:pt x="1308064" y="1024560"/>
                    <a:pt x="1290566" y="1007060"/>
                    <a:pt x="1290566" y="985473"/>
                  </a:cubicBezTo>
                  <a:cubicBezTo>
                    <a:pt x="1290566" y="963886"/>
                    <a:pt x="1308064" y="946387"/>
                    <a:pt x="1329646" y="946387"/>
                  </a:cubicBezTo>
                  <a:close/>
                  <a:moveTo>
                    <a:pt x="1232653" y="946387"/>
                  </a:moveTo>
                  <a:cubicBezTo>
                    <a:pt x="1254239" y="946387"/>
                    <a:pt x="1271726" y="963886"/>
                    <a:pt x="1271726" y="985473"/>
                  </a:cubicBezTo>
                  <a:cubicBezTo>
                    <a:pt x="1271726" y="1007060"/>
                    <a:pt x="1254239" y="1024560"/>
                    <a:pt x="1232653" y="1024560"/>
                  </a:cubicBezTo>
                  <a:cubicBezTo>
                    <a:pt x="1211062" y="1024560"/>
                    <a:pt x="1193568" y="1007060"/>
                    <a:pt x="1193568" y="985473"/>
                  </a:cubicBezTo>
                  <a:cubicBezTo>
                    <a:pt x="1193568" y="963886"/>
                    <a:pt x="1211062" y="946387"/>
                    <a:pt x="1232653" y="946387"/>
                  </a:cubicBezTo>
                  <a:close/>
                  <a:moveTo>
                    <a:pt x="1142740" y="946387"/>
                  </a:moveTo>
                  <a:cubicBezTo>
                    <a:pt x="1164334" y="946387"/>
                    <a:pt x="1181832" y="963886"/>
                    <a:pt x="1181832" y="985473"/>
                  </a:cubicBezTo>
                  <a:cubicBezTo>
                    <a:pt x="1181832" y="1007060"/>
                    <a:pt x="1164334" y="1024560"/>
                    <a:pt x="1142740" y="1024560"/>
                  </a:cubicBezTo>
                  <a:cubicBezTo>
                    <a:pt x="1121148" y="1024560"/>
                    <a:pt x="1103643" y="1007060"/>
                    <a:pt x="1103643" y="985473"/>
                  </a:cubicBezTo>
                  <a:cubicBezTo>
                    <a:pt x="1103643" y="963886"/>
                    <a:pt x="1121148" y="946387"/>
                    <a:pt x="1142740" y="946387"/>
                  </a:cubicBezTo>
                  <a:close/>
                  <a:moveTo>
                    <a:pt x="1045716" y="946387"/>
                  </a:moveTo>
                  <a:cubicBezTo>
                    <a:pt x="1067301" y="946387"/>
                    <a:pt x="1084805" y="963886"/>
                    <a:pt x="1084805" y="985473"/>
                  </a:cubicBezTo>
                  <a:cubicBezTo>
                    <a:pt x="1084805" y="1007060"/>
                    <a:pt x="1067301" y="1024560"/>
                    <a:pt x="1045716" y="1024560"/>
                  </a:cubicBezTo>
                  <a:cubicBezTo>
                    <a:pt x="1024132" y="1024560"/>
                    <a:pt x="1006635" y="1007060"/>
                    <a:pt x="1006635" y="985473"/>
                  </a:cubicBezTo>
                  <a:cubicBezTo>
                    <a:pt x="1006635" y="963886"/>
                    <a:pt x="1024132" y="946387"/>
                    <a:pt x="1045716" y="946387"/>
                  </a:cubicBezTo>
                  <a:close/>
                  <a:moveTo>
                    <a:pt x="764201" y="946387"/>
                  </a:moveTo>
                  <a:cubicBezTo>
                    <a:pt x="785785" y="946387"/>
                    <a:pt x="803284" y="963886"/>
                    <a:pt x="803284" y="985473"/>
                  </a:cubicBezTo>
                  <a:cubicBezTo>
                    <a:pt x="803284" y="1007060"/>
                    <a:pt x="785785" y="1024560"/>
                    <a:pt x="764201" y="1024560"/>
                  </a:cubicBezTo>
                  <a:cubicBezTo>
                    <a:pt x="742608" y="1024560"/>
                    <a:pt x="725120" y="1007060"/>
                    <a:pt x="725120" y="985473"/>
                  </a:cubicBezTo>
                  <a:cubicBezTo>
                    <a:pt x="725120" y="963886"/>
                    <a:pt x="742608" y="946387"/>
                    <a:pt x="764201" y="946387"/>
                  </a:cubicBezTo>
                  <a:close/>
                  <a:moveTo>
                    <a:pt x="669559" y="946387"/>
                  </a:moveTo>
                  <a:cubicBezTo>
                    <a:pt x="691158" y="946387"/>
                    <a:pt x="708656" y="963886"/>
                    <a:pt x="708656" y="985473"/>
                  </a:cubicBezTo>
                  <a:cubicBezTo>
                    <a:pt x="708656" y="1007060"/>
                    <a:pt x="691158" y="1024560"/>
                    <a:pt x="669559" y="1024560"/>
                  </a:cubicBezTo>
                  <a:cubicBezTo>
                    <a:pt x="647983" y="1024560"/>
                    <a:pt x="630479" y="1007060"/>
                    <a:pt x="630479" y="985473"/>
                  </a:cubicBezTo>
                  <a:cubicBezTo>
                    <a:pt x="630479" y="963886"/>
                    <a:pt x="647983" y="946387"/>
                    <a:pt x="669559" y="946387"/>
                  </a:cubicBezTo>
                  <a:close/>
                  <a:moveTo>
                    <a:pt x="577276" y="946387"/>
                  </a:moveTo>
                  <a:cubicBezTo>
                    <a:pt x="598870" y="946387"/>
                    <a:pt x="616374" y="963886"/>
                    <a:pt x="616374" y="985473"/>
                  </a:cubicBezTo>
                  <a:cubicBezTo>
                    <a:pt x="616374" y="1007060"/>
                    <a:pt x="598870" y="1024560"/>
                    <a:pt x="577276" y="1024560"/>
                  </a:cubicBezTo>
                  <a:cubicBezTo>
                    <a:pt x="555683" y="1024560"/>
                    <a:pt x="538178" y="1007060"/>
                    <a:pt x="538178" y="985473"/>
                  </a:cubicBezTo>
                  <a:cubicBezTo>
                    <a:pt x="538178" y="963886"/>
                    <a:pt x="555683" y="946387"/>
                    <a:pt x="577276" y="946387"/>
                  </a:cubicBezTo>
                  <a:close/>
                  <a:moveTo>
                    <a:pt x="484989" y="946387"/>
                  </a:moveTo>
                  <a:cubicBezTo>
                    <a:pt x="506576" y="946387"/>
                    <a:pt x="524074" y="963886"/>
                    <a:pt x="524074" y="985473"/>
                  </a:cubicBezTo>
                  <a:cubicBezTo>
                    <a:pt x="524074" y="1007060"/>
                    <a:pt x="506576" y="1024560"/>
                    <a:pt x="484989" y="1024560"/>
                  </a:cubicBezTo>
                  <a:cubicBezTo>
                    <a:pt x="463391" y="1024560"/>
                    <a:pt x="445913" y="1007060"/>
                    <a:pt x="445913" y="985473"/>
                  </a:cubicBezTo>
                  <a:cubicBezTo>
                    <a:pt x="445913" y="963886"/>
                    <a:pt x="463391" y="946387"/>
                    <a:pt x="484989" y="946387"/>
                  </a:cubicBezTo>
                  <a:close/>
                  <a:moveTo>
                    <a:pt x="390337" y="946387"/>
                  </a:moveTo>
                  <a:cubicBezTo>
                    <a:pt x="411934" y="946387"/>
                    <a:pt x="429441" y="963886"/>
                    <a:pt x="429441" y="985473"/>
                  </a:cubicBezTo>
                  <a:cubicBezTo>
                    <a:pt x="429441" y="1007060"/>
                    <a:pt x="411934" y="1024560"/>
                    <a:pt x="390337" y="1024560"/>
                  </a:cubicBezTo>
                  <a:cubicBezTo>
                    <a:pt x="368774" y="1024560"/>
                    <a:pt x="351272" y="1007060"/>
                    <a:pt x="351272" y="985473"/>
                  </a:cubicBezTo>
                  <a:cubicBezTo>
                    <a:pt x="351272" y="963886"/>
                    <a:pt x="368774" y="946387"/>
                    <a:pt x="390337" y="946387"/>
                  </a:cubicBezTo>
                  <a:close/>
                  <a:moveTo>
                    <a:pt x="298073" y="946387"/>
                  </a:moveTo>
                  <a:cubicBezTo>
                    <a:pt x="319653" y="946387"/>
                    <a:pt x="337170" y="963886"/>
                    <a:pt x="337170" y="985473"/>
                  </a:cubicBezTo>
                  <a:cubicBezTo>
                    <a:pt x="337170" y="1007060"/>
                    <a:pt x="319653" y="1024560"/>
                    <a:pt x="298073" y="1024560"/>
                  </a:cubicBezTo>
                  <a:cubicBezTo>
                    <a:pt x="276482" y="1024560"/>
                    <a:pt x="258982" y="1007060"/>
                    <a:pt x="258982" y="985473"/>
                  </a:cubicBezTo>
                  <a:cubicBezTo>
                    <a:pt x="258982" y="963886"/>
                    <a:pt x="276482" y="946387"/>
                    <a:pt x="298073" y="946387"/>
                  </a:cubicBezTo>
                  <a:close/>
                  <a:moveTo>
                    <a:pt x="203426" y="946387"/>
                  </a:moveTo>
                  <a:cubicBezTo>
                    <a:pt x="225017" y="946387"/>
                    <a:pt x="242516" y="963886"/>
                    <a:pt x="242516" y="985473"/>
                  </a:cubicBezTo>
                  <a:cubicBezTo>
                    <a:pt x="242516" y="1007060"/>
                    <a:pt x="225017" y="1024560"/>
                    <a:pt x="203426" y="1024560"/>
                  </a:cubicBezTo>
                  <a:cubicBezTo>
                    <a:pt x="181841" y="1024560"/>
                    <a:pt x="164342" y="1007060"/>
                    <a:pt x="164342" y="985473"/>
                  </a:cubicBezTo>
                  <a:cubicBezTo>
                    <a:pt x="164342" y="963886"/>
                    <a:pt x="181841" y="946387"/>
                    <a:pt x="203426" y="946387"/>
                  </a:cubicBezTo>
                  <a:close/>
                  <a:moveTo>
                    <a:pt x="111154" y="946387"/>
                  </a:moveTo>
                  <a:cubicBezTo>
                    <a:pt x="132741" y="946387"/>
                    <a:pt x="150240" y="963886"/>
                    <a:pt x="150240" y="985473"/>
                  </a:cubicBezTo>
                  <a:cubicBezTo>
                    <a:pt x="150240" y="1007060"/>
                    <a:pt x="132741" y="1024560"/>
                    <a:pt x="111154" y="1024560"/>
                  </a:cubicBezTo>
                  <a:cubicBezTo>
                    <a:pt x="89567" y="1024560"/>
                    <a:pt x="72068" y="1007060"/>
                    <a:pt x="72068" y="985473"/>
                  </a:cubicBezTo>
                  <a:cubicBezTo>
                    <a:pt x="72068" y="963886"/>
                    <a:pt x="89567" y="946387"/>
                    <a:pt x="111154" y="946387"/>
                  </a:cubicBezTo>
                  <a:close/>
                  <a:moveTo>
                    <a:pt x="3644655" y="891256"/>
                  </a:moveTo>
                  <a:lnTo>
                    <a:pt x="3666478" y="936557"/>
                  </a:lnTo>
                  <a:lnTo>
                    <a:pt x="3651378" y="930303"/>
                  </a:lnTo>
                  <a:cubicBezTo>
                    <a:pt x="3644304" y="923230"/>
                    <a:pt x="3639929" y="913458"/>
                    <a:pt x="3639929" y="902664"/>
                  </a:cubicBezTo>
                  <a:close/>
                  <a:moveTo>
                    <a:pt x="3584377" y="863578"/>
                  </a:moveTo>
                  <a:cubicBezTo>
                    <a:pt x="3605964" y="863578"/>
                    <a:pt x="3623463" y="881078"/>
                    <a:pt x="3623463" y="902664"/>
                  </a:cubicBezTo>
                  <a:cubicBezTo>
                    <a:pt x="3623463" y="924251"/>
                    <a:pt x="3605964" y="941751"/>
                    <a:pt x="3584377" y="941751"/>
                  </a:cubicBezTo>
                  <a:cubicBezTo>
                    <a:pt x="3562789" y="941751"/>
                    <a:pt x="3545289" y="924251"/>
                    <a:pt x="3545289" y="902664"/>
                  </a:cubicBezTo>
                  <a:cubicBezTo>
                    <a:pt x="3545289" y="881078"/>
                    <a:pt x="3562789" y="863578"/>
                    <a:pt x="3584377" y="863578"/>
                  </a:cubicBezTo>
                  <a:close/>
                  <a:moveTo>
                    <a:pt x="3489737" y="863578"/>
                  </a:moveTo>
                  <a:cubicBezTo>
                    <a:pt x="3511324" y="863578"/>
                    <a:pt x="3528823" y="881078"/>
                    <a:pt x="3528823" y="902664"/>
                  </a:cubicBezTo>
                  <a:cubicBezTo>
                    <a:pt x="3528823" y="924251"/>
                    <a:pt x="3511324" y="941751"/>
                    <a:pt x="3489737" y="941751"/>
                  </a:cubicBezTo>
                  <a:cubicBezTo>
                    <a:pt x="3468149" y="941751"/>
                    <a:pt x="3450649" y="924251"/>
                    <a:pt x="3450649" y="902664"/>
                  </a:cubicBezTo>
                  <a:cubicBezTo>
                    <a:pt x="3450649" y="881078"/>
                    <a:pt x="3468149" y="863578"/>
                    <a:pt x="3489737" y="863578"/>
                  </a:cubicBezTo>
                  <a:close/>
                  <a:moveTo>
                    <a:pt x="3392731" y="863578"/>
                  </a:moveTo>
                  <a:cubicBezTo>
                    <a:pt x="3414319" y="863578"/>
                    <a:pt x="3431819" y="881078"/>
                    <a:pt x="3431819" y="902664"/>
                  </a:cubicBezTo>
                  <a:cubicBezTo>
                    <a:pt x="3431819" y="924251"/>
                    <a:pt x="3414319" y="941751"/>
                    <a:pt x="3392731" y="941751"/>
                  </a:cubicBezTo>
                  <a:cubicBezTo>
                    <a:pt x="3371144" y="941751"/>
                    <a:pt x="3353644" y="924251"/>
                    <a:pt x="3353644" y="902664"/>
                  </a:cubicBezTo>
                  <a:cubicBezTo>
                    <a:pt x="3353644" y="881078"/>
                    <a:pt x="3371144" y="863578"/>
                    <a:pt x="3392731" y="863578"/>
                  </a:cubicBezTo>
                  <a:close/>
                  <a:moveTo>
                    <a:pt x="3300455" y="863578"/>
                  </a:moveTo>
                  <a:cubicBezTo>
                    <a:pt x="3322043" y="863578"/>
                    <a:pt x="3339543" y="881078"/>
                    <a:pt x="3339543" y="902664"/>
                  </a:cubicBezTo>
                  <a:cubicBezTo>
                    <a:pt x="3339543" y="924251"/>
                    <a:pt x="3322043" y="941751"/>
                    <a:pt x="3300455" y="941751"/>
                  </a:cubicBezTo>
                  <a:cubicBezTo>
                    <a:pt x="3278868" y="941751"/>
                    <a:pt x="3261368" y="924251"/>
                    <a:pt x="3261368" y="902664"/>
                  </a:cubicBezTo>
                  <a:cubicBezTo>
                    <a:pt x="3261368" y="881078"/>
                    <a:pt x="3278868" y="863578"/>
                    <a:pt x="3300455" y="863578"/>
                  </a:cubicBezTo>
                  <a:close/>
                  <a:moveTo>
                    <a:pt x="3205815" y="863578"/>
                  </a:moveTo>
                  <a:cubicBezTo>
                    <a:pt x="3227403" y="863578"/>
                    <a:pt x="3244903" y="881078"/>
                    <a:pt x="3244903" y="902664"/>
                  </a:cubicBezTo>
                  <a:cubicBezTo>
                    <a:pt x="3244903" y="924251"/>
                    <a:pt x="3227403" y="941751"/>
                    <a:pt x="3205815" y="941751"/>
                  </a:cubicBezTo>
                  <a:cubicBezTo>
                    <a:pt x="3184228" y="941751"/>
                    <a:pt x="3166728" y="924251"/>
                    <a:pt x="3166728" y="902664"/>
                  </a:cubicBezTo>
                  <a:cubicBezTo>
                    <a:pt x="3166728" y="881078"/>
                    <a:pt x="3184228" y="863578"/>
                    <a:pt x="3205815" y="863578"/>
                  </a:cubicBezTo>
                  <a:close/>
                  <a:moveTo>
                    <a:pt x="3111175" y="863578"/>
                  </a:moveTo>
                  <a:cubicBezTo>
                    <a:pt x="3132763" y="863578"/>
                    <a:pt x="3150263" y="881078"/>
                    <a:pt x="3150263" y="902664"/>
                  </a:cubicBezTo>
                  <a:cubicBezTo>
                    <a:pt x="3150263" y="924251"/>
                    <a:pt x="3132763" y="941751"/>
                    <a:pt x="3111175" y="941751"/>
                  </a:cubicBezTo>
                  <a:cubicBezTo>
                    <a:pt x="3089588" y="941751"/>
                    <a:pt x="3072088" y="924251"/>
                    <a:pt x="3072088" y="902664"/>
                  </a:cubicBezTo>
                  <a:cubicBezTo>
                    <a:pt x="3072088" y="881078"/>
                    <a:pt x="3089588" y="863578"/>
                    <a:pt x="3111175" y="863578"/>
                  </a:cubicBezTo>
                  <a:close/>
                  <a:moveTo>
                    <a:pt x="3018902" y="863578"/>
                  </a:moveTo>
                  <a:cubicBezTo>
                    <a:pt x="3040489" y="863578"/>
                    <a:pt x="3057989" y="881078"/>
                    <a:pt x="3057989" y="902664"/>
                  </a:cubicBezTo>
                  <a:cubicBezTo>
                    <a:pt x="3057989" y="924251"/>
                    <a:pt x="3040489" y="941751"/>
                    <a:pt x="3018902" y="941751"/>
                  </a:cubicBezTo>
                  <a:cubicBezTo>
                    <a:pt x="2997315" y="941751"/>
                    <a:pt x="2979815" y="924251"/>
                    <a:pt x="2979815" y="902664"/>
                  </a:cubicBezTo>
                  <a:cubicBezTo>
                    <a:pt x="2979815" y="881078"/>
                    <a:pt x="2997315" y="863578"/>
                    <a:pt x="3018902" y="863578"/>
                  </a:cubicBezTo>
                  <a:close/>
                  <a:moveTo>
                    <a:pt x="2831987" y="863578"/>
                  </a:moveTo>
                  <a:cubicBezTo>
                    <a:pt x="2853574" y="863578"/>
                    <a:pt x="2871074" y="881078"/>
                    <a:pt x="2871074" y="902664"/>
                  </a:cubicBezTo>
                  <a:cubicBezTo>
                    <a:pt x="2871074" y="924251"/>
                    <a:pt x="2853574" y="941751"/>
                    <a:pt x="2831987" y="941751"/>
                  </a:cubicBezTo>
                  <a:cubicBezTo>
                    <a:pt x="2810400" y="941751"/>
                    <a:pt x="2792900" y="924251"/>
                    <a:pt x="2792900" y="902664"/>
                  </a:cubicBezTo>
                  <a:cubicBezTo>
                    <a:pt x="2792900" y="881078"/>
                    <a:pt x="2810400" y="863578"/>
                    <a:pt x="2831987" y="863578"/>
                  </a:cubicBezTo>
                  <a:close/>
                  <a:moveTo>
                    <a:pt x="2737371" y="863578"/>
                  </a:moveTo>
                  <a:cubicBezTo>
                    <a:pt x="2758934" y="863578"/>
                    <a:pt x="2776434" y="881078"/>
                    <a:pt x="2776434" y="902664"/>
                  </a:cubicBezTo>
                  <a:cubicBezTo>
                    <a:pt x="2776434" y="924251"/>
                    <a:pt x="2758934" y="941751"/>
                    <a:pt x="2737371" y="941751"/>
                  </a:cubicBezTo>
                  <a:cubicBezTo>
                    <a:pt x="2715777" y="941751"/>
                    <a:pt x="2698272" y="924251"/>
                    <a:pt x="2698272" y="902664"/>
                  </a:cubicBezTo>
                  <a:cubicBezTo>
                    <a:pt x="2698272" y="881078"/>
                    <a:pt x="2715777" y="863578"/>
                    <a:pt x="2737371" y="863578"/>
                  </a:cubicBezTo>
                  <a:close/>
                  <a:moveTo>
                    <a:pt x="2645074" y="863578"/>
                  </a:moveTo>
                  <a:cubicBezTo>
                    <a:pt x="2666662" y="863578"/>
                    <a:pt x="2684168" y="881078"/>
                    <a:pt x="2684168" y="902664"/>
                  </a:cubicBezTo>
                  <a:cubicBezTo>
                    <a:pt x="2684168" y="924251"/>
                    <a:pt x="2666662" y="941751"/>
                    <a:pt x="2645074" y="941751"/>
                  </a:cubicBezTo>
                  <a:cubicBezTo>
                    <a:pt x="2623489" y="941751"/>
                    <a:pt x="2605987" y="924251"/>
                    <a:pt x="2605987" y="902664"/>
                  </a:cubicBezTo>
                  <a:cubicBezTo>
                    <a:pt x="2605987" y="881078"/>
                    <a:pt x="2623489" y="863578"/>
                    <a:pt x="2645074" y="863578"/>
                  </a:cubicBezTo>
                  <a:close/>
                  <a:moveTo>
                    <a:pt x="2458167" y="863577"/>
                  </a:moveTo>
                  <a:cubicBezTo>
                    <a:pt x="2479755" y="863577"/>
                    <a:pt x="2497256" y="881077"/>
                    <a:pt x="2497256" y="902664"/>
                  </a:cubicBezTo>
                  <a:cubicBezTo>
                    <a:pt x="2497256" y="924250"/>
                    <a:pt x="2479755" y="941750"/>
                    <a:pt x="2458167" y="941750"/>
                  </a:cubicBezTo>
                  <a:cubicBezTo>
                    <a:pt x="2436591" y="941750"/>
                    <a:pt x="2419089" y="924250"/>
                    <a:pt x="2419089" y="902664"/>
                  </a:cubicBezTo>
                  <a:cubicBezTo>
                    <a:pt x="2419089" y="881077"/>
                    <a:pt x="2436591" y="863577"/>
                    <a:pt x="2458167" y="863577"/>
                  </a:cubicBezTo>
                  <a:close/>
                  <a:moveTo>
                    <a:pt x="1232658" y="863577"/>
                  </a:moveTo>
                  <a:cubicBezTo>
                    <a:pt x="1254244" y="863577"/>
                    <a:pt x="1271731" y="881077"/>
                    <a:pt x="1271731" y="902664"/>
                  </a:cubicBezTo>
                  <a:cubicBezTo>
                    <a:pt x="1271731" y="924250"/>
                    <a:pt x="1254244" y="941750"/>
                    <a:pt x="1232658" y="941750"/>
                  </a:cubicBezTo>
                  <a:cubicBezTo>
                    <a:pt x="1211065" y="941750"/>
                    <a:pt x="1193572" y="924250"/>
                    <a:pt x="1193572" y="902664"/>
                  </a:cubicBezTo>
                  <a:cubicBezTo>
                    <a:pt x="1193572" y="881077"/>
                    <a:pt x="1211065" y="863577"/>
                    <a:pt x="1232658" y="863577"/>
                  </a:cubicBezTo>
                  <a:close/>
                  <a:moveTo>
                    <a:pt x="1142744" y="863577"/>
                  </a:moveTo>
                  <a:cubicBezTo>
                    <a:pt x="1164338" y="863577"/>
                    <a:pt x="1181836" y="881077"/>
                    <a:pt x="1181836" y="902664"/>
                  </a:cubicBezTo>
                  <a:cubicBezTo>
                    <a:pt x="1181836" y="924250"/>
                    <a:pt x="1164338" y="941750"/>
                    <a:pt x="1142744" y="941750"/>
                  </a:cubicBezTo>
                  <a:cubicBezTo>
                    <a:pt x="1121151" y="941750"/>
                    <a:pt x="1103646" y="924250"/>
                    <a:pt x="1103646" y="902664"/>
                  </a:cubicBezTo>
                  <a:cubicBezTo>
                    <a:pt x="1103646" y="881077"/>
                    <a:pt x="1121151" y="863577"/>
                    <a:pt x="1142744" y="863577"/>
                  </a:cubicBezTo>
                  <a:close/>
                  <a:moveTo>
                    <a:pt x="1045719" y="863577"/>
                  </a:moveTo>
                  <a:cubicBezTo>
                    <a:pt x="1067303" y="863577"/>
                    <a:pt x="1084808" y="881077"/>
                    <a:pt x="1084808" y="902664"/>
                  </a:cubicBezTo>
                  <a:cubicBezTo>
                    <a:pt x="1084808" y="924250"/>
                    <a:pt x="1067303" y="941750"/>
                    <a:pt x="1045719" y="941750"/>
                  </a:cubicBezTo>
                  <a:cubicBezTo>
                    <a:pt x="1024135" y="941750"/>
                    <a:pt x="1006638" y="924250"/>
                    <a:pt x="1006638" y="902664"/>
                  </a:cubicBezTo>
                  <a:cubicBezTo>
                    <a:pt x="1006638" y="881077"/>
                    <a:pt x="1024135" y="863577"/>
                    <a:pt x="1045719" y="863577"/>
                  </a:cubicBezTo>
                  <a:close/>
                  <a:moveTo>
                    <a:pt x="669559" y="863577"/>
                  </a:moveTo>
                  <a:cubicBezTo>
                    <a:pt x="691164" y="863577"/>
                    <a:pt x="708661" y="881077"/>
                    <a:pt x="708661" y="902664"/>
                  </a:cubicBezTo>
                  <a:cubicBezTo>
                    <a:pt x="708661" y="924250"/>
                    <a:pt x="691164" y="941750"/>
                    <a:pt x="669559" y="941750"/>
                  </a:cubicBezTo>
                  <a:cubicBezTo>
                    <a:pt x="647989" y="941750"/>
                    <a:pt x="630484" y="924250"/>
                    <a:pt x="630484" y="902664"/>
                  </a:cubicBezTo>
                  <a:cubicBezTo>
                    <a:pt x="630484" y="881077"/>
                    <a:pt x="647989" y="863577"/>
                    <a:pt x="669559" y="863577"/>
                  </a:cubicBezTo>
                  <a:close/>
                  <a:moveTo>
                    <a:pt x="577280" y="863577"/>
                  </a:moveTo>
                  <a:cubicBezTo>
                    <a:pt x="598874" y="863577"/>
                    <a:pt x="616379" y="881077"/>
                    <a:pt x="616379" y="902664"/>
                  </a:cubicBezTo>
                  <a:cubicBezTo>
                    <a:pt x="616379" y="924250"/>
                    <a:pt x="598874" y="941750"/>
                    <a:pt x="577280" y="941750"/>
                  </a:cubicBezTo>
                  <a:cubicBezTo>
                    <a:pt x="555687" y="941750"/>
                    <a:pt x="538181" y="924250"/>
                    <a:pt x="538181" y="902664"/>
                  </a:cubicBezTo>
                  <a:cubicBezTo>
                    <a:pt x="538181" y="881077"/>
                    <a:pt x="555687" y="863577"/>
                    <a:pt x="577280" y="863577"/>
                  </a:cubicBezTo>
                  <a:close/>
                  <a:moveTo>
                    <a:pt x="484994" y="863577"/>
                  </a:moveTo>
                  <a:cubicBezTo>
                    <a:pt x="506580" y="863577"/>
                    <a:pt x="524078" y="881077"/>
                    <a:pt x="524078" y="902664"/>
                  </a:cubicBezTo>
                  <a:cubicBezTo>
                    <a:pt x="524078" y="924250"/>
                    <a:pt x="506580" y="941750"/>
                    <a:pt x="484994" y="941750"/>
                  </a:cubicBezTo>
                  <a:cubicBezTo>
                    <a:pt x="463395" y="941750"/>
                    <a:pt x="445922" y="924250"/>
                    <a:pt x="445922" y="902664"/>
                  </a:cubicBezTo>
                  <a:cubicBezTo>
                    <a:pt x="445922" y="881077"/>
                    <a:pt x="463395" y="863577"/>
                    <a:pt x="484994" y="863577"/>
                  </a:cubicBezTo>
                  <a:close/>
                  <a:moveTo>
                    <a:pt x="390347" y="863577"/>
                  </a:moveTo>
                  <a:cubicBezTo>
                    <a:pt x="411934" y="863577"/>
                    <a:pt x="429445" y="881077"/>
                    <a:pt x="429445" y="902664"/>
                  </a:cubicBezTo>
                  <a:cubicBezTo>
                    <a:pt x="429445" y="924250"/>
                    <a:pt x="411934" y="941750"/>
                    <a:pt x="390347" y="941750"/>
                  </a:cubicBezTo>
                  <a:cubicBezTo>
                    <a:pt x="368777" y="941750"/>
                    <a:pt x="351276" y="924250"/>
                    <a:pt x="351276" y="902664"/>
                  </a:cubicBezTo>
                  <a:cubicBezTo>
                    <a:pt x="351276" y="881077"/>
                    <a:pt x="368777" y="863577"/>
                    <a:pt x="390347" y="863577"/>
                  </a:cubicBezTo>
                  <a:close/>
                  <a:moveTo>
                    <a:pt x="298076" y="863577"/>
                  </a:moveTo>
                  <a:cubicBezTo>
                    <a:pt x="319657" y="863577"/>
                    <a:pt x="337175" y="881077"/>
                    <a:pt x="337175" y="902664"/>
                  </a:cubicBezTo>
                  <a:cubicBezTo>
                    <a:pt x="337175" y="924250"/>
                    <a:pt x="319657" y="941750"/>
                    <a:pt x="298076" y="941750"/>
                  </a:cubicBezTo>
                  <a:cubicBezTo>
                    <a:pt x="276485" y="941750"/>
                    <a:pt x="258986" y="924250"/>
                    <a:pt x="258986" y="902664"/>
                  </a:cubicBezTo>
                  <a:cubicBezTo>
                    <a:pt x="258986" y="881077"/>
                    <a:pt x="276485" y="863577"/>
                    <a:pt x="298076" y="863577"/>
                  </a:cubicBezTo>
                  <a:close/>
                  <a:moveTo>
                    <a:pt x="203430" y="863577"/>
                  </a:moveTo>
                  <a:cubicBezTo>
                    <a:pt x="225020" y="863577"/>
                    <a:pt x="242520" y="881077"/>
                    <a:pt x="242520" y="902664"/>
                  </a:cubicBezTo>
                  <a:cubicBezTo>
                    <a:pt x="242520" y="924250"/>
                    <a:pt x="225020" y="941750"/>
                    <a:pt x="203430" y="941750"/>
                  </a:cubicBezTo>
                  <a:cubicBezTo>
                    <a:pt x="181845" y="941750"/>
                    <a:pt x="164345" y="924250"/>
                    <a:pt x="164345" y="902664"/>
                  </a:cubicBezTo>
                  <a:cubicBezTo>
                    <a:pt x="164345" y="881077"/>
                    <a:pt x="181845" y="863577"/>
                    <a:pt x="203430" y="863577"/>
                  </a:cubicBezTo>
                  <a:close/>
                  <a:moveTo>
                    <a:pt x="111158" y="863577"/>
                  </a:moveTo>
                  <a:cubicBezTo>
                    <a:pt x="132745" y="863577"/>
                    <a:pt x="150245" y="881077"/>
                    <a:pt x="150245" y="902664"/>
                  </a:cubicBezTo>
                  <a:cubicBezTo>
                    <a:pt x="150245" y="924250"/>
                    <a:pt x="132745" y="941750"/>
                    <a:pt x="111158" y="941750"/>
                  </a:cubicBezTo>
                  <a:cubicBezTo>
                    <a:pt x="100365" y="941750"/>
                    <a:pt x="90593" y="937375"/>
                    <a:pt x="83520" y="930302"/>
                  </a:cubicBezTo>
                  <a:lnTo>
                    <a:pt x="79204" y="919881"/>
                  </a:lnTo>
                  <a:lnTo>
                    <a:pt x="105123" y="866077"/>
                  </a:lnTo>
                  <a:close/>
                  <a:moveTo>
                    <a:pt x="142783" y="799461"/>
                  </a:moveTo>
                  <a:lnTo>
                    <a:pt x="150250" y="817487"/>
                  </a:lnTo>
                  <a:cubicBezTo>
                    <a:pt x="150250" y="839075"/>
                    <a:pt x="132750" y="856575"/>
                    <a:pt x="111162" y="856575"/>
                  </a:cubicBezTo>
                  <a:lnTo>
                    <a:pt x="109944" y="856070"/>
                  </a:lnTo>
                  <a:lnTo>
                    <a:pt x="115886" y="843734"/>
                  </a:lnTo>
                  <a:close/>
                  <a:moveTo>
                    <a:pt x="3582534" y="779163"/>
                  </a:moveTo>
                  <a:lnTo>
                    <a:pt x="3616309" y="834758"/>
                  </a:lnTo>
                  <a:lnTo>
                    <a:pt x="3612015" y="845126"/>
                  </a:lnTo>
                  <a:cubicBezTo>
                    <a:pt x="3604941" y="852200"/>
                    <a:pt x="3595169" y="856575"/>
                    <a:pt x="3584375" y="856575"/>
                  </a:cubicBezTo>
                  <a:cubicBezTo>
                    <a:pt x="3562788" y="856575"/>
                    <a:pt x="3545289" y="839075"/>
                    <a:pt x="3545289" y="817487"/>
                  </a:cubicBezTo>
                  <a:cubicBezTo>
                    <a:pt x="3545289" y="806694"/>
                    <a:pt x="3549664" y="796922"/>
                    <a:pt x="3556737" y="789849"/>
                  </a:cubicBezTo>
                  <a:close/>
                  <a:moveTo>
                    <a:pt x="3489735" y="778400"/>
                  </a:moveTo>
                  <a:cubicBezTo>
                    <a:pt x="3511323" y="778400"/>
                    <a:pt x="3528823" y="795900"/>
                    <a:pt x="3528823" y="817487"/>
                  </a:cubicBezTo>
                  <a:cubicBezTo>
                    <a:pt x="3528823" y="839075"/>
                    <a:pt x="3511323" y="856575"/>
                    <a:pt x="3489735" y="856575"/>
                  </a:cubicBezTo>
                  <a:cubicBezTo>
                    <a:pt x="3468148" y="856575"/>
                    <a:pt x="3450649" y="839075"/>
                    <a:pt x="3450649" y="817487"/>
                  </a:cubicBezTo>
                  <a:cubicBezTo>
                    <a:pt x="3450649" y="795900"/>
                    <a:pt x="3468148" y="778400"/>
                    <a:pt x="3489735" y="778400"/>
                  </a:cubicBezTo>
                  <a:close/>
                  <a:moveTo>
                    <a:pt x="3392730" y="778400"/>
                  </a:moveTo>
                  <a:cubicBezTo>
                    <a:pt x="3414317" y="778400"/>
                    <a:pt x="3431817" y="795900"/>
                    <a:pt x="3431817" y="817487"/>
                  </a:cubicBezTo>
                  <a:cubicBezTo>
                    <a:pt x="3431817" y="839075"/>
                    <a:pt x="3414317" y="856575"/>
                    <a:pt x="3392730" y="856575"/>
                  </a:cubicBezTo>
                  <a:cubicBezTo>
                    <a:pt x="3371143" y="856575"/>
                    <a:pt x="3353643" y="839075"/>
                    <a:pt x="3353643" y="817487"/>
                  </a:cubicBezTo>
                  <a:cubicBezTo>
                    <a:pt x="3353643" y="795900"/>
                    <a:pt x="3371143" y="778400"/>
                    <a:pt x="3392730" y="778400"/>
                  </a:cubicBezTo>
                  <a:close/>
                  <a:moveTo>
                    <a:pt x="3300455" y="778400"/>
                  </a:moveTo>
                  <a:cubicBezTo>
                    <a:pt x="3322043" y="778400"/>
                    <a:pt x="3339543" y="795900"/>
                    <a:pt x="3339543" y="817487"/>
                  </a:cubicBezTo>
                  <a:cubicBezTo>
                    <a:pt x="3339543" y="839075"/>
                    <a:pt x="3322043" y="856575"/>
                    <a:pt x="3300455" y="856575"/>
                  </a:cubicBezTo>
                  <a:cubicBezTo>
                    <a:pt x="3278868" y="856575"/>
                    <a:pt x="3261368" y="839075"/>
                    <a:pt x="3261368" y="817487"/>
                  </a:cubicBezTo>
                  <a:cubicBezTo>
                    <a:pt x="3261368" y="795900"/>
                    <a:pt x="3278868" y="778400"/>
                    <a:pt x="3300455" y="778400"/>
                  </a:cubicBezTo>
                  <a:close/>
                  <a:moveTo>
                    <a:pt x="3205815" y="778400"/>
                  </a:moveTo>
                  <a:cubicBezTo>
                    <a:pt x="3227402" y="778400"/>
                    <a:pt x="3244902" y="795900"/>
                    <a:pt x="3244902" y="817487"/>
                  </a:cubicBezTo>
                  <a:cubicBezTo>
                    <a:pt x="3244902" y="839075"/>
                    <a:pt x="3227402" y="856575"/>
                    <a:pt x="3205815" y="856575"/>
                  </a:cubicBezTo>
                  <a:cubicBezTo>
                    <a:pt x="3184227" y="856575"/>
                    <a:pt x="3166728" y="839075"/>
                    <a:pt x="3166728" y="817487"/>
                  </a:cubicBezTo>
                  <a:cubicBezTo>
                    <a:pt x="3166728" y="795900"/>
                    <a:pt x="3184227" y="778400"/>
                    <a:pt x="3205815" y="778400"/>
                  </a:cubicBezTo>
                  <a:close/>
                  <a:moveTo>
                    <a:pt x="3111175" y="778400"/>
                  </a:moveTo>
                  <a:cubicBezTo>
                    <a:pt x="3132762" y="778400"/>
                    <a:pt x="3150262" y="795900"/>
                    <a:pt x="3150262" y="817487"/>
                  </a:cubicBezTo>
                  <a:cubicBezTo>
                    <a:pt x="3150262" y="839075"/>
                    <a:pt x="3132762" y="856575"/>
                    <a:pt x="3111175" y="856575"/>
                  </a:cubicBezTo>
                  <a:cubicBezTo>
                    <a:pt x="3089588" y="856575"/>
                    <a:pt x="3072088" y="839075"/>
                    <a:pt x="3072088" y="817487"/>
                  </a:cubicBezTo>
                  <a:cubicBezTo>
                    <a:pt x="3072088" y="795900"/>
                    <a:pt x="3089588" y="778400"/>
                    <a:pt x="3111175" y="778400"/>
                  </a:cubicBezTo>
                  <a:close/>
                  <a:moveTo>
                    <a:pt x="3018901" y="778400"/>
                  </a:moveTo>
                  <a:cubicBezTo>
                    <a:pt x="3040488" y="778400"/>
                    <a:pt x="3057988" y="795900"/>
                    <a:pt x="3057988" y="817487"/>
                  </a:cubicBezTo>
                  <a:cubicBezTo>
                    <a:pt x="3057988" y="839075"/>
                    <a:pt x="3040488" y="856575"/>
                    <a:pt x="3018901" y="856575"/>
                  </a:cubicBezTo>
                  <a:cubicBezTo>
                    <a:pt x="2997313" y="856575"/>
                    <a:pt x="2979813" y="839075"/>
                    <a:pt x="2979813" y="817487"/>
                  </a:cubicBezTo>
                  <a:cubicBezTo>
                    <a:pt x="2979813" y="795900"/>
                    <a:pt x="2997313" y="778400"/>
                    <a:pt x="3018901" y="778400"/>
                  </a:cubicBezTo>
                  <a:close/>
                  <a:moveTo>
                    <a:pt x="2831986" y="778400"/>
                  </a:moveTo>
                  <a:cubicBezTo>
                    <a:pt x="2853573" y="778400"/>
                    <a:pt x="2871073" y="795900"/>
                    <a:pt x="2871073" y="817487"/>
                  </a:cubicBezTo>
                  <a:cubicBezTo>
                    <a:pt x="2871073" y="839075"/>
                    <a:pt x="2853573" y="856575"/>
                    <a:pt x="2831986" y="856575"/>
                  </a:cubicBezTo>
                  <a:cubicBezTo>
                    <a:pt x="2810399" y="856575"/>
                    <a:pt x="2792899" y="839075"/>
                    <a:pt x="2792899" y="817487"/>
                  </a:cubicBezTo>
                  <a:cubicBezTo>
                    <a:pt x="2792899" y="795900"/>
                    <a:pt x="2810399" y="778400"/>
                    <a:pt x="2831986" y="778400"/>
                  </a:cubicBezTo>
                  <a:close/>
                  <a:moveTo>
                    <a:pt x="2737371" y="778400"/>
                  </a:moveTo>
                  <a:cubicBezTo>
                    <a:pt x="2758933" y="778400"/>
                    <a:pt x="2776433" y="795900"/>
                    <a:pt x="2776433" y="817487"/>
                  </a:cubicBezTo>
                  <a:cubicBezTo>
                    <a:pt x="2776433" y="839075"/>
                    <a:pt x="2758933" y="856575"/>
                    <a:pt x="2737371" y="856575"/>
                  </a:cubicBezTo>
                  <a:cubicBezTo>
                    <a:pt x="2715777" y="856575"/>
                    <a:pt x="2698271" y="839075"/>
                    <a:pt x="2698271" y="817487"/>
                  </a:cubicBezTo>
                  <a:cubicBezTo>
                    <a:pt x="2698271" y="795900"/>
                    <a:pt x="2715777" y="778400"/>
                    <a:pt x="2737371" y="778400"/>
                  </a:cubicBezTo>
                  <a:close/>
                  <a:moveTo>
                    <a:pt x="2645073" y="778400"/>
                  </a:moveTo>
                  <a:cubicBezTo>
                    <a:pt x="2666662" y="778400"/>
                    <a:pt x="2684167" y="795900"/>
                    <a:pt x="2684167" y="817487"/>
                  </a:cubicBezTo>
                  <a:cubicBezTo>
                    <a:pt x="2684167" y="839075"/>
                    <a:pt x="2666662" y="856575"/>
                    <a:pt x="2645073" y="856575"/>
                  </a:cubicBezTo>
                  <a:cubicBezTo>
                    <a:pt x="2623489" y="856575"/>
                    <a:pt x="2605987" y="839075"/>
                    <a:pt x="2605987" y="817487"/>
                  </a:cubicBezTo>
                  <a:cubicBezTo>
                    <a:pt x="2605987" y="795900"/>
                    <a:pt x="2623489" y="778400"/>
                    <a:pt x="2645073" y="778400"/>
                  </a:cubicBezTo>
                  <a:close/>
                  <a:moveTo>
                    <a:pt x="1703431" y="778400"/>
                  </a:moveTo>
                  <a:cubicBezTo>
                    <a:pt x="1725009" y="778400"/>
                    <a:pt x="1742522" y="795900"/>
                    <a:pt x="1742522" y="817487"/>
                  </a:cubicBezTo>
                  <a:cubicBezTo>
                    <a:pt x="1742522" y="839075"/>
                    <a:pt x="1725009" y="856575"/>
                    <a:pt x="1703431" y="856575"/>
                  </a:cubicBezTo>
                  <a:cubicBezTo>
                    <a:pt x="1681836" y="856575"/>
                    <a:pt x="1664349" y="839075"/>
                    <a:pt x="1664349" y="817487"/>
                  </a:cubicBezTo>
                  <a:cubicBezTo>
                    <a:pt x="1664349" y="795900"/>
                    <a:pt x="1681836" y="778400"/>
                    <a:pt x="1703431" y="778400"/>
                  </a:cubicBezTo>
                  <a:close/>
                  <a:moveTo>
                    <a:pt x="1045724" y="778400"/>
                  </a:moveTo>
                  <a:cubicBezTo>
                    <a:pt x="1067307" y="778400"/>
                    <a:pt x="1084813" y="795900"/>
                    <a:pt x="1084813" y="817487"/>
                  </a:cubicBezTo>
                  <a:cubicBezTo>
                    <a:pt x="1084813" y="839075"/>
                    <a:pt x="1067307" y="856575"/>
                    <a:pt x="1045724" y="856575"/>
                  </a:cubicBezTo>
                  <a:cubicBezTo>
                    <a:pt x="1024139" y="856575"/>
                    <a:pt x="1006642" y="839075"/>
                    <a:pt x="1006642" y="817487"/>
                  </a:cubicBezTo>
                  <a:cubicBezTo>
                    <a:pt x="1006642" y="795900"/>
                    <a:pt x="1024139" y="778400"/>
                    <a:pt x="1045724" y="778400"/>
                  </a:cubicBezTo>
                  <a:close/>
                  <a:moveTo>
                    <a:pt x="669571" y="778400"/>
                  </a:moveTo>
                  <a:cubicBezTo>
                    <a:pt x="691172" y="778400"/>
                    <a:pt x="708668" y="795900"/>
                    <a:pt x="708668" y="817487"/>
                  </a:cubicBezTo>
                  <a:cubicBezTo>
                    <a:pt x="708668" y="839075"/>
                    <a:pt x="691172" y="856575"/>
                    <a:pt x="669571" y="856575"/>
                  </a:cubicBezTo>
                  <a:cubicBezTo>
                    <a:pt x="647995" y="856575"/>
                    <a:pt x="630491" y="839075"/>
                    <a:pt x="630491" y="817487"/>
                  </a:cubicBezTo>
                  <a:cubicBezTo>
                    <a:pt x="630491" y="795900"/>
                    <a:pt x="647995" y="778400"/>
                    <a:pt x="669571" y="778400"/>
                  </a:cubicBezTo>
                  <a:close/>
                  <a:moveTo>
                    <a:pt x="577286" y="778400"/>
                  </a:moveTo>
                  <a:cubicBezTo>
                    <a:pt x="598880" y="778400"/>
                    <a:pt x="616386" y="795900"/>
                    <a:pt x="616386" y="817487"/>
                  </a:cubicBezTo>
                  <a:cubicBezTo>
                    <a:pt x="616386" y="839075"/>
                    <a:pt x="598880" y="856575"/>
                    <a:pt x="577286" y="856575"/>
                  </a:cubicBezTo>
                  <a:cubicBezTo>
                    <a:pt x="555692" y="856575"/>
                    <a:pt x="538187" y="839075"/>
                    <a:pt x="538187" y="817487"/>
                  </a:cubicBezTo>
                  <a:cubicBezTo>
                    <a:pt x="538187" y="795900"/>
                    <a:pt x="555692" y="778400"/>
                    <a:pt x="577286" y="778400"/>
                  </a:cubicBezTo>
                  <a:close/>
                  <a:moveTo>
                    <a:pt x="484999" y="778400"/>
                  </a:moveTo>
                  <a:cubicBezTo>
                    <a:pt x="506585" y="778400"/>
                    <a:pt x="524083" y="795900"/>
                    <a:pt x="524083" y="817487"/>
                  </a:cubicBezTo>
                  <a:cubicBezTo>
                    <a:pt x="524083" y="839075"/>
                    <a:pt x="506585" y="856575"/>
                    <a:pt x="484999" y="856575"/>
                  </a:cubicBezTo>
                  <a:cubicBezTo>
                    <a:pt x="463402" y="856575"/>
                    <a:pt x="445926" y="839075"/>
                    <a:pt x="445926" y="817487"/>
                  </a:cubicBezTo>
                  <a:cubicBezTo>
                    <a:pt x="445926" y="795900"/>
                    <a:pt x="463402" y="778400"/>
                    <a:pt x="484999" y="778400"/>
                  </a:cubicBezTo>
                  <a:close/>
                  <a:moveTo>
                    <a:pt x="390347" y="778400"/>
                  </a:moveTo>
                  <a:cubicBezTo>
                    <a:pt x="411934" y="778400"/>
                    <a:pt x="429451" y="795900"/>
                    <a:pt x="429451" y="817487"/>
                  </a:cubicBezTo>
                  <a:cubicBezTo>
                    <a:pt x="429451" y="839075"/>
                    <a:pt x="411934" y="856575"/>
                    <a:pt x="390347" y="856575"/>
                  </a:cubicBezTo>
                  <a:cubicBezTo>
                    <a:pt x="368783" y="856575"/>
                    <a:pt x="351281" y="839075"/>
                    <a:pt x="351281" y="817487"/>
                  </a:cubicBezTo>
                  <a:cubicBezTo>
                    <a:pt x="351281" y="795900"/>
                    <a:pt x="368783" y="778400"/>
                    <a:pt x="390347" y="778400"/>
                  </a:cubicBezTo>
                  <a:close/>
                  <a:moveTo>
                    <a:pt x="298081" y="778400"/>
                  </a:moveTo>
                  <a:cubicBezTo>
                    <a:pt x="319662" y="778400"/>
                    <a:pt x="337179" y="795900"/>
                    <a:pt x="337179" y="817487"/>
                  </a:cubicBezTo>
                  <a:cubicBezTo>
                    <a:pt x="337179" y="839075"/>
                    <a:pt x="319662" y="856575"/>
                    <a:pt x="298081" y="856575"/>
                  </a:cubicBezTo>
                  <a:cubicBezTo>
                    <a:pt x="276488" y="856575"/>
                    <a:pt x="258991" y="839075"/>
                    <a:pt x="258991" y="817487"/>
                  </a:cubicBezTo>
                  <a:cubicBezTo>
                    <a:pt x="258991" y="795900"/>
                    <a:pt x="276488" y="778400"/>
                    <a:pt x="298081" y="778400"/>
                  </a:cubicBezTo>
                  <a:close/>
                  <a:moveTo>
                    <a:pt x="203435" y="778400"/>
                  </a:moveTo>
                  <a:cubicBezTo>
                    <a:pt x="225025" y="778400"/>
                    <a:pt x="242524" y="795900"/>
                    <a:pt x="242524" y="817487"/>
                  </a:cubicBezTo>
                  <a:cubicBezTo>
                    <a:pt x="242524" y="839075"/>
                    <a:pt x="225025" y="856575"/>
                    <a:pt x="203435" y="856575"/>
                  </a:cubicBezTo>
                  <a:cubicBezTo>
                    <a:pt x="181849" y="856575"/>
                    <a:pt x="164349" y="839075"/>
                    <a:pt x="164349" y="817487"/>
                  </a:cubicBezTo>
                  <a:cubicBezTo>
                    <a:pt x="164349" y="795900"/>
                    <a:pt x="181849" y="778400"/>
                    <a:pt x="203435" y="778400"/>
                  </a:cubicBezTo>
                  <a:close/>
                  <a:moveTo>
                    <a:pt x="3548266" y="722756"/>
                  </a:moveTo>
                  <a:lnTo>
                    <a:pt x="3573690" y="764605"/>
                  </a:lnTo>
                  <a:lnTo>
                    <a:pt x="3556737" y="757582"/>
                  </a:lnTo>
                  <a:cubicBezTo>
                    <a:pt x="3549664" y="750509"/>
                    <a:pt x="3545289" y="740737"/>
                    <a:pt x="3545289" y="729943"/>
                  </a:cubicBezTo>
                  <a:close/>
                  <a:moveTo>
                    <a:pt x="207691" y="692618"/>
                  </a:moveTo>
                  <a:lnTo>
                    <a:pt x="231082" y="702305"/>
                  </a:lnTo>
                  <a:cubicBezTo>
                    <a:pt x="238155" y="709378"/>
                    <a:pt x="242530" y="719150"/>
                    <a:pt x="242530" y="729943"/>
                  </a:cubicBezTo>
                  <a:cubicBezTo>
                    <a:pt x="242530" y="751531"/>
                    <a:pt x="225032" y="769031"/>
                    <a:pt x="203440" y="769031"/>
                  </a:cubicBezTo>
                  <a:cubicBezTo>
                    <a:pt x="192648" y="769031"/>
                    <a:pt x="182877" y="764656"/>
                    <a:pt x="175804" y="757582"/>
                  </a:cubicBezTo>
                  <a:lnTo>
                    <a:pt x="172731" y="750164"/>
                  </a:lnTo>
                  <a:close/>
                  <a:moveTo>
                    <a:pt x="3489735" y="690857"/>
                  </a:moveTo>
                  <a:cubicBezTo>
                    <a:pt x="3511322" y="690857"/>
                    <a:pt x="3528822" y="708357"/>
                    <a:pt x="3528822" y="729943"/>
                  </a:cubicBezTo>
                  <a:cubicBezTo>
                    <a:pt x="3528822" y="751531"/>
                    <a:pt x="3511322" y="769031"/>
                    <a:pt x="3489735" y="769031"/>
                  </a:cubicBezTo>
                  <a:cubicBezTo>
                    <a:pt x="3468147" y="769031"/>
                    <a:pt x="3450647" y="751531"/>
                    <a:pt x="3450647" y="729943"/>
                  </a:cubicBezTo>
                  <a:cubicBezTo>
                    <a:pt x="3450647" y="708357"/>
                    <a:pt x="3468147" y="690857"/>
                    <a:pt x="3489735" y="690857"/>
                  </a:cubicBezTo>
                  <a:close/>
                  <a:moveTo>
                    <a:pt x="3392730" y="690857"/>
                  </a:moveTo>
                  <a:cubicBezTo>
                    <a:pt x="3414317" y="690857"/>
                    <a:pt x="3431817" y="708357"/>
                    <a:pt x="3431817" y="729943"/>
                  </a:cubicBezTo>
                  <a:cubicBezTo>
                    <a:pt x="3431817" y="751531"/>
                    <a:pt x="3414317" y="769031"/>
                    <a:pt x="3392730" y="769031"/>
                  </a:cubicBezTo>
                  <a:cubicBezTo>
                    <a:pt x="3371143" y="769031"/>
                    <a:pt x="3353643" y="751531"/>
                    <a:pt x="3353643" y="729943"/>
                  </a:cubicBezTo>
                  <a:cubicBezTo>
                    <a:pt x="3353643" y="708357"/>
                    <a:pt x="3371143" y="690857"/>
                    <a:pt x="3392730" y="690857"/>
                  </a:cubicBezTo>
                  <a:close/>
                  <a:moveTo>
                    <a:pt x="3300455" y="690857"/>
                  </a:moveTo>
                  <a:cubicBezTo>
                    <a:pt x="3322042" y="690857"/>
                    <a:pt x="3339542" y="708357"/>
                    <a:pt x="3339542" y="729944"/>
                  </a:cubicBezTo>
                  <a:cubicBezTo>
                    <a:pt x="3339542" y="751532"/>
                    <a:pt x="3322042" y="769031"/>
                    <a:pt x="3300455" y="769031"/>
                  </a:cubicBezTo>
                  <a:cubicBezTo>
                    <a:pt x="3278867" y="769031"/>
                    <a:pt x="3261368" y="751532"/>
                    <a:pt x="3261368" y="729944"/>
                  </a:cubicBezTo>
                  <a:cubicBezTo>
                    <a:pt x="3261368" y="708357"/>
                    <a:pt x="3278867" y="690857"/>
                    <a:pt x="3300455" y="690857"/>
                  </a:cubicBezTo>
                  <a:close/>
                  <a:moveTo>
                    <a:pt x="3205815" y="690857"/>
                  </a:moveTo>
                  <a:cubicBezTo>
                    <a:pt x="3227402" y="690857"/>
                    <a:pt x="3244902" y="708357"/>
                    <a:pt x="3244902" y="729943"/>
                  </a:cubicBezTo>
                  <a:cubicBezTo>
                    <a:pt x="3244902" y="751531"/>
                    <a:pt x="3227402" y="769031"/>
                    <a:pt x="3205815" y="769031"/>
                  </a:cubicBezTo>
                  <a:cubicBezTo>
                    <a:pt x="3184227" y="769031"/>
                    <a:pt x="3166728" y="751531"/>
                    <a:pt x="3166728" y="729943"/>
                  </a:cubicBezTo>
                  <a:cubicBezTo>
                    <a:pt x="3166728" y="708357"/>
                    <a:pt x="3184227" y="690857"/>
                    <a:pt x="3205815" y="690857"/>
                  </a:cubicBezTo>
                  <a:close/>
                  <a:moveTo>
                    <a:pt x="3111175" y="690857"/>
                  </a:moveTo>
                  <a:cubicBezTo>
                    <a:pt x="3132762" y="690857"/>
                    <a:pt x="3150262" y="708357"/>
                    <a:pt x="3150262" y="729944"/>
                  </a:cubicBezTo>
                  <a:cubicBezTo>
                    <a:pt x="3150262" y="751532"/>
                    <a:pt x="3132762" y="769031"/>
                    <a:pt x="3111175" y="769031"/>
                  </a:cubicBezTo>
                  <a:cubicBezTo>
                    <a:pt x="3089588" y="769031"/>
                    <a:pt x="3072088" y="751532"/>
                    <a:pt x="3072088" y="729944"/>
                  </a:cubicBezTo>
                  <a:cubicBezTo>
                    <a:pt x="3072088" y="708357"/>
                    <a:pt x="3089588" y="690857"/>
                    <a:pt x="3111175" y="690857"/>
                  </a:cubicBezTo>
                  <a:close/>
                  <a:moveTo>
                    <a:pt x="3018901" y="690857"/>
                  </a:moveTo>
                  <a:cubicBezTo>
                    <a:pt x="3040488" y="690857"/>
                    <a:pt x="3057988" y="708357"/>
                    <a:pt x="3057988" y="729944"/>
                  </a:cubicBezTo>
                  <a:cubicBezTo>
                    <a:pt x="3057988" y="751532"/>
                    <a:pt x="3040488" y="769031"/>
                    <a:pt x="3018901" y="769031"/>
                  </a:cubicBezTo>
                  <a:cubicBezTo>
                    <a:pt x="2997313" y="769031"/>
                    <a:pt x="2979813" y="751532"/>
                    <a:pt x="2979813" y="729944"/>
                  </a:cubicBezTo>
                  <a:cubicBezTo>
                    <a:pt x="2979813" y="708357"/>
                    <a:pt x="2997313" y="690857"/>
                    <a:pt x="3018901" y="690857"/>
                  </a:cubicBezTo>
                  <a:close/>
                  <a:moveTo>
                    <a:pt x="2924262" y="690857"/>
                  </a:moveTo>
                  <a:cubicBezTo>
                    <a:pt x="2945849" y="690857"/>
                    <a:pt x="2963349" y="708357"/>
                    <a:pt x="2963349" y="729943"/>
                  </a:cubicBezTo>
                  <a:cubicBezTo>
                    <a:pt x="2963349" y="751531"/>
                    <a:pt x="2945849" y="769031"/>
                    <a:pt x="2924262" y="769031"/>
                  </a:cubicBezTo>
                  <a:cubicBezTo>
                    <a:pt x="2902675" y="769031"/>
                    <a:pt x="2885175" y="751531"/>
                    <a:pt x="2885175" y="729943"/>
                  </a:cubicBezTo>
                  <a:cubicBezTo>
                    <a:pt x="2885175" y="708357"/>
                    <a:pt x="2902675" y="690857"/>
                    <a:pt x="2924262" y="690857"/>
                  </a:cubicBezTo>
                  <a:close/>
                  <a:moveTo>
                    <a:pt x="2831986" y="690857"/>
                  </a:moveTo>
                  <a:cubicBezTo>
                    <a:pt x="2853573" y="690857"/>
                    <a:pt x="2871073" y="708357"/>
                    <a:pt x="2871073" y="729944"/>
                  </a:cubicBezTo>
                  <a:cubicBezTo>
                    <a:pt x="2871073" y="751532"/>
                    <a:pt x="2853573" y="769031"/>
                    <a:pt x="2831986" y="769031"/>
                  </a:cubicBezTo>
                  <a:cubicBezTo>
                    <a:pt x="2810399" y="769031"/>
                    <a:pt x="2792899" y="751532"/>
                    <a:pt x="2792899" y="729944"/>
                  </a:cubicBezTo>
                  <a:cubicBezTo>
                    <a:pt x="2792899" y="708357"/>
                    <a:pt x="2810399" y="690857"/>
                    <a:pt x="2831986" y="690857"/>
                  </a:cubicBezTo>
                  <a:close/>
                  <a:moveTo>
                    <a:pt x="2737373" y="690857"/>
                  </a:moveTo>
                  <a:cubicBezTo>
                    <a:pt x="2758934" y="690857"/>
                    <a:pt x="2776434" y="708357"/>
                    <a:pt x="2776434" y="729944"/>
                  </a:cubicBezTo>
                  <a:cubicBezTo>
                    <a:pt x="2776434" y="751532"/>
                    <a:pt x="2758934" y="769031"/>
                    <a:pt x="2737373" y="769031"/>
                  </a:cubicBezTo>
                  <a:cubicBezTo>
                    <a:pt x="2715778" y="769031"/>
                    <a:pt x="2698271" y="751532"/>
                    <a:pt x="2698271" y="729944"/>
                  </a:cubicBezTo>
                  <a:cubicBezTo>
                    <a:pt x="2698271" y="708357"/>
                    <a:pt x="2715778" y="690857"/>
                    <a:pt x="2737373" y="690857"/>
                  </a:cubicBezTo>
                  <a:close/>
                  <a:moveTo>
                    <a:pt x="2266534" y="690857"/>
                  </a:moveTo>
                  <a:cubicBezTo>
                    <a:pt x="2288114" y="690857"/>
                    <a:pt x="2305617" y="708357"/>
                    <a:pt x="2305617" y="729943"/>
                  </a:cubicBezTo>
                  <a:cubicBezTo>
                    <a:pt x="2305617" y="751531"/>
                    <a:pt x="2288114" y="769031"/>
                    <a:pt x="2266534" y="769031"/>
                  </a:cubicBezTo>
                  <a:cubicBezTo>
                    <a:pt x="2244933" y="769031"/>
                    <a:pt x="2227440" y="751531"/>
                    <a:pt x="2227440" y="729943"/>
                  </a:cubicBezTo>
                  <a:cubicBezTo>
                    <a:pt x="2227440" y="708357"/>
                    <a:pt x="2244933" y="690857"/>
                    <a:pt x="2266534" y="690857"/>
                  </a:cubicBezTo>
                  <a:close/>
                  <a:moveTo>
                    <a:pt x="2171886" y="690857"/>
                  </a:moveTo>
                  <a:cubicBezTo>
                    <a:pt x="2193476" y="690857"/>
                    <a:pt x="2210979" y="708357"/>
                    <a:pt x="2210979" y="729944"/>
                  </a:cubicBezTo>
                  <a:cubicBezTo>
                    <a:pt x="2210979" y="751532"/>
                    <a:pt x="2193476" y="769031"/>
                    <a:pt x="2171886" y="769031"/>
                  </a:cubicBezTo>
                  <a:cubicBezTo>
                    <a:pt x="2150294" y="769031"/>
                    <a:pt x="2132800" y="751532"/>
                    <a:pt x="2132800" y="729944"/>
                  </a:cubicBezTo>
                  <a:cubicBezTo>
                    <a:pt x="2132800" y="708357"/>
                    <a:pt x="2150294" y="690857"/>
                    <a:pt x="2171886" y="690857"/>
                  </a:cubicBezTo>
                  <a:close/>
                  <a:moveTo>
                    <a:pt x="2079612" y="690857"/>
                  </a:moveTo>
                  <a:cubicBezTo>
                    <a:pt x="2101211" y="690857"/>
                    <a:pt x="2118698" y="708357"/>
                    <a:pt x="2118698" y="729944"/>
                  </a:cubicBezTo>
                  <a:cubicBezTo>
                    <a:pt x="2118698" y="751532"/>
                    <a:pt x="2101211" y="769031"/>
                    <a:pt x="2079612" y="769031"/>
                  </a:cubicBezTo>
                  <a:cubicBezTo>
                    <a:pt x="2058029" y="769031"/>
                    <a:pt x="2040529" y="751532"/>
                    <a:pt x="2040529" y="729944"/>
                  </a:cubicBezTo>
                  <a:cubicBezTo>
                    <a:pt x="2040529" y="708357"/>
                    <a:pt x="2058029" y="690857"/>
                    <a:pt x="2079612" y="690857"/>
                  </a:cubicBezTo>
                  <a:close/>
                  <a:moveTo>
                    <a:pt x="1703432" y="690857"/>
                  </a:moveTo>
                  <a:cubicBezTo>
                    <a:pt x="1725009" y="690857"/>
                    <a:pt x="1742522" y="708357"/>
                    <a:pt x="1742522" y="729943"/>
                  </a:cubicBezTo>
                  <a:cubicBezTo>
                    <a:pt x="1742522" y="751531"/>
                    <a:pt x="1725009" y="769031"/>
                    <a:pt x="1703432" y="769031"/>
                  </a:cubicBezTo>
                  <a:cubicBezTo>
                    <a:pt x="1681839" y="769031"/>
                    <a:pt x="1664351" y="751531"/>
                    <a:pt x="1664351" y="729943"/>
                  </a:cubicBezTo>
                  <a:cubicBezTo>
                    <a:pt x="1664351" y="708357"/>
                    <a:pt x="1681839" y="690857"/>
                    <a:pt x="1703432" y="690857"/>
                  </a:cubicBezTo>
                  <a:close/>
                  <a:moveTo>
                    <a:pt x="1611147" y="690857"/>
                  </a:moveTo>
                  <a:cubicBezTo>
                    <a:pt x="1632741" y="690857"/>
                    <a:pt x="1650245" y="708357"/>
                    <a:pt x="1650245" y="729944"/>
                  </a:cubicBezTo>
                  <a:cubicBezTo>
                    <a:pt x="1650245" y="751532"/>
                    <a:pt x="1632741" y="769031"/>
                    <a:pt x="1611147" y="769031"/>
                  </a:cubicBezTo>
                  <a:cubicBezTo>
                    <a:pt x="1589631" y="769031"/>
                    <a:pt x="1572133" y="751532"/>
                    <a:pt x="1572133" y="729944"/>
                  </a:cubicBezTo>
                  <a:cubicBezTo>
                    <a:pt x="1572133" y="708357"/>
                    <a:pt x="1589631" y="690857"/>
                    <a:pt x="1611147" y="690857"/>
                  </a:cubicBezTo>
                  <a:close/>
                  <a:moveTo>
                    <a:pt x="1232669" y="690857"/>
                  </a:moveTo>
                  <a:cubicBezTo>
                    <a:pt x="1254252" y="690857"/>
                    <a:pt x="1271741" y="708357"/>
                    <a:pt x="1271741" y="729943"/>
                  </a:cubicBezTo>
                  <a:cubicBezTo>
                    <a:pt x="1271741" y="751531"/>
                    <a:pt x="1254252" y="769031"/>
                    <a:pt x="1232669" y="769031"/>
                  </a:cubicBezTo>
                  <a:cubicBezTo>
                    <a:pt x="1211075" y="769031"/>
                    <a:pt x="1193583" y="751531"/>
                    <a:pt x="1193583" y="729943"/>
                  </a:cubicBezTo>
                  <a:cubicBezTo>
                    <a:pt x="1193583" y="708357"/>
                    <a:pt x="1211075" y="690857"/>
                    <a:pt x="1232669" y="690857"/>
                  </a:cubicBezTo>
                  <a:close/>
                  <a:moveTo>
                    <a:pt x="1142756" y="690857"/>
                  </a:moveTo>
                  <a:cubicBezTo>
                    <a:pt x="1164349" y="690857"/>
                    <a:pt x="1181847" y="708357"/>
                    <a:pt x="1181847" y="729944"/>
                  </a:cubicBezTo>
                  <a:cubicBezTo>
                    <a:pt x="1181847" y="751532"/>
                    <a:pt x="1164349" y="769031"/>
                    <a:pt x="1142756" y="769031"/>
                  </a:cubicBezTo>
                  <a:cubicBezTo>
                    <a:pt x="1121161" y="769031"/>
                    <a:pt x="1103656" y="751532"/>
                    <a:pt x="1103656" y="729944"/>
                  </a:cubicBezTo>
                  <a:cubicBezTo>
                    <a:pt x="1103656" y="708357"/>
                    <a:pt x="1121161" y="690857"/>
                    <a:pt x="1142756" y="690857"/>
                  </a:cubicBezTo>
                  <a:close/>
                  <a:moveTo>
                    <a:pt x="856480" y="690857"/>
                  </a:moveTo>
                  <a:cubicBezTo>
                    <a:pt x="878063" y="690857"/>
                    <a:pt x="895560" y="708357"/>
                    <a:pt x="895560" y="729943"/>
                  </a:cubicBezTo>
                  <a:cubicBezTo>
                    <a:pt x="895560" y="751531"/>
                    <a:pt x="878063" y="769031"/>
                    <a:pt x="856480" y="769031"/>
                  </a:cubicBezTo>
                  <a:cubicBezTo>
                    <a:pt x="834897" y="769031"/>
                    <a:pt x="817401" y="751531"/>
                    <a:pt x="817401" y="729943"/>
                  </a:cubicBezTo>
                  <a:cubicBezTo>
                    <a:pt x="817401" y="708357"/>
                    <a:pt x="834897" y="690857"/>
                    <a:pt x="856480" y="690857"/>
                  </a:cubicBezTo>
                  <a:close/>
                  <a:moveTo>
                    <a:pt x="764220" y="690857"/>
                  </a:moveTo>
                  <a:cubicBezTo>
                    <a:pt x="785806" y="690857"/>
                    <a:pt x="803302" y="708357"/>
                    <a:pt x="803302" y="729944"/>
                  </a:cubicBezTo>
                  <a:cubicBezTo>
                    <a:pt x="803302" y="751532"/>
                    <a:pt x="785806" y="769031"/>
                    <a:pt x="764220" y="769031"/>
                  </a:cubicBezTo>
                  <a:cubicBezTo>
                    <a:pt x="742627" y="769031"/>
                    <a:pt x="725137" y="751532"/>
                    <a:pt x="725137" y="729944"/>
                  </a:cubicBezTo>
                  <a:cubicBezTo>
                    <a:pt x="725137" y="708357"/>
                    <a:pt x="742627" y="690857"/>
                    <a:pt x="764220" y="690857"/>
                  </a:cubicBezTo>
                  <a:close/>
                  <a:moveTo>
                    <a:pt x="669571" y="690857"/>
                  </a:moveTo>
                  <a:cubicBezTo>
                    <a:pt x="691179" y="690857"/>
                    <a:pt x="708675" y="708357"/>
                    <a:pt x="708675" y="729943"/>
                  </a:cubicBezTo>
                  <a:cubicBezTo>
                    <a:pt x="708675" y="751531"/>
                    <a:pt x="691179" y="769031"/>
                    <a:pt x="669571" y="769031"/>
                  </a:cubicBezTo>
                  <a:cubicBezTo>
                    <a:pt x="648002" y="769031"/>
                    <a:pt x="630497" y="751531"/>
                    <a:pt x="630497" y="729943"/>
                  </a:cubicBezTo>
                  <a:cubicBezTo>
                    <a:pt x="630497" y="708357"/>
                    <a:pt x="648002" y="690857"/>
                    <a:pt x="669571" y="690857"/>
                  </a:cubicBezTo>
                  <a:close/>
                  <a:moveTo>
                    <a:pt x="577293" y="690857"/>
                  </a:moveTo>
                  <a:cubicBezTo>
                    <a:pt x="598887" y="690857"/>
                    <a:pt x="616393" y="708357"/>
                    <a:pt x="616393" y="729943"/>
                  </a:cubicBezTo>
                  <a:cubicBezTo>
                    <a:pt x="616393" y="751531"/>
                    <a:pt x="598887" y="769031"/>
                    <a:pt x="577293" y="769031"/>
                  </a:cubicBezTo>
                  <a:cubicBezTo>
                    <a:pt x="555699" y="769031"/>
                    <a:pt x="538195" y="751531"/>
                    <a:pt x="538195" y="729943"/>
                  </a:cubicBezTo>
                  <a:cubicBezTo>
                    <a:pt x="538195" y="708357"/>
                    <a:pt x="555699" y="690857"/>
                    <a:pt x="577293" y="690857"/>
                  </a:cubicBezTo>
                  <a:close/>
                  <a:moveTo>
                    <a:pt x="485003" y="690857"/>
                  </a:moveTo>
                  <a:cubicBezTo>
                    <a:pt x="506592" y="690857"/>
                    <a:pt x="524091" y="708357"/>
                    <a:pt x="524091" y="729943"/>
                  </a:cubicBezTo>
                  <a:cubicBezTo>
                    <a:pt x="524091" y="751531"/>
                    <a:pt x="506592" y="769031"/>
                    <a:pt x="485003" y="769031"/>
                  </a:cubicBezTo>
                  <a:cubicBezTo>
                    <a:pt x="463406" y="769031"/>
                    <a:pt x="445934" y="751531"/>
                    <a:pt x="445934" y="729943"/>
                  </a:cubicBezTo>
                  <a:cubicBezTo>
                    <a:pt x="445934" y="708357"/>
                    <a:pt x="463406" y="690857"/>
                    <a:pt x="485003" y="690857"/>
                  </a:cubicBezTo>
                  <a:close/>
                  <a:moveTo>
                    <a:pt x="390354" y="690857"/>
                  </a:moveTo>
                  <a:cubicBezTo>
                    <a:pt x="411947" y="690857"/>
                    <a:pt x="429457" y="708357"/>
                    <a:pt x="429457" y="729943"/>
                  </a:cubicBezTo>
                  <a:cubicBezTo>
                    <a:pt x="429457" y="751531"/>
                    <a:pt x="411947" y="769031"/>
                    <a:pt x="390354" y="769031"/>
                  </a:cubicBezTo>
                  <a:cubicBezTo>
                    <a:pt x="368790" y="769031"/>
                    <a:pt x="351287" y="751531"/>
                    <a:pt x="351287" y="729943"/>
                  </a:cubicBezTo>
                  <a:cubicBezTo>
                    <a:pt x="351287" y="708357"/>
                    <a:pt x="368790" y="690857"/>
                    <a:pt x="390354" y="690857"/>
                  </a:cubicBezTo>
                  <a:close/>
                  <a:moveTo>
                    <a:pt x="298087" y="690857"/>
                  </a:moveTo>
                  <a:cubicBezTo>
                    <a:pt x="319667" y="690857"/>
                    <a:pt x="337188" y="708357"/>
                    <a:pt x="337188" y="729943"/>
                  </a:cubicBezTo>
                  <a:cubicBezTo>
                    <a:pt x="337188" y="751531"/>
                    <a:pt x="319667" y="769031"/>
                    <a:pt x="298087" y="769031"/>
                  </a:cubicBezTo>
                  <a:cubicBezTo>
                    <a:pt x="276494" y="769031"/>
                    <a:pt x="258997" y="751531"/>
                    <a:pt x="258997" y="729943"/>
                  </a:cubicBezTo>
                  <a:cubicBezTo>
                    <a:pt x="258997" y="708357"/>
                    <a:pt x="276494" y="690857"/>
                    <a:pt x="298087" y="690857"/>
                  </a:cubicBezTo>
                  <a:close/>
                  <a:moveTo>
                    <a:pt x="242207" y="643975"/>
                  </a:moveTo>
                  <a:lnTo>
                    <a:pt x="242535" y="644768"/>
                  </a:lnTo>
                  <a:cubicBezTo>
                    <a:pt x="242535" y="655562"/>
                    <a:pt x="238161" y="665334"/>
                    <a:pt x="231087" y="672407"/>
                  </a:cubicBezTo>
                  <a:lnTo>
                    <a:pt x="216396" y="678492"/>
                  </a:lnTo>
                  <a:close/>
                  <a:moveTo>
                    <a:pt x="3472229" y="612933"/>
                  </a:moveTo>
                  <a:lnTo>
                    <a:pt x="3516862" y="672620"/>
                  </a:lnTo>
                  <a:lnTo>
                    <a:pt x="3489735" y="683855"/>
                  </a:lnTo>
                  <a:cubicBezTo>
                    <a:pt x="3468148" y="683855"/>
                    <a:pt x="3450649" y="666356"/>
                    <a:pt x="3450649" y="644768"/>
                  </a:cubicBezTo>
                  <a:cubicBezTo>
                    <a:pt x="3450649" y="633975"/>
                    <a:pt x="3455024" y="624203"/>
                    <a:pt x="3462097" y="617130"/>
                  </a:cubicBezTo>
                  <a:close/>
                  <a:moveTo>
                    <a:pt x="3392730" y="605682"/>
                  </a:moveTo>
                  <a:cubicBezTo>
                    <a:pt x="3414317" y="605682"/>
                    <a:pt x="3431817" y="623181"/>
                    <a:pt x="3431817" y="644768"/>
                  </a:cubicBezTo>
                  <a:cubicBezTo>
                    <a:pt x="3431817" y="666356"/>
                    <a:pt x="3414317" y="683855"/>
                    <a:pt x="3392730" y="683855"/>
                  </a:cubicBezTo>
                  <a:cubicBezTo>
                    <a:pt x="3371143" y="683855"/>
                    <a:pt x="3353643" y="666356"/>
                    <a:pt x="3353643" y="644768"/>
                  </a:cubicBezTo>
                  <a:cubicBezTo>
                    <a:pt x="3353643" y="623181"/>
                    <a:pt x="3371143" y="605682"/>
                    <a:pt x="3392730" y="605682"/>
                  </a:cubicBezTo>
                  <a:close/>
                  <a:moveTo>
                    <a:pt x="3300455" y="605682"/>
                  </a:moveTo>
                  <a:cubicBezTo>
                    <a:pt x="3322043" y="605682"/>
                    <a:pt x="3339543" y="623181"/>
                    <a:pt x="3339543" y="644768"/>
                  </a:cubicBezTo>
                  <a:cubicBezTo>
                    <a:pt x="3339543" y="666356"/>
                    <a:pt x="3322043" y="683855"/>
                    <a:pt x="3300455" y="683855"/>
                  </a:cubicBezTo>
                  <a:cubicBezTo>
                    <a:pt x="3278868" y="683855"/>
                    <a:pt x="3261368" y="666356"/>
                    <a:pt x="3261368" y="644768"/>
                  </a:cubicBezTo>
                  <a:cubicBezTo>
                    <a:pt x="3261368" y="623181"/>
                    <a:pt x="3278868" y="605682"/>
                    <a:pt x="3300455" y="605682"/>
                  </a:cubicBezTo>
                  <a:close/>
                  <a:moveTo>
                    <a:pt x="3205815" y="605682"/>
                  </a:moveTo>
                  <a:cubicBezTo>
                    <a:pt x="3227403" y="605682"/>
                    <a:pt x="3244903" y="623181"/>
                    <a:pt x="3244903" y="644768"/>
                  </a:cubicBezTo>
                  <a:cubicBezTo>
                    <a:pt x="3244903" y="666356"/>
                    <a:pt x="3227403" y="683855"/>
                    <a:pt x="3205815" y="683855"/>
                  </a:cubicBezTo>
                  <a:cubicBezTo>
                    <a:pt x="3184228" y="683855"/>
                    <a:pt x="3166728" y="666356"/>
                    <a:pt x="3166728" y="644768"/>
                  </a:cubicBezTo>
                  <a:cubicBezTo>
                    <a:pt x="3166728" y="623181"/>
                    <a:pt x="3184228" y="605682"/>
                    <a:pt x="3205815" y="605682"/>
                  </a:cubicBezTo>
                  <a:close/>
                  <a:moveTo>
                    <a:pt x="3111175" y="605682"/>
                  </a:moveTo>
                  <a:cubicBezTo>
                    <a:pt x="3132763" y="605682"/>
                    <a:pt x="3150263" y="623181"/>
                    <a:pt x="3150263" y="644768"/>
                  </a:cubicBezTo>
                  <a:cubicBezTo>
                    <a:pt x="3150263" y="666356"/>
                    <a:pt x="3132763" y="683855"/>
                    <a:pt x="3111175" y="683855"/>
                  </a:cubicBezTo>
                  <a:cubicBezTo>
                    <a:pt x="3089588" y="683855"/>
                    <a:pt x="3072088" y="666356"/>
                    <a:pt x="3072088" y="644768"/>
                  </a:cubicBezTo>
                  <a:cubicBezTo>
                    <a:pt x="3072088" y="623181"/>
                    <a:pt x="3089588" y="605682"/>
                    <a:pt x="3111175" y="605682"/>
                  </a:cubicBezTo>
                  <a:close/>
                  <a:moveTo>
                    <a:pt x="3018901" y="605682"/>
                  </a:moveTo>
                  <a:cubicBezTo>
                    <a:pt x="3040488" y="605682"/>
                    <a:pt x="3057988" y="623181"/>
                    <a:pt x="3057988" y="644768"/>
                  </a:cubicBezTo>
                  <a:cubicBezTo>
                    <a:pt x="3057988" y="666356"/>
                    <a:pt x="3040488" y="683855"/>
                    <a:pt x="3018901" y="683855"/>
                  </a:cubicBezTo>
                  <a:cubicBezTo>
                    <a:pt x="2997313" y="683855"/>
                    <a:pt x="2979813" y="666356"/>
                    <a:pt x="2979813" y="644768"/>
                  </a:cubicBezTo>
                  <a:cubicBezTo>
                    <a:pt x="2979813" y="623181"/>
                    <a:pt x="2997313" y="605682"/>
                    <a:pt x="3018901" y="605682"/>
                  </a:cubicBezTo>
                  <a:close/>
                  <a:moveTo>
                    <a:pt x="2924262" y="605682"/>
                  </a:moveTo>
                  <a:cubicBezTo>
                    <a:pt x="2945849" y="605682"/>
                    <a:pt x="2963349" y="623181"/>
                    <a:pt x="2963349" y="644768"/>
                  </a:cubicBezTo>
                  <a:cubicBezTo>
                    <a:pt x="2963349" y="666356"/>
                    <a:pt x="2945849" y="683855"/>
                    <a:pt x="2924262" y="683855"/>
                  </a:cubicBezTo>
                  <a:cubicBezTo>
                    <a:pt x="2902675" y="683855"/>
                    <a:pt x="2885175" y="666356"/>
                    <a:pt x="2885175" y="644768"/>
                  </a:cubicBezTo>
                  <a:cubicBezTo>
                    <a:pt x="2885175" y="623181"/>
                    <a:pt x="2902675" y="605682"/>
                    <a:pt x="2924262" y="605682"/>
                  </a:cubicBezTo>
                  <a:close/>
                  <a:moveTo>
                    <a:pt x="2831987" y="605682"/>
                  </a:moveTo>
                  <a:cubicBezTo>
                    <a:pt x="2853574" y="605682"/>
                    <a:pt x="2871074" y="623181"/>
                    <a:pt x="2871074" y="644768"/>
                  </a:cubicBezTo>
                  <a:cubicBezTo>
                    <a:pt x="2871074" y="666356"/>
                    <a:pt x="2853574" y="683855"/>
                    <a:pt x="2831987" y="683855"/>
                  </a:cubicBezTo>
                  <a:cubicBezTo>
                    <a:pt x="2810400" y="683855"/>
                    <a:pt x="2792900" y="666356"/>
                    <a:pt x="2792900" y="644768"/>
                  </a:cubicBezTo>
                  <a:cubicBezTo>
                    <a:pt x="2792900" y="623181"/>
                    <a:pt x="2810400" y="605682"/>
                    <a:pt x="2831987" y="605682"/>
                  </a:cubicBezTo>
                  <a:close/>
                  <a:moveTo>
                    <a:pt x="2171887" y="605682"/>
                  </a:moveTo>
                  <a:cubicBezTo>
                    <a:pt x="2193477" y="605682"/>
                    <a:pt x="2210979" y="623181"/>
                    <a:pt x="2210979" y="644768"/>
                  </a:cubicBezTo>
                  <a:cubicBezTo>
                    <a:pt x="2210979" y="666356"/>
                    <a:pt x="2193477" y="683855"/>
                    <a:pt x="2171887" y="683855"/>
                  </a:cubicBezTo>
                  <a:cubicBezTo>
                    <a:pt x="2150295" y="683855"/>
                    <a:pt x="2132800" y="666356"/>
                    <a:pt x="2132800" y="644768"/>
                  </a:cubicBezTo>
                  <a:cubicBezTo>
                    <a:pt x="2132800" y="623181"/>
                    <a:pt x="2150295" y="605682"/>
                    <a:pt x="2171887" y="605682"/>
                  </a:cubicBezTo>
                  <a:close/>
                  <a:moveTo>
                    <a:pt x="1798073" y="605682"/>
                  </a:moveTo>
                  <a:cubicBezTo>
                    <a:pt x="1819661" y="605682"/>
                    <a:pt x="1837146" y="623181"/>
                    <a:pt x="1837146" y="644768"/>
                  </a:cubicBezTo>
                  <a:cubicBezTo>
                    <a:pt x="1837146" y="666356"/>
                    <a:pt x="1819661" y="683855"/>
                    <a:pt x="1798073" y="683855"/>
                  </a:cubicBezTo>
                  <a:cubicBezTo>
                    <a:pt x="1776481" y="683855"/>
                    <a:pt x="1758966" y="666356"/>
                    <a:pt x="1758966" y="644768"/>
                  </a:cubicBezTo>
                  <a:cubicBezTo>
                    <a:pt x="1758966" y="623181"/>
                    <a:pt x="1776481" y="605682"/>
                    <a:pt x="1798073" y="605682"/>
                  </a:cubicBezTo>
                  <a:close/>
                  <a:moveTo>
                    <a:pt x="1703432" y="605682"/>
                  </a:moveTo>
                  <a:cubicBezTo>
                    <a:pt x="1725011" y="605682"/>
                    <a:pt x="1742522" y="623181"/>
                    <a:pt x="1742522" y="644768"/>
                  </a:cubicBezTo>
                  <a:cubicBezTo>
                    <a:pt x="1742522" y="666356"/>
                    <a:pt x="1725011" y="683855"/>
                    <a:pt x="1703432" y="683855"/>
                  </a:cubicBezTo>
                  <a:cubicBezTo>
                    <a:pt x="1681839" y="683855"/>
                    <a:pt x="1664351" y="666356"/>
                    <a:pt x="1664351" y="644768"/>
                  </a:cubicBezTo>
                  <a:cubicBezTo>
                    <a:pt x="1664351" y="623181"/>
                    <a:pt x="1681839" y="605682"/>
                    <a:pt x="1703432" y="605682"/>
                  </a:cubicBezTo>
                  <a:close/>
                  <a:moveTo>
                    <a:pt x="1611147" y="605682"/>
                  </a:moveTo>
                  <a:cubicBezTo>
                    <a:pt x="1632741" y="605682"/>
                    <a:pt x="1650245" y="623181"/>
                    <a:pt x="1650245" y="644768"/>
                  </a:cubicBezTo>
                  <a:cubicBezTo>
                    <a:pt x="1650245" y="666356"/>
                    <a:pt x="1632741" y="683855"/>
                    <a:pt x="1611147" y="683855"/>
                  </a:cubicBezTo>
                  <a:cubicBezTo>
                    <a:pt x="1589637" y="683855"/>
                    <a:pt x="1572140" y="666356"/>
                    <a:pt x="1572140" y="644768"/>
                  </a:cubicBezTo>
                  <a:cubicBezTo>
                    <a:pt x="1572140" y="623181"/>
                    <a:pt x="1589637" y="605682"/>
                    <a:pt x="1611147" y="605682"/>
                  </a:cubicBezTo>
                  <a:close/>
                  <a:moveTo>
                    <a:pt x="1232676" y="605682"/>
                  </a:moveTo>
                  <a:cubicBezTo>
                    <a:pt x="1254261" y="605682"/>
                    <a:pt x="1271747" y="623181"/>
                    <a:pt x="1271747" y="644768"/>
                  </a:cubicBezTo>
                  <a:cubicBezTo>
                    <a:pt x="1271747" y="666356"/>
                    <a:pt x="1254261" y="683855"/>
                    <a:pt x="1232676" y="683855"/>
                  </a:cubicBezTo>
                  <a:cubicBezTo>
                    <a:pt x="1211083" y="683855"/>
                    <a:pt x="1193590" y="666356"/>
                    <a:pt x="1193590" y="644768"/>
                  </a:cubicBezTo>
                  <a:cubicBezTo>
                    <a:pt x="1193590" y="623181"/>
                    <a:pt x="1211083" y="605682"/>
                    <a:pt x="1232676" y="605682"/>
                  </a:cubicBezTo>
                  <a:close/>
                  <a:moveTo>
                    <a:pt x="1142761" y="605682"/>
                  </a:moveTo>
                  <a:cubicBezTo>
                    <a:pt x="1164354" y="605682"/>
                    <a:pt x="1181853" y="623181"/>
                    <a:pt x="1181853" y="644768"/>
                  </a:cubicBezTo>
                  <a:cubicBezTo>
                    <a:pt x="1181853" y="666356"/>
                    <a:pt x="1164354" y="683855"/>
                    <a:pt x="1142761" y="683855"/>
                  </a:cubicBezTo>
                  <a:cubicBezTo>
                    <a:pt x="1121167" y="683855"/>
                    <a:pt x="1103661" y="666356"/>
                    <a:pt x="1103661" y="644768"/>
                  </a:cubicBezTo>
                  <a:cubicBezTo>
                    <a:pt x="1103661" y="623181"/>
                    <a:pt x="1121167" y="605682"/>
                    <a:pt x="1142761" y="605682"/>
                  </a:cubicBezTo>
                  <a:close/>
                  <a:moveTo>
                    <a:pt x="1045734" y="605682"/>
                  </a:moveTo>
                  <a:cubicBezTo>
                    <a:pt x="1067319" y="605682"/>
                    <a:pt x="1084825" y="623181"/>
                    <a:pt x="1084825" y="644768"/>
                  </a:cubicBezTo>
                  <a:cubicBezTo>
                    <a:pt x="1084825" y="666356"/>
                    <a:pt x="1067319" y="683855"/>
                    <a:pt x="1045734" y="683855"/>
                  </a:cubicBezTo>
                  <a:cubicBezTo>
                    <a:pt x="1024149" y="683855"/>
                    <a:pt x="1006653" y="666356"/>
                    <a:pt x="1006653" y="644768"/>
                  </a:cubicBezTo>
                  <a:cubicBezTo>
                    <a:pt x="1006653" y="623181"/>
                    <a:pt x="1024149" y="605682"/>
                    <a:pt x="1045734" y="605682"/>
                  </a:cubicBezTo>
                  <a:close/>
                  <a:moveTo>
                    <a:pt x="856487" y="605682"/>
                  </a:moveTo>
                  <a:cubicBezTo>
                    <a:pt x="878069" y="605682"/>
                    <a:pt x="895566" y="623181"/>
                    <a:pt x="895566" y="644768"/>
                  </a:cubicBezTo>
                  <a:cubicBezTo>
                    <a:pt x="895566" y="666356"/>
                    <a:pt x="878069" y="683855"/>
                    <a:pt x="856487" y="683855"/>
                  </a:cubicBezTo>
                  <a:cubicBezTo>
                    <a:pt x="834903" y="683855"/>
                    <a:pt x="817405" y="666356"/>
                    <a:pt x="817405" y="644768"/>
                  </a:cubicBezTo>
                  <a:cubicBezTo>
                    <a:pt x="817405" y="623181"/>
                    <a:pt x="834903" y="605682"/>
                    <a:pt x="856487" y="605682"/>
                  </a:cubicBezTo>
                  <a:close/>
                  <a:moveTo>
                    <a:pt x="764226" y="605682"/>
                  </a:moveTo>
                  <a:cubicBezTo>
                    <a:pt x="785811" y="605682"/>
                    <a:pt x="803309" y="623181"/>
                    <a:pt x="803309" y="644768"/>
                  </a:cubicBezTo>
                  <a:cubicBezTo>
                    <a:pt x="803309" y="666356"/>
                    <a:pt x="785811" y="683855"/>
                    <a:pt x="764226" y="683855"/>
                  </a:cubicBezTo>
                  <a:cubicBezTo>
                    <a:pt x="742635" y="683855"/>
                    <a:pt x="725145" y="666356"/>
                    <a:pt x="725145" y="644768"/>
                  </a:cubicBezTo>
                  <a:cubicBezTo>
                    <a:pt x="725145" y="623181"/>
                    <a:pt x="742635" y="605682"/>
                    <a:pt x="764226" y="605682"/>
                  </a:cubicBezTo>
                  <a:close/>
                  <a:moveTo>
                    <a:pt x="669584" y="605682"/>
                  </a:moveTo>
                  <a:cubicBezTo>
                    <a:pt x="691185" y="605682"/>
                    <a:pt x="708684" y="623181"/>
                    <a:pt x="708684" y="644768"/>
                  </a:cubicBezTo>
                  <a:cubicBezTo>
                    <a:pt x="708684" y="666356"/>
                    <a:pt x="691185" y="683855"/>
                    <a:pt x="669584" y="683855"/>
                  </a:cubicBezTo>
                  <a:cubicBezTo>
                    <a:pt x="648010" y="683855"/>
                    <a:pt x="630505" y="666356"/>
                    <a:pt x="630505" y="644768"/>
                  </a:cubicBezTo>
                  <a:cubicBezTo>
                    <a:pt x="630505" y="623181"/>
                    <a:pt x="648010" y="605682"/>
                    <a:pt x="669584" y="605682"/>
                  </a:cubicBezTo>
                  <a:close/>
                  <a:moveTo>
                    <a:pt x="577298" y="605682"/>
                  </a:moveTo>
                  <a:cubicBezTo>
                    <a:pt x="598894" y="605682"/>
                    <a:pt x="616400" y="623181"/>
                    <a:pt x="616400" y="644768"/>
                  </a:cubicBezTo>
                  <a:cubicBezTo>
                    <a:pt x="616400" y="666356"/>
                    <a:pt x="598894" y="683855"/>
                    <a:pt x="577298" y="683855"/>
                  </a:cubicBezTo>
                  <a:cubicBezTo>
                    <a:pt x="555705" y="683855"/>
                    <a:pt x="538200" y="666356"/>
                    <a:pt x="538200" y="644768"/>
                  </a:cubicBezTo>
                  <a:cubicBezTo>
                    <a:pt x="538200" y="623181"/>
                    <a:pt x="555705" y="605682"/>
                    <a:pt x="577298" y="605682"/>
                  </a:cubicBezTo>
                  <a:close/>
                  <a:moveTo>
                    <a:pt x="485012" y="605682"/>
                  </a:moveTo>
                  <a:cubicBezTo>
                    <a:pt x="506598" y="605682"/>
                    <a:pt x="524097" y="623181"/>
                    <a:pt x="524097" y="644768"/>
                  </a:cubicBezTo>
                  <a:cubicBezTo>
                    <a:pt x="524097" y="666356"/>
                    <a:pt x="506598" y="683855"/>
                    <a:pt x="485012" y="683855"/>
                  </a:cubicBezTo>
                  <a:cubicBezTo>
                    <a:pt x="463415" y="683855"/>
                    <a:pt x="445938" y="666356"/>
                    <a:pt x="445938" y="644768"/>
                  </a:cubicBezTo>
                  <a:cubicBezTo>
                    <a:pt x="445938" y="623181"/>
                    <a:pt x="463415" y="605682"/>
                    <a:pt x="485012" y="605682"/>
                  </a:cubicBezTo>
                  <a:close/>
                  <a:moveTo>
                    <a:pt x="390363" y="605682"/>
                  </a:moveTo>
                  <a:cubicBezTo>
                    <a:pt x="411947" y="605682"/>
                    <a:pt x="429464" y="623181"/>
                    <a:pt x="429464" y="644768"/>
                  </a:cubicBezTo>
                  <a:cubicBezTo>
                    <a:pt x="429464" y="666356"/>
                    <a:pt x="411947" y="683855"/>
                    <a:pt x="390363" y="683855"/>
                  </a:cubicBezTo>
                  <a:cubicBezTo>
                    <a:pt x="368797" y="683855"/>
                    <a:pt x="351296" y="666356"/>
                    <a:pt x="351296" y="644768"/>
                  </a:cubicBezTo>
                  <a:cubicBezTo>
                    <a:pt x="351296" y="623181"/>
                    <a:pt x="368797" y="605682"/>
                    <a:pt x="390363" y="605682"/>
                  </a:cubicBezTo>
                  <a:close/>
                  <a:moveTo>
                    <a:pt x="298093" y="605682"/>
                  </a:moveTo>
                  <a:cubicBezTo>
                    <a:pt x="319673" y="605682"/>
                    <a:pt x="337193" y="623181"/>
                    <a:pt x="337193" y="644768"/>
                  </a:cubicBezTo>
                  <a:cubicBezTo>
                    <a:pt x="337193" y="666356"/>
                    <a:pt x="319673" y="683855"/>
                    <a:pt x="298093" y="683855"/>
                  </a:cubicBezTo>
                  <a:cubicBezTo>
                    <a:pt x="276501" y="683855"/>
                    <a:pt x="259002" y="666356"/>
                    <a:pt x="259002" y="644768"/>
                  </a:cubicBezTo>
                  <a:cubicBezTo>
                    <a:pt x="259002" y="623181"/>
                    <a:pt x="276501" y="605682"/>
                    <a:pt x="298093" y="605682"/>
                  </a:cubicBezTo>
                  <a:close/>
                  <a:moveTo>
                    <a:pt x="327714" y="529629"/>
                  </a:moveTo>
                  <a:lnTo>
                    <a:pt x="337200" y="552513"/>
                  </a:lnTo>
                  <a:cubicBezTo>
                    <a:pt x="337200" y="574082"/>
                    <a:pt x="319679" y="591582"/>
                    <a:pt x="298099" y="591582"/>
                  </a:cubicBezTo>
                  <a:lnTo>
                    <a:pt x="285337" y="586297"/>
                  </a:lnTo>
                  <a:close/>
                  <a:moveTo>
                    <a:pt x="3205817" y="513426"/>
                  </a:moveTo>
                  <a:cubicBezTo>
                    <a:pt x="3227404" y="513426"/>
                    <a:pt x="3244904" y="530925"/>
                    <a:pt x="3244904" y="552512"/>
                  </a:cubicBezTo>
                  <a:cubicBezTo>
                    <a:pt x="3244904" y="574082"/>
                    <a:pt x="3227404" y="591582"/>
                    <a:pt x="3205817" y="591582"/>
                  </a:cubicBezTo>
                  <a:cubicBezTo>
                    <a:pt x="3184229" y="591582"/>
                    <a:pt x="3166729" y="574082"/>
                    <a:pt x="3166729" y="552512"/>
                  </a:cubicBezTo>
                  <a:cubicBezTo>
                    <a:pt x="3166729" y="530925"/>
                    <a:pt x="3184229" y="513426"/>
                    <a:pt x="3205817" y="513426"/>
                  </a:cubicBezTo>
                  <a:close/>
                  <a:moveTo>
                    <a:pt x="3111175" y="513426"/>
                  </a:moveTo>
                  <a:cubicBezTo>
                    <a:pt x="3132763" y="513426"/>
                    <a:pt x="3150263" y="530925"/>
                    <a:pt x="3150263" y="552512"/>
                  </a:cubicBezTo>
                  <a:cubicBezTo>
                    <a:pt x="3150263" y="574082"/>
                    <a:pt x="3132763" y="591582"/>
                    <a:pt x="3111175" y="591582"/>
                  </a:cubicBezTo>
                  <a:cubicBezTo>
                    <a:pt x="3089588" y="591582"/>
                    <a:pt x="3072088" y="574082"/>
                    <a:pt x="3072088" y="552512"/>
                  </a:cubicBezTo>
                  <a:cubicBezTo>
                    <a:pt x="3072088" y="530925"/>
                    <a:pt x="3089588" y="513426"/>
                    <a:pt x="3111175" y="513426"/>
                  </a:cubicBezTo>
                  <a:close/>
                  <a:moveTo>
                    <a:pt x="3018902" y="513426"/>
                  </a:moveTo>
                  <a:cubicBezTo>
                    <a:pt x="3040489" y="513426"/>
                    <a:pt x="3057989" y="530925"/>
                    <a:pt x="3057989" y="552512"/>
                  </a:cubicBezTo>
                  <a:cubicBezTo>
                    <a:pt x="3057989" y="574082"/>
                    <a:pt x="3040489" y="591582"/>
                    <a:pt x="3018902" y="591582"/>
                  </a:cubicBezTo>
                  <a:cubicBezTo>
                    <a:pt x="2997315" y="591582"/>
                    <a:pt x="2979815" y="574082"/>
                    <a:pt x="2979815" y="552512"/>
                  </a:cubicBezTo>
                  <a:cubicBezTo>
                    <a:pt x="2979815" y="530925"/>
                    <a:pt x="2997315" y="513426"/>
                    <a:pt x="3018902" y="513426"/>
                  </a:cubicBezTo>
                  <a:close/>
                  <a:moveTo>
                    <a:pt x="2924263" y="513426"/>
                  </a:moveTo>
                  <a:cubicBezTo>
                    <a:pt x="2945850" y="513426"/>
                    <a:pt x="2963349" y="530925"/>
                    <a:pt x="2963349" y="552512"/>
                  </a:cubicBezTo>
                  <a:cubicBezTo>
                    <a:pt x="2963349" y="574082"/>
                    <a:pt x="2945850" y="591582"/>
                    <a:pt x="2924263" y="591582"/>
                  </a:cubicBezTo>
                  <a:cubicBezTo>
                    <a:pt x="2902675" y="591582"/>
                    <a:pt x="2885175" y="574082"/>
                    <a:pt x="2885175" y="552512"/>
                  </a:cubicBezTo>
                  <a:cubicBezTo>
                    <a:pt x="2885175" y="530925"/>
                    <a:pt x="2902675" y="513426"/>
                    <a:pt x="2924263" y="513426"/>
                  </a:cubicBezTo>
                  <a:close/>
                  <a:moveTo>
                    <a:pt x="2831988" y="513426"/>
                  </a:moveTo>
                  <a:cubicBezTo>
                    <a:pt x="2853575" y="513426"/>
                    <a:pt x="2871075" y="530925"/>
                    <a:pt x="2871075" y="552512"/>
                  </a:cubicBezTo>
                  <a:cubicBezTo>
                    <a:pt x="2871075" y="574082"/>
                    <a:pt x="2853575" y="591582"/>
                    <a:pt x="2831988" y="591582"/>
                  </a:cubicBezTo>
                  <a:cubicBezTo>
                    <a:pt x="2810401" y="591582"/>
                    <a:pt x="2792901" y="574082"/>
                    <a:pt x="2792901" y="552512"/>
                  </a:cubicBezTo>
                  <a:cubicBezTo>
                    <a:pt x="2792901" y="530925"/>
                    <a:pt x="2810401" y="513426"/>
                    <a:pt x="2831988" y="513426"/>
                  </a:cubicBezTo>
                  <a:close/>
                  <a:moveTo>
                    <a:pt x="1984971" y="513426"/>
                  </a:moveTo>
                  <a:cubicBezTo>
                    <a:pt x="2006563" y="513426"/>
                    <a:pt x="2024068" y="530925"/>
                    <a:pt x="2024068" y="552513"/>
                  </a:cubicBezTo>
                  <a:cubicBezTo>
                    <a:pt x="2024068" y="574082"/>
                    <a:pt x="2006563" y="591582"/>
                    <a:pt x="1984971" y="591582"/>
                  </a:cubicBezTo>
                  <a:cubicBezTo>
                    <a:pt x="1963377" y="591582"/>
                    <a:pt x="1945873" y="574082"/>
                    <a:pt x="1945873" y="552513"/>
                  </a:cubicBezTo>
                  <a:cubicBezTo>
                    <a:pt x="1945873" y="530925"/>
                    <a:pt x="1963377" y="513426"/>
                    <a:pt x="1984971" y="513426"/>
                  </a:cubicBezTo>
                  <a:close/>
                  <a:moveTo>
                    <a:pt x="1890340" y="513426"/>
                  </a:moveTo>
                  <a:cubicBezTo>
                    <a:pt x="1911917" y="513426"/>
                    <a:pt x="1929413" y="530925"/>
                    <a:pt x="1929413" y="552513"/>
                  </a:cubicBezTo>
                  <a:cubicBezTo>
                    <a:pt x="1929413" y="574082"/>
                    <a:pt x="1911917" y="591582"/>
                    <a:pt x="1890340" y="591582"/>
                  </a:cubicBezTo>
                  <a:cubicBezTo>
                    <a:pt x="1868762" y="591582"/>
                    <a:pt x="1851255" y="574082"/>
                    <a:pt x="1851255" y="552513"/>
                  </a:cubicBezTo>
                  <a:cubicBezTo>
                    <a:pt x="1851255" y="530925"/>
                    <a:pt x="1868762" y="513426"/>
                    <a:pt x="1890340" y="513426"/>
                  </a:cubicBezTo>
                  <a:close/>
                  <a:moveTo>
                    <a:pt x="1798073" y="513426"/>
                  </a:moveTo>
                  <a:cubicBezTo>
                    <a:pt x="1819663" y="513426"/>
                    <a:pt x="1837149" y="530925"/>
                    <a:pt x="1837149" y="552513"/>
                  </a:cubicBezTo>
                  <a:cubicBezTo>
                    <a:pt x="1837149" y="574082"/>
                    <a:pt x="1819663" y="591582"/>
                    <a:pt x="1798073" y="591582"/>
                  </a:cubicBezTo>
                  <a:cubicBezTo>
                    <a:pt x="1776483" y="591582"/>
                    <a:pt x="1758966" y="574082"/>
                    <a:pt x="1758966" y="552513"/>
                  </a:cubicBezTo>
                  <a:cubicBezTo>
                    <a:pt x="1758966" y="530925"/>
                    <a:pt x="1776483" y="513426"/>
                    <a:pt x="1798073" y="513426"/>
                  </a:cubicBezTo>
                  <a:close/>
                  <a:moveTo>
                    <a:pt x="1703432" y="513426"/>
                  </a:moveTo>
                  <a:cubicBezTo>
                    <a:pt x="1725011" y="513426"/>
                    <a:pt x="1742522" y="530925"/>
                    <a:pt x="1742522" y="552513"/>
                  </a:cubicBezTo>
                  <a:cubicBezTo>
                    <a:pt x="1742522" y="574082"/>
                    <a:pt x="1725011" y="591582"/>
                    <a:pt x="1703432" y="591582"/>
                  </a:cubicBezTo>
                  <a:cubicBezTo>
                    <a:pt x="1681839" y="591582"/>
                    <a:pt x="1664351" y="574082"/>
                    <a:pt x="1664351" y="552513"/>
                  </a:cubicBezTo>
                  <a:cubicBezTo>
                    <a:pt x="1664351" y="530925"/>
                    <a:pt x="1681839" y="513426"/>
                    <a:pt x="1703432" y="513426"/>
                  </a:cubicBezTo>
                  <a:close/>
                  <a:moveTo>
                    <a:pt x="1611151" y="513426"/>
                  </a:moveTo>
                  <a:cubicBezTo>
                    <a:pt x="1632741" y="513426"/>
                    <a:pt x="1650245" y="530925"/>
                    <a:pt x="1650245" y="552513"/>
                  </a:cubicBezTo>
                  <a:cubicBezTo>
                    <a:pt x="1650245" y="574082"/>
                    <a:pt x="1632741" y="591582"/>
                    <a:pt x="1611151" y="591582"/>
                  </a:cubicBezTo>
                  <a:cubicBezTo>
                    <a:pt x="1589645" y="591582"/>
                    <a:pt x="1572147" y="574082"/>
                    <a:pt x="1572147" y="552513"/>
                  </a:cubicBezTo>
                  <a:cubicBezTo>
                    <a:pt x="1572147" y="530925"/>
                    <a:pt x="1589645" y="513426"/>
                    <a:pt x="1611151" y="513426"/>
                  </a:cubicBezTo>
                  <a:close/>
                  <a:moveTo>
                    <a:pt x="1232682" y="513426"/>
                  </a:moveTo>
                  <a:cubicBezTo>
                    <a:pt x="1254268" y="513426"/>
                    <a:pt x="1271755" y="530925"/>
                    <a:pt x="1271755" y="552513"/>
                  </a:cubicBezTo>
                  <a:cubicBezTo>
                    <a:pt x="1271755" y="574082"/>
                    <a:pt x="1254268" y="591582"/>
                    <a:pt x="1232682" y="591582"/>
                  </a:cubicBezTo>
                  <a:cubicBezTo>
                    <a:pt x="1211090" y="591582"/>
                    <a:pt x="1193598" y="574082"/>
                    <a:pt x="1193598" y="552513"/>
                  </a:cubicBezTo>
                  <a:cubicBezTo>
                    <a:pt x="1193598" y="530925"/>
                    <a:pt x="1211090" y="513426"/>
                    <a:pt x="1232682" y="513426"/>
                  </a:cubicBezTo>
                  <a:close/>
                  <a:moveTo>
                    <a:pt x="1142769" y="513426"/>
                  </a:moveTo>
                  <a:cubicBezTo>
                    <a:pt x="1164361" y="513426"/>
                    <a:pt x="1181859" y="530925"/>
                    <a:pt x="1181859" y="552513"/>
                  </a:cubicBezTo>
                  <a:cubicBezTo>
                    <a:pt x="1181859" y="574082"/>
                    <a:pt x="1164361" y="591582"/>
                    <a:pt x="1142769" y="591582"/>
                  </a:cubicBezTo>
                  <a:cubicBezTo>
                    <a:pt x="1121175" y="591582"/>
                    <a:pt x="1103669" y="574082"/>
                    <a:pt x="1103669" y="552513"/>
                  </a:cubicBezTo>
                  <a:cubicBezTo>
                    <a:pt x="1103669" y="530925"/>
                    <a:pt x="1121175" y="513426"/>
                    <a:pt x="1142769" y="513426"/>
                  </a:cubicBezTo>
                  <a:close/>
                  <a:moveTo>
                    <a:pt x="1045741" y="513426"/>
                  </a:moveTo>
                  <a:cubicBezTo>
                    <a:pt x="1067327" y="513426"/>
                    <a:pt x="1084832" y="530925"/>
                    <a:pt x="1084832" y="552513"/>
                  </a:cubicBezTo>
                  <a:cubicBezTo>
                    <a:pt x="1084832" y="574082"/>
                    <a:pt x="1067327" y="591582"/>
                    <a:pt x="1045741" y="591582"/>
                  </a:cubicBezTo>
                  <a:cubicBezTo>
                    <a:pt x="1024158" y="591582"/>
                    <a:pt x="1006661" y="574082"/>
                    <a:pt x="1006661" y="552513"/>
                  </a:cubicBezTo>
                  <a:cubicBezTo>
                    <a:pt x="1006661" y="530925"/>
                    <a:pt x="1024158" y="513426"/>
                    <a:pt x="1045741" y="513426"/>
                  </a:cubicBezTo>
                  <a:close/>
                  <a:moveTo>
                    <a:pt x="951119" y="513426"/>
                  </a:moveTo>
                  <a:cubicBezTo>
                    <a:pt x="972700" y="513426"/>
                    <a:pt x="990197" y="530925"/>
                    <a:pt x="990197" y="552513"/>
                  </a:cubicBezTo>
                  <a:cubicBezTo>
                    <a:pt x="990197" y="574082"/>
                    <a:pt x="972700" y="591582"/>
                    <a:pt x="951119" y="591582"/>
                  </a:cubicBezTo>
                  <a:cubicBezTo>
                    <a:pt x="929534" y="591582"/>
                    <a:pt x="912036" y="574082"/>
                    <a:pt x="912036" y="552513"/>
                  </a:cubicBezTo>
                  <a:cubicBezTo>
                    <a:pt x="912036" y="530925"/>
                    <a:pt x="929534" y="513426"/>
                    <a:pt x="951119" y="513426"/>
                  </a:cubicBezTo>
                  <a:close/>
                  <a:moveTo>
                    <a:pt x="856494" y="513426"/>
                  </a:moveTo>
                  <a:cubicBezTo>
                    <a:pt x="878077" y="513426"/>
                    <a:pt x="895574" y="530925"/>
                    <a:pt x="895574" y="552513"/>
                  </a:cubicBezTo>
                  <a:cubicBezTo>
                    <a:pt x="895574" y="574082"/>
                    <a:pt x="878077" y="591582"/>
                    <a:pt x="856494" y="591582"/>
                  </a:cubicBezTo>
                  <a:cubicBezTo>
                    <a:pt x="834910" y="591582"/>
                    <a:pt x="817413" y="574082"/>
                    <a:pt x="817413" y="552513"/>
                  </a:cubicBezTo>
                  <a:cubicBezTo>
                    <a:pt x="817413" y="530925"/>
                    <a:pt x="834910" y="513426"/>
                    <a:pt x="856494" y="513426"/>
                  </a:cubicBezTo>
                  <a:close/>
                  <a:moveTo>
                    <a:pt x="764235" y="513426"/>
                  </a:moveTo>
                  <a:cubicBezTo>
                    <a:pt x="785818" y="513426"/>
                    <a:pt x="803316" y="530925"/>
                    <a:pt x="803316" y="552513"/>
                  </a:cubicBezTo>
                  <a:cubicBezTo>
                    <a:pt x="803316" y="574082"/>
                    <a:pt x="785818" y="591582"/>
                    <a:pt x="764235" y="591582"/>
                  </a:cubicBezTo>
                  <a:cubicBezTo>
                    <a:pt x="742642" y="591582"/>
                    <a:pt x="725152" y="574082"/>
                    <a:pt x="725152" y="552513"/>
                  </a:cubicBezTo>
                  <a:cubicBezTo>
                    <a:pt x="725152" y="530925"/>
                    <a:pt x="742642" y="513426"/>
                    <a:pt x="764235" y="513426"/>
                  </a:cubicBezTo>
                  <a:close/>
                  <a:moveTo>
                    <a:pt x="669584" y="513426"/>
                  </a:moveTo>
                  <a:cubicBezTo>
                    <a:pt x="691193" y="513426"/>
                    <a:pt x="708691" y="530925"/>
                    <a:pt x="708691" y="552513"/>
                  </a:cubicBezTo>
                  <a:cubicBezTo>
                    <a:pt x="708691" y="574082"/>
                    <a:pt x="691193" y="591582"/>
                    <a:pt x="669584" y="591582"/>
                  </a:cubicBezTo>
                  <a:cubicBezTo>
                    <a:pt x="648018" y="591582"/>
                    <a:pt x="630513" y="574082"/>
                    <a:pt x="630513" y="552513"/>
                  </a:cubicBezTo>
                  <a:cubicBezTo>
                    <a:pt x="630513" y="530925"/>
                    <a:pt x="648018" y="513426"/>
                    <a:pt x="669584" y="513426"/>
                  </a:cubicBezTo>
                  <a:close/>
                  <a:moveTo>
                    <a:pt x="577307" y="513426"/>
                  </a:moveTo>
                  <a:cubicBezTo>
                    <a:pt x="598901" y="513426"/>
                    <a:pt x="616408" y="530925"/>
                    <a:pt x="616408" y="552513"/>
                  </a:cubicBezTo>
                  <a:cubicBezTo>
                    <a:pt x="616408" y="574082"/>
                    <a:pt x="598901" y="591582"/>
                    <a:pt x="577307" y="591582"/>
                  </a:cubicBezTo>
                  <a:cubicBezTo>
                    <a:pt x="555715" y="591582"/>
                    <a:pt x="538207" y="574082"/>
                    <a:pt x="538207" y="552513"/>
                  </a:cubicBezTo>
                  <a:cubicBezTo>
                    <a:pt x="538207" y="530925"/>
                    <a:pt x="555715" y="513426"/>
                    <a:pt x="577307" y="513426"/>
                  </a:cubicBezTo>
                  <a:close/>
                  <a:moveTo>
                    <a:pt x="485015" y="513426"/>
                  </a:moveTo>
                  <a:cubicBezTo>
                    <a:pt x="506608" y="513426"/>
                    <a:pt x="524104" y="530925"/>
                    <a:pt x="524104" y="552513"/>
                  </a:cubicBezTo>
                  <a:cubicBezTo>
                    <a:pt x="524104" y="574082"/>
                    <a:pt x="506608" y="591582"/>
                    <a:pt x="485015" y="591582"/>
                  </a:cubicBezTo>
                  <a:cubicBezTo>
                    <a:pt x="463419" y="591582"/>
                    <a:pt x="445948" y="574082"/>
                    <a:pt x="445948" y="552513"/>
                  </a:cubicBezTo>
                  <a:cubicBezTo>
                    <a:pt x="445948" y="530925"/>
                    <a:pt x="463419" y="513426"/>
                    <a:pt x="485015" y="513426"/>
                  </a:cubicBezTo>
                  <a:close/>
                  <a:moveTo>
                    <a:pt x="390371" y="513426"/>
                  </a:moveTo>
                  <a:cubicBezTo>
                    <a:pt x="411958" y="513426"/>
                    <a:pt x="429471" y="530925"/>
                    <a:pt x="429471" y="552513"/>
                  </a:cubicBezTo>
                  <a:cubicBezTo>
                    <a:pt x="429471" y="574082"/>
                    <a:pt x="411958" y="591582"/>
                    <a:pt x="390371" y="591582"/>
                  </a:cubicBezTo>
                  <a:cubicBezTo>
                    <a:pt x="368803" y="591582"/>
                    <a:pt x="351303" y="574082"/>
                    <a:pt x="351303" y="552513"/>
                  </a:cubicBezTo>
                  <a:cubicBezTo>
                    <a:pt x="351303" y="530925"/>
                    <a:pt x="368803" y="513426"/>
                    <a:pt x="390371" y="513426"/>
                  </a:cubicBezTo>
                  <a:close/>
                  <a:moveTo>
                    <a:pt x="409794" y="438656"/>
                  </a:moveTo>
                  <a:lnTo>
                    <a:pt x="418018" y="442062"/>
                  </a:lnTo>
                  <a:cubicBezTo>
                    <a:pt x="425096" y="449136"/>
                    <a:pt x="429475" y="458908"/>
                    <a:pt x="429475" y="469700"/>
                  </a:cubicBezTo>
                  <a:cubicBezTo>
                    <a:pt x="429475" y="491287"/>
                    <a:pt x="411958" y="508788"/>
                    <a:pt x="390371" y="508788"/>
                  </a:cubicBezTo>
                  <a:cubicBezTo>
                    <a:pt x="379591" y="508788"/>
                    <a:pt x="369825" y="504413"/>
                    <a:pt x="362754" y="497339"/>
                  </a:cubicBezTo>
                  <a:lnTo>
                    <a:pt x="360783" y="492581"/>
                  </a:lnTo>
                  <a:close/>
                  <a:moveTo>
                    <a:pt x="3111175" y="430614"/>
                  </a:moveTo>
                  <a:cubicBezTo>
                    <a:pt x="3132763" y="430614"/>
                    <a:pt x="3150263" y="448115"/>
                    <a:pt x="3150263" y="469701"/>
                  </a:cubicBezTo>
                  <a:cubicBezTo>
                    <a:pt x="3150263" y="491287"/>
                    <a:pt x="3132763" y="508790"/>
                    <a:pt x="3111175" y="508790"/>
                  </a:cubicBezTo>
                  <a:cubicBezTo>
                    <a:pt x="3089588" y="508790"/>
                    <a:pt x="3072088" y="491287"/>
                    <a:pt x="3072088" y="469701"/>
                  </a:cubicBezTo>
                  <a:cubicBezTo>
                    <a:pt x="3072088" y="448115"/>
                    <a:pt x="3089588" y="430614"/>
                    <a:pt x="3111175" y="430614"/>
                  </a:cubicBezTo>
                  <a:close/>
                  <a:moveTo>
                    <a:pt x="3018902" y="430614"/>
                  </a:moveTo>
                  <a:cubicBezTo>
                    <a:pt x="3040489" y="430614"/>
                    <a:pt x="3057989" y="448115"/>
                    <a:pt x="3057989" y="469701"/>
                  </a:cubicBezTo>
                  <a:cubicBezTo>
                    <a:pt x="3057989" y="491287"/>
                    <a:pt x="3040489" y="508790"/>
                    <a:pt x="3018902" y="508790"/>
                  </a:cubicBezTo>
                  <a:cubicBezTo>
                    <a:pt x="2997315" y="508790"/>
                    <a:pt x="2979815" y="491287"/>
                    <a:pt x="2979815" y="469701"/>
                  </a:cubicBezTo>
                  <a:cubicBezTo>
                    <a:pt x="2979815" y="448115"/>
                    <a:pt x="2997315" y="430614"/>
                    <a:pt x="3018902" y="430614"/>
                  </a:cubicBezTo>
                  <a:close/>
                  <a:moveTo>
                    <a:pt x="2924263" y="430613"/>
                  </a:moveTo>
                  <a:cubicBezTo>
                    <a:pt x="2945850" y="430613"/>
                    <a:pt x="2963349" y="448114"/>
                    <a:pt x="2963349" y="469699"/>
                  </a:cubicBezTo>
                  <a:cubicBezTo>
                    <a:pt x="2963349" y="491287"/>
                    <a:pt x="2945850" y="508788"/>
                    <a:pt x="2924263" y="508788"/>
                  </a:cubicBezTo>
                  <a:cubicBezTo>
                    <a:pt x="2902675" y="508788"/>
                    <a:pt x="2885175" y="491287"/>
                    <a:pt x="2885175" y="469699"/>
                  </a:cubicBezTo>
                  <a:cubicBezTo>
                    <a:pt x="2885175" y="448114"/>
                    <a:pt x="2902675" y="430613"/>
                    <a:pt x="2924263" y="430613"/>
                  </a:cubicBezTo>
                  <a:close/>
                  <a:moveTo>
                    <a:pt x="2079618" y="430613"/>
                  </a:moveTo>
                  <a:cubicBezTo>
                    <a:pt x="2101211" y="430613"/>
                    <a:pt x="2118703" y="448114"/>
                    <a:pt x="2118703" y="469699"/>
                  </a:cubicBezTo>
                  <a:cubicBezTo>
                    <a:pt x="2118703" y="491287"/>
                    <a:pt x="2101211" y="508788"/>
                    <a:pt x="2079618" y="508788"/>
                  </a:cubicBezTo>
                  <a:cubicBezTo>
                    <a:pt x="2058036" y="508788"/>
                    <a:pt x="2040537" y="491287"/>
                    <a:pt x="2040537" y="469699"/>
                  </a:cubicBezTo>
                  <a:cubicBezTo>
                    <a:pt x="2040537" y="448114"/>
                    <a:pt x="2058036" y="430613"/>
                    <a:pt x="2079618" y="430613"/>
                  </a:cubicBezTo>
                  <a:close/>
                  <a:moveTo>
                    <a:pt x="1984971" y="430613"/>
                  </a:moveTo>
                  <a:cubicBezTo>
                    <a:pt x="2006563" y="430613"/>
                    <a:pt x="2024068" y="448114"/>
                    <a:pt x="2024068" y="469699"/>
                  </a:cubicBezTo>
                  <a:cubicBezTo>
                    <a:pt x="2024068" y="491287"/>
                    <a:pt x="2006563" y="508788"/>
                    <a:pt x="1984971" y="508788"/>
                  </a:cubicBezTo>
                  <a:cubicBezTo>
                    <a:pt x="1963377" y="508788"/>
                    <a:pt x="1945873" y="491287"/>
                    <a:pt x="1945873" y="469699"/>
                  </a:cubicBezTo>
                  <a:cubicBezTo>
                    <a:pt x="1945873" y="448114"/>
                    <a:pt x="1963377" y="430613"/>
                    <a:pt x="1984971" y="430613"/>
                  </a:cubicBezTo>
                  <a:close/>
                  <a:moveTo>
                    <a:pt x="1890340" y="430613"/>
                  </a:moveTo>
                  <a:cubicBezTo>
                    <a:pt x="1911917" y="430613"/>
                    <a:pt x="1929413" y="448114"/>
                    <a:pt x="1929413" y="469699"/>
                  </a:cubicBezTo>
                  <a:cubicBezTo>
                    <a:pt x="1929413" y="491287"/>
                    <a:pt x="1911917" y="508788"/>
                    <a:pt x="1890340" y="508788"/>
                  </a:cubicBezTo>
                  <a:cubicBezTo>
                    <a:pt x="1868762" y="508788"/>
                    <a:pt x="1851255" y="491287"/>
                    <a:pt x="1851255" y="469699"/>
                  </a:cubicBezTo>
                  <a:cubicBezTo>
                    <a:pt x="1851255" y="448114"/>
                    <a:pt x="1868762" y="430613"/>
                    <a:pt x="1890340" y="430613"/>
                  </a:cubicBezTo>
                  <a:close/>
                  <a:moveTo>
                    <a:pt x="1798073" y="430613"/>
                  </a:moveTo>
                  <a:cubicBezTo>
                    <a:pt x="1819663" y="430613"/>
                    <a:pt x="1837149" y="448114"/>
                    <a:pt x="1837149" y="469699"/>
                  </a:cubicBezTo>
                  <a:cubicBezTo>
                    <a:pt x="1837149" y="491287"/>
                    <a:pt x="1819663" y="508788"/>
                    <a:pt x="1798073" y="508788"/>
                  </a:cubicBezTo>
                  <a:cubicBezTo>
                    <a:pt x="1776483" y="508788"/>
                    <a:pt x="1758966" y="491287"/>
                    <a:pt x="1758966" y="469699"/>
                  </a:cubicBezTo>
                  <a:cubicBezTo>
                    <a:pt x="1758966" y="448114"/>
                    <a:pt x="1776483" y="430613"/>
                    <a:pt x="1798073" y="430613"/>
                  </a:cubicBezTo>
                  <a:close/>
                  <a:moveTo>
                    <a:pt x="1703435" y="430613"/>
                  </a:moveTo>
                  <a:cubicBezTo>
                    <a:pt x="1725015" y="430613"/>
                    <a:pt x="1742524" y="448114"/>
                    <a:pt x="1742524" y="469699"/>
                  </a:cubicBezTo>
                  <a:cubicBezTo>
                    <a:pt x="1742524" y="491287"/>
                    <a:pt x="1725015" y="508788"/>
                    <a:pt x="1703435" y="508788"/>
                  </a:cubicBezTo>
                  <a:cubicBezTo>
                    <a:pt x="1681841" y="508788"/>
                    <a:pt x="1664351" y="491287"/>
                    <a:pt x="1664351" y="469699"/>
                  </a:cubicBezTo>
                  <a:cubicBezTo>
                    <a:pt x="1664351" y="448114"/>
                    <a:pt x="1681841" y="430613"/>
                    <a:pt x="1703435" y="430613"/>
                  </a:cubicBezTo>
                  <a:close/>
                  <a:moveTo>
                    <a:pt x="1611151" y="430613"/>
                  </a:moveTo>
                  <a:cubicBezTo>
                    <a:pt x="1632741" y="430613"/>
                    <a:pt x="1650245" y="448114"/>
                    <a:pt x="1650245" y="469699"/>
                  </a:cubicBezTo>
                  <a:cubicBezTo>
                    <a:pt x="1650245" y="491287"/>
                    <a:pt x="1632741" y="508788"/>
                    <a:pt x="1611151" y="508788"/>
                  </a:cubicBezTo>
                  <a:cubicBezTo>
                    <a:pt x="1589649" y="508788"/>
                    <a:pt x="1572151" y="491287"/>
                    <a:pt x="1572151" y="469699"/>
                  </a:cubicBezTo>
                  <a:cubicBezTo>
                    <a:pt x="1572151" y="448114"/>
                    <a:pt x="1589649" y="430613"/>
                    <a:pt x="1611151" y="430613"/>
                  </a:cubicBezTo>
                  <a:close/>
                  <a:moveTo>
                    <a:pt x="1516598" y="430613"/>
                  </a:moveTo>
                  <a:cubicBezTo>
                    <a:pt x="1538184" y="430613"/>
                    <a:pt x="1555687" y="448114"/>
                    <a:pt x="1555687" y="469699"/>
                  </a:cubicBezTo>
                  <a:cubicBezTo>
                    <a:pt x="1555687" y="491287"/>
                    <a:pt x="1538184" y="508788"/>
                    <a:pt x="1516598" y="508788"/>
                  </a:cubicBezTo>
                  <a:cubicBezTo>
                    <a:pt x="1495008" y="508788"/>
                    <a:pt x="1477507" y="491287"/>
                    <a:pt x="1477507" y="469699"/>
                  </a:cubicBezTo>
                  <a:cubicBezTo>
                    <a:pt x="1477507" y="448114"/>
                    <a:pt x="1495008" y="430613"/>
                    <a:pt x="1516598" y="430613"/>
                  </a:cubicBezTo>
                  <a:close/>
                  <a:moveTo>
                    <a:pt x="1045749" y="430613"/>
                  </a:moveTo>
                  <a:cubicBezTo>
                    <a:pt x="1067333" y="430613"/>
                    <a:pt x="1084837" y="448114"/>
                    <a:pt x="1084837" y="469699"/>
                  </a:cubicBezTo>
                  <a:cubicBezTo>
                    <a:pt x="1084837" y="491287"/>
                    <a:pt x="1067333" y="508788"/>
                    <a:pt x="1045749" y="508788"/>
                  </a:cubicBezTo>
                  <a:cubicBezTo>
                    <a:pt x="1024164" y="508788"/>
                    <a:pt x="1006666" y="491287"/>
                    <a:pt x="1006666" y="469699"/>
                  </a:cubicBezTo>
                  <a:cubicBezTo>
                    <a:pt x="1006666" y="448114"/>
                    <a:pt x="1024164" y="430613"/>
                    <a:pt x="1045749" y="430613"/>
                  </a:cubicBezTo>
                  <a:close/>
                  <a:moveTo>
                    <a:pt x="951124" y="430613"/>
                  </a:moveTo>
                  <a:cubicBezTo>
                    <a:pt x="972705" y="430613"/>
                    <a:pt x="990202" y="448114"/>
                    <a:pt x="990202" y="469699"/>
                  </a:cubicBezTo>
                  <a:cubicBezTo>
                    <a:pt x="990202" y="491287"/>
                    <a:pt x="972705" y="508788"/>
                    <a:pt x="951124" y="508788"/>
                  </a:cubicBezTo>
                  <a:cubicBezTo>
                    <a:pt x="929541" y="508788"/>
                    <a:pt x="912041" y="491287"/>
                    <a:pt x="912041" y="469699"/>
                  </a:cubicBezTo>
                  <a:cubicBezTo>
                    <a:pt x="912041" y="448114"/>
                    <a:pt x="929541" y="430613"/>
                    <a:pt x="951124" y="430613"/>
                  </a:cubicBezTo>
                  <a:close/>
                  <a:moveTo>
                    <a:pt x="856499" y="430613"/>
                  </a:moveTo>
                  <a:cubicBezTo>
                    <a:pt x="878082" y="430613"/>
                    <a:pt x="895578" y="448115"/>
                    <a:pt x="895578" y="469699"/>
                  </a:cubicBezTo>
                  <a:cubicBezTo>
                    <a:pt x="895578" y="491287"/>
                    <a:pt x="878082" y="508788"/>
                    <a:pt x="856499" y="508788"/>
                  </a:cubicBezTo>
                  <a:cubicBezTo>
                    <a:pt x="834915" y="508788"/>
                    <a:pt x="817418" y="491287"/>
                    <a:pt x="817418" y="469699"/>
                  </a:cubicBezTo>
                  <a:cubicBezTo>
                    <a:pt x="817418" y="448115"/>
                    <a:pt x="834915" y="430613"/>
                    <a:pt x="856499" y="430613"/>
                  </a:cubicBezTo>
                  <a:close/>
                  <a:moveTo>
                    <a:pt x="764240" y="430613"/>
                  </a:moveTo>
                  <a:cubicBezTo>
                    <a:pt x="785824" y="430613"/>
                    <a:pt x="803321" y="448115"/>
                    <a:pt x="803321" y="469699"/>
                  </a:cubicBezTo>
                  <a:cubicBezTo>
                    <a:pt x="803321" y="491287"/>
                    <a:pt x="785824" y="508788"/>
                    <a:pt x="764240" y="508788"/>
                  </a:cubicBezTo>
                  <a:cubicBezTo>
                    <a:pt x="742646" y="508788"/>
                    <a:pt x="725157" y="491287"/>
                    <a:pt x="725157" y="469699"/>
                  </a:cubicBezTo>
                  <a:cubicBezTo>
                    <a:pt x="725157" y="448115"/>
                    <a:pt x="742646" y="430613"/>
                    <a:pt x="764240" y="430613"/>
                  </a:cubicBezTo>
                  <a:close/>
                  <a:moveTo>
                    <a:pt x="669597" y="430613"/>
                  </a:moveTo>
                  <a:cubicBezTo>
                    <a:pt x="691199" y="430613"/>
                    <a:pt x="708695" y="448115"/>
                    <a:pt x="708695" y="469699"/>
                  </a:cubicBezTo>
                  <a:cubicBezTo>
                    <a:pt x="708695" y="491287"/>
                    <a:pt x="691199" y="508788"/>
                    <a:pt x="669597" y="508788"/>
                  </a:cubicBezTo>
                  <a:cubicBezTo>
                    <a:pt x="648023" y="508788"/>
                    <a:pt x="630517" y="491287"/>
                    <a:pt x="630517" y="469699"/>
                  </a:cubicBezTo>
                  <a:cubicBezTo>
                    <a:pt x="630517" y="448115"/>
                    <a:pt x="648023" y="430613"/>
                    <a:pt x="669597" y="430613"/>
                  </a:cubicBezTo>
                  <a:close/>
                  <a:moveTo>
                    <a:pt x="577311" y="430613"/>
                  </a:moveTo>
                  <a:cubicBezTo>
                    <a:pt x="598906" y="430613"/>
                    <a:pt x="616412" y="448115"/>
                    <a:pt x="616412" y="469700"/>
                  </a:cubicBezTo>
                  <a:cubicBezTo>
                    <a:pt x="616412" y="491287"/>
                    <a:pt x="598906" y="508788"/>
                    <a:pt x="577311" y="508788"/>
                  </a:cubicBezTo>
                  <a:cubicBezTo>
                    <a:pt x="555718" y="508788"/>
                    <a:pt x="538213" y="491287"/>
                    <a:pt x="538213" y="469700"/>
                  </a:cubicBezTo>
                  <a:cubicBezTo>
                    <a:pt x="538213" y="448115"/>
                    <a:pt x="555718" y="430613"/>
                    <a:pt x="577311" y="430613"/>
                  </a:cubicBezTo>
                  <a:close/>
                  <a:moveTo>
                    <a:pt x="485025" y="430613"/>
                  </a:moveTo>
                  <a:cubicBezTo>
                    <a:pt x="506612" y="430613"/>
                    <a:pt x="524109" y="448115"/>
                    <a:pt x="524109" y="469700"/>
                  </a:cubicBezTo>
                  <a:cubicBezTo>
                    <a:pt x="524109" y="491287"/>
                    <a:pt x="506612" y="508788"/>
                    <a:pt x="485025" y="508788"/>
                  </a:cubicBezTo>
                  <a:cubicBezTo>
                    <a:pt x="463427" y="508788"/>
                    <a:pt x="445951" y="491287"/>
                    <a:pt x="445951" y="469700"/>
                  </a:cubicBezTo>
                  <a:cubicBezTo>
                    <a:pt x="445951" y="448115"/>
                    <a:pt x="463427" y="430613"/>
                    <a:pt x="485025" y="430613"/>
                  </a:cubicBezTo>
                  <a:close/>
                  <a:moveTo>
                    <a:pt x="493081" y="353508"/>
                  </a:moveTo>
                  <a:lnTo>
                    <a:pt x="512664" y="361620"/>
                  </a:lnTo>
                  <a:cubicBezTo>
                    <a:pt x="519737" y="368693"/>
                    <a:pt x="524111" y="378465"/>
                    <a:pt x="524111" y="389259"/>
                  </a:cubicBezTo>
                  <a:cubicBezTo>
                    <a:pt x="524111" y="410845"/>
                    <a:pt x="506614" y="428346"/>
                    <a:pt x="485026" y="428346"/>
                  </a:cubicBezTo>
                  <a:cubicBezTo>
                    <a:pt x="474228" y="428346"/>
                    <a:pt x="464460" y="423970"/>
                    <a:pt x="457392" y="416897"/>
                  </a:cubicBezTo>
                  <a:lnTo>
                    <a:pt x="448688" y="395861"/>
                  </a:lnTo>
                  <a:lnTo>
                    <a:pt x="459172" y="384326"/>
                  </a:lnTo>
                  <a:close/>
                  <a:moveTo>
                    <a:pt x="2079618" y="350171"/>
                  </a:moveTo>
                  <a:cubicBezTo>
                    <a:pt x="2101211" y="350171"/>
                    <a:pt x="2118703" y="367670"/>
                    <a:pt x="2118703" y="389259"/>
                  </a:cubicBezTo>
                  <a:cubicBezTo>
                    <a:pt x="2118703" y="410845"/>
                    <a:pt x="2101211" y="428346"/>
                    <a:pt x="2079618" y="428346"/>
                  </a:cubicBezTo>
                  <a:cubicBezTo>
                    <a:pt x="2058036" y="428346"/>
                    <a:pt x="2040537" y="410845"/>
                    <a:pt x="2040537" y="389259"/>
                  </a:cubicBezTo>
                  <a:cubicBezTo>
                    <a:pt x="2040537" y="367670"/>
                    <a:pt x="2058036" y="350171"/>
                    <a:pt x="2079618" y="350171"/>
                  </a:cubicBezTo>
                  <a:close/>
                  <a:moveTo>
                    <a:pt x="1984971" y="350171"/>
                  </a:moveTo>
                  <a:cubicBezTo>
                    <a:pt x="2006563" y="350171"/>
                    <a:pt x="2024068" y="367670"/>
                    <a:pt x="2024068" y="389259"/>
                  </a:cubicBezTo>
                  <a:cubicBezTo>
                    <a:pt x="2024068" y="410845"/>
                    <a:pt x="2006563" y="428346"/>
                    <a:pt x="1984971" y="428346"/>
                  </a:cubicBezTo>
                  <a:cubicBezTo>
                    <a:pt x="1963377" y="428346"/>
                    <a:pt x="1945873" y="410845"/>
                    <a:pt x="1945873" y="389259"/>
                  </a:cubicBezTo>
                  <a:cubicBezTo>
                    <a:pt x="1945873" y="367670"/>
                    <a:pt x="1963377" y="350171"/>
                    <a:pt x="1984971" y="350171"/>
                  </a:cubicBezTo>
                  <a:close/>
                  <a:moveTo>
                    <a:pt x="1890340" y="350171"/>
                  </a:moveTo>
                  <a:cubicBezTo>
                    <a:pt x="1911917" y="350171"/>
                    <a:pt x="1929413" y="367670"/>
                    <a:pt x="1929413" y="389259"/>
                  </a:cubicBezTo>
                  <a:cubicBezTo>
                    <a:pt x="1929413" y="410845"/>
                    <a:pt x="1911917" y="428346"/>
                    <a:pt x="1890340" y="428346"/>
                  </a:cubicBezTo>
                  <a:cubicBezTo>
                    <a:pt x="1868762" y="428346"/>
                    <a:pt x="1851255" y="410845"/>
                    <a:pt x="1851255" y="389259"/>
                  </a:cubicBezTo>
                  <a:cubicBezTo>
                    <a:pt x="1851255" y="367670"/>
                    <a:pt x="1868762" y="350171"/>
                    <a:pt x="1890340" y="350171"/>
                  </a:cubicBezTo>
                  <a:close/>
                  <a:moveTo>
                    <a:pt x="1798073" y="350171"/>
                  </a:moveTo>
                  <a:cubicBezTo>
                    <a:pt x="1819663" y="350171"/>
                    <a:pt x="1837149" y="367670"/>
                    <a:pt x="1837149" y="389259"/>
                  </a:cubicBezTo>
                  <a:cubicBezTo>
                    <a:pt x="1837149" y="410845"/>
                    <a:pt x="1819663" y="428346"/>
                    <a:pt x="1798073" y="428346"/>
                  </a:cubicBezTo>
                  <a:cubicBezTo>
                    <a:pt x="1776483" y="428346"/>
                    <a:pt x="1758966" y="410845"/>
                    <a:pt x="1758966" y="389259"/>
                  </a:cubicBezTo>
                  <a:cubicBezTo>
                    <a:pt x="1758966" y="367670"/>
                    <a:pt x="1776483" y="350171"/>
                    <a:pt x="1798073" y="350171"/>
                  </a:cubicBezTo>
                  <a:close/>
                  <a:moveTo>
                    <a:pt x="1703435" y="350171"/>
                  </a:moveTo>
                  <a:cubicBezTo>
                    <a:pt x="1725015" y="350171"/>
                    <a:pt x="1742524" y="367670"/>
                    <a:pt x="1742524" y="389259"/>
                  </a:cubicBezTo>
                  <a:cubicBezTo>
                    <a:pt x="1742524" y="410845"/>
                    <a:pt x="1725015" y="428346"/>
                    <a:pt x="1703435" y="428346"/>
                  </a:cubicBezTo>
                  <a:cubicBezTo>
                    <a:pt x="1681841" y="428346"/>
                    <a:pt x="1664351" y="410845"/>
                    <a:pt x="1664351" y="389259"/>
                  </a:cubicBezTo>
                  <a:cubicBezTo>
                    <a:pt x="1664351" y="367670"/>
                    <a:pt x="1681841" y="350171"/>
                    <a:pt x="1703435" y="350171"/>
                  </a:cubicBezTo>
                  <a:close/>
                  <a:moveTo>
                    <a:pt x="1611151" y="350171"/>
                  </a:moveTo>
                  <a:cubicBezTo>
                    <a:pt x="1632741" y="350171"/>
                    <a:pt x="1650245" y="367670"/>
                    <a:pt x="1650245" y="389259"/>
                  </a:cubicBezTo>
                  <a:cubicBezTo>
                    <a:pt x="1650245" y="410845"/>
                    <a:pt x="1632741" y="428346"/>
                    <a:pt x="1611151" y="428346"/>
                  </a:cubicBezTo>
                  <a:cubicBezTo>
                    <a:pt x="1589652" y="428346"/>
                    <a:pt x="1572155" y="410845"/>
                    <a:pt x="1572155" y="389259"/>
                  </a:cubicBezTo>
                  <a:cubicBezTo>
                    <a:pt x="1572155" y="367670"/>
                    <a:pt x="1589652" y="350171"/>
                    <a:pt x="1611151" y="350171"/>
                  </a:cubicBezTo>
                  <a:close/>
                  <a:moveTo>
                    <a:pt x="1516602" y="350171"/>
                  </a:moveTo>
                  <a:cubicBezTo>
                    <a:pt x="1538185" y="350171"/>
                    <a:pt x="1555690" y="367670"/>
                    <a:pt x="1555690" y="389259"/>
                  </a:cubicBezTo>
                  <a:cubicBezTo>
                    <a:pt x="1555690" y="410845"/>
                    <a:pt x="1538185" y="428346"/>
                    <a:pt x="1516602" y="428346"/>
                  </a:cubicBezTo>
                  <a:cubicBezTo>
                    <a:pt x="1495010" y="428346"/>
                    <a:pt x="1477510" y="410845"/>
                    <a:pt x="1477510" y="389259"/>
                  </a:cubicBezTo>
                  <a:cubicBezTo>
                    <a:pt x="1477510" y="367670"/>
                    <a:pt x="1495010" y="350171"/>
                    <a:pt x="1516602" y="350171"/>
                  </a:cubicBezTo>
                  <a:close/>
                  <a:moveTo>
                    <a:pt x="951124" y="350171"/>
                  </a:moveTo>
                  <a:cubicBezTo>
                    <a:pt x="972708" y="350171"/>
                    <a:pt x="990204" y="367670"/>
                    <a:pt x="990204" y="389259"/>
                  </a:cubicBezTo>
                  <a:cubicBezTo>
                    <a:pt x="990204" y="410845"/>
                    <a:pt x="972708" y="428346"/>
                    <a:pt x="951124" y="428346"/>
                  </a:cubicBezTo>
                  <a:cubicBezTo>
                    <a:pt x="929543" y="428346"/>
                    <a:pt x="912042" y="410845"/>
                    <a:pt x="912042" y="389259"/>
                  </a:cubicBezTo>
                  <a:cubicBezTo>
                    <a:pt x="912042" y="367670"/>
                    <a:pt x="929543" y="350171"/>
                    <a:pt x="951124" y="350171"/>
                  </a:cubicBezTo>
                  <a:close/>
                  <a:moveTo>
                    <a:pt x="856501" y="350171"/>
                  </a:moveTo>
                  <a:cubicBezTo>
                    <a:pt x="878085" y="350171"/>
                    <a:pt x="895581" y="367670"/>
                    <a:pt x="895581" y="389259"/>
                  </a:cubicBezTo>
                  <a:cubicBezTo>
                    <a:pt x="895581" y="410845"/>
                    <a:pt x="878085" y="428346"/>
                    <a:pt x="856501" y="428346"/>
                  </a:cubicBezTo>
                  <a:cubicBezTo>
                    <a:pt x="834918" y="428346"/>
                    <a:pt x="817421" y="410845"/>
                    <a:pt x="817421" y="389259"/>
                  </a:cubicBezTo>
                  <a:cubicBezTo>
                    <a:pt x="817421" y="367670"/>
                    <a:pt x="834918" y="350171"/>
                    <a:pt x="856501" y="350171"/>
                  </a:cubicBezTo>
                  <a:close/>
                  <a:moveTo>
                    <a:pt x="764243" y="350171"/>
                  </a:moveTo>
                  <a:cubicBezTo>
                    <a:pt x="785826" y="350171"/>
                    <a:pt x="803324" y="367671"/>
                    <a:pt x="803324" y="389259"/>
                  </a:cubicBezTo>
                  <a:cubicBezTo>
                    <a:pt x="803324" y="410845"/>
                    <a:pt x="785826" y="428346"/>
                    <a:pt x="764243" y="428346"/>
                  </a:cubicBezTo>
                  <a:cubicBezTo>
                    <a:pt x="742651" y="428346"/>
                    <a:pt x="725160" y="410845"/>
                    <a:pt x="725160" y="389259"/>
                  </a:cubicBezTo>
                  <a:cubicBezTo>
                    <a:pt x="725160" y="367671"/>
                    <a:pt x="742651" y="350171"/>
                    <a:pt x="764243" y="350171"/>
                  </a:cubicBezTo>
                  <a:close/>
                  <a:moveTo>
                    <a:pt x="669597" y="350171"/>
                  </a:moveTo>
                  <a:cubicBezTo>
                    <a:pt x="691200" y="350171"/>
                    <a:pt x="708698" y="367671"/>
                    <a:pt x="708698" y="389259"/>
                  </a:cubicBezTo>
                  <a:cubicBezTo>
                    <a:pt x="708698" y="410845"/>
                    <a:pt x="691200" y="428346"/>
                    <a:pt x="669597" y="428346"/>
                  </a:cubicBezTo>
                  <a:cubicBezTo>
                    <a:pt x="648024" y="428346"/>
                    <a:pt x="630519" y="410845"/>
                    <a:pt x="630519" y="389259"/>
                  </a:cubicBezTo>
                  <a:cubicBezTo>
                    <a:pt x="630519" y="367671"/>
                    <a:pt x="648024" y="350171"/>
                    <a:pt x="669597" y="350171"/>
                  </a:cubicBezTo>
                  <a:close/>
                  <a:moveTo>
                    <a:pt x="577316" y="350171"/>
                  </a:moveTo>
                  <a:cubicBezTo>
                    <a:pt x="598910" y="350171"/>
                    <a:pt x="616414" y="367671"/>
                    <a:pt x="616414" y="389259"/>
                  </a:cubicBezTo>
                  <a:cubicBezTo>
                    <a:pt x="616414" y="410845"/>
                    <a:pt x="598910" y="428346"/>
                    <a:pt x="577316" y="428346"/>
                  </a:cubicBezTo>
                  <a:cubicBezTo>
                    <a:pt x="555721" y="428346"/>
                    <a:pt x="538216" y="410845"/>
                    <a:pt x="538216" y="389259"/>
                  </a:cubicBezTo>
                  <a:cubicBezTo>
                    <a:pt x="538216" y="367671"/>
                    <a:pt x="555721" y="350171"/>
                    <a:pt x="577316" y="350171"/>
                  </a:cubicBezTo>
                  <a:close/>
                  <a:moveTo>
                    <a:pt x="591716" y="263862"/>
                  </a:moveTo>
                  <a:lnTo>
                    <a:pt x="604964" y="269347"/>
                  </a:lnTo>
                  <a:cubicBezTo>
                    <a:pt x="612039" y="276420"/>
                    <a:pt x="616416" y="286192"/>
                    <a:pt x="616416" y="296985"/>
                  </a:cubicBezTo>
                  <a:cubicBezTo>
                    <a:pt x="616416" y="318571"/>
                    <a:pt x="598910" y="336071"/>
                    <a:pt x="577316" y="336071"/>
                  </a:cubicBezTo>
                  <a:cubicBezTo>
                    <a:pt x="566520" y="336071"/>
                    <a:pt x="556745" y="331696"/>
                    <a:pt x="549670" y="324623"/>
                  </a:cubicBezTo>
                  <a:lnTo>
                    <a:pt x="542883" y="308244"/>
                  </a:lnTo>
                  <a:close/>
                  <a:moveTo>
                    <a:pt x="951129" y="257899"/>
                  </a:moveTo>
                  <a:cubicBezTo>
                    <a:pt x="972708" y="257899"/>
                    <a:pt x="990205" y="275398"/>
                    <a:pt x="990205" y="296985"/>
                  </a:cubicBezTo>
                  <a:cubicBezTo>
                    <a:pt x="990205" y="318571"/>
                    <a:pt x="972708" y="336070"/>
                    <a:pt x="951129" y="336070"/>
                  </a:cubicBezTo>
                  <a:cubicBezTo>
                    <a:pt x="929543" y="336070"/>
                    <a:pt x="912045" y="318571"/>
                    <a:pt x="912045" y="296985"/>
                  </a:cubicBezTo>
                  <a:cubicBezTo>
                    <a:pt x="912045" y="275398"/>
                    <a:pt x="929543" y="257899"/>
                    <a:pt x="951129" y="257899"/>
                  </a:cubicBezTo>
                  <a:close/>
                  <a:moveTo>
                    <a:pt x="856503" y="257899"/>
                  </a:moveTo>
                  <a:cubicBezTo>
                    <a:pt x="878086" y="257899"/>
                    <a:pt x="895582" y="275398"/>
                    <a:pt x="895582" y="296985"/>
                  </a:cubicBezTo>
                  <a:cubicBezTo>
                    <a:pt x="895582" y="318571"/>
                    <a:pt x="878086" y="336070"/>
                    <a:pt x="856503" y="336070"/>
                  </a:cubicBezTo>
                  <a:cubicBezTo>
                    <a:pt x="834919" y="336070"/>
                    <a:pt x="817422" y="318571"/>
                    <a:pt x="817422" y="296985"/>
                  </a:cubicBezTo>
                  <a:cubicBezTo>
                    <a:pt x="817422" y="275398"/>
                    <a:pt x="834919" y="257899"/>
                    <a:pt x="856503" y="257899"/>
                  </a:cubicBezTo>
                  <a:close/>
                  <a:moveTo>
                    <a:pt x="764243" y="257899"/>
                  </a:moveTo>
                  <a:cubicBezTo>
                    <a:pt x="785826" y="257899"/>
                    <a:pt x="803326" y="275398"/>
                    <a:pt x="803326" y="296985"/>
                  </a:cubicBezTo>
                  <a:cubicBezTo>
                    <a:pt x="803326" y="318571"/>
                    <a:pt x="785826" y="336070"/>
                    <a:pt x="764243" y="336070"/>
                  </a:cubicBezTo>
                  <a:cubicBezTo>
                    <a:pt x="742651" y="336070"/>
                    <a:pt x="725161" y="318571"/>
                    <a:pt x="725161" y="296985"/>
                  </a:cubicBezTo>
                  <a:cubicBezTo>
                    <a:pt x="725161" y="275398"/>
                    <a:pt x="742651" y="257899"/>
                    <a:pt x="764243" y="257899"/>
                  </a:cubicBezTo>
                  <a:close/>
                  <a:moveTo>
                    <a:pt x="669597" y="257899"/>
                  </a:moveTo>
                  <a:cubicBezTo>
                    <a:pt x="691200" y="257899"/>
                    <a:pt x="708698" y="275398"/>
                    <a:pt x="708698" y="296985"/>
                  </a:cubicBezTo>
                  <a:cubicBezTo>
                    <a:pt x="708698" y="318571"/>
                    <a:pt x="691200" y="336070"/>
                    <a:pt x="669597" y="336070"/>
                  </a:cubicBezTo>
                  <a:cubicBezTo>
                    <a:pt x="648024" y="336070"/>
                    <a:pt x="630520" y="318571"/>
                    <a:pt x="630520" y="296985"/>
                  </a:cubicBezTo>
                  <a:cubicBezTo>
                    <a:pt x="630520" y="275398"/>
                    <a:pt x="648024" y="257899"/>
                    <a:pt x="669597" y="257899"/>
                  </a:cubicBezTo>
                  <a:close/>
                  <a:moveTo>
                    <a:pt x="2079618" y="257899"/>
                  </a:moveTo>
                  <a:cubicBezTo>
                    <a:pt x="2101211" y="257899"/>
                    <a:pt x="2118703" y="275398"/>
                    <a:pt x="2118703" y="296984"/>
                  </a:cubicBezTo>
                  <a:cubicBezTo>
                    <a:pt x="2118703" y="318571"/>
                    <a:pt x="2101211" y="336070"/>
                    <a:pt x="2079618" y="336070"/>
                  </a:cubicBezTo>
                  <a:cubicBezTo>
                    <a:pt x="2058036" y="336070"/>
                    <a:pt x="2040537" y="318571"/>
                    <a:pt x="2040537" y="296984"/>
                  </a:cubicBezTo>
                  <a:cubicBezTo>
                    <a:pt x="2040537" y="275398"/>
                    <a:pt x="2058036" y="257899"/>
                    <a:pt x="2079618" y="257899"/>
                  </a:cubicBezTo>
                  <a:close/>
                  <a:moveTo>
                    <a:pt x="1984971" y="257899"/>
                  </a:moveTo>
                  <a:cubicBezTo>
                    <a:pt x="2006563" y="257899"/>
                    <a:pt x="2024068" y="275398"/>
                    <a:pt x="2024068" y="296984"/>
                  </a:cubicBezTo>
                  <a:cubicBezTo>
                    <a:pt x="2024068" y="318571"/>
                    <a:pt x="2006563" y="336070"/>
                    <a:pt x="1984971" y="336070"/>
                  </a:cubicBezTo>
                  <a:cubicBezTo>
                    <a:pt x="1963377" y="336070"/>
                    <a:pt x="1945873" y="318571"/>
                    <a:pt x="1945873" y="296984"/>
                  </a:cubicBezTo>
                  <a:cubicBezTo>
                    <a:pt x="1945873" y="275398"/>
                    <a:pt x="1963377" y="257899"/>
                    <a:pt x="1984971" y="257899"/>
                  </a:cubicBezTo>
                  <a:close/>
                  <a:moveTo>
                    <a:pt x="1890340" y="257899"/>
                  </a:moveTo>
                  <a:cubicBezTo>
                    <a:pt x="1911917" y="257899"/>
                    <a:pt x="1929413" y="275398"/>
                    <a:pt x="1929413" y="296984"/>
                  </a:cubicBezTo>
                  <a:cubicBezTo>
                    <a:pt x="1929413" y="318571"/>
                    <a:pt x="1911917" y="336070"/>
                    <a:pt x="1890340" y="336070"/>
                  </a:cubicBezTo>
                  <a:cubicBezTo>
                    <a:pt x="1868762" y="336070"/>
                    <a:pt x="1851255" y="318571"/>
                    <a:pt x="1851255" y="296984"/>
                  </a:cubicBezTo>
                  <a:cubicBezTo>
                    <a:pt x="1851255" y="275398"/>
                    <a:pt x="1868762" y="257899"/>
                    <a:pt x="1890340" y="257899"/>
                  </a:cubicBezTo>
                  <a:close/>
                  <a:moveTo>
                    <a:pt x="1798073" y="257899"/>
                  </a:moveTo>
                  <a:cubicBezTo>
                    <a:pt x="1819663" y="257899"/>
                    <a:pt x="1837149" y="275398"/>
                    <a:pt x="1837149" y="296984"/>
                  </a:cubicBezTo>
                  <a:cubicBezTo>
                    <a:pt x="1837149" y="318571"/>
                    <a:pt x="1819663" y="336070"/>
                    <a:pt x="1798073" y="336070"/>
                  </a:cubicBezTo>
                  <a:cubicBezTo>
                    <a:pt x="1776483" y="336070"/>
                    <a:pt x="1758966" y="318571"/>
                    <a:pt x="1758966" y="296984"/>
                  </a:cubicBezTo>
                  <a:cubicBezTo>
                    <a:pt x="1758966" y="275398"/>
                    <a:pt x="1776483" y="257899"/>
                    <a:pt x="1798073" y="257899"/>
                  </a:cubicBezTo>
                  <a:close/>
                  <a:moveTo>
                    <a:pt x="1703435" y="257899"/>
                  </a:moveTo>
                  <a:cubicBezTo>
                    <a:pt x="1725015" y="257899"/>
                    <a:pt x="1742524" y="275398"/>
                    <a:pt x="1742524" y="296984"/>
                  </a:cubicBezTo>
                  <a:cubicBezTo>
                    <a:pt x="1742524" y="318571"/>
                    <a:pt x="1725015" y="336070"/>
                    <a:pt x="1703435" y="336070"/>
                  </a:cubicBezTo>
                  <a:cubicBezTo>
                    <a:pt x="1681841" y="336070"/>
                    <a:pt x="1664351" y="318571"/>
                    <a:pt x="1664351" y="296984"/>
                  </a:cubicBezTo>
                  <a:cubicBezTo>
                    <a:pt x="1664351" y="275398"/>
                    <a:pt x="1681841" y="257899"/>
                    <a:pt x="1703435" y="257899"/>
                  </a:cubicBezTo>
                  <a:close/>
                  <a:moveTo>
                    <a:pt x="1611151" y="257899"/>
                  </a:moveTo>
                  <a:cubicBezTo>
                    <a:pt x="1632741" y="257899"/>
                    <a:pt x="1650245" y="275398"/>
                    <a:pt x="1650245" y="296984"/>
                  </a:cubicBezTo>
                  <a:cubicBezTo>
                    <a:pt x="1650245" y="318571"/>
                    <a:pt x="1632741" y="336070"/>
                    <a:pt x="1611151" y="336070"/>
                  </a:cubicBezTo>
                  <a:cubicBezTo>
                    <a:pt x="1589655" y="336070"/>
                    <a:pt x="1572155" y="318571"/>
                    <a:pt x="1572155" y="296984"/>
                  </a:cubicBezTo>
                  <a:cubicBezTo>
                    <a:pt x="1572155" y="275398"/>
                    <a:pt x="1589655" y="257899"/>
                    <a:pt x="1611151" y="257899"/>
                  </a:cubicBezTo>
                  <a:close/>
                  <a:moveTo>
                    <a:pt x="1516605" y="257899"/>
                  </a:moveTo>
                  <a:cubicBezTo>
                    <a:pt x="1538188" y="257899"/>
                    <a:pt x="1555690" y="275398"/>
                    <a:pt x="1555690" y="296984"/>
                  </a:cubicBezTo>
                  <a:cubicBezTo>
                    <a:pt x="1555690" y="318571"/>
                    <a:pt x="1538188" y="336070"/>
                    <a:pt x="1516605" y="336070"/>
                  </a:cubicBezTo>
                  <a:cubicBezTo>
                    <a:pt x="1495013" y="336070"/>
                    <a:pt x="1477512" y="318571"/>
                    <a:pt x="1477512" y="296984"/>
                  </a:cubicBezTo>
                  <a:cubicBezTo>
                    <a:pt x="1477512" y="275398"/>
                    <a:pt x="1495013" y="257899"/>
                    <a:pt x="1516605" y="257899"/>
                  </a:cubicBezTo>
                  <a:close/>
                  <a:moveTo>
                    <a:pt x="1419597" y="257899"/>
                  </a:moveTo>
                  <a:cubicBezTo>
                    <a:pt x="1441183" y="257899"/>
                    <a:pt x="1458689" y="275398"/>
                    <a:pt x="1458689" y="296984"/>
                  </a:cubicBezTo>
                  <a:cubicBezTo>
                    <a:pt x="1458689" y="318571"/>
                    <a:pt x="1441183" y="336070"/>
                    <a:pt x="1419597" y="336070"/>
                  </a:cubicBezTo>
                  <a:cubicBezTo>
                    <a:pt x="1398003" y="336070"/>
                    <a:pt x="1380501" y="318571"/>
                    <a:pt x="1380501" y="296984"/>
                  </a:cubicBezTo>
                  <a:cubicBezTo>
                    <a:pt x="1380501" y="275398"/>
                    <a:pt x="1398003" y="257899"/>
                    <a:pt x="1419597" y="257899"/>
                  </a:cubicBezTo>
                  <a:close/>
                  <a:moveTo>
                    <a:pt x="1329683" y="257899"/>
                  </a:moveTo>
                  <a:cubicBezTo>
                    <a:pt x="1351272" y="257899"/>
                    <a:pt x="1368775" y="275398"/>
                    <a:pt x="1368775" y="296984"/>
                  </a:cubicBezTo>
                  <a:cubicBezTo>
                    <a:pt x="1368775" y="318571"/>
                    <a:pt x="1351272" y="336070"/>
                    <a:pt x="1329683" y="336070"/>
                  </a:cubicBezTo>
                  <a:cubicBezTo>
                    <a:pt x="1308100" y="336070"/>
                    <a:pt x="1290601" y="318571"/>
                    <a:pt x="1290601" y="296984"/>
                  </a:cubicBezTo>
                  <a:cubicBezTo>
                    <a:pt x="1290601" y="275398"/>
                    <a:pt x="1308100" y="257899"/>
                    <a:pt x="1329683" y="257899"/>
                  </a:cubicBezTo>
                  <a:close/>
                  <a:moveTo>
                    <a:pt x="1232690" y="257899"/>
                  </a:moveTo>
                  <a:cubicBezTo>
                    <a:pt x="1254278" y="257899"/>
                    <a:pt x="1271764" y="275398"/>
                    <a:pt x="1271764" y="296985"/>
                  </a:cubicBezTo>
                  <a:cubicBezTo>
                    <a:pt x="1271764" y="318571"/>
                    <a:pt x="1254278" y="336070"/>
                    <a:pt x="1232690" y="336070"/>
                  </a:cubicBezTo>
                  <a:cubicBezTo>
                    <a:pt x="1211099" y="336070"/>
                    <a:pt x="1193607" y="318571"/>
                    <a:pt x="1193607" y="296985"/>
                  </a:cubicBezTo>
                  <a:cubicBezTo>
                    <a:pt x="1193607" y="275398"/>
                    <a:pt x="1211099" y="257899"/>
                    <a:pt x="1232690" y="257899"/>
                  </a:cubicBezTo>
                  <a:close/>
                  <a:moveTo>
                    <a:pt x="1516605" y="175085"/>
                  </a:moveTo>
                  <a:cubicBezTo>
                    <a:pt x="1538188" y="175085"/>
                    <a:pt x="1555690" y="192585"/>
                    <a:pt x="1555690" y="214170"/>
                  </a:cubicBezTo>
                  <a:cubicBezTo>
                    <a:pt x="1555690" y="235758"/>
                    <a:pt x="1538188" y="253265"/>
                    <a:pt x="1516605" y="253265"/>
                  </a:cubicBezTo>
                  <a:cubicBezTo>
                    <a:pt x="1495013" y="253265"/>
                    <a:pt x="1477512" y="235758"/>
                    <a:pt x="1477512" y="214170"/>
                  </a:cubicBezTo>
                  <a:cubicBezTo>
                    <a:pt x="1477512" y="192585"/>
                    <a:pt x="1495013" y="175085"/>
                    <a:pt x="1516605" y="175085"/>
                  </a:cubicBezTo>
                  <a:close/>
                  <a:moveTo>
                    <a:pt x="1419600" y="175085"/>
                  </a:moveTo>
                  <a:cubicBezTo>
                    <a:pt x="1441183" y="175085"/>
                    <a:pt x="1458689" y="192585"/>
                    <a:pt x="1458689" y="214170"/>
                  </a:cubicBezTo>
                  <a:cubicBezTo>
                    <a:pt x="1458689" y="235758"/>
                    <a:pt x="1441183" y="253265"/>
                    <a:pt x="1419600" y="253265"/>
                  </a:cubicBezTo>
                  <a:cubicBezTo>
                    <a:pt x="1398003" y="253265"/>
                    <a:pt x="1380502" y="235758"/>
                    <a:pt x="1380502" y="214170"/>
                  </a:cubicBezTo>
                  <a:cubicBezTo>
                    <a:pt x="1380502" y="192585"/>
                    <a:pt x="1398003" y="175085"/>
                    <a:pt x="1419600" y="175085"/>
                  </a:cubicBezTo>
                  <a:close/>
                  <a:moveTo>
                    <a:pt x="1329683" y="175085"/>
                  </a:moveTo>
                  <a:cubicBezTo>
                    <a:pt x="1351272" y="175085"/>
                    <a:pt x="1368775" y="192585"/>
                    <a:pt x="1368775" y="214170"/>
                  </a:cubicBezTo>
                  <a:cubicBezTo>
                    <a:pt x="1368775" y="235758"/>
                    <a:pt x="1351272" y="253265"/>
                    <a:pt x="1329683" y="253265"/>
                  </a:cubicBezTo>
                  <a:cubicBezTo>
                    <a:pt x="1308100" y="253265"/>
                    <a:pt x="1290601" y="235758"/>
                    <a:pt x="1290601" y="214170"/>
                  </a:cubicBezTo>
                  <a:cubicBezTo>
                    <a:pt x="1290601" y="192585"/>
                    <a:pt x="1308100" y="175085"/>
                    <a:pt x="1329683" y="175085"/>
                  </a:cubicBezTo>
                  <a:close/>
                  <a:moveTo>
                    <a:pt x="1232690" y="175085"/>
                  </a:moveTo>
                  <a:cubicBezTo>
                    <a:pt x="1254278" y="175085"/>
                    <a:pt x="1271764" y="192585"/>
                    <a:pt x="1271764" y="214170"/>
                  </a:cubicBezTo>
                  <a:cubicBezTo>
                    <a:pt x="1271764" y="235758"/>
                    <a:pt x="1254278" y="253265"/>
                    <a:pt x="1232690" y="253265"/>
                  </a:cubicBezTo>
                  <a:cubicBezTo>
                    <a:pt x="1211099" y="253265"/>
                    <a:pt x="1193607" y="235758"/>
                    <a:pt x="1193607" y="214170"/>
                  </a:cubicBezTo>
                  <a:cubicBezTo>
                    <a:pt x="1193607" y="192585"/>
                    <a:pt x="1211099" y="175085"/>
                    <a:pt x="1232690" y="175085"/>
                  </a:cubicBezTo>
                  <a:close/>
                  <a:moveTo>
                    <a:pt x="1045751" y="175085"/>
                  </a:moveTo>
                  <a:cubicBezTo>
                    <a:pt x="1067337" y="175085"/>
                    <a:pt x="1084842" y="192585"/>
                    <a:pt x="1084842" y="214172"/>
                  </a:cubicBezTo>
                  <a:cubicBezTo>
                    <a:pt x="1084842" y="235758"/>
                    <a:pt x="1067337" y="253265"/>
                    <a:pt x="1045751" y="253265"/>
                  </a:cubicBezTo>
                  <a:cubicBezTo>
                    <a:pt x="1024168" y="253265"/>
                    <a:pt x="1006670" y="235758"/>
                    <a:pt x="1006670" y="214172"/>
                  </a:cubicBezTo>
                  <a:cubicBezTo>
                    <a:pt x="1006670" y="192585"/>
                    <a:pt x="1024168" y="175085"/>
                    <a:pt x="1045751" y="175085"/>
                  </a:cubicBezTo>
                  <a:close/>
                  <a:moveTo>
                    <a:pt x="951129" y="175085"/>
                  </a:moveTo>
                  <a:cubicBezTo>
                    <a:pt x="972708" y="175085"/>
                    <a:pt x="990205" y="192585"/>
                    <a:pt x="990205" y="214172"/>
                  </a:cubicBezTo>
                  <a:cubicBezTo>
                    <a:pt x="990205" y="235758"/>
                    <a:pt x="972708" y="253265"/>
                    <a:pt x="951129" y="253265"/>
                  </a:cubicBezTo>
                  <a:cubicBezTo>
                    <a:pt x="929543" y="253265"/>
                    <a:pt x="912045" y="235758"/>
                    <a:pt x="912045" y="214172"/>
                  </a:cubicBezTo>
                  <a:cubicBezTo>
                    <a:pt x="912045" y="192585"/>
                    <a:pt x="929543" y="175085"/>
                    <a:pt x="951129" y="175085"/>
                  </a:cubicBezTo>
                  <a:close/>
                  <a:moveTo>
                    <a:pt x="856503" y="175085"/>
                  </a:moveTo>
                  <a:cubicBezTo>
                    <a:pt x="878086" y="175085"/>
                    <a:pt x="895582" y="192585"/>
                    <a:pt x="895582" y="214172"/>
                  </a:cubicBezTo>
                  <a:cubicBezTo>
                    <a:pt x="895582" y="235758"/>
                    <a:pt x="878086" y="253265"/>
                    <a:pt x="856503" y="253265"/>
                  </a:cubicBezTo>
                  <a:cubicBezTo>
                    <a:pt x="834919" y="253265"/>
                    <a:pt x="817422" y="235758"/>
                    <a:pt x="817422" y="214172"/>
                  </a:cubicBezTo>
                  <a:cubicBezTo>
                    <a:pt x="817422" y="192585"/>
                    <a:pt x="834919" y="175085"/>
                    <a:pt x="856503" y="175085"/>
                  </a:cubicBezTo>
                  <a:close/>
                  <a:moveTo>
                    <a:pt x="764243" y="175085"/>
                  </a:moveTo>
                  <a:cubicBezTo>
                    <a:pt x="785830" y="175085"/>
                    <a:pt x="803326" y="192585"/>
                    <a:pt x="803326" y="214172"/>
                  </a:cubicBezTo>
                  <a:cubicBezTo>
                    <a:pt x="803326" y="235758"/>
                    <a:pt x="785830" y="253265"/>
                    <a:pt x="764243" y="253265"/>
                  </a:cubicBezTo>
                  <a:cubicBezTo>
                    <a:pt x="742651" y="253265"/>
                    <a:pt x="725161" y="235758"/>
                    <a:pt x="725161" y="214172"/>
                  </a:cubicBezTo>
                  <a:cubicBezTo>
                    <a:pt x="725161" y="192585"/>
                    <a:pt x="742651" y="175085"/>
                    <a:pt x="764243" y="175085"/>
                  </a:cubicBezTo>
                  <a:close/>
                  <a:moveTo>
                    <a:pt x="2831988" y="175085"/>
                  </a:moveTo>
                  <a:cubicBezTo>
                    <a:pt x="2853575" y="175085"/>
                    <a:pt x="2871075" y="192585"/>
                    <a:pt x="2871075" y="214170"/>
                  </a:cubicBezTo>
                  <a:cubicBezTo>
                    <a:pt x="2871075" y="235758"/>
                    <a:pt x="2853575" y="253265"/>
                    <a:pt x="2831988" y="253265"/>
                  </a:cubicBezTo>
                  <a:cubicBezTo>
                    <a:pt x="2810401" y="253265"/>
                    <a:pt x="2792901" y="235758"/>
                    <a:pt x="2792901" y="214170"/>
                  </a:cubicBezTo>
                  <a:cubicBezTo>
                    <a:pt x="2792901" y="192585"/>
                    <a:pt x="2810401" y="175085"/>
                    <a:pt x="2831988" y="175085"/>
                  </a:cubicBezTo>
                  <a:close/>
                  <a:moveTo>
                    <a:pt x="2079618" y="175085"/>
                  </a:moveTo>
                  <a:cubicBezTo>
                    <a:pt x="2101211" y="175085"/>
                    <a:pt x="2118703" y="192585"/>
                    <a:pt x="2118703" y="214170"/>
                  </a:cubicBezTo>
                  <a:cubicBezTo>
                    <a:pt x="2118703" y="235758"/>
                    <a:pt x="2101211" y="253265"/>
                    <a:pt x="2079618" y="253265"/>
                  </a:cubicBezTo>
                  <a:cubicBezTo>
                    <a:pt x="2058036" y="253265"/>
                    <a:pt x="2040537" y="235758"/>
                    <a:pt x="2040537" y="214170"/>
                  </a:cubicBezTo>
                  <a:cubicBezTo>
                    <a:pt x="2040537" y="192585"/>
                    <a:pt x="2058036" y="175085"/>
                    <a:pt x="2079618" y="175085"/>
                  </a:cubicBezTo>
                  <a:close/>
                  <a:moveTo>
                    <a:pt x="1984973" y="175085"/>
                  </a:moveTo>
                  <a:cubicBezTo>
                    <a:pt x="2006565" y="175085"/>
                    <a:pt x="2024073" y="192585"/>
                    <a:pt x="2024073" y="214170"/>
                  </a:cubicBezTo>
                  <a:cubicBezTo>
                    <a:pt x="2024073" y="235758"/>
                    <a:pt x="2006565" y="253265"/>
                    <a:pt x="1984973" y="253265"/>
                  </a:cubicBezTo>
                  <a:cubicBezTo>
                    <a:pt x="1963378" y="253265"/>
                    <a:pt x="1945875" y="235758"/>
                    <a:pt x="1945875" y="214170"/>
                  </a:cubicBezTo>
                  <a:cubicBezTo>
                    <a:pt x="1945875" y="192585"/>
                    <a:pt x="1963378" y="175085"/>
                    <a:pt x="1984973" y="175085"/>
                  </a:cubicBezTo>
                  <a:close/>
                  <a:moveTo>
                    <a:pt x="1890340" y="175085"/>
                  </a:moveTo>
                  <a:cubicBezTo>
                    <a:pt x="1911917" y="175085"/>
                    <a:pt x="1929413" y="192585"/>
                    <a:pt x="1929413" y="214170"/>
                  </a:cubicBezTo>
                  <a:cubicBezTo>
                    <a:pt x="1929413" y="235758"/>
                    <a:pt x="1911917" y="253265"/>
                    <a:pt x="1890340" y="253265"/>
                  </a:cubicBezTo>
                  <a:cubicBezTo>
                    <a:pt x="1868762" y="253265"/>
                    <a:pt x="1851255" y="235758"/>
                    <a:pt x="1851255" y="214170"/>
                  </a:cubicBezTo>
                  <a:cubicBezTo>
                    <a:pt x="1851255" y="192585"/>
                    <a:pt x="1868762" y="175085"/>
                    <a:pt x="1890340" y="175085"/>
                  </a:cubicBezTo>
                  <a:close/>
                  <a:moveTo>
                    <a:pt x="1798073" y="175085"/>
                  </a:moveTo>
                  <a:cubicBezTo>
                    <a:pt x="1819663" y="175085"/>
                    <a:pt x="1837149" y="192585"/>
                    <a:pt x="1837149" y="214170"/>
                  </a:cubicBezTo>
                  <a:cubicBezTo>
                    <a:pt x="1837149" y="235758"/>
                    <a:pt x="1819663" y="253265"/>
                    <a:pt x="1798073" y="253265"/>
                  </a:cubicBezTo>
                  <a:cubicBezTo>
                    <a:pt x="1776483" y="253265"/>
                    <a:pt x="1758966" y="235758"/>
                    <a:pt x="1758966" y="214170"/>
                  </a:cubicBezTo>
                  <a:cubicBezTo>
                    <a:pt x="1758966" y="192585"/>
                    <a:pt x="1776483" y="175085"/>
                    <a:pt x="1798073" y="175085"/>
                  </a:cubicBezTo>
                  <a:close/>
                  <a:moveTo>
                    <a:pt x="1703435" y="175085"/>
                  </a:moveTo>
                  <a:cubicBezTo>
                    <a:pt x="1725015" y="175085"/>
                    <a:pt x="1742524" y="192585"/>
                    <a:pt x="1742524" y="214170"/>
                  </a:cubicBezTo>
                  <a:cubicBezTo>
                    <a:pt x="1742524" y="235758"/>
                    <a:pt x="1725015" y="253265"/>
                    <a:pt x="1703435" y="253265"/>
                  </a:cubicBezTo>
                  <a:cubicBezTo>
                    <a:pt x="1681841" y="253265"/>
                    <a:pt x="1664351" y="235758"/>
                    <a:pt x="1664351" y="214170"/>
                  </a:cubicBezTo>
                  <a:cubicBezTo>
                    <a:pt x="1664351" y="192585"/>
                    <a:pt x="1681841" y="175085"/>
                    <a:pt x="1703435" y="175085"/>
                  </a:cubicBezTo>
                  <a:close/>
                  <a:moveTo>
                    <a:pt x="1611151" y="175085"/>
                  </a:moveTo>
                  <a:cubicBezTo>
                    <a:pt x="1632741" y="175085"/>
                    <a:pt x="1650245" y="192585"/>
                    <a:pt x="1650245" y="214170"/>
                  </a:cubicBezTo>
                  <a:cubicBezTo>
                    <a:pt x="1650245" y="235758"/>
                    <a:pt x="1632741" y="253265"/>
                    <a:pt x="1611151" y="253265"/>
                  </a:cubicBezTo>
                  <a:cubicBezTo>
                    <a:pt x="1589656" y="253265"/>
                    <a:pt x="1572158" y="235758"/>
                    <a:pt x="1572158" y="214170"/>
                  </a:cubicBezTo>
                  <a:cubicBezTo>
                    <a:pt x="1572158" y="192585"/>
                    <a:pt x="1589656" y="175085"/>
                    <a:pt x="1611151" y="175085"/>
                  </a:cubicBezTo>
                  <a:close/>
                  <a:moveTo>
                    <a:pt x="798955" y="113714"/>
                  </a:moveTo>
                  <a:lnTo>
                    <a:pt x="803326" y="124268"/>
                  </a:lnTo>
                  <a:cubicBezTo>
                    <a:pt x="803326" y="145855"/>
                    <a:pt x="785830" y="163353"/>
                    <a:pt x="764243" y="163353"/>
                  </a:cubicBezTo>
                  <a:lnTo>
                    <a:pt x="738461" y="152674"/>
                  </a:lnTo>
                  <a:lnTo>
                    <a:pt x="754212" y="140896"/>
                  </a:lnTo>
                  <a:close/>
                  <a:moveTo>
                    <a:pt x="2904918" y="93195"/>
                  </a:moveTo>
                  <a:lnTo>
                    <a:pt x="2961886" y="127804"/>
                  </a:lnTo>
                  <a:lnTo>
                    <a:pt x="2951903" y="151905"/>
                  </a:lnTo>
                  <a:cubicBezTo>
                    <a:pt x="2944829" y="158978"/>
                    <a:pt x="2935058" y="163353"/>
                    <a:pt x="2924264" y="163353"/>
                  </a:cubicBezTo>
                  <a:cubicBezTo>
                    <a:pt x="2902677" y="163353"/>
                    <a:pt x="2885177" y="145855"/>
                    <a:pt x="2885177" y="124267"/>
                  </a:cubicBezTo>
                  <a:cubicBezTo>
                    <a:pt x="2885177" y="113475"/>
                    <a:pt x="2889552" y="103703"/>
                    <a:pt x="2896625" y="96630"/>
                  </a:cubicBezTo>
                  <a:close/>
                  <a:moveTo>
                    <a:pt x="2831988" y="85181"/>
                  </a:moveTo>
                  <a:cubicBezTo>
                    <a:pt x="2853575" y="85181"/>
                    <a:pt x="2871075" y="102682"/>
                    <a:pt x="2871075" y="124267"/>
                  </a:cubicBezTo>
                  <a:cubicBezTo>
                    <a:pt x="2871075" y="145855"/>
                    <a:pt x="2853575" y="163353"/>
                    <a:pt x="2831988" y="163353"/>
                  </a:cubicBezTo>
                  <a:cubicBezTo>
                    <a:pt x="2810401" y="163353"/>
                    <a:pt x="2792901" y="145855"/>
                    <a:pt x="2792901" y="124267"/>
                  </a:cubicBezTo>
                  <a:cubicBezTo>
                    <a:pt x="2792901" y="102682"/>
                    <a:pt x="2810401" y="85181"/>
                    <a:pt x="2831988" y="85181"/>
                  </a:cubicBezTo>
                  <a:close/>
                  <a:moveTo>
                    <a:pt x="2171887" y="85181"/>
                  </a:moveTo>
                  <a:cubicBezTo>
                    <a:pt x="2193477" y="85181"/>
                    <a:pt x="2210981" y="102682"/>
                    <a:pt x="2210981" y="124267"/>
                  </a:cubicBezTo>
                  <a:cubicBezTo>
                    <a:pt x="2210981" y="145855"/>
                    <a:pt x="2193477" y="163353"/>
                    <a:pt x="2171887" y="163353"/>
                  </a:cubicBezTo>
                  <a:cubicBezTo>
                    <a:pt x="2150295" y="163353"/>
                    <a:pt x="2132800" y="145855"/>
                    <a:pt x="2132800" y="124267"/>
                  </a:cubicBezTo>
                  <a:cubicBezTo>
                    <a:pt x="2132800" y="102682"/>
                    <a:pt x="2150295" y="85181"/>
                    <a:pt x="2171887" y="85181"/>
                  </a:cubicBezTo>
                  <a:close/>
                  <a:moveTo>
                    <a:pt x="2079618" y="85181"/>
                  </a:moveTo>
                  <a:cubicBezTo>
                    <a:pt x="2101211" y="85181"/>
                    <a:pt x="2118703" y="102682"/>
                    <a:pt x="2118703" y="124267"/>
                  </a:cubicBezTo>
                  <a:cubicBezTo>
                    <a:pt x="2118703" y="145855"/>
                    <a:pt x="2101211" y="163353"/>
                    <a:pt x="2079618" y="163353"/>
                  </a:cubicBezTo>
                  <a:cubicBezTo>
                    <a:pt x="2058036" y="163353"/>
                    <a:pt x="2040537" y="145855"/>
                    <a:pt x="2040537" y="124267"/>
                  </a:cubicBezTo>
                  <a:cubicBezTo>
                    <a:pt x="2040537" y="102682"/>
                    <a:pt x="2058036" y="85181"/>
                    <a:pt x="2079618" y="85181"/>
                  </a:cubicBezTo>
                  <a:close/>
                  <a:moveTo>
                    <a:pt x="1984973" y="85181"/>
                  </a:moveTo>
                  <a:cubicBezTo>
                    <a:pt x="2006565" y="85181"/>
                    <a:pt x="2024073" y="102682"/>
                    <a:pt x="2024073" y="124268"/>
                  </a:cubicBezTo>
                  <a:cubicBezTo>
                    <a:pt x="2024073" y="145855"/>
                    <a:pt x="2006565" y="163353"/>
                    <a:pt x="1984973" y="163353"/>
                  </a:cubicBezTo>
                  <a:cubicBezTo>
                    <a:pt x="1963378" y="163353"/>
                    <a:pt x="1945875" y="145855"/>
                    <a:pt x="1945875" y="124268"/>
                  </a:cubicBezTo>
                  <a:cubicBezTo>
                    <a:pt x="1945875" y="102682"/>
                    <a:pt x="1963378" y="85181"/>
                    <a:pt x="1984973" y="85181"/>
                  </a:cubicBezTo>
                  <a:close/>
                  <a:moveTo>
                    <a:pt x="1890340" y="85181"/>
                  </a:moveTo>
                  <a:cubicBezTo>
                    <a:pt x="1911917" y="85181"/>
                    <a:pt x="1929413" y="102682"/>
                    <a:pt x="1929413" y="124268"/>
                  </a:cubicBezTo>
                  <a:cubicBezTo>
                    <a:pt x="1929413" y="145855"/>
                    <a:pt x="1911917" y="163353"/>
                    <a:pt x="1890340" y="163353"/>
                  </a:cubicBezTo>
                  <a:cubicBezTo>
                    <a:pt x="1868762" y="163353"/>
                    <a:pt x="1851255" y="145855"/>
                    <a:pt x="1851255" y="124268"/>
                  </a:cubicBezTo>
                  <a:cubicBezTo>
                    <a:pt x="1851255" y="102682"/>
                    <a:pt x="1868762" y="85181"/>
                    <a:pt x="1890340" y="85181"/>
                  </a:cubicBezTo>
                  <a:close/>
                  <a:moveTo>
                    <a:pt x="1798073" y="85181"/>
                  </a:moveTo>
                  <a:cubicBezTo>
                    <a:pt x="1819663" y="85181"/>
                    <a:pt x="1837149" y="102682"/>
                    <a:pt x="1837149" y="124268"/>
                  </a:cubicBezTo>
                  <a:cubicBezTo>
                    <a:pt x="1837149" y="145855"/>
                    <a:pt x="1819663" y="163353"/>
                    <a:pt x="1798073" y="163353"/>
                  </a:cubicBezTo>
                  <a:cubicBezTo>
                    <a:pt x="1776483" y="163353"/>
                    <a:pt x="1758966" y="145855"/>
                    <a:pt x="1758966" y="124268"/>
                  </a:cubicBezTo>
                  <a:cubicBezTo>
                    <a:pt x="1758966" y="102682"/>
                    <a:pt x="1776483" y="85181"/>
                    <a:pt x="1798073" y="85181"/>
                  </a:cubicBezTo>
                  <a:close/>
                  <a:moveTo>
                    <a:pt x="1703435" y="85181"/>
                  </a:moveTo>
                  <a:cubicBezTo>
                    <a:pt x="1725015" y="85181"/>
                    <a:pt x="1742524" y="102682"/>
                    <a:pt x="1742524" y="124268"/>
                  </a:cubicBezTo>
                  <a:cubicBezTo>
                    <a:pt x="1742524" y="145855"/>
                    <a:pt x="1725015" y="163353"/>
                    <a:pt x="1703435" y="163353"/>
                  </a:cubicBezTo>
                  <a:cubicBezTo>
                    <a:pt x="1681841" y="163353"/>
                    <a:pt x="1664351" y="145855"/>
                    <a:pt x="1664351" y="124268"/>
                  </a:cubicBezTo>
                  <a:cubicBezTo>
                    <a:pt x="1664351" y="102682"/>
                    <a:pt x="1681841" y="85181"/>
                    <a:pt x="1703435" y="85181"/>
                  </a:cubicBezTo>
                  <a:close/>
                  <a:moveTo>
                    <a:pt x="1611151" y="85181"/>
                  </a:moveTo>
                  <a:cubicBezTo>
                    <a:pt x="1632741" y="85181"/>
                    <a:pt x="1650245" y="102683"/>
                    <a:pt x="1650245" y="124268"/>
                  </a:cubicBezTo>
                  <a:cubicBezTo>
                    <a:pt x="1650245" y="145855"/>
                    <a:pt x="1632741" y="163353"/>
                    <a:pt x="1611151" y="163353"/>
                  </a:cubicBezTo>
                  <a:cubicBezTo>
                    <a:pt x="1589656" y="163353"/>
                    <a:pt x="1572160" y="145855"/>
                    <a:pt x="1572160" y="124268"/>
                  </a:cubicBezTo>
                  <a:cubicBezTo>
                    <a:pt x="1572160" y="102683"/>
                    <a:pt x="1589656" y="85181"/>
                    <a:pt x="1611151" y="85181"/>
                  </a:cubicBezTo>
                  <a:close/>
                  <a:moveTo>
                    <a:pt x="1516607" y="85181"/>
                  </a:moveTo>
                  <a:cubicBezTo>
                    <a:pt x="1538188" y="85181"/>
                    <a:pt x="1555693" y="102683"/>
                    <a:pt x="1555693" y="124268"/>
                  </a:cubicBezTo>
                  <a:cubicBezTo>
                    <a:pt x="1555693" y="145855"/>
                    <a:pt x="1538188" y="163353"/>
                    <a:pt x="1516607" y="163353"/>
                  </a:cubicBezTo>
                  <a:cubicBezTo>
                    <a:pt x="1495014" y="163353"/>
                    <a:pt x="1477512" y="145855"/>
                    <a:pt x="1477512" y="124268"/>
                  </a:cubicBezTo>
                  <a:cubicBezTo>
                    <a:pt x="1477512" y="102683"/>
                    <a:pt x="1495014" y="85181"/>
                    <a:pt x="1516607" y="85181"/>
                  </a:cubicBezTo>
                  <a:close/>
                  <a:moveTo>
                    <a:pt x="1419600" y="85181"/>
                  </a:moveTo>
                  <a:cubicBezTo>
                    <a:pt x="1441183" y="85181"/>
                    <a:pt x="1458689" y="102683"/>
                    <a:pt x="1458689" y="124268"/>
                  </a:cubicBezTo>
                  <a:cubicBezTo>
                    <a:pt x="1458689" y="145855"/>
                    <a:pt x="1441183" y="163353"/>
                    <a:pt x="1419600" y="163353"/>
                  </a:cubicBezTo>
                  <a:cubicBezTo>
                    <a:pt x="1398003" y="163353"/>
                    <a:pt x="1380504" y="145855"/>
                    <a:pt x="1380504" y="124268"/>
                  </a:cubicBezTo>
                  <a:cubicBezTo>
                    <a:pt x="1380504" y="102683"/>
                    <a:pt x="1398003" y="85181"/>
                    <a:pt x="1419600" y="85181"/>
                  </a:cubicBezTo>
                  <a:close/>
                  <a:moveTo>
                    <a:pt x="1329684" y="85181"/>
                  </a:moveTo>
                  <a:cubicBezTo>
                    <a:pt x="1351272" y="85181"/>
                    <a:pt x="1368775" y="102683"/>
                    <a:pt x="1368775" y="124268"/>
                  </a:cubicBezTo>
                  <a:cubicBezTo>
                    <a:pt x="1368775" y="145855"/>
                    <a:pt x="1351272" y="163353"/>
                    <a:pt x="1329684" y="163353"/>
                  </a:cubicBezTo>
                  <a:cubicBezTo>
                    <a:pt x="1308100" y="163353"/>
                    <a:pt x="1290604" y="145855"/>
                    <a:pt x="1290604" y="124268"/>
                  </a:cubicBezTo>
                  <a:cubicBezTo>
                    <a:pt x="1290604" y="102683"/>
                    <a:pt x="1308100" y="85181"/>
                    <a:pt x="1329684" y="85181"/>
                  </a:cubicBezTo>
                  <a:close/>
                  <a:moveTo>
                    <a:pt x="1142780" y="85181"/>
                  </a:moveTo>
                  <a:cubicBezTo>
                    <a:pt x="1164374" y="85181"/>
                    <a:pt x="1181872" y="102683"/>
                    <a:pt x="1181872" y="124268"/>
                  </a:cubicBezTo>
                  <a:cubicBezTo>
                    <a:pt x="1181872" y="145855"/>
                    <a:pt x="1164374" y="163353"/>
                    <a:pt x="1142780" y="163353"/>
                  </a:cubicBezTo>
                  <a:cubicBezTo>
                    <a:pt x="1121186" y="163353"/>
                    <a:pt x="1103680" y="145855"/>
                    <a:pt x="1103680" y="124268"/>
                  </a:cubicBezTo>
                  <a:cubicBezTo>
                    <a:pt x="1103680" y="102683"/>
                    <a:pt x="1121186" y="85181"/>
                    <a:pt x="1142780" y="85181"/>
                  </a:cubicBezTo>
                  <a:close/>
                  <a:moveTo>
                    <a:pt x="1045753" y="85181"/>
                  </a:moveTo>
                  <a:cubicBezTo>
                    <a:pt x="1067337" y="85181"/>
                    <a:pt x="1084842" y="102683"/>
                    <a:pt x="1084842" y="124268"/>
                  </a:cubicBezTo>
                  <a:cubicBezTo>
                    <a:pt x="1084842" y="145855"/>
                    <a:pt x="1067337" y="163353"/>
                    <a:pt x="1045753" y="163353"/>
                  </a:cubicBezTo>
                  <a:cubicBezTo>
                    <a:pt x="1024168" y="163353"/>
                    <a:pt x="1006670" y="145855"/>
                    <a:pt x="1006670" y="124268"/>
                  </a:cubicBezTo>
                  <a:cubicBezTo>
                    <a:pt x="1006670" y="102683"/>
                    <a:pt x="1024168" y="85181"/>
                    <a:pt x="1045753" y="85181"/>
                  </a:cubicBezTo>
                  <a:close/>
                  <a:moveTo>
                    <a:pt x="951129" y="85181"/>
                  </a:moveTo>
                  <a:cubicBezTo>
                    <a:pt x="972708" y="85181"/>
                    <a:pt x="990205" y="102683"/>
                    <a:pt x="990205" y="124268"/>
                  </a:cubicBezTo>
                  <a:cubicBezTo>
                    <a:pt x="990205" y="145855"/>
                    <a:pt x="972708" y="163353"/>
                    <a:pt x="951129" y="163353"/>
                  </a:cubicBezTo>
                  <a:cubicBezTo>
                    <a:pt x="929543" y="163353"/>
                    <a:pt x="912045" y="145855"/>
                    <a:pt x="912045" y="124268"/>
                  </a:cubicBezTo>
                  <a:cubicBezTo>
                    <a:pt x="912045" y="102683"/>
                    <a:pt x="929543" y="85181"/>
                    <a:pt x="951129" y="85181"/>
                  </a:cubicBezTo>
                  <a:close/>
                  <a:moveTo>
                    <a:pt x="856503" y="85181"/>
                  </a:moveTo>
                  <a:cubicBezTo>
                    <a:pt x="878086" y="85181"/>
                    <a:pt x="895582" y="102683"/>
                    <a:pt x="895582" y="124268"/>
                  </a:cubicBezTo>
                  <a:cubicBezTo>
                    <a:pt x="895582" y="145855"/>
                    <a:pt x="878086" y="163353"/>
                    <a:pt x="856503" y="163353"/>
                  </a:cubicBezTo>
                  <a:cubicBezTo>
                    <a:pt x="834921" y="163353"/>
                    <a:pt x="817424" y="145855"/>
                    <a:pt x="817424" y="124268"/>
                  </a:cubicBezTo>
                  <a:cubicBezTo>
                    <a:pt x="817424" y="102683"/>
                    <a:pt x="834921" y="85181"/>
                    <a:pt x="856503" y="85181"/>
                  </a:cubicBezTo>
                  <a:close/>
                  <a:moveTo>
                    <a:pt x="978967" y="11950"/>
                  </a:moveTo>
                  <a:lnTo>
                    <a:pt x="990205" y="39087"/>
                  </a:lnTo>
                  <a:cubicBezTo>
                    <a:pt x="990205" y="60674"/>
                    <a:pt x="972708" y="78173"/>
                    <a:pt x="951129" y="78173"/>
                  </a:cubicBezTo>
                  <a:cubicBezTo>
                    <a:pt x="940336" y="78173"/>
                    <a:pt x="930565" y="73798"/>
                    <a:pt x="923492" y="66725"/>
                  </a:cubicBezTo>
                  <a:lnTo>
                    <a:pt x="914005" y="43819"/>
                  </a:lnTo>
                  <a:lnTo>
                    <a:pt x="918580" y="41040"/>
                  </a:lnTo>
                  <a:close/>
                  <a:moveTo>
                    <a:pt x="2266537" y="0"/>
                  </a:moveTo>
                  <a:cubicBezTo>
                    <a:pt x="2288118" y="0"/>
                    <a:pt x="2305619" y="17499"/>
                    <a:pt x="2305619" y="39087"/>
                  </a:cubicBezTo>
                  <a:cubicBezTo>
                    <a:pt x="2305619" y="60673"/>
                    <a:pt x="2288118" y="78173"/>
                    <a:pt x="2266537" y="78173"/>
                  </a:cubicBezTo>
                  <a:cubicBezTo>
                    <a:pt x="2244936" y="78173"/>
                    <a:pt x="2227443" y="60673"/>
                    <a:pt x="2227443" y="39087"/>
                  </a:cubicBezTo>
                  <a:cubicBezTo>
                    <a:pt x="2227443" y="17499"/>
                    <a:pt x="2244936" y="0"/>
                    <a:pt x="2266537" y="0"/>
                  </a:cubicBezTo>
                  <a:close/>
                  <a:moveTo>
                    <a:pt x="2171887" y="0"/>
                  </a:moveTo>
                  <a:cubicBezTo>
                    <a:pt x="2193477" y="0"/>
                    <a:pt x="2210981" y="17499"/>
                    <a:pt x="2210981" y="39087"/>
                  </a:cubicBezTo>
                  <a:cubicBezTo>
                    <a:pt x="2210981" y="60673"/>
                    <a:pt x="2193477" y="78173"/>
                    <a:pt x="2171887" y="78173"/>
                  </a:cubicBezTo>
                  <a:cubicBezTo>
                    <a:pt x="2150295" y="78173"/>
                    <a:pt x="2132800" y="60673"/>
                    <a:pt x="2132800" y="39087"/>
                  </a:cubicBezTo>
                  <a:cubicBezTo>
                    <a:pt x="2132800" y="17499"/>
                    <a:pt x="2150295" y="0"/>
                    <a:pt x="2171887" y="0"/>
                  </a:cubicBezTo>
                  <a:close/>
                  <a:moveTo>
                    <a:pt x="2079618" y="0"/>
                  </a:moveTo>
                  <a:cubicBezTo>
                    <a:pt x="2101211" y="0"/>
                    <a:pt x="2118703" y="17499"/>
                    <a:pt x="2118703" y="39087"/>
                  </a:cubicBezTo>
                  <a:cubicBezTo>
                    <a:pt x="2118703" y="60673"/>
                    <a:pt x="2101211" y="78173"/>
                    <a:pt x="2079618" y="78173"/>
                  </a:cubicBezTo>
                  <a:cubicBezTo>
                    <a:pt x="2058036" y="78173"/>
                    <a:pt x="2040537" y="60673"/>
                    <a:pt x="2040537" y="39087"/>
                  </a:cubicBezTo>
                  <a:cubicBezTo>
                    <a:pt x="2040537" y="17499"/>
                    <a:pt x="2058036" y="0"/>
                    <a:pt x="2079618" y="0"/>
                  </a:cubicBezTo>
                  <a:close/>
                  <a:moveTo>
                    <a:pt x="1984973" y="0"/>
                  </a:moveTo>
                  <a:cubicBezTo>
                    <a:pt x="2006565" y="0"/>
                    <a:pt x="2024073" y="17499"/>
                    <a:pt x="2024073" y="39087"/>
                  </a:cubicBezTo>
                  <a:cubicBezTo>
                    <a:pt x="2024073" y="60673"/>
                    <a:pt x="2006565" y="78173"/>
                    <a:pt x="1984973" y="78173"/>
                  </a:cubicBezTo>
                  <a:cubicBezTo>
                    <a:pt x="1963378" y="78173"/>
                    <a:pt x="1945875" y="60673"/>
                    <a:pt x="1945875" y="39087"/>
                  </a:cubicBezTo>
                  <a:cubicBezTo>
                    <a:pt x="1945875" y="17499"/>
                    <a:pt x="1963378" y="0"/>
                    <a:pt x="1984973" y="0"/>
                  </a:cubicBezTo>
                  <a:close/>
                  <a:moveTo>
                    <a:pt x="1890340" y="0"/>
                  </a:moveTo>
                  <a:cubicBezTo>
                    <a:pt x="1911917" y="0"/>
                    <a:pt x="1929413" y="17499"/>
                    <a:pt x="1929413" y="39087"/>
                  </a:cubicBezTo>
                  <a:cubicBezTo>
                    <a:pt x="1929413" y="60673"/>
                    <a:pt x="1911917" y="78173"/>
                    <a:pt x="1890340" y="78173"/>
                  </a:cubicBezTo>
                  <a:cubicBezTo>
                    <a:pt x="1868762" y="78173"/>
                    <a:pt x="1851255" y="60673"/>
                    <a:pt x="1851255" y="39087"/>
                  </a:cubicBezTo>
                  <a:cubicBezTo>
                    <a:pt x="1851255" y="17499"/>
                    <a:pt x="1868762" y="0"/>
                    <a:pt x="1890340" y="0"/>
                  </a:cubicBezTo>
                  <a:close/>
                  <a:moveTo>
                    <a:pt x="1798073" y="0"/>
                  </a:moveTo>
                  <a:cubicBezTo>
                    <a:pt x="1819663" y="0"/>
                    <a:pt x="1837149" y="17499"/>
                    <a:pt x="1837149" y="39087"/>
                  </a:cubicBezTo>
                  <a:cubicBezTo>
                    <a:pt x="1837149" y="60673"/>
                    <a:pt x="1819663" y="78173"/>
                    <a:pt x="1798073" y="78173"/>
                  </a:cubicBezTo>
                  <a:cubicBezTo>
                    <a:pt x="1776483" y="78173"/>
                    <a:pt x="1758966" y="60673"/>
                    <a:pt x="1758966" y="39087"/>
                  </a:cubicBezTo>
                  <a:cubicBezTo>
                    <a:pt x="1758966" y="17499"/>
                    <a:pt x="1776483" y="0"/>
                    <a:pt x="1798073" y="0"/>
                  </a:cubicBezTo>
                  <a:close/>
                  <a:moveTo>
                    <a:pt x="1703435" y="0"/>
                  </a:moveTo>
                  <a:cubicBezTo>
                    <a:pt x="1725015" y="0"/>
                    <a:pt x="1742524" y="17499"/>
                    <a:pt x="1742524" y="39087"/>
                  </a:cubicBezTo>
                  <a:cubicBezTo>
                    <a:pt x="1742524" y="60673"/>
                    <a:pt x="1725015" y="78173"/>
                    <a:pt x="1703435" y="78173"/>
                  </a:cubicBezTo>
                  <a:cubicBezTo>
                    <a:pt x="1681841" y="78173"/>
                    <a:pt x="1664351" y="60673"/>
                    <a:pt x="1664351" y="39087"/>
                  </a:cubicBezTo>
                  <a:cubicBezTo>
                    <a:pt x="1664351" y="17499"/>
                    <a:pt x="1681841" y="0"/>
                    <a:pt x="1703435" y="0"/>
                  </a:cubicBezTo>
                  <a:close/>
                  <a:moveTo>
                    <a:pt x="1611151" y="0"/>
                  </a:moveTo>
                  <a:cubicBezTo>
                    <a:pt x="1632741" y="0"/>
                    <a:pt x="1650245" y="17499"/>
                    <a:pt x="1650245" y="39087"/>
                  </a:cubicBezTo>
                  <a:cubicBezTo>
                    <a:pt x="1650245" y="60673"/>
                    <a:pt x="1632741" y="78173"/>
                    <a:pt x="1611151" y="78173"/>
                  </a:cubicBezTo>
                  <a:cubicBezTo>
                    <a:pt x="1589656" y="78173"/>
                    <a:pt x="1572160" y="60673"/>
                    <a:pt x="1572160" y="39087"/>
                  </a:cubicBezTo>
                  <a:cubicBezTo>
                    <a:pt x="1572160" y="17499"/>
                    <a:pt x="1589656" y="0"/>
                    <a:pt x="1611151" y="0"/>
                  </a:cubicBezTo>
                  <a:close/>
                  <a:moveTo>
                    <a:pt x="1516607" y="0"/>
                  </a:moveTo>
                  <a:cubicBezTo>
                    <a:pt x="1538188" y="0"/>
                    <a:pt x="1555693" y="17499"/>
                    <a:pt x="1555693" y="39087"/>
                  </a:cubicBezTo>
                  <a:cubicBezTo>
                    <a:pt x="1555693" y="60673"/>
                    <a:pt x="1538188" y="78173"/>
                    <a:pt x="1516607" y="78173"/>
                  </a:cubicBezTo>
                  <a:cubicBezTo>
                    <a:pt x="1495014" y="78173"/>
                    <a:pt x="1477512" y="60673"/>
                    <a:pt x="1477512" y="39087"/>
                  </a:cubicBezTo>
                  <a:cubicBezTo>
                    <a:pt x="1477512" y="17499"/>
                    <a:pt x="1495014" y="0"/>
                    <a:pt x="1516607" y="0"/>
                  </a:cubicBezTo>
                  <a:close/>
                  <a:moveTo>
                    <a:pt x="1232692" y="0"/>
                  </a:moveTo>
                  <a:cubicBezTo>
                    <a:pt x="1254278" y="0"/>
                    <a:pt x="1271765" y="17499"/>
                    <a:pt x="1271765" y="39087"/>
                  </a:cubicBezTo>
                  <a:cubicBezTo>
                    <a:pt x="1271765" y="60673"/>
                    <a:pt x="1254278" y="78173"/>
                    <a:pt x="1232692" y="78173"/>
                  </a:cubicBezTo>
                  <a:cubicBezTo>
                    <a:pt x="1211099" y="78173"/>
                    <a:pt x="1193607" y="60673"/>
                    <a:pt x="1193607" y="39087"/>
                  </a:cubicBezTo>
                  <a:cubicBezTo>
                    <a:pt x="1193607" y="17499"/>
                    <a:pt x="1211099" y="0"/>
                    <a:pt x="1232692" y="0"/>
                  </a:cubicBezTo>
                  <a:close/>
                  <a:moveTo>
                    <a:pt x="1142780" y="0"/>
                  </a:moveTo>
                  <a:cubicBezTo>
                    <a:pt x="1164374" y="0"/>
                    <a:pt x="1181872" y="17499"/>
                    <a:pt x="1181872" y="39087"/>
                  </a:cubicBezTo>
                  <a:cubicBezTo>
                    <a:pt x="1181872" y="60674"/>
                    <a:pt x="1164374" y="78173"/>
                    <a:pt x="1142780" y="78173"/>
                  </a:cubicBezTo>
                  <a:cubicBezTo>
                    <a:pt x="1121186" y="78173"/>
                    <a:pt x="1103680" y="60674"/>
                    <a:pt x="1103680" y="39087"/>
                  </a:cubicBezTo>
                  <a:cubicBezTo>
                    <a:pt x="1103680" y="17499"/>
                    <a:pt x="1121186" y="0"/>
                    <a:pt x="1142780" y="0"/>
                  </a:cubicBezTo>
                  <a:close/>
                  <a:moveTo>
                    <a:pt x="1045753" y="0"/>
                  </a:moveTo>
                  <a:cubicBezTo>
                    <a:pt x="1067337" y="0"/>
                    <a:pt x="1084842" y="17500"/>
                    <a:pt x="1084842" y="39087"/>
                  </a:cubicBezTo>
                  <a:cubicBezTo>
                    <a:pt x="1084842" y="60674"/>
                    <a:pt x="1067337" y="78173"/>
                    <a:pt x="1045753" y="78173"/>
                  </a:cubicBezTo>
                  <a:cubicBezTo>
                    <a:pt x="1024168" y="78173"/>
                    <a:pt x="1006670" y="60674"/>
                    <a:pt x="1006670" y="39087"/>
                  </a:cubicBezTo>
                  <a:cubicBezTo>
                    <a:pt x="1006670" y="17500"/>
                    <a:pt x="1024168" y="0"/>
                    <a:pt x="1045753" y="0"/>
                  </a:cubicBezTo>
                  <a:close/>
                </a:path>
              </a:pathLst>
            </a:custGeom>
            <a:solidFill>
              <a:srgbClr val="B8D432"/>
            </a:solidFill>
            <a:ln w="0">
              <a:noFill/>
              <a:prstDash val="solid"/>
              <a:round/>
              <a:headEnd/>
              <a:tailEnd/>
            </a:ln>
          </p:spPr>
          <p:txBody>
            <a:bodyPr vert="horz" wrap="square" lIns="93260" tIns="46630" rIns="93260" bIns="46630" numCol="1" anchor="t" anchorCtr="0" compatLnSpc="1">
              <a:prstTxWarp prst="textNoShape">
                <a:avLst/>
              </a:prstTxWarp>
              <a:noAutofit/>
            </a:bodyPr>
            <a:lstStyle/>
            <a:p>
              <a:endParaRPr lang="en-US" sz="1836"/>
            </a:p>
          </p:txBody>
        </p:sp>
        <p:sp>
          <p:nvSpPr>
            <p:cNvPr id="437" name="Freeform: Shape 262"/>
            <p:cNvSpPr>
              <a:spLocks/>
            </p:cNvSpPr>
            <p:nvPr/>
          </p:nvSpPr>
          <p:spPr bwMode="auto">
            <a:xfrm>
              <a:off x="7739441" y="2829816"/>
              <a:ext cx="78158" cy="78173"/>
            </a:xfrm>
            <a:custGeom>
              <a:avLst/>
              <a:gdLst>
                <a:gd name="connsiteX0" fmla="*/ 39085 w 78158"/>
                <a:gd name="connsiteY0" fmla="*/ 0 h 78173"/>
                <a:gd name="connsiteX1" fmla="*/ 78158 w 78158"/>
                <a:gd name="connsiteY1" fmla="*/ 39087 h 78173"/>
                <a:gd name="connsiteX2" fmla="*/ 39085 w 78158"/>
                <a:gd name="connsiteY2" fmla="*/ 78173 h 78173"/>
                <a:gd name="connsiteX3" fmla="*/ 0 w 78158"/>
                <a:gd name="connsiteY3" fmla="*/ 39087 h 78173"/>
                <a:gd name="connsiteX4" fmla="*/ 39085 w 78158"/>
                <a:gd name="connsiteY4" fmla="*/ 0 h 781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58" h="78173">
                  <a:moveTo>
                    <a:pt x="39085" y="0"/>
                  </a:moveTo>
                  <a:cubicBezTo>
                    <a:pt x="60671" y="0"/>
                    <a:pt x="78158" y="17499"/>
                    <a:pt x="78158" y="39087"/>
                  </a:cubicBezTo>
                  <a:cubicBezTo>
                    <a:pt x="78158" y="60673"/>
                    <a:pt x="60671" y="78173"/>
                    <a:pt x="39085" y="78173"/>
                  </a:cubicBezTo>
                  <a:cubicBezTo>
                    <a:pt x="17492" y="78173"/>
                    <a:pt x="0" y="60673"/>
                    <a:pt x="0" y="39087"/>
                  </a:cubicBezTo>
                  <a:cubicBezTo>
                    <a:pt x="0" y="17499"/>
                    <a:pt x="17492" y="0"/>
                    <a:pt x="39085" y="0"/>
                  </a:cubicBezTo>
                  <a:close/>
                </a:path>
              </a:pathLst>
            </a:custGeom>
            <a:solidFill>
              <a:schemeClr val="accent3"/>
            </a:solidFill>
            <a:ln w="0">
              <a:noFill/>
              <a:prstDash val="solid"/>
              <a:round/>
              <a:headEnd/>
              <a:tailEnd/>
            </a:ln>
          </p:spPr>
          <p:txBody>
            <a:bodyPr vert="horz" wrap="square" lIns="93260" tIns="46630" rIns="93260" bIns="46630" numCol="1" anchor="t" anchorCtr="0" compatLnSpc="1">
              <a:prstTxWarp prst="textNoShape">
                <a:avLst/>
              </a:prstTxWarp>
              <a:noAutofit/>
            </a:bodyPr>
            <a:lstStyle/>
            <a:p>
              <a:endParaRPr lang="en-US" sz="1836"/>
            </a:p>
          </p:txBody>
        </p:sp>
        <p:sp>
          <p:nvSpPr>
            <p:cNvPr id="438" name="Freeform: Shape 263"/>
            <p:cNvSpPr>
              <a:spLocks/>
            </p:cNvSpPr>
            <p:nvPr/>
          </p:nvSpPr>
          <p:spPr bwMode="auto">
            <a:xfrm>
              <a:off x="8397089" y="2829816"/>
              <a:ext cx="78158" cy="78173"/>
            </a:xfrm>
            <a:custGeom>
              <a:avLst/>
              <a:gdLst>
                <a:gd name="connsiteX0" fmla="*/ 39085 w 78158"/>
                <a:gd name="connsiteY0" fmla="*/ 0 h 78173"/>
                <a:gd name="connsiteX1" fmla="*/ 78158 w 78158"/>
                <a:gd name="connsiteY1" fmla="*/ 39087 h 78173"/>
                <a:gd name="connsiteX2" fmla="*/ 39085 w 78158"/>
                <a:gd name="connsiteY2" fmla="*/ 78173 h 78173"/>
                <a:gd name="connsiteX3" fmla="*/ 0 w 78158"/>
                <a:gd name="connsiteY3" fmla="*/ 39087 h 78173"/>
                <a:gd name="connsiteX4" fmla="*/ 39085 w 78158"/>
                <a:gd name="connsiteY4" fmla="*/ 0 h 781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58" h="78173">
                  <a:moveTo>
                    <a:pt x="39085" y="0"/>
                  </a:moveTo>
                  <a:cubicBezTo>
                    <a:pt x="60662" y="0"/>
                    <a:pt x="78158" y="17499"/>
                    <a:pt x="78158" y="39087"/>
                  </a:cubicBezTo>
                  <a:cubicBezTo>
                    <a:pt x="78158" y="60673"/>
                    <a:pt x="60662" y="78173"/>
                    <a:pt x="39085" y="78173"/>
                  </a:cubicBezTo>
                  <a:cubicBezTo>
                    <a:pt x="17507" y="78173"/>
                    <a:pt x="0" y="60673"/>
                    <a:pt x="0" y="39087"/>
                  </a:cubicBezTo>
                  <a:cubicBezTo>
                    <a:pt x="0" y="17499"/>
                    <a:pt x="17507" y="0"/>
                    <a:pt x="39085" y="0"/>
                  </a:cubicBezTo>
                  <a:close/>
                </a:path>
              </a:pathLst>
            </a:custGeom>
            <a:solidFill>
              <a:schemeClr val="accent3"/>
            </a:solidFill>
            <a:ln w="0">
              <a:noFill/>
              <a:prstDash val="solid"/>
              <a:round/>
              <a:headEnd/>
              <a:tailEnd/>
            </a:ln>
          </p:spPr>
          <p:txBody>
            <a:bodyPr vert="horz" wrap="square" lIns="93260" tIns="46630" rIns="93260" bIns="46630" numCol="1" anchor="t" anchorCtr="0" compatLnSpc="1">
              <a:prstTxWarp prst="textNoShape">
                <a:avLst/>
              </a:prstTxWarp>
              <a:noAutofit/>
            </a:bodyPr>
            <a:lstStyle/>
            <a:p>
              <a:endParaRPr lang="en-US" sz="1836"/>
            </a:p>
          </p:txBody>
        </p:sp>
        <p:sp>
          <p:nvSpPr>
            <p:cNvPr id="439" name="Freeform: Shape 264"/>
            <p:cNvSpPr>
              <a:spLocks/>
            </p:cNvSpPr>
            <p:nvPr/>
          </p:nvSpPr>
          <p:spPr bwMode="auto">
            <a:xfrm>
              <a:off x="7552504" y="2914996"/>
              <a:ext cx="78172" cy="78172"/>
            </a:xfrm>
            <a:custGeom>
              <a:avLst/>
              <a:gdLst>
                <a:gd name="connsiteX0" fmla="*/ 39083 w 78172"/>
                <a:gd name="connsiteY0" fmla="*/ 0 h 78172"/>
                <a:gd name="connsiteX1" fmla="*/ 78172 w 78172"/>
                <a:gd name="connsiteY1" fmla="*/ 39087 h 78172"/>
                <a:gd name="connsiteX2" fmla="*/ 39083 w 78172"/>
                <a:gd name="connsiteY2" fmla="*/ 78172 h 78172"/>
                <a:gd name="connsiteX3" fmla="*/ 0 w 78172"/>
                <a:gd name="connsiteY3" fmla="*/ 39087 h 78172"/>
                <a:gd name="connsiteX4" fmla="*/ 39083 w 78172"/>
                <a:gd name="connsiteY4" fmla="*/ 0 h 781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2" h="78172">
                  <a:moveTo>
                    <a:pt x="39083" y="0"/>
                  </a:moveTo>
                  <a:cubicBezTo>
                    <a:pt x="60667" y="0"/>
                    <a:pt x="78172" y="17502"/>
                    <a:pt x="78172" y="39087"/>
                  </a:cubicBezTo>
                  <a:cubicBezTo>
                    <a:pt x="78172" y="60674"/>
                    <a:pt x="60667" y="78172"/>
                    <a:pt x="39083" y="78172"/>
                  </a:cubicBezTo>
                  <a:cubicBezTo>
                    <a:pt x="17498" y="78172"/>
                    <a:pt x="0" y="60674"/>
                    <a:pt x="0" y="39087"/>
                  </a:cubicBezTo>
                  <a:cubicBezTo>
                    <a:pt x="0" y="17502"/>
                    <a:pt x="17498" y="0"/>
                    <a:pt x="39083" y="0"/>
                  </a:cubicBezTo>
                  <a:close/>
                </a:path>
              </a:pathLst>
            </a:custGeom>
            <a:solidFill>
              <a:schemeClr val="accent3"/>
            </a:solidFill>
            <a:ln w="0">
              <a:noFill/>
              <a:prstDash val="solid"/>
              <a:round/>
              <a:headEnd/>
              <a:tailEnd/>
            </a:ln>
          </p:spPr>
          <p:txBody>
            <a:bodyPr vert="horz" wrap="square" lIns="93260" tIns="46630" rIns="93260" bIns="46630" numCol="1" anchor="t" anchorCtr="0" compatLnSpc="1">
              <a:prstTxWarp prst="textNoShape">
                <a:avLst/>
              </a:prstTxWarp>
              <a:noAutofit/>
            </a:bodyPr>
            <a:lstStyle/>
            <a:p>
              <a:endParaRPr lang="en-US" sz="1836"/>
            </a:p>
          </p:txBody>
        </p:sp>
        <p:sp>
          <p:nvSpPr>
            <p:cNvPr id="440" name="Freeform: Shape 265"/>
            <p:cNvSpPr>
              <a:spLocks/>
            </p:cNvSpPr>
            <p:nvPr/>
          </p:nvSpPr>
          <p:spPr bwMode="auto">
            <a:xfrm>
              <a:off x="7836438" y="2914996"/>
              <a:ext cx="78171" cy="78172"/>
            </a:xfrm>
            <a:custGeom>
              <a:avLst/>
              <a:gdLst>
                <a:gd name="connsiteX0" fmla="*/ 39080 w 78171"/>
                <a:gd name="connsiteY0" fmla="*/ 0 h 78172"/>
                <a:gd name="connsiteX1" fmla="*/ 78171 w 78171"/>
                <a:gd name="connsiteY1" fmla="*/ 39087 h 78172"/>
                <a:gd name="connsiteX2" fmla="*/ 39080 w 78171"/>
                <a:gd name="connsiteY2" fmla="*/ 78172 h 78172"/>
                <a:gd name="connsiteX3" fmla="*/ 0 w 78171"/>
                <a:gd name="connsiteY3" fmla="*/ 39087 h 78172"/>
                <a:gd name="connsiteX4" fmla="*/ 39080 w 78171"/>
                <a:gd name="connsiteY4" fmla="*/ 0 h 781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1" h="78172">
                  <a:moveTo>
                    <a:pt x="39080" y="0"/>
                  </a:moveTo>
                  <a:cubicBezTo>
                    <a:pt x="60668" y="0"/>
                    <a:pt x="78171" y="17502"/>
                    <a:pt x="78171" y="39087"/>
                  </a:cubicBezTo>
                  <a:cubicBezTo>
                    <a:pt x="78171" y="60674"/>
                    <a:pt x="60668" y="78172"/>
                    <a:pt x="39080" y="78172"/>
                  </a:cubicBezTo>
                  <a:cubicBezTo>
                    <a:pt x="17496" y="78172"/>
                    <a:pt x="0" y="60674"/>
                    <a:pt x="0" y="39087"/>
                  </a:cubicBezTo>
                  <a:cubicBezTo>
                    <a:pt x="0" y="17502"/>
                    <a:pt x="17496" y="0"/>
                    <a:pt x="39080" y="0"/>
                  </a:cubicBezTo>
                  <a:close/>
                </a:path>
              </a:pathLst>
            </a:custGeom>
            <a:solidFill>
              <a:schemeClr val="accent3"/>
            </a:solidFill>
            <a:ln w="0">
              <a:noFill/>
              <a:prstDash val="solid"/>
              <a:round/>
              <a:headEnd/>
              <a:tailEnd/>
            </a:ln>
          </p:spPr>
          <p:txBody>
            <a:bodyPr vert="horz" wrap="square" lIns="93260" tIns="46630" rIns="93260" bIns="46630" numCol="1" anchor="t" anchorCtr="0" compatLnSpc="1">
              <a:prstTxWarp prst="textNoShape">
                <a:avLst/>
              </a:prstTxWarp>
              <a:noAutofit/>
            </a:bodyPr>
            <a:lstStyle/>
            <a:p>
              <a:endParaRPr lang="en-US" sz="1836"/>
            </a:p>
          </p:txBody>
        </p:sp>
        <p:sp>
          <p:nvSpPr>
            <p:cNvPr id="441" name="Freeform: Shape 266"/>
            <p:cNvSpPr>
              <a:spLocks/>
            </p:cNvSpPr>
            <p:nvPr/>
          </p:nvSpPr>
          <p:spPr bwMode="auto">
            <a:xfrm>
              <a:off x="8491709" y="2914996"/>
              <a:ext cx="78198" cy="78172"/>
            </a:xfrm>
            <a:custGeom>
              <a:avLst/>
              <a:gdLst>
                <a:gd name="connsiteX0" fmla="*/ 39098 w 78198"/>
                <a:gd name="connsiteY0" fmla="*/ 0 h 78172"/>
                <a:gd name="connsiteX1" fmla="*/ 78198 w 78198"/>
                <a:gd name="connsiteY1" fmla="*/ 39087 h 78172"/>
                <a:gd name="connsiteX2" fmla="*/ 39098 w 78198"/>
                <a:gd name="connsiteY2" fmla="*/ 78172 h 78172"/>
                <a:gd name="connsiteX3" fmla="*/ 0 w 78198"/>
                <a:gd name="connsiteY3" fmla="*/ 39087 h 78172"/>
                <a:gd name="connsiteX4" fmla="*/ 39098 w 78198"/>
                <a:gd name="connsiteY4" fmla="*/ 0 h 781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98" h="78172">
                  <a:moveTo>
                    <a:pt x="39098" y="0"/>
                  </a:moveTo>
                  <a:cubicBezTo>
                    <a:pt x="60690" y="0"/>
                    <a:pt x="78198" y="17501"/>
                    <a:pt x="78198" y="39087"/>
                  </a:cubicBezTo>
                  <a:cubicBezTo>
                    <a:pt x="78198" y="60674"/>
                    <a:pt x="60690" y="78172"/>
                    <a:pt x="39098" y="78172"/>
                  </a:cubicBezTo>
                  <a:cubicBezTo>
                    <a:pt x="17503" y="78172"/>
                    <a:pt x="0" y="60674"/>
                    <a:pt x="0" y="39087"/>
                  </a:cubicBezTo>
                  <a:cubicBezTo>
                    <a:pt x="0" y="17501"/>
                    <a:pt x="17503" y="0"/>
                    <a:pt x="39098" y="0"/>
                  </a:cubicBezTo>
                  <a:close/>
                </a:path>
              </a:pathLst>
            </a:custGeom>
            <a:solidFill>
              <a:schemeClr val="accent3"/>
            </a:solidFill>
            <a:ln w="0">
              <a:noFill/>
              <a:prstDash val="solid"/>
              <a:round/>
              <a:headEnd/>
              <a:tailEnd/>
            </a:ln>
          </p:spPr>
          <p:txBody>
            <a:bodyPr vert="horz" wrap="square" lIns="93260" tIns="46630" rIns="93260" bIns="46630" numCol="1" anchor="t" anchorCtr="0" compatLnSpc="1">
              <a:prstTxWarp prst="textNoShape">
                <a:avLst/>
              </a:prstTxWarp>
              <a:noAutofit/>
            </a:bodyPr>
            <a:lstStyle/>
            <a:p>
              <a:endParaRPr lang="en-US" sz="1836"/>
            </a:p>
          </p:txBody>
        </p:sp>
        <p:sp>
          <p:nvSpPr>
            <p:cNvPr id="442" name="Freeform: Shape 267"/>
            <p:cNvSpPr>
              <a:spLocks/>
            </p:cNvSpPr>
            <p:nvPr/>
          </p:nvSpPr>
          <p:spPr bwMode="auto">
            <a:xfrm>
              <a:off x="8678634" y="2914996"/>
              <a:ext cx="78181" cy="78172"/>
            </a:xfrm>
            <a:custGeom>
              <a:avLst/>
              <a:gdLst>
                <a:gd name="connsiteX0" fmla="*/ 39087 w 78181"/>
                <a:gd name="connsiteY0" fmla="*/ 0 h 78172"/>
                <a:gd name="connsiteX1" fmla="*/ 78181 w 78181"/>
                <a:gd name="connsiteY1" fmla="*/ 39086 h 78172"/>
                <a:gd name="connsiteX2" fmla="*/ 39087 w 78181"/>
                <a:gd name="connsiteY2" fmla="*/ 78172 h 78172"/>
                <a:gd name="connsiteX3" fmla="*/ 0 w 78181"/>
                <a:gd name="connsiteY3" fmla="*/ 39086 h 78172"/>
                <a:gd name="connsiteX4" fmla="*/ 39087 w 78181"/>
                <a:gd name="connsiteY4" fmla="*/ 0 h 781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81" h="78172">
                  <a:moveTo>
                    <a:pt x="39087" y="0"/>
                  </a:moveTo>
                  <a:cubicBezTo>
                    <a:pt x="60677" y="0"/>
                    <a:pt x="78181" y="17501"/>
                    <a:pt x="78181" y="39086"/>
                  </a:cubicBezTo>
                  <a:cubicBezTo>
                    <a:pt x="78181" y="60674"/>
                    <a:pt x="60677" y="78172"/>
                    <a:pt x="39087" y="78172"/>
                  </a:cubicBezTo>
                  <a:cubicBezTo>
                    <a:pt x="17495" y="78172"/>
                    <a:pt x="0" y="60674"/>
                    <a:pt x="0" y="39086"/>
                  </a:cubicBezTo>
                  <a:cubicBezTo>
                    <a:pt x="0" y="17501"/>
                    <a:pt x="17495" y="0"/>
                    <a:pt x="39087" y="0"/>
                  </a:cubicBezTo>
                  <a:close/>
                </a:path>
              </a:pathLst>
            </a:custGeom>
            <a:solidFill>
              <a:schemeClr val="accent3"/>
            </a:solidFill>
            <a:ln w="0">
              <a:noFill/>
              <a:prstDash val="solid"/>
              <a:round/>
              <a:headEnd/>
              <a:tailEnd/>
            </a:ln>
          </p:spPr>
          <p:txBody>
            <a:bodyPr vert="horz" wrap="square" lIns="93260" tIns="46630" rIns="93260" bIns="46630" numCol="1" anchor="t" anchorCtr="0" compatLnSpc="1">
              <a:prstTxWarp prst="textNoShape">
                <a:avLst/>
              </a:prstTxWarp>
              <a:noAutofit/>
            </a:bodyPr>
            <a:lstStyle/>
            <a:p>
              <a:endParaRPr lang="en-US" sz="1836"/>
            </a:p>
          </p:txBody>
        </p:sp>
        <p:sp>
          <p:nvSpPr>
            <p:cNvPr id="443" name="Freeform: Shape 268"/>
            <p:cNvSpPr>
              <a:spLocks/>
            </p:cNvSpPr>
            <p:nvPr/>
          </p:nvSpPr>
          <p:spPr bwMode="auto">
            <a:xfrm>
              <a:off x="7739441" y="3004900"/>
              <a:ext cx="78157" cy="78180"/>
            </a:xfrm>
            <a:custGeom>
              <a:avLst/>
              <a:gdLst>
                <a:gd name="connsiteX0" fmla="*/ 39083 w 78157"/>
                <a:gd name="connsiteY0" fmla="*/ 0 h 78180"/>
                <a:gd name="connsiteX1" fmla="*/ 78157 w 78157"/>
                <a:gd name="connsiteY1" fmla="*/ 39085 h 78180"/>
                <a:gd name="connsiteX2" fmla="*/ 39083 w 78157"/>
                <a:gd name="connsiteY2" fmla="*/ 78180 h 78180"/>
                <a:gd name="connsiteX3" fmla="*/ 0 w 78157"/>
                <a:gd name="connsiteY3" fmla="*/ 39085 h 78180"/>
                <a:gd name="connsiteX4" fmla="*/ 39083 w 78157"/>
                <a:gd name="connsiteY4" fmla="*/ 0 h 781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57" h="78180">
                  <a:moveTo>
                    <a:pt x="39083" y="0"/>
                  </a:moveTo>
                  <a:cubicBezTo>
                    <a:pt x="60671" y="0"/>
                    <a:pt x="78157" y="17500"/>
                    <a:pt x="78157" y="39085"/>
                  </a:cubicBezTo>
                  <a:cubicBezTo>
                    <a:pt x="78157" y="60673"/>
                    <a:pt x="60671" y="78180"/>
                    <a:pt x="39083" y="78180"/>
                  </a:cubicBezTo>
                  <a:cubicBezTo>
                    <a:pt x="17492" y="78180"/>
                    <a:pt x="0" y="60673"/>
                    <a:pt x="0" y="39085"/>
                  </a:cubicBezTo>
                  <a:cubicBezTo>
                    <a:pt x="0" y="17500"/>
                    <a:pt x="17492" y="0"/>
                    <a:pt x="39083" y="0"/>
                  </a:cubicBezTo>
                  <a:close/>
                </a:path>
              </a:pathLst>
            </a:custGeom>
            <a:solidFill>
              <a:schemeClr val="accent3"/>
            </a:solidFill>
            <a:ln w="0">
              <a:noFill/>
              <a:prstDash val="solid"/>
              <a:round/>
              <a:headEnd/>
              <a:tailEnd/>
            </a:ln>
          </p:spPr>
          <p:txBody>
            <a:bodyPr vert="horz" wrap="square" lIns="93260" tIns="46630" rIns="93260" bIns="46630" numCol="1" anchor="t" anchorCtr="0" compatLnSpc="1">
              <a:prstTxWarp prst="textNoShape">
                <a:avLst/>
              </a:prstTxWarp>
              <a:noAutofit/>
            </a:bodyPr>
            <a:lstStyle/>
            <a:p>
              <a:endParaRPr lang="en-US" sz="1836"/>
            </a:p>
          </p:txBody>
        </p:sp>
        <p:sp>
          <p:nvSpPr>
            <p:cNvPr id="444" name="Freeform: Shape 269"/>
            <p:cNvSpPr>
              <a:spLocks/>
            </p:cNvSpPr>
            <p:nvPr/>
          </p:nvSpPr>
          <p:spPr bwMode="auto">
            <a:xfrm>
              <a:off x="8397089" y="3004900"/>
              <a:ext cx="78158" cy="78180"/>
            </a:xfrm>
            <a:custGeom>
              <a:avLst/>
              <a:gdLst>
                <a:gd name="connsiteX0" fmla="*/ 39085 w 78158"/>
                <a:gd name="connsiteY0" fmla="*/ 0 h 78180"/>
                <a:gd name="connsiteX1" fmla="*/ 78158 w 78158"/>
                <a:gd name="connsiteY1" fmla="*/ 39085 h 78180"/>
                <a:gd name="connsiteX2" fmla="*/ 39085 w 78158"/>
                <a:gd name="connsiteY2" fmla="*/ 78180 h 78180"/>
                <a:gd name="connsiteX3" fmla="*/ 0 w 78158"/>
                <a:gd name="connsiteY3" fmla="*/ 39085 h 78180"/>
                <a:gd name="connsiteX4" fmla="*/ 39085 w 78158"/>
                <a:gd name="connsiteY4" fmla="*/ 0 h 781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58" h="78180">
                  <a:moveTo>
                    <a:pt x="39085" y="0"/>
                  </a:moveTo>
                  <a:cubicBezTo>
                    <a:pt x="60662" y="0"/>
                    <a:pt x="78158" y="17500"/>
                    <a:pt x="78158" y="39085"/>
                  </a:cubicBezTo>
                  <a:cubicBezTo>
                    <a:pt x="78158" y="60673"/>
                    <a:pt x="60662" y="78180"/>
                    <a:pt x="39085" y="78180"/>
                  </a:cubicBezTo>
                  <a:cubicBezTo>
                    <a:pt x="17507" y="78180"/>
                    <a:pt x="0" y="60673"/>
                    <a:pt x="0" y="39085"/>
                  </a:cubicBezTo>
                  <a:cubicBezTo>
                    <a:pt x="0" y="17500"/>
                    <a:pt x="17507" y="0"/>
                    <a:pt x="39085" y="0"/>
                  </a:cubicBezTo>
                  <a:close/>
                </a:path>
              </a:pathLst>
            </a:custGeom>
            <a:solidFill>
              <a:schemeClr val="accent3"/>
            </a:solidFill>
            <a:ln w="0">
              <a:noFill/>
              <a:prstDash val="solid"/>
              <a:round/>
              <a:headEnd/>
              <a:tailEnd/>
            </a:ln>
          </p:spPr>
          <p:txBody>
            <a:bodyPr vert="horz" wrap="square" lIns="93260" tIns="46630" rIns="93260" bIns="46630" numCol="1" anchor="t" anchorCtr="0" compatLnSpc="1">
              <a:prstTxWarp prst="textNoShape">
                <a:avLst/>
              </a:prstTxWarp>
              <a:noAutofit/>
            </a:bodyPr>
            <a:lstStyle/>
            <a:p>
              <a:endParaRPr lang="en-US" sz="1836"/>
            </a:p>
          </p:txBody>
        </p:sp>
        <p:sp>
          <p:nvSpPr>
            <p:cNvPr id="445" name="Freeform: Shape 270"/>
            <p:cNvSpPr>
              <a:spLocks/>
            </p:cNvSpPr>
            <p:nvPr/>
          </p:nvSpPr>
          <p:spPr bwMode="auto">
            <a:xfrm>
              <a:off x="8491709" y="3004900"/>
              <a:ext cx="78198" cy="78180"/>
            </a:xfrm>
            <a:custGeom>
              <a:avLst/>
              <a:gdLst>
                <a:gd name="connsiteX0" fmla="*/ 39098 w 78198"/>
                <a:gd name="connsiteY0" fmla="*/ 0 h 78180"/>
                <a:gd name="connsiteX1" fmla="*/ 78198 w 78198"/>
                <a:gd name="connsiteY1" fmla="*/ 39085 h 78180"/>
                <a:gd name="connsiteX2" fmla="*/ 39098 w 78198"/>
                <a:gd name="connsiteY2" fmla="*/ 78180 h 78180"/>
                <a:gd name="connsiteX3" fmla="*/ 0 w 78198"/>
                <a:gd name="connsiteY3" fmla="*/ 39085 h 78180"/>
                <a:gd name="connsiteX4" fmla="*/ 39098 w 78198"/>
                <a:gd name="connsiteY4" fmla="*/ 0 h 781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98" h="78180">
                  <a:moveTo>
                    <a:pt x="39098" y="0"/>
                  </a:moveTo>
                  <a:cubicBezTo>
                    <a:pt x="60690" y="0"/>
                    <a:pt x="78198" y="17500"/>
                    <a:pt x="78198" y="39085"/>
                  </a:cubicBezTo>
                  <a:cubicBezTo>
                    <a:pt x="78198" y="60673"/>
                    <a:pt x="60690" y="78180"/>
                    <a:pt x="39098" y="78180"/>
                  </a:cubicBezTo>
                  <a:cubicBezTo>
                    <a:pt x="17503" y="78180"/>
                    <a:pt x="0" y="60673"/>
                    <a:pt x="0" y="39085"/>
                  </a:cubicBezTo>
                  <a:cubicBezTo>
                    <a:pt x="0" y="17500"/>
                    <a:pt x="17503" y="0"/>
                    <a:pt x="39098" y="0"/>
                  </a:cubicBezTo>
                  <a:close/>
                </a:path>
              </a:pathLst>
            </a:custGeom>
            <a:solidFill>
              <a:schemeClr val="accent3"/>
            </a:solidFill>
            <a:ln w="0">
              <a:noFill/>
              <a:prstDash val="solid"/>
              <a:round/>
              <a:headEnd/>
              <a:tailEnd/>
            </a:ln>
          </p:spPr>
          <p:txBody>
            <a:bodyPr vert="horz" wrap="square" lIns="93260" tIns="46630" rIns="93260" bIns="46630" numCol="1" anchor="t" anchorCtr="0" compatLnSpc="1">
              <a:prstTxWarp prst="textNoShape">
                <a:avLst/>
              </a:prstTxWarp>
              <a:noAutofit/>
            </a:bodyPr>
            <a:lstStyle/>
            <a:p>
              <a:endParaRPr lang="en-US" sz="1836"/>
            </a:p>
          </p:txBody>
        </p:sp>
        <p:sp>
          <p:nvSpPr>
            <p:cNvPr id="446" name="Freeform: Shape 271"/>
            <p:cNvSpPr>
              <a:spLocks/>
            </p:cNvSpPr>
            <p:nvPr/>
          </p:nvSpPr>
          <p:spPr bwMode="auto">
            <a:xfrm>
              <a:off x="9338735" y="3004900"/>
              <a:ext cx="78174" cy="78180"/>
            </a:xfrm>
            <a:custGeom>
              <a:avLst/>
              <a:gdLst>
                <a:gd name="connsiteX0" fmla="*/ 39087 w 78174"/>
                <a:gd name="connsiteY0" fmla="*/ 0 h 78180"/>
                <a:gd name="connsiteX1" fmla="*/ 78174 w 78174"/>
                <a:gd name="connsiteY1" fmla="*/ 39085 h 78180"/>
                <a:gd name="connsiteX2" fmla="*/ 39087 w 78174"/>
                <a:gd name="connsiteY2" fmla="*/ 78180 h 78180"/>
                <a:gd name="connsiteX3" fmla="*/ 0 w 78174"/>
                <a:gd name="connsiteY3" fmla="*/ 39085 h 78180"/>
                <a:gd name="connsiteX4" fmla="*/ 39087 w 78174"/>
                <a:gd name="connsiteY4" fmla="*/ 0 h 781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80">
                  <a:moveTo>
                    <a:pt x="39087" y="0"/>
                  </a:moveTo>
                  <a:cubicBezTo>
                    <a:pt x="60674" y="0"/>
                    <a:pt x="78174" y="17500"/>
                    <a:pt x="78174" y="39085"/>
                  </a:cubicBezTo>
                  <a:cubicBezTo>
                    <a:pt x="78174" y="60673"/>
                    <a:pt x="60674" y="78180"/>
                    <a:pt x="39087" y="78180"/>
                  </a:cubicBezTo>
                  <a:cubicBezTo>
                    <a:pt x="17500" y="78180"/>
                    <a:pt x="0" y="60673"/>
                    <a:pt x="0" y="39085"/>
                  </a:cubicBezTo>
                  <a:cubicBezTo>
                    <a:pt x="0" y="17500"/>
                    <a:pt x="17500" y="0"/>
                    <a:pt x="39087" y="0"/>
                  </a:cubicBezTo>
                  <a:close/>
                </a:path>
              </a:pathLst>
            </a:custGeom>
            <a:solidFill>
              <a:schemeClr val="accent3"/>
            </a:solidFill>
            <a:ln w="0">
              <a:noFill/>
              <a:prstDash val="solid"/>
              <a:round/>
              <a:headEnd/>
              <a:tailEnd/>
            </a:ln>
          </p:spPr>
          <p:txBody>
            <a:bodyPr vert="horz" wrap="square" lIns="93260" tIns="46630" rIns="93260" bIns="46630" numCol="1" anchor="t" anchorCtr="0" compatLnSpc="1">
              <a:prstTxWarp prst="textNoShape">
                <a:avLst/>
              </a:prstTxWarp>
              <a:noAutofit/>
            </a:bodyPr>
            <a:lstStyle/>
            <a:p>
              <a:endParaRPr lang="en-US" sz="1836"/>
            </a:p>
          </p:txBody>
        </p:sp>
        <p:sp>
          <p:nvSpPr>
            <p:cNvPr id="447" name="Freeform: Shape 272"/>
            <p:cNvSpPr>
              <a:spLocks/>
            </p:cNvSpPr>
            <p:nvPr/>
          </p:nvSpPr>
          <p:spPr bwMode="auto">
            <a:xfrm>
              <a:off x="7176354" y="3087715"/>
              <a:ext cx="78178" cy="78171"/>
            </a:xfrm>
            <a:custGeom>
              <a:avLst/>
              <a:gdLst>
                <a:gd name="connsiteX0" fmla="*/ 39077 w 78178"/>
                <a:gd name="connsiteY0" fmla="*/ 0 h 78171"/>
                <a:gd name="connsiteX1" fmla="*/ 78178 w 78178"/>
                <a:gd name="connsiteY1" fmla="*/ 39086 h 78171"/>
                <a:gd name="connsiteX2" fmla="*/ 39077 w 78178"/>
                <a:gd name="connsiteY2" fmla="*/ 78171 h 78171"/>
                <a:gd name="connsiteX3" fmla="*/ 0 w 78178"/>
                <a:gd name="connsiteY3" fmla="*/ 39086 h 78171"/>
                <a:gd name="connsiteX4" fmla="*/ 39077 w 78178"/>
                <a:gd name="connsiteY4" fmla="*/ 0 h 781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8" h="78171">
                  <a:moveTo>
                    <a:pt x="39077" y="0"/>
                  </a:moveTo>
                  <a:cubicBezTo>
                    <a:pt x="60680" y="0"/>
                    <a:pt x="78178" y="17499"/>
                    <a:pt x="78178" y="39086"/>
                  </a:cubicBezTo>
                  <a:cubicBezTo>
                    <a:pt x="78178" y="60672"/>
                    <a:pt x="60680" y="78171"/>
                    <a:pt x="39077" y="78171"/>
                  </a:cubicBezTo>
                  <a:cubicBezTo>
                    <a:pt x="17504" y="78171"/>
                    <a:pt x="0" y="60672"/>
                    <a:pt x="0" y="39086"/>
                  </a:cubicBezTo>
                  <a:cubicBezTo>
                    <a:pt x="0" y="17499"/>
                    <a:pt x="17504" y="0"/>
                    <a:pt x="39077" y="0"/>
                  </a:cubicBezTo>
                  <a:close/>
                </a:path>
              </a:pathLst>
            </a:custGeom>
            <a:solidFill>
              <a:schemeClr val="accent3"/>
            </a:solidFill>
            <a:ln w="0">
              <a:noFill/>
              <a:prstDash val="solid"/>
              <a:round/>
              <a:headEnd/>
              <a:tailEnd/>
            </a:ln>
          </p:spPr>
          <p:txBody>
            <a:bodyPr vert="horz" wrap="square" lIns="93260" tIns="46630" rIns="93260" bIns="46630" numCol="1" anchor="t" anchorCtr="0" compatLnSpc="1">
              <a:prstTxWarp prst="textNoShape">
                <a:avLst/>
              </a:prstTxWarp>
              <a:noAutofit/>
            </a:bodyPr>
            <a:lstStyle/>
            <a:p>
              <a:endParaRPr lang="en-US" sz="1836"/>
            </a:p>
          </p:txBody>
        </p:sp>
        <p:sp>
          <p:nvSpPr>
            <p:cNvPr id="448" name="Freeform: Shape 273"/>
            <p:cNvSpPr>
              <a:spLocks/>
            </p:cNvSpPr>
            <p:nvPr/>
          </p:nvSpPr>
          <p:spPr bwMode="auto">
            <a:xfrm>
              <a:off x="7270995" y="3087715"/>
              <a:ext cx="78165" cy="78171"/>
            </a:xfrm>
            <a:custGeom>
              <a:avLst/>
              <a:gdLst>
                <a:gd name="connsiteX0" fmla="*/ 39082 w 78165"/>
                <a:gd name="connsiteY0" fmla="*/ 0 h 78171"/>
                <a:gd name="connsiteX1" fmla="*/ 78165 w 78165"/>
                <a:gd name="connsiteY1" fmla="*/ 39086 h 78171"/>
                <a:gd name="connsiteX2" fmla="*/ 39082 w 78165"/>
                <a:gd name="connsiteY2" fmla="*/ 78171 h 78171"/>
                <a:gd name="connsiteX3" fmla="*/ 0 w 78165"/>
                <a:gd name="connsiteY3" fmla="*/ 39086 h 78171"/>
                <a:gd name="connsiteX4" fmla="*/ 39082 w 78165"/>
                <a:gd name="connsiteY4" fmla="*/ 0 h 781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65" h="78171">
                  <a:moveTo>
                    <a:pt x="39082" y="0"/>
                  </a:moveTo>
                  <a:cubicBezTo>
                    <a:pt x="60665" y="0"/>
                    <a:pt x="78165" y="17499"/>
                    <a:pt x="78165" y="39086"/>
                  </a:cubicBezTo>
                  <a:cubicBezTo>
                    <a:pt x="78165" y="60672"/>
                    <a:pt x="60665" y="78171"/>
                    <a:pt x="39082" y="78171"/>
                  </a:cubicBezTo>
                  <a:cubicBezTo>
                    <a:pt x="17490" y="78171"/>
                    <a:pt x="0" y="60672"/>
                    <a:pt x="0" y="39086"/>
                  </a:cubicBezTo>
                  <a:cubicBezTo>
                    <a:pt x="0" y="17499"/>
                    <a:pt x="17490" y="0"/>
                    <a:pt x="39082" y="0"/>
                  </a:cubicBezTo>
                  <a:close/>
                </a:path>
              </a:pathLst>
            </a:custGeom>
            <a:solidFill>
              <a:schemeClr val="accent3"/>
            </a:solidFill>
            <a:ln w="0">
              <a:noFill/>
              <a:prstDash val="solid"/>
              <a:round/>
              <a:headEnd/>
              <a:tailEnd/>
            </a:ln>
          </p:spPr>
          <p:txBody>
            <a:bodyPr vert="horz" wrap="square" lIns="93260" tIns="46630" rIns="93260" bIns="46630" numCol="1" anchor="t" anchorCtr="0" compatLnSpc="1">
              <a:prstTxWarp prst="textNoShape">
                <a:avLst/>
              </a:prstTxWarp>
              <a:noAutofit/>
            </a:bodyPr>
            <a:lstStyle/>
            <a:p>
              <a:endParaRPr lang="en-US" sz="1836"/>
            </a:p>
          </p:txBody>
        </p:sp>
        <p:sp>
          <p:nvSpPr>
            <p:cNvPr id="449" name="Freeform: Shape 274"/>
            <p:cNvSpPr>
              <a:spLocks/>
            </p:cNvSpPr>
            <p:nvPr/>
          </p:nvSpPr>
          <p:spPr bwMode="auto">
            <a:xfrm>
              <a:off x="7363256" y="3087715"/>
              <a:ext cx="78160" cy="78171"/>
            </a:xfrm>
            <a:custGeom>
              <a:avLst/>
              <a:gdLst>
                <a:gd name="connsiteX0" fmla="*/ 39081 w 78160"/>
                <a:gd name="connsiteY0" fmla="*/ 0 h 78171"/>
                <a:gd name="connsiteX1" fmla="*/ 78160 w 78160"/>
                <a:gd name="connsiteY1" fmla="*/ 39086 h 78171"/>
                <a:gd name="connsiteX2" fmla="*/ 39081 w 78160"/>
                <a:gd name="connsiteY2" fmla="*/ 78171 h 78171"/>
                <a:gd name="connsiteX3" fmla="*/ 0 w 78160"/>
                <a:gd name="connsiteY3" fmla="*/ 39086 h 78171"/>
                <a:gd name="connsiteX4" fmla="*/ 39081 w 78160"/>
                <a:gd name="connsiteY4" fmla="*/ 0 h 781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60" h="78171">
                  <a:moveTo>
                    <a:pt x="39081" y="0"/>
                  </a:moveTo>
                  <a:cubicBezTo>
                    <a:pt x="60664" y="0"/>
                    <a:pt x="78160" y="17499"/>
                    <a:pt x="78160" y="39086"/>
                  </a:cubicBezTo>
                  <a:cubicBezTo>
                    <a:pt x="78160" y="60672"/>
                    <a:pt x="60664" y="78171"/>
                    <a:pt x="39081" y="78171"/>
                  </a:cubicBezTo>
                  <a:cubicBezTo>
                    <a:pt x="17497" y="78171"/>
                    <a:pt x="0" y="60672"/>
                    <a:pt x="0" y="39086"/>
                  </a:cubicBezTo>
                  <a:cubicBezTo>
                    <a:pt x="0" y="17499"/>
                    <a:pt x="17497" y="0"/>
                    <a:pt x="39081" y="0"/>
                  </a:cubicBezTo>
                  <a:close/>
                </a:path>
              </a:pathLst>
            </a:custGeom>
            <a:solidFill>
              <a:schemeClr val="accent3"/>
            </a:solidFill>
            <a:ln w="0">
              <a:noFill/>
              <a:prstDash val="solid"/>
              <a:round/>
              <a:headEnd/>
              <a:tailEnd/>
            </a:ln>
          </p:spPr>
          <p:txBody>
            <a:bodyPr vert="horz" wrap="square" lIns="93260" tIns="46630" rIns="93260" bIns="46630" numCol="1" anchor="t" anchorCtr="0" compatLnSpc="1">
              <a:prstTxWarp prst="textNoShape">
                <a:avLst/>
              </a:prstTxWarp>
              <a:noAutofit/>
            </a:bodyPr>
            <a:lstStyle/>
            <a:p>
              <a:endParaRPr lang="en-US" sz="1836"/>
            </a:p>
          </p:txBody>
        </p:sp>
        <p:sp>
          <p:nvSpPr>
            <p:cNvPr id="450" name="Freeform: Shape 275"/>
            <p:cNvSpPr>
              <a:spLocks/>
            </p:cNvSpPr>
            <p:nvPr/>
          </p:nvSpPr>
          <p:spPr bwMode="auto">
            <a:xfrm>
              <a:off x="7926335" y="3087715"/>
              <a:ext cx="78188" cy="78171"/>
            </a:xfrm>
            <a:custGeom>
              <a:avLst/>
              <a:gdLst>
                <a:gd name="connsiteX0" fmla="*/ 39096 w 78188"/>
                <a:gd name="connsiteY0" fmla="*/ 0 h 78171"/>
                <a:gd name="connsiteX1" fmla="*/ 78188 w 78188"/>
                <a:gd name="connsiteY1" fmla="*/ 39085 h 78171"/>
                <a:gd name="connsiteX2" fmla="*/ 39096 w 78188"/>
                <a:gd name="connsiteY2" fmla="*/ 78171 h 78171"/>
                <a:gd name="connsiteX3" fmla="*/ 0 w 78188"/>
                <a:gd name="connsiteY3" fmla="*/ 39085 h 78171"/>
                <a:gd name="connsiteX4" fmla="*/ 39096 w 78188"/>
                <a:gd name="connsiteY4" fmla="*/ 0 h 781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88" h="78171">
                  <a:moveTo>
                    <a:pt x="39096" y="0"/>
                  </a:moveTo>
                  <a:cubicBezTo>
                    <a:pt x="60682" y="0"/>
                    <a:pt x="78188" y="17499"/>
                    <a:pt x="78188" y="39085"/>
                  </a:cubicBezTo>
                  <a:cubicBezTo>
                    <a:pt x="78188" y="60672"/>
                    <a:pt x="60682" y="78171"/>
                    <a:pt x="39096" y="78171"/>
                  </a:cubicBezTo>
                  <a:cubicBezTo>
                    <a:pt x="17502" y="78171"/>
                    <a:pt x="0" y="60672"/>
                    <a:pt x="0" y="39085"/>
                  </a:cubicBezTo>
                  <a:cubicBezTo>
                    <a:pt x="0" y="17499"/>
                    <a:pt x="17502" y="0"/>
                    <a:pt x="39096" y="0"/>
                  </a:cubicBezTo>
                  <a:close/>
                </a:path>
              </a:pathLst>
            </a:custGeom>
            <a:solidFill>
              <a:schemeClr val="accent3"/>
            </a:solidFill>
            <a:ln w="0">
              <a:noFill/>
              <a:prstDash val="solid"/>
              <a:round/>
              <a:headEnd/>
              <a:tailEnd/>
            </a:ln>
          </p:spPr>
          <p:txBody>
            <a:bodyPr vert="horz" wrap="square" lIns="93260" tIns="46630" rIns="93260" bIns="46630" numCol="1" anchor="t" anchorCtr="0" compatLnSpc="1">
              <a:prstTxWarp prst="textNoShape">
                <a:avLst/>
              </a:prstTxWarp>
              <a:noAutofit/>
            </a:bodyPr>
            <a:lstStyle/>
            <a:p>
              <a:endParaRPr lang="en-US" sz="1836"/>
            </a:p>
          </p:txBody>
        </p:sp>
        <p:sp>
          <p:nvSpPr>
            <p:cNvPr id="451" name="Freeform: Shape 276"/>
            <p:cNvSpPr>
              <a:spLocks/>
            </p:cNvSpPr>
            <p:nvPr/>
          </p:nvSpPr>
          <p:spPr bwMode="auto">
            <a:xfrm>
              <a:off x="8210185" y="3087715"/>
              <a:ext cx="78173" cy="78171"/>
            </a:xfrm>
            <a:custGeom>
              <a:avLst/>
              <a:gdLst>
                <a:gd name="connsiteX0" fmla="*/ 39084 w 78173"/>
                <a:gd name="connsiteY0" fmla="*/ 0 h 78171"/>
                <a:gd name="connsiteX1" fmla="*/ 78173 w 78173"/>
                <a:gd name="connsiteY1" fmla="*/ 39085 h 78171"/>
                <a:gd name="connsiteX2" fmla="*/ 39084 w 78173"/>
                <a:gd name="connsiteY2" fmla="*/ 78171 h 78171"/>
                <a:gd name="connsiteX3" fmla="*/ 0 w 78173"/>
                <a:gd name="connsiteY3" fmla="*/ 39085 h 78171"/>
                <a:gd name="connsiteX4" fmla="*/ 39084 w 78173"/>
                <a:gd name="connsiteY4" fmla="*/ 0 h 781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3" h="78171">
                  <a:moveTo>
                    <a:pt x="39084" y="0"/>
                  </a:moveTo>
                  <a:cubicBezTo>
                    <a:pt x="60664" y="0"/>
                    <a:pt x="78173" y="17499"/>
                    <a:pt x="78173" y="39085"/>
                  </a:cubicBezTo>
                  <a:cubicBezTo>
                    <a:pt x="78173" y="60672"/>
                    <a:pt x="60664" y="78171"/>
                    <a:pt x="39084" y="78171"/>
                  </a:cubicBezTo>
                  <a:cubicBezTo>
                    <a:pt x="17490" y="78171"/>
                    <a:pt x="0" y="60672"/>
                    <a:pt x="0" y="39085"/>
                  </a:cubicBezTo>
                  <a:cubicBezTo>
                    <a:pt x="0" y="17499"/>
                    <a:pt x="17490" y="0"/>
                    <a:pt x="39084" y="0"/>
                  </a:cubicBezTo>
                  <a:close/>
                </a:path>
              </a:pathLst>
            </a:custGeom>
            <a:solidFill>
              <a:schemeClr val="accent3"/>
            </a:solidFill>
            <a:ln w="0">
              <a:noFill/>
              <a:prstDash val="solid"/>
              <a:round/>
              <a:headEnd/>
              <a:tailEnd/>
            </a:ln>
          </p:spPr>
          <p:txBody>
            <a:bodyPr vert="horz" wrap="square" lIns="93260" tIns="46630" rIns="93260" bIns="46630" numCol="1" anchor="t" anchorCtr="0" compatLnSpc="1">
              <a:prstTxWarp prst="textNoShape">
                <a:avLst/>
              </a:prstTxWarp>
              <a:noAutofit/>
            </a:bodyPr>
            <a:lstStyle/>
            <a:p>
              <a:endParaRPr lang="en-US" sz="1836"/>
            </a:p>
          </p:txBody>
        </p:sp>
        <p:sp>
          <p:nvSpPr>
            <p:cNvPr id="452" name="Freeform: Shape 277"/>
            <p:cNvSpPr>
              <a:spLocks/>
            </p:cNvSpPr>
            <p:nvPr/>
          </p:nvSpPr>
          <p:spPr bwMode="auto">
            <a:xfrm>
              <a:off x="7457876" y="3179987"/>
              <a:ext cx="78162" cy="78175"/>
            </a:xfrm>
            <a:custGeom>
              <a:avLst/>
              <a:gdLst>
                <a:gd name="connsiteX0" fmla="*/ 39082 w 78162"/>
                <a:gd name="connsiteY0" fmla="*/ 0 h 78175"/>
                <a:gd name="connsiteX1" fmla="*/ 78162 w 78162"/>
                <a:gd name="connsiteY1" fmla="*/ 39088 h 78175"/>
                <a:gd name="connsiteX2" fmla="*/ 39082 w 78162"/>
                <a:gd name="connsiteY2" fmla="*/ 78175 h 78175"/>
                <a:gd name="connsiteX3" fmla="*/ 0 w 78162"/>
                <a:gd name="connsiteY3" fmla="*/ 39088 h 78175"/>
                <a:gd name="connsiteX4" fmla="*/ 39082 w 78162"/>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62" h="78175">
                  <a:moveTo>
                    <a:pt x="39082" y="0"/>
                  </a:moveTo>
                  <a:cubicBezTo>
                    <a:pt x="60666" y="0"/>
                    <a:pt x="78162" y="17499"/>
                    <a:pt x="78162" y="39088"/>
                  </a:cubicBezTo>
                  <a:cubicBezTo>
                    <a:pt x="78162" y="60674"/>
                    <a:pt x="60666" y="78175"/>
                    <a:pt x="39082" y="78175"/>
                  </a:cubicBezTo>
                  <a:cubicBezTo>
                    <a:pt x="17501" y="78175"/>
                    <a:pt x="0" y="60674"/>
                    <a:pt x="0" y="39088"/>
                  </a:cubicBezTo>
                  <a:cubicBezTo>
                    <a:pt x="0" y="17499"/>
                    <a:pt x="17501" y="0"/>
                    <a:pt x="39082" y="0"/>
                  </a:cubicBezTo>
                  <a:close/>
                </a:path>
              </a:pathLst>
            </a:custGeom>
            <a:solidFill>
              <a:schemeClr val="accent3"/>
            </a:solidFill>
            <a:ln w="0">
              <a:noFill/>
              <a:prstDash val="solid"/>
              <a:round/>
              <a:headEnd/>
              <a:tailEnd/>
            </a:ln>
          </p:spPr>
          <p:txBody>
            <a:bodyPr vert="horz" wrap="square" lIns="93260" tIns="46630" rIns="93260" bIns="46630" numCol="1" anchor="t" anchorCtr="0" compatLnSpc="1">
              <a:prstTxWarp prst="textNoShape">
                <a:avLst/>
              </a:prstTxWarp>
              <a:noAutofit/>
            </a:bodyPr>
            <a:lstStyle/>
            <a:p>
              <a:endParaRPr lang="en-US" sz="1836"/>
            </a:p>
          </p:txBody>
        </p:sp>
        <p:sp>
          <p:nvSpPr>
            <p:cNvPr id="453" name="Freeform: Shape 278"/>
            <p:cNvSpPr>
              <a:spLocks/>
            </p:cNvSpPr>
            <p:nvPr/>
          </p:nvSpPr>
          <p:spPr bwMode="auto">
            <a:xfrm>
              <a:off x="8397089" y="3179987"/>
              <a:ext cx="78158" cy="78175"/>
            </a:xfrm>
            <a:custGeom>
              <a:avLst/>
              <a:gdLst>
                <a:gd name="connsiteX0" fmla="*/ 39085 w 78158"/>
                <a:gd name="connsiteY0" fmla="*/ 0 h 78175"/>
                <a:gd name="connsiteX1" fmla="*/ 78158 w 78158"/>
                <a:gd name="connsiteY1" fmla="*/ 39088 h 78175"/>
                <a:gd name="connsiteX2" fmla="*/ 39085 w 78158"/>
                <a:gd name="connsiteY2" fmla="*/ 78175 h 78175"/>
                <a:gd name="connsiteX3" fmla="*/ 0 w 78158"/>
                <a:gd name="connsiteY3" fmla="*/ 39088 h 78175"/>
                <a:gd name="connsiteX4" fmla="*/ 39085 w 78158"/>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58" h="78175">
                  <a:moveTo>
                    <a:pt x="39085" y="0"/>
                  </a:moveTo>
                  <a:cubicBezTo>
                    <a:pt x="60662" y="0"/>
                    <a:pt x="78158" y="17499"/>
                    <a:pt x="78158" y="39088"/>
                  </a:cubicBezTo>
                  <a:cubicBezTo>
                    <a:pt x="78158" y="60674"/>
                    <a:pt x="60662" y="78175"/>
                    <a:pt x="39085" y="78175"/>
                  </a:cubicBezTo>
                  <a:cubicBezTo>
                    <a:pt x="17507" y="78175"/>
                    <a:pt x="0" y="60674"/>
                    <a:pt x="0" y="39088"/>
                  </a:cubicBezTo>
                  <a:cubicBezTo>
                    <a:pt x="0" y="17499"/>
                    <a:pt x="17507" y="0"/>
                    <a:pt x="39085" y="0"/>
                  </a:cubicBezTo>
                  <a:close/>
                </a:path>
              </a:pathLst>
            </a:custGeom>
            <a:solidFill>
              <a:schemeClr val="accent3"/>
            </a:solidFill>
            <a:ln w="0">
              <a:noFill/>
              <a:prstDash val="solid"/>
              <a:round/>
              <a:headEnd/>
              <a:tailEnd/>
            </a:ln>
          </p:spPr>
          <p:txBody>
            <a:bodyPr vert="horz" wrap="square" lIns="93260" tIns="46630" rIns="93260" bIns="46630" numCol="1" anchor="t" anchorCtr="0" compatLnSpc="1">
              <a:prstTxWarp prst="textNoShape">
                <a:avLst/>
              </a:prstTxWarp>
              <a:noAutofit/>
            </a:bodyPr>
            <a:lstStyle/>
            <a:p>
              <a:endParaRPr lang="en-US" sz="1836"/>
            </a:p>
          </p:txBody>
        </p:sp>
        <p:sp>
          <p:nvSpPr>
            <p:cNvPr id="454" name="Freeform: Shape 279"/>
            <p:cNvSpPr>
              <a:spLocks/>
            </p:cNvSpPr>
            <p:nvPr/>
          </p:nvSpPr>
          <p:spPr bwMode="auto">
            <a:xfrm>
              <a:off x="7176351" y="3260429"/>
              <a:ext cx="78178" cy="78175"/>
            </a:xfrm>
            <a:custGeom>
              <a:avLst/>
              <a:gdLst>
                <a:gd name="connsiteX0" fmla="*/ 39080 w 78178"/>
                <a:gd name="connsiteY0" fmla="*/ 0 h 78175"/>
                <a:gd name="connsiteX1" fmla="*/ 78178 w 78178"/>
                <a:gd name="connsiteY1" fmla="*/ 39086 h 78175"/>
                <a:gd name="connsiteX2" fmla="*/ 39080 w 78178"/>
                <a:gd name="connsiteY2" fmla="*/ 78175 h 78175"/>
                <a:gd name="connsiteX3" fmla="*/ 0 w 78178"/>
                <a:gd name="connsiteY3" fmla="*/ 39086 h 78175"/>
                <a:gd name="connsiteX4" fmla="*/ 39080 w 78178"/>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8" h="78175">
                  <a:moveTo>
                    <a:pt x="39080" y="0"/>
                  </a:moveTo>
                  <a:cubicBezTo>
                    <a:pt x="60682" y="0"/>
                    <a:pt x="78178" y="17502"/>
                    <a:pt x="78178" y="39086"/>
                  </a:cubicBezTo>
                  <a:cubicBezTo>
                    <a:pt x="78178" y="60674"/>
                    <a:pt x="60682" y="78175"/>
                    <a:pt x="39080" y="78175"/>
                  </a:cubicBezTo>
                  <a:cubicBezTo>
                    <a:pt x="17506" y="78175"/>
                    <a:pt x="0" y="60674"/>
                    <a:pt x="0" y="39086"/>
                  </a:cubicBezTo>
                  <a:cubicBezTo>
                    <a:pt x="0" y="17502"/>
                    <a:pt x="17506" y="0"/>
                    <a:pt x="39080" y="0"/>
                  </a:cubicBezTo>
                  <a:close/>
                </a:path>
              </a:pathLst>
            </a:custGeom>
            <a:solidFill>
              <a:schemeClr val="accent3"/>
            </a:solidFill>
            <a:ln w="0">
              <a:noFill/>
              <a:prstDash val="solid"/>
              <a:round/>
              <a:headEnd/>
              <a:tailEnd/>
            </a:ln>
          </p:spPr>
          <p:txBody>
            <a:bodyPr vert="horz" wrap="square" lIns="93260" tIns="46630" rIns="93260" bIns="46630" numCol="1" anchor="t" anchorCtr="0" compatLnSpc="1">
              <a:prstTxWarp prst="textNoShape">
                <a:avLst/>
              </a:prstTxWarp>
              <a:noAutofit/>
            </a:bodyPr>
            <a:lstStyle/>
            <a:p>
              <a:endParaRPr lang="en-US" sz="1836"/>
            </a:p>
          </p:txBody>
        </p:sp>
        <p:sp>
          <p:nvSpPr>
            <p:cNvPr id="455" name="Freeform: Shape 280"/>
            <p:cNvSpPr>
              <a:spLocks/>
            </p:cNvSpPr>
            <p:nvPr/>
          </p:nvSpPr>
          <p:spPr bwMode="auto">
            <a:xfrm>
              <a:off x="7552500" y="3260429"/>
              <a:ext cx="78171" cy="78175"/>
            </a:xfrm>
            <a:custGeom>
              <a:avLst/>
              <a:gdLst>
                <a:gd name="connsiteX0" fmla="*/ 39083 w 78171"/>
                <a:gd name="connsiteY0" fmla="*/ 0 h 78175"/>
                <a:gd name="connsiteX1" fmla="*/ 78171 w 78171"/>
                <a:gd name="connsiteY1" fmla="*/ 39086 h 78175"/>
                <a:gd name="connsiteX2" fmla="*/ 39083 w 78171"/>
                <a:gd name="connsiteY2" fmla="*/ 78175 h 78175"/>
                <a:gd name="connsiteX3" fmla="*/ 0 w 78171"/>
                <a:gd name="connsiteY3" fmla="*/ 39086 h 78175"/>
                <a:gd name="connsiteX4" fmla="*/ 39083 w 78171"/>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1" h="78175">
                  <a:moveTo>
                    <a:pt x="39083" y="0"/>
                  </a:moveTo>
                  <a:cubicBezTo>
                    <a:pt x="60667" y="0"/>
                    <a:pt x="78171" y="17501"/>
                    <a:pt x="78171" y="39086"/>
                  </a:cubicBezTo>
                  <a:cubicBezTo>
                    <a:pt x="78171" y="60674"/>
                    <a:pt x="60667" y="78175"/>
                    <a:pt x="39083" y="78175"/>
                  </a:cubicBezTo>
                  <a:cubicBezTo>
                    <a:pt x="17498" y="78175"/>
                    <a:pt x="0" y="60674"/>
                    <a:pt x="0" y="39086"/>
                  </a:cubicBezTo>
                  <a:cubicBezTo>
                    <a:pt x="0" y="17501"/>
                    <a:pt x="17498" y="0"/>
                    <a:pt x="39083" y="0"/>
                  </a:cubicBezTo>
                  <a:close/>
                </a:path>
              </a:pathLst>
            </a:custGeom>
            <a:solidFill>
              <a:schemeClr val="accent3"/>
            </a:solidFill>
            <a:ln w="0">
              <a:noFill/>
              <a:prstDash val="solid"/>
              <a:round/>
              <a:headEnd/>
              <a:tailEnd/>
            </a:ln>
          </p:spPr>
          <p:txBody>
            <a:bodyPr vert="horz" wrap="square" lIns="93260" tIns="46630" rIns="93260" bIns="46630" numCol="1" anchor="t" anchorCtr="0" compatLnSpc="1">
              <a:prstTxWarp prst="textNoShape">
                <a:avLst/>
              </a:prstTxWarp>
              <a:noAutofit/>
            </a:bodyPr>
            <a:lstStyle/>
            <a:p>
              <a:endParaRPr lang="en-US" sz="1836"/>
            </a:p>
          </p:txBody>
        </p:sp>
        <p:sp>
          <p:nvSpPr>
            <p:cNvPr id="456" name="Freeform: Shape 281"/>
            <p:cNvSpPr>
              <a:spLocks/>
            </p:cNvSpPr>
            <p:nvPr/>
          </p:nvSpPr>
          <p:spPr bwMode="auto">
            <a:xfrm>
              <a:off x="8210185" y="3260429"/>
              <a:ext cx="78173" cy="78175"/>
            </a:xfrm>
            <a:custGeom>
              <a:avLst/>
              <a:gdLst>
                <a:gd name="connsiteX0" fmla="*/ 39084 w 78173"/>
                <a:gd name="connsiteY0" fmla="*/ 0 h 78175"/>
                <a:gd name="connsiteX1" fmla="*/ 78173 w 78173"/>
                <a:gd name="connsiteY1" fmla="*/ 39086 h 78175"/>
                <a:gd name="connsiteX2" fmla="*/ 39084 w 78173"/>
                <a:gd name="connsiteY2" fmla="*/ 78175 h 78175"/>
                <a:gd name="connsiteX3" fmla="*/ 0 w 78173"/>
                <a:gd name="connsiteY3" fmla="*/ 39086 h 78175"/>
                <a:gd name="connsiteX4" fmla="*/ 39084 w 78173"/>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3" h="78175">
                  <a:moveTo>
                    <a:pt x="39084" y="0"/>
                  </a:moveTo>
                  <a:cubicBezTo>
                    <a:pt x="60664" y="0"/>
                    <a:pt x="78173" y="17501"/>
                    <a:pt x="78173" y="39086"/>
                  </a:cubicBezTo>
                  <a:cubicBezTo>
                    <a:pt x="78173" y="60674"/>
                    <a:pt x="60664" y="78175"/>
                    <a:pt x="39084" y="78175"/>
                  </a:cubicBezTo>
                  <a:cubicBezTo>
                    <a:pt x="17490" y="78175"/>
                    <a:pt x="0" y="60674"/>
                    <a:pt x="0" y="39086"/>
                  </a:cubicBezTo>
                  <a:cubicBezTo>
                    <a:pt x="0" y="17501"/>
                    <a:pt x="17490" y="0"/>
                    <a:pt x="39084" y="0"/>
                  </a:cubicBezTo>
                  <a:close/>
                </a:path>
              </a:pathLst>
            </a:custGeom>
            <a:solidFill>
              <a:schemeClr val="accent3"/>
            </a:solidFill>
            <a:ln w="0">
              <a:noFill/>
              <a:prstDash val="solid"/>
              <a:round/>
              <a:headEnd/>
              <a:tailEnd/>
            </a:ln>
          </p:spPr>
          <p:txBody>
            <a:bodyPr vert="horz" wrap="square" lIns="93260" tIns="46630" rIns="93260" bIns="46630" numCol="1" anchor="t" anchorCtr="0" compatLnSpc="1">
              <a:prstTxWarp prst="textNoShape">
                <a:avLst/>
              </a:prstTxWarp>
              <a:noAutofit/>
            </a:bodyPr>
            <a:lstStyle/>
            <a:p>
              <a:endParaRPr lang="en-US" sz="1836"/>
            </a:p>
          </p:txBody>
        </p:sp>
        <p:sp>
          <p:nvSpPr>
            <p:cNvPr id="457" name="Freeform: Shape 282"/>
            <p:cNvSpPr>
              <a:spLocks/>
            </p:cNvSpPr>
            <p:nvPr/>
          </p:nvSpPr>
          <p:spPr bwMode="auto">
            <a:xfrm>
              <a:off x="8586371" y="3260429"/>
              <a:ext cx="78166" cy="78175"/>
            </a:xfrm>
            <a:custGeom>
              <a:avLst/>
              <a:gdLst>
                <a:gd name="connsiteX0" fmla="*/ 39081 w 78166"/>
                <a:gd name="connsiteY0" fmla="*/ 0 h 78175"/>
                <a:gd name="connsiteX1" fmla="*/ 78166 w 78166"/>
                <a:gd name="connsiteY1" fmla="*/ 39086 h 78175"/>
                <a:gd name="connsiteX2" fmla="*/ 39081 w 78166"/>
                <a:gd name="connsiteY2" fmla="*/ 78175 h 78175"/>
                <a:gd name="connsiteX3" fmla="*/ 0 w 78166"/>
                <a:gd name="connsiteY3" fmla="*/ 39086 h 78175"/>
                <a:gd name="connsiteX4" fmla="*/ 39081 w 78166"/>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66" h="78175">
                  <a:moveTo>
                    <a:pt x="39081" y="0"/>
                  </a:moveTo>
                  <a:cubicBezTo>
                    <a:pt x="60674" y="0"/>
                    <a:pt x="78166" y="17501"/>
                    <a:pt x="78166" y="39086"/>
                  </a:cubicBezTo>
                  <a:cubicBezTo>
                    <a:pt x="78166" y="60674"/>
                    <a:pt x="60674" y="78175"/>
                    <a:pt x="39081" y="78175"/>
                  </a:cubicBezTo>
                  <a:cubicBezTo>
                    <a:pt x="17499" y="78175"/>
                    <a:pt x="0" y="60674"/>
                    <a:pt x="0" y="39086"/>
                  </a:cubicBezTo>
                  <a:cubicBezTo>
                    <a:pt x="0" y="17501"/>
                    <a:pt x="17499" y="0"/>
                    <a:pt x="39081" y="0"/>
                  </a:cubicBezTo>
                  <a:close/>
                </a:path>
              </a:pathLst>
            </a:custGeom>
            <a:solidFill>
              <a:schemeClr val="accent3"/>
            </a:solidFill>
            <a:ln w="0">
              <a:noFill/>
              <a:prstDash val="solid"/>
              <a:round/>
              <a:headEnd/>
              <a:tailEnd/>
            </a:ln>
          </p:spPr>
          <p:txBody>
            <a:bodyPr vert="horz" wrap="square" lIns="93260" tIns="46630" rIns="93260" bIns="46630" numCol="1" anchor="t" anchorCtr="0" compatLnSpc="1">
              <a:prstTxWarp prst="textNoShape">
                <a:avLst/>
              </a:prstTxWarp>
              <a:noAutofit/>
            </a:bodyPr>
            <a:lstStyle/>
            <a:p>
              <a:endParaRPr lang="en-US" sz="1836"/>
            </a:p>
          </p:txBody>
        </p:sp>
        <p:sp>
          <p:nvSpPr>
            <p:cNvPr id="458" name="Freeform: Shape 283"/>
            <p:cNvSpPr>
              <a:spLocks/>
            </p:cNvSpPr>
            <p:nvPr/>
          </p:nvSpPr>
          <p:spPr bwMode="auto">
            <a:xfrm>
              <a:off x="9525649" y="3260429"/>
              <a:ext cx="78174" cy="78176"/>
            </a:xfrm>
            <a:custGeom>
              <a:avLst/>
              <a:gdLst>
                <a:gd name="connsiteX0" fmla="*/ 39087 w 78174"/>
                <a:gd name="connsiteY0" fmla="*/ 0 h 78176"/>
                <a:gd name="connsiteX1" fmla="*/ 78174 w 78174"/>
                <a:gd name="connsiteY1" fmla="*/ 39087 h 78176"/>
                <a:gd name="connsiteX2" fmla="*/ 39087 w 78174"/>
                <a:gd name="connsiteY2" fmla="*/ 78176 h 78176"/>
                <a:gd name="connsiteX3" fmla="*/ 0 w 78174"/>
                <a:gd name="connsiteY3" fmla="*/ 39087 h 78176"/>
                <a:gd name="connsiteX4" fmla="*/ 39087 w 78174"/>
                <a:gd name="connsiteY4" fmla="*/ 0 h 781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76">
                  <a:moveTo>
                    <a:pt x="39087" y="0"/>
                  </a:moveTo>
                  <a:cubicBezTo>
                    <a:pt x="60674" y="0"/>
                    <a:pt x="78174" y="17501"/>
                    <a:pt x="78174" y="39087"/>
                  </a:cubicBezTo>
                  <a:cubicBezTo>
                    <a:pt x="78174" y="60673"/>
                    <a:pt x="60674" y="78176"/>
                    <a:pt x="39087" y="78176"/>
                  </a:cubicBezTo>
                  <a:cubicBezTo>
                    <a:pt x="17500" y="78176"/>
                    <a:pt x="0" y="60673"/>
                    <a:pt x="0" y="39087"/>
                  </a:cubicBezTo>
                  <a:cubicBezTo>
                    <a:pt x="0" y="17501"/>
                    <a:pt x="17500" y="0"/>
                    <a:pt x="39087" y="0"/>
                  </a:cubicBezTo>
                  <a:close/>
                </a:path>
              </a:pathLst>
            </a:custGeom>
            <a:solidFill>
              <a:schemeClr val="accent3"/>
            </a:solidFill>
            <a:ln w="0">
              <a:noFill/>
              <a:prstDash val="solid"/>
              <a:round/>
              <a:headEnd/>
              <a:tailEnd/>
            </a:ln>
          </p:spPr>
          <p:txBody>
            <a:bodyPr vert="horz" wrap="square" lIns="93260" tIns="46630" rIns="93260" bIns="46630" numCol="1" anchor="t" anchorCtr="0" compatLnSpc="1">
              <a:prstTxWarp prst="textNoShape">
                <a:avLst/>
              </a:prstTxWarp>
              <a:noAutofit/>
            </a:bodyPr>
            <a:lstStyle/>
            <a:p>
              <a:endParaRPr lang="en-US" sz="1836"/>
            </a:p>
          </p:txBody>
        </p:sp>
        <p:sp>
          <p:nvSpPr>
            <p:cNvPr id="459" name="Freeform: Shape 284"/>
            <p:cNvSpPr>
              <a:spLocks/>
            </p:cNvSpPr>
            <p:nvPr/>
          </p:nvSpPr>
          <p:spPr bwMode="auto">
            <a:xfrm>
              <a:off x="7739432" y="3343241"/>
              <a:ext cx="78157" cy="78156"/>
            </a:xfrm>
            <a:custGeom>
              <a:avLst/>
              <a:gdLst>
                <a:gd name="connsiteX0" fmla="*/ 39084 w 78157"/>
                <a:gd name="connsiteY0" fmla="*/ 0 h 78156"/>
                <a:gd name="connsiteX1" fmla="*/ 78157 w 78157"/>
                <a:gd name="connsiteY1" fmla="*/ 39087 h 78156"/>
                <a:gd name="connsiteX2" fmla="*/ 39084 w 78157"/>
                <a:gd name="connsiteY2" fmla="*/ 78156 h 78156"/>
                <a:gd name="connsiteX3" fmla="*/ 0 w 78157"/>
                <a:gd name="connsiteY3" fmla="*/ 39087 h 78156"/>
                <a:gd name="connsiteX4" fmla="*/ 39084 w 78157"/>
                <a:gd name="connsiteY4" fmla="*/ 0 h 781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57" h="78156">
                  <a:moveTo>
                    <a:pt x="39084" y="0"/>
                  </a:moveTo>
                  <a:cubicBezTo>
                    <a:pt x="60670" y="0"/>
                    <a:pt x="78157" y="17499"/>
                    <a:pt x="78157" y="39087"/>
                  </a:cubicBezTo>
                  <a:cubicBezTo>
                    <a:pt x="78157" y="60656"/>
                    <a:pt x="60670" y="78156"/>
                    <a:pt x="39084" y="78156"/>
                  </a:cubicBezTo>
                  <a:cubicBezTo>
                    <a:pt x="17492" y="78156"/>
                    <a:pt x="0" y="60656"/>
                    <a:pt x="0" y="39087"/>
                  </a:cubicBezTo>
                  <a:cubicBezTo>
                    <a:pt x="0" y="17499"/>
                    <a:pt x="17492" y="0"/>
                    <a:pt x="39084" y="0"/>
                  </a:cubicBezTo>
                  <a:close/>
                </a:path>
              </a:pathLst>
            </a:custGeom>
            <a:solidFill>
              <a:schemeClr val="accent3"/>
            </a:solidFill>
            <a:ln w="0">
              <a:noFill/>
              <a:prstDash val="solid"/>
              <a:round/>
              <a:headEnd/>
              <a:tailEnd/>
            </a:ln>
          </p:spPr>
          <p:txBody>
            <a:bodyPr vert="horz" wrap="square" lIns="93260" tIns="46630" rIns="93260" bIns="46630" numCol="1" anchor="t" anchorCtr="0" compatLnSpc="1">
              <a:prstTxWarp prst="textNoShape">
                <a:avLst/>
              </a:prstTxWarp>
              <a:noAutofit/>
            </a:bodyPr>
            <a:lstStyle/>
            <a:p>
              <a:endParaRPr lang="en-US" sz="1836"/>
            </a:p>
          </p:txBody>
        </p:sp>
        <p:sp>
          <p:nvSpPr>
            <p:cNvPr id="460" name="Freeform: Shape 285"/>
            <p:cNvSpPr>
              <a:spLocks/>
            </p:cNvSpPr>
            <p:nvPr/>
          </p:nvSpPr>
          <p:spPr bwMode="auto">
            <a:xfrm>
              <a:off x="8210185" y="3343241"/>
              <a:ext cx="78171" cy="78156"/>
            </a:xfrm>
            <a:custGeom>
              <a:avLst/>
              <a:gdLst>
                <a:gd name="connsiteX0" fmla="*/ 39081 w 78171"/>
                <a:gd name="connsiteY0" fmla="*/ 0 h 78156"/>
                <a:gd name="connsiteX1" fmla="*/ 78171 w 78171"/>
                <a:gd name="connsiteY1" fmla="*/ 39087 h 78156"/>
                <a:gd name="connsiteX2" fmla="*/ 39081 w 78171"/>
                <a:gd name="connsiteY2" fmla="*/ 78156 h 78156"/>
                <a:gd name="connsiteX3" fmla="*/ 0 w 78171"/>
                <a:gd name="connsiteY3" fmla="*/ 39087 h 78156"/>
                <a:gd name="connsiteX4" fmla="*/ 39081 w 78171"/>
                <a:gd name="connsiteY4" fmla="*/ 0 h 781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1" h="78156">
                  <a:moveTo>
                    <a:pt x="39081" y="0"/>
                  </a:moveTo>
                  <a:cubicBezTo>
                    <a:pt x="60660" y="0"/>
                    <a:pt x="78171" y="17499"/>
                    <a:pt x="78171" y="39087"/>
                  </a:cubicBezTo>
                  <a:cubicBezTo>
                    <a:pt x="78171" y="60656"/>
                    <a:pt x="60660" y="78156"/>
                    <a:pt x="39081" y="78156"/>
                  </a:cubicBezTo>
                  <a:cubicBezTo>
                    <a:pt x="17488" y="78156"/>
                    <a:pt x="0" y="60656"/>
                    <a:pt x="0" y="39087"/>
                  </a:cubicBezTo>
                  <a:cubicBezTo>
                    <a:pt x="0" y="17499"/>
                    <a:pt x="17488" y="0"/>
                    <a:pt x="39081" y="0"/>
                  </a:cubicBezTo>
                  <a:close/>
                </a:path>
              </a:pathLst>
            </a:custGeom>
            <a:solidFill>
              <a:schemeClr val="accent3"/>
            </a:solidFill>
            <a:ln w="0">
              <a:noFill/>
              <a:prstDash val="solid"/>
              <a:round/>
              <a:headEnd/>
              <a:tailEnd/>
            </a:ln>
          </p:spPr>
          <p:txBody>
            <a:bodyPr vert="horz" wrap="square" lIns="93260" tIns="46630" rIns="93260" bIns="46630" numCol="1" anchor="t" anchorCtr="0" compatLnSpc="1">
              <a:prstTxWarp prst="textNoShape">
                <a:avLst/>
              </a:prstTxWarp>
              <a:noAutofit/>
            </a:bodyPr>
            <a:lstStyle/>
            <a:p>
              <a:endParaRPr lang="en-US" sz="1836"/>
            </a:p>
          </p:txBody>
        </p:sp>
        <p:sp>
          <p:nvSpPr>
            <p:cNvPr id="461" name="Freeform: Shape 286"/>
            <p:cNvSpPr>
              <a:spLocks/>
            </p:cNvSpPr>
            <p:nvPr/>
          </p:nvSpPr>
          <p:spPr bwMode="auto">
            <a:xfrm>
              <a:off x="8397089" y="3343241"/>
              <a:ext cx="78158" cy="78156"/>
            </a:xfrm>
            <a:custGeom>
              <a:avLst/>
              <a:gdLst>
                <a:gd name="connsiteX0" fmla="*/ 39085 w 78158"/>
                <a:gd name="connsiteY0" fmla="*/ 0 h 78156"/>
                <a:gd name="connsiteX1" fmla="*/ 78158 w 78158"/>
                <a:gd name="connsiteY1" fmla="*/ 39087 h 78156"/>
                <a:gd name="connsiteX2" fmla="*/ 39085 w 78158"/>
                <a:gd name="connsiteY2" fmla="*/ 78156 h 78156"/>
                <a:gd name="connsiteX3" fmla="*/ 0 w 78158"/>
                <a:gd name="connsiteY3" fmla="*/ 39087 h 78156"/>
                <a:gd name="connsiteX4" fmla="*/ 39085 w 78158"/>
                <a:gd name="connsiteY4" fmla="*/ 0 h 781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58" h="78156">
                  <a:moveTo>
                    <a:pt x="39085" y="0"/>
                  </a:moveTo>
                  <a:cubicBezTo>
                    <a:pt x="60662" y="0"/>
                    <a:pt x="78158" y="17499"/>
                    <a:pt x="78158" y="39087"/>
                  </a:cubicBezTo>
                  <a:cubicBezTo>
                    <a:pt x="78158" y="60656"/>
                    <a:pt x="60662" y="78156"/>
                    <a:pt x="39085" y="78156"/>
                  </a:cubicBezTo>
                  <a:cubicBezTo>
                    <a:pt x="17507" y="78156"/>
                    <a:pt x="0" y="60656"/>
                    <a:pt x="0" y="39087"/>
                  </a:cubicBezTo>
                  <a:cubicBezTo>
                    <a:pt x="0" y="17499"/>
                    <a:pt x="17507" y="0"/>
                    <a:pt x="39085" y="0"/>
                  </a:cubicBezTo>
                  <a:close/>
                </a:path>
              </a:pathLst>
            </a:custGeom>
            <a:solidFill>
              <a:schemeClr val="accent3"/>
            </a:solidFill>
            <a:ln w="0">
              <a:noFill/>
              <a:prstDash val="solid"/>
              <a:round/>
              <a:headEnd/>
              <a:tailEnd/>
            </a:ln>
          </p:spPr>
          <p:txBody>
            <a:bodyPr vert="horz" wrap="square" lIns="93260" tIns="46630" rIns="93260" bIns="46630" numCol="1" anchor="t" anchorCtr="0" compatLnSpc="1">
              <a:prstTxWarp prst="textNoShape">
                <a:avLst/>
              </a:prstTxWarp>
              <a:noAutofit/>
            </a:bodyPr>
            <a:lstStyle/>
            <a:p>
              <a:endParaRPr lang="en-US" sz="1836"/>
            </a:p>
          </p:txBody>
        </p:sp>
        <p:sp>
          <p:nvSpPr>
            <p:cNvPr id="462" name="Freeform: Shape 287"/>
            <p:cNvSpPr>
              <a:spLocks/>
            </p:cNvSpPr>
            <p:nvPr/>
          </p:nvSpPr>
          <p:spPr bwMode="auto">
            <a:xfrm>
              <a:off x="8491707" y="3343241"/>
              <a:ext cx="78195" cy="78156"/>
            </a:xfrm>
            <a:custGeom>
              <a:avLst/>
              <a:gdLst>
                <a:gd name="connsiteX0" fmla="*/ 39098 w 78195"/>
                <a:gd name="connsiteY0" fmla="*/ 0 h 78156"/>
                <a:gd name="connsiteX1" fmla="*/ 78195 w 78195"/>
                <a:gd name="connsiteY1" fmla="*/ 39087 h 78156"/>
                <a:gd name="connsiteX2" fmla="*/ 39098 w 78195"/>
                <a:gd name="connsiteY2" fmla="*/ 78156 h 78156"/>
                <a:gd name="connsiteX3" fmla="*/ 0 w 78195"/>
                <a:gd name="connsiteY3" fmla="*/ 39087 h 78156"/>
                <a:gd name="connsiteX4" fmla="*/ 39098 w 78195"/>
                <a:gd name="connsiteY4" fmla="*/ 0 h 781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95" h="78156">
                  <a:moveTo>
                    <a:pt x="39098" y="0"/>
                  </a:moveTo>
                  <a:cubicBezTo>
                    <a:pt x="60690" y="0"/>
                    <a:pt x="78195" y="17499"/>
                    <a:pt x="78195" y="39087"/>
                  </a:cubicBezTo>
                  <a:cubicBezTo>
                    <a:pt x="78195" y="60656"/>
                    <a:pt x="60690" y="78156"/>
                    <a:pt x="39098" y="78156"/>
                  </a:cubicBezTo>
                  <a:cubicBezTo>
                    <a:pt x="17504" y="78156"/>
                    <a:pt x="0" y="60656"/>
                    <a:pt x="0" y="39087"/>
                  </a:cubicBezTo>
                  <a:cubicBezTo>
                    <a:pt x="0" y="17499"/>
                    <a:pt x="17504" y="0"/>
                    <a:pt x="39098" y="0"/>
                  </a:cubicBezTo>
                  <a:close/>
                </a:path>
              </a:pathLst>
            </a:custGeom>
            <a:solidFill>
              <a:schemeClr val="accent3"/>
            </a:solidFill>
            <a:ln w="0">
              <a:noFill/>
              <a:prstDash val="solid"/>
              <a:round/>
              <a:headEnd/>
              <a:tailEnd/>
            </a:ln>
          </p:spPr>
          <p:txBody>
            <a:bodyPr vert="horz" wrap="square" lIns="93260" tIns="46630" rIns="93260" bIns="46630" numCol="1" anchor="t" anchorCtr="0" compatLnSpc="1">
              <a:prstTxWarp prst="textNoShape">
                <a:avLst/>
              </a:prstTxWarp>
              <a:noAutofit/>
            </a:bodyPr>
            <a:lstStyle/>
            <a:p>
              <a:endParaRPr lang="en-US" sz="1836"/>
            </a:p>
          </p:txBody>
        </p:sp>
        <p:sp>
          <p:nvSpPr>
            <p:cNvPr id="463" name="Freeform: Shape 288"/>
            <p:cNvSpPr>
              <a:spLocks/>
            </p:cNvSpPr>
            <p:nvPr/>
          </p:nvSpPr>
          <p:spPr bwMode="auto">
            <a:xfrm>
              <a:off x="9431009" y="3343241"/>
              <a:ext cx="78174" cy="78156"/>
            </a:xfrm>
            <a:custGeom>
              <a:avLst/>
              <a:gdLst>
                <a:gd name="connsiteX0" fmla="*/ 39088 w 78174"/>
                <a:gd name="connsiteY0" fmla="*/ 0 h 78156"/>
                <a:gd name="connsiteX1" fmla="*/ 78174 w 78174"/>
                <a:gd name="connsiteY1" fmla="*/ 39086 h 78156"/>
                <a:gd name="connsiteX2" fmla="*/ 39088 w 78174"/>
                <a:gd name="connsiteY2" fmla="*/ 78156 h 78156"/>
                <a:gd name="connsiteX3" fmla="*/ 0 w 78174"/>
                <a:gd name="connsiteY3" fmla="*/ 39086 h 78156"/>
                <a:gd name="connsiteX4" fmla="*/ 39088 w 78174"/>
                <a:gd name="connsiteY4" fmla="*/ 0 h 781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56">
                  <a:moveTo>
                    <a:pt x="39088" y="0"/>
                  </a:moveTo>
                  <a:cubicBezTo>
                    <a:pt x="60675" y="0"/>
                    <a:pt x="78174" y="17499"/>
                    <a:pt x="78174" y="39086"/>
                  </a:cubicBezTo>
                  <a:cubicBezTo>
                    <a:pt x="78174" y="60656"/>
                    <a:pt x="60675" y="78156"/>
                    <a:pt x="39088" y="78156"/>
                  </a:cubicBezTo>
                  <a:cubicBezTo>
                    <a:pt x="17500" y="78156"/>
                    <a:pt x="0" y="60656"/>
                    <a:pt x="0" y="39086"/>
                  </a:cubicBezTo>
                  <a:cubicBezTo>
                    <a:pt x="0" y="17499"/>
                    <a:pt x="17500" y="0"/>
                    <a:pt x="39088" y="0"/>
                  </a:cubicBezTo>
                  <a:close/>
                </a:path>
              </a:pathLst>
            </a:custGeom>
            <a:solidFill>
              <a:schemeClr val="accent3"/>
            </a:solidFill>
            <a:ln w="0">
              <a:noFill/>
              <a:prstDash val="solid"/>
              <a:round/>
              <a:headEnd/>
              <a:tailEnd/>
            </a:ln>
          </p:spPr>
          <p:txBody>
            <a:bodyPr vert="horz" wrap="square" lIns="93260" tIns="46630" rIns="93260" bIns="46630" numCol="1" anchor="t" anchorCtr="0" compatLnSpc="1">
              <a:prstTxWarp prst="textNoShape">
                <a:avLst/>
              </a:prstTxWarp>
              <a:noAutofit/>
            </a:bodyPr>
            <a:lstStyle/>
            <a:p>
              <a:endParaRPr lang="en-US" sz="1836"/>
            </a:p>
          </p:txBody>
        </p:sp>
        <p:sp>
          <p:nvSpPr>
            <p:cNvPr id="464" name="Freeform: Shape 289"/>
            <p:cNvSpPr>
              <a:spLocks/>
            </p:cNvSpPr>
            <p:nvPr/>
          </p:nvSpPr>
          <p:spPr bwMode="auto">
            <a:xfrm>
              <a:off x="9617922" y="3343241"/>
              <a:ext cx="78175" cy="78156"/>
            </a:xfrm>
            <a:custGeom>
              <a:avLst/>
              <a:gdLst>
                <a:gd name="connsiteX0" fmla="*/ 39087 w 78175"/>
                <a:gd name="connsiteY0" fmla="*/ 0 h 78156"/>
                <a:gd name="connsiteX1" fmla="*/ 78175 w 78175"/>
                <a:gd name="connsiteY1" fmla="*/ 39086 h 78156"/>
                <a:gd name="connsiteX2" fmla="*/ 39087 w 78175"/>
                <a:gd name="connsiteY2" fmla="*/ 78156 h 78156"/>
                <a:gd name="connsiteX3" fmla="*/ 0 w 78175"/>
                <a:gd name="connsiteY3" fmla="*/ 39086 h 78156"/>
                <a:gd name="connsiteX4" fmla="*/ 39087 w 78175"/>
                <a:gd name="connsiteY4" fmla="*/ 0 h 781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5" h="78156">
                  <a:moveTo>
                    <a:pt x="39087" y="0"/>
                  </a:moveTo>
                  <a:cubicBezTo>
                    <a:pt x="60675" y="0"/>
                    <a:pt x="78175" y="17499"/>
                    <a:pt x="78175" y="39086"/>
                  </a:cubicBezTo>
                  <a:cubicBezTo>
                    <a:pt x="78175" y="60656"/>
                    <a:pt x="60675" y="78156"/>
                    <a:pt x="39087" y="78156"/>
                  </a:cubicBezTo>
                  <a:cubicBezTo>
                    <a:pt x="17500" y="78156"/>
                    <a:pt x="0" y="60656"/>
                    <a:pt x="0" y="39086"/>
                  </a:cubicBezTo>
                  <a:cubicBezTo>
                    <a:pt x="0" y="17499"/>
                    <a:pt x="17500" y="0"/>
                    <a:pt x="39087" y="0"/>
                  </a:cubicBezTo>
                  <a:close/>
                </a:path>
              </a:pathLst>
            </a:custGeom>
            <a:solidFill>
              <a:schemeClr val="accent3"/>
            </a:solidFill>
            <a:ln w="0">
              <a:noFill/>
              <a:prstDash val="solid"/>
              <a:round/>
              <a:headEnd/>
              <a:tailEnd/>
            </a:ln>
          </p:spPr>
          <p:txBody>
            <a:bodyPr vert="horz" wrap="square" lIns="93260" tIns="46630" rIns="93260" bIns="46630" numCol="1" anchor="t" anchorCtr="0" compatLnSpc="1">
              <a:prstTxWarp prst="textNoShape">
                <a:avLst/>
              </a:prstTxWarp>
              <a:noAutofit/>
            </a:bodyPr>
            <a:lstStyle/>
            <a:p>
              <a:endParaRPr lang="en-US" sz="1836"/>
            </a:p>
          </p:txBody>
        </p:sp>
        <p:sp>
          <p:nvSpPr>
            <p:cNvPr id="465" name="Freeform: Shape 290"/>
            <p:cNvSpPr>
              <a:spLocks/>
            </p:cNvSpPr>
            <p:nvPr/>
          </p:nvSpPr>
          <p:spPr bwMode="auto">
            <a:xfrm>
              <a:off x="7176339" y="3435498"/>
              <a:ext cx="78179" cy="78173"/>
            </a:xfrm>
            <a:custGeom>
              <a:avLst/>
              <a:gdLst>
                <a:gd name="connsiteX0" fmla="*/ 39079 w 78179"/>
                <a:gd name="connsiteY0" fmla="*/ 0 h 78173"/>
                <a:gd name="connsiteX1" fmla="*/ 78179 w 78179"/>
                <a:gd name="connsiteY1" fmla="*/ 39086 h 78173"/>
                <a:gd name="connsiteX2" fmla="*/ 39079 w 78179"/>
                <a:gd name="connsiteY2" fmla="*/ 78173 h 78173"/>
                <a:gd name="connsiteX3" fmla="*/ 0 w 78179"/>
                <a:gd name="connsiteY3" fmla="*/ 39086 h 78173"/>
                <a:gd name="connsiteX4" fmla="*/ 39079 w 78179"/>
                <a:gd name="connsiteY4" fmla="*/ 0 h 781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9" h="78173">
                  <a:moveTo>
                    <a:pt x="39079" y="0"/>
                  </a:moveTo>
                  <a:cubicBezTo>
                    <a:pt x="60680" y="0"/>
                    <a:pt x="78179" y="17499"/>
                    <a:pt x="78179" y="39086"/>
                  </a:cubicBezTo>
                  <a:cubicBezTo>
                    <a:pt x="78179" y="60674"/>
                    <a:pt x="60680" y="78173"/>
                    <a:pt x="39079" y="78173"/>
                  </a:cubicBezTo>
                  <a:cubicBezTo>
                    <a:pt x="17505" y="78173"/>
                    <a:pt x="0" y="60674"/>
                    <a:pt x="0" y="39086"/>
                  </a:cubicBezTo>
                  <a:cubicBezTo>
                    <a:pt x="0" y="17499"/>
                    <a:pt x="17505" y="0"/>
                    <a:pt x="39079" y="0"/>
                  </a:cubicBezTo>
                  <a:close/>
                </a:path>
              </a:pathLst>
            </a:custGeom>
            <a:solidFill>
              <a:schemeClr val="accent3"/>
            </a:solidFill>
            <a:ln w="0">
              <a:noFill/>
              <a:prstDash val="solid"/>
              <a:round/>
              <a:headEnd/>
              <a:tailEnd/>
            </a:ln>
          </p:spPr>
          <p:txBody>
            <a:bodyPr vert="horz" wrap="square" lIns="93260" tIns="46630" rIns="93260" bIns="46630" numCol="1" anchor="t" anchorCtr="0" compatLnSpc="1">
              <a:prstTxWarp prst="textNoShape">
                <a:avLst/>
              </a:prstTxWarp>
              <a:noAutofit/>
            </a:bodyPr>
            <a:lstStyle/>
            <a:p>
              <a:endParaRPr lang="en-US" sz="1836"/>
            </a:p>
          </p:txBody>
        </p:sp>
        <p:sp>
          <p:nvSpPr>
            <p:cNvPr id="466" name="Freeform: Shape 291"/>
            <p:cNvSpPr>
              <a:spLocks/>
            </p:cNvSpPr>
            <p:nvPr/>
          </p:nvSpPr>
          <p:spPr bwMode="auto">
            <a:xfrm>
              <a:off x="8117974" y="3435498"/>
              <a:ext cx="78105" cy="78173"/>
            </a:xfrm>
            <a:custGeom>
              <a:avLst/>
              <a:gdLst>
                <a:gd name="connsiteX0" fmla="*/ 39007 w 78105"/>
                <a:gd name="connsiteY0" fmla="*/ 0 h 78173"/>
                <a:gd name="connsiteX1" fmla="*/ 78105 w 78105"/>
                <a:gd name="connsiteY1" fmla="*/ 39086 h 78173"/>
                <a:gd name="connsiteX2" fmla="*/ 39007 w 78105"/>
                <a:gd name="connsiteY2" fmla="*/ 78173 h 78173"/>
                <a:gd name="connsiteX3" fmla="*/ 0 w 78105"/>
                <a:gd name="connsiteY3" fmla="*/ 39086 h 78173"/>
                <a:gd name="connsiteX4" fmla="*/ 39007 w 78105"/>
                <a:gd name="connsiteY4" fmla="*/ 0 h 781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05" h="78173">
                  <a:moveTo>
                    <a:pt x="39007" y="0"/>
                  </a:moveTo>
                  <a:cubicBezTo>
                    <a:pt x="60601" y="0"/>
                    <a:pt x="78105" y="17499"/>
                    <a:pt x="78105" y="39086"/>
                  </a:cubicBezTo>
                  <a:cubicBezTo>
                    <a:pt x="78105" y="60674"/>
                    <a:pt x="60601" y="78173"/>
                    <a:pt x="39007" y="78173"/>
                  </a:cubicBezTo>
                  <a:cubicBezTo>
                    <a:pt x="17497" y="78173"/>
                    <a:pt x="0" y="60674"/>
                    <a:pt x="0" y="39086"/>
                  </a:cubicBezTo>
                  <a:cubicBezTo>
                    <a:pt x="0" y="17499"/>
                    <a:pt x="17497" y="0"/>
                    <a:pt x="39007" y="0"/>
                  </a:cubicBezTo>
                  <a:close/>
                </a:path>
              </a:pathLst>
            </a:custGeom>
            <a:solidFill>
              <a:schemeClr val="accent3"/>
            </a:solidFill>
            <a:ln w="0">
              <a:noFill/>
              <a:prstDash val="solid"/>
              <a:round/>
              <a:headEnd/>
              <a:tailEnd/>
            </a:ln>
          </p:spPr>
          <p:txBody>
            <a:bodyPr vert="horz" wrap="square" lIns="93260" tIns="46630" rIns="93260" bIns="46630" numCol="1" anchor="t" anchorCtr="0" compatLnSpc="1">
              <a:prstTxWarp prst="textNoShape">
                <a:avLst/>
              </a:prstTxWarp>
              <a:noAutofit/>
            </a:bodyPr>
            <a:lstStyle/>
            <a:p>
              <a:endParaRPr lang="en-US" sz="1836"/>
            </a:p>
          </p:txBody>
        </p:sp>
        <p:sp>
          <p:nvSpPr>
            <p:cNvPr id="467" name="Freeform: Shape 292"/>
            <p:cNvSpPr>
              <a:spLocks/>
            </p:cNvSpPr>
            <p:nvPr/>
          </p:nvSpPr>
          <p:spPr bwMode="auto">
            <a:xfrm>
              <a:off x="8304800" y="3435498"/>
              <a:ext cx="78180" cy="78173"/>
            </a:xfrm>
            <a:custGeom>
              <a:avLst/>
              <a:gdLst>
                <a:gd name="connsiteX0" fmla="*/ 39107 w 78180"/>
                <a:gd name="connsiteY0" fmla="*/ 0 h 78173"/>
                <a:gd name="connsiteX1" fmla="*/ 78180 w 78180"/>
                <a:gd name="connsiteY1" fmla="*/ 39086 h 78173"/>
                <a:gd name="connsiteX2" fmla="*/ 39107 w 78180"/>
                <a:gd name="connsiteY2" fmla="*/ 78173 h 78173"/>
                <a:gd name="connsiteX3" fmla="*/ 0 w 78180"/>
                <a:gd name="connsiteY3" fmla="*/ 39086 h 78173"/>
                <a:gd name="connsiteX4" fmla="*/ 39107 w 78180"/>
                <a:gd name="connsiteY4" fmla="*/ 0 h 781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80" h="78173">
                  <a:moveTo>
                    <a:pt x="39107" y="0"/>
                  </a:moveTo>
                  <a:cubicBezTo>
                    <a:pt x="60695" y="0"/>
                    <a:pt x="78180" y="17499"/>
                    <a:pt x="78180" y="39086"/>
                  </a:cubicBezTo>
                  <a:cubicBezTo>
                    <a:pt x="78180" y="60674"/>
                    <a:pt x="60695" y="78173"/>
                    <a:pt x="39107" y="78173"/>
                  </a:cubicBezTo>
                  <a:cubicBezTo>
                    <a:pt x="17515" y="78173"/>
                    <a:pt x="0" y="60674"/>
                    <a:pt x="0" y="39086"/>
                  </a:cubicBezTo>
                  <a:cubicBezTo>
                    <a:pt x="0" y="17499"/>
                    <a:pt x="17515" y="0"/>
                    <a:pt x="39107" y="0"/>
                  </a:cubicBezTo>
                  <a:close/>
                </a:path>
              </a:pathLst>
            </a:custGeom>
            <a:solidFill>
              <a:schemeClr val="accent3"/>
            </a:solidFill>
            <a:ln w="0">
              <a:noFill/>
              <a:prstDash val="solid"/>
              <a:round/>
              <a:headEnd/>
              <a:tailEnd/>
            </a:ln>
          </p:spPr>
          <p:txBody>
            <a:bodyPr vert="horz" wrap="square" lIns="93260" tIns="46630" rIns="93260" bIns="46630" numCol="1" anchor="t" anchorCtr="0" compatLnSpc="1">
              <a:prstTxWarp prst="textNoShape">
                <a:avLst/>
              </a:prstTxWarp>
              <a:noAutofit/>
            </a:bodyPr>
            <a:lstStyle/>
            <a:p>
              <a:endParaRPr lang="en-US" sz="1836"/>
            </a:p>
          </p:txBody>
        </p:sp>
        <p:sp>
          <p:nvSpPr>
            <p:cNvPr id="468" name="Freeform: Shape 293"/>
            <p:cNvSpPr>
              <a:spLocks/>
            </p:cNvSpPr>
            <p:nvPr/>
          </p:nvSpPr>
          <p:spPr bwMode="auto">
            <a:xfrm>
              <a:off x="8678634" y="3435498"/>
              <a:ext cx="78179" cy="78173"/>
            </a:xfrm>
            <a:custGeom>
              <a:avLst/>
              <a:gdLst>
                <a:gd name="connsiteX0" fmla="*/ 39087 w 78179"/>
                <a:gd name="connsiteY0" fmla="*/ 0 h 78173"/>
                <a:gd name="connsiteX1" fmla="*/ 78179 w 78179"/>
                <a:gd name="connsiteY1" fmla="*/ 39086 h 78173"/>
                <a:gd name="connsiteX2" fmla="*/ 39087 w 78179"/>
                <a:gd name="connsiteY2" fmla="*/ 78173 h 78173"/>
                <a:gd name="connsiteX3" fmla="*/ 0 w 78179"/>
                <a:gd name="connsiteY3" fmla="*/ 39086 h 78173"/>
                <a:gd name="connsiteX4" fmla="*/ 39087 w 78179"/>
                <a:gd name="connsiteY4" fmla="*/ 0 h 781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9" h="78173">
                  <a:moveTo>
                    <a:pt x="39087" y="0"/>
                  </a:moveTo>
                  <a:cubicBezTo>
                    <a:pt x="60677" y="0"/>
                    <a:pt x="78179" y="17499"/>
                    <a:pt x="78179" y="39086"/>
                  </a:cubicBezTo>
                  <a:cubicBezTo>
                    <a:pt x="78179" y="60674"/>
                    <a:pt x="60677" y="78173"/>
                    <a:pt x="39087" y="78173"/>
                  </a:cubicBezTo>
                  <a:cubicBezTo>
                    <a:pt x="17495" y="78173"/>
                    <a:pt x="0" y="60674"/>
                    <a:pt x="0" y="39086"/>
                  </a:cubicBezTo>
                  <a:cubicBezTo>
                    <a:pt x="0" y="17499"/>
                    <a:pt x="17495" y="0"/>
                    <a:pt x="39087" y="0"/>
                  </a:cubicBezTo>
                  <a:close/>
                </a:path>
              </a:pathLst>
            </a:custGeom>
            <a:solidFill>
              <a:schemeClr val="accent3"/>
            </a:solidFill>
            <a:ln w="0">
              <a:noFill/>
              <a:prstDash val="solid"/>
              <a:round/>
              <a:headEnd/>
              <a:tailEnd/>
            </a:ln>
          </p:spPr>
          <p:txBody>
            <a:bodyPr vert="horz" wrap="square" lIns="93260" tIns="46630" rIns="93260" bIns="46630" numCol="1" anchor="t" anchorCtr="0" compatLnSpc="1">
              <a:prstTxWarp prst="textNoShape">
                <a:avLst/>
              </a:prstTxWarp>
              <a:noAutofit/>
            </a:bodyPr>
            <a:lstStyle/>
            <a:p>
              <a:endParaRPr lang="en-US" sz="1836"/>
            </a:p>
          </p:txBody>
        </p:sp>
        <p:sp>
          <p:nvSpPr>
            <p:cNvPr id="469" name="Freeform: Shape 294"/>
            <p:cNvSpPr>
              <a:spLocks/>
            </p:cNvSpPr>
            <p:nvPr/>
          </p:nvSpPr>
          <p:spPr bwMode="auto">
            <a:xfrm>
              <a:off x="9431009" y="3435498"/>
              <a:ext cx="78174" cy="78173"/>
            </a:xfrm>
            <a:custGeom>
              <a:avLst/>
              <a:gdLst>
                <a:gd name="connsiteX0" fmla="*/ 39087 w 78174"/>
                <a:gd name="connsiteY0" fmla="*/ 0 h 78173"/>
                <a:gd name="connsiteX1" fmla="*/ 78174 w 78174"/>
                <a:gd name="connsiteY1" fmla="*/ 39086 h 78173"/>
                <a:gd name="connsiteX2" fmla="*/ 39087 w 78174"/>
                <a:gd name="connsiteY2" fmla="*/ 78173 h 78173"/>
                <a:gd name="connsiteX3" fmla="*/ 0 w 78174"/>
                <a:gd name="connsiteY3" fmla="*/ 39086 h 78173"/>
                <a:gd name="connsiteX4" fmla="*/ 39087 w 78174"/>
                <a:gd name="connsiteY4" fmla="*/ 0 h 781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73">
                  <a:moveTo>
                    <a:pt x="39087" y="0"/>
                  </a:moveTo>
                  <a:cubicBezTo>
                    <a:pt x="60674" y="0"/>
                    <a:pt x="78174" y="17499"/>
                    <a:pt x="78174" y="39086"/>
                  </a:cubicBezTo>
                  <a:cubicBezTo>
                    <a:pt x="78174" y="60674"/>
                    <a:pt x="60674" y="78173"/>
                    <a:pt x="39087" y="78173"/>
                  </a:cubicBezTo>
                  <a:cubicBezTo>
                    <a:pt x="17500" y="78173"/>
                    <a:pt x="0" y="60674"/>
                    <a:pt x="0" y="39086"/>
                  </a:cubicBezTo>
                  <a:cubicBezTo>
                    <a:pt x="0" y="17499"/>
                    <a:pt x="17500" y="0"/>
                    <a:pt x="39087" y="0"/>
                  </a:cubicBezTo>
                  <a:close/>
                </a:path>
              </a:pathLst>
            </a:custGeom>
            <a:solidFill>
              <a:schemeClr val="accent3"/>
            </a:solidFill>
            <a:ln w="0">
              <a:noFill/>
              <a:prstDash val="solid"/>
              <a:round/>
              <a:headEnd/>
              <a:tailEnd/>
            </a:ln>
          </p:spPr>
          <p:txBody>
            <a:bodyPr vert="horz" wrap="square" lIns="93260" tIns="46630" rIns="93260" bIns="46630" numCol="1" anchor="t" anchorCtr="0" compatLnSpc="1">
              <a:prstTxWarp prst="textNoShape">
                <a:avLst/>
              </a:prstTxWarp>
              <a:noAutofit/>
            </a:bodyPr>
            <a:lstStyle/>
            <a:p>
              <a:endParaRPr lang="en-US" sz="1836"/>
            </a:p>
          </p:txBody>
        </p:sp>
        <p:sp>
          <p:nvSpPr>
            <p:cNvPr id="470" name="Freeform: Shape 295"/>
            <p:cNvSpPr>
              <a:spLocks/>
            </p:cNvSpPr>
            <p:nvPr/>
          </p:nvSpPr>
          <p:spPr bwMode="auto">
            <a:xfrm>
              <a:off x="6762230" y="3473791"/>
              <a:ext cx="26139" cy="34517"/>
            </a:xfrm>
            <a:custGeom>
              <a:avLst/>
              <a:gdLst>
                <a:gd name="connsiteX0" fmla="*/ 25811 w 26139"/>
                <a:gd name="connsiteY0" fmla="*/ 0 h 34517"/>
                <a:gd name="connsiteX1" fmla="*/ 26139 w 26139"/>
                <a:gd name="connsiteY1" fmla="*/ 793 h 34517"/>
                <a:gd name="connsiteX2" fmla="*/ 14691 w 26139"/>
                <a:gd name="connsiteY2" fmla="*/ 28432 h 34517"/>
                <a:gd name="connsiteX3" fmla="*/ 0 w 26139"/>
                <a:gd name="connsiteY3" fmla="*/ 34517 h 34517"/>
                <a:gd name="connsiteX4" fmla="*/ 25811 w 26139"/>
                <a:gd name="connsiteY4" fmla="*/ 0 h 345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139" h="34517">
                  <a:moveTo>
                    <a:pt x="25811" y="0"/>
                  </a:moveTo>
                  <a:lnTo>
                    <a:pt x="26139" y="793"/>
                  </a:lnTo>
                  <a:cubicBezTo>
                    <a:pt x="26139" y="11587"/>
                    <a:pt x="21765" y="21359"/>
                    <a:pt x="14691" y="28432"/>
                  </a:cubicBezTo>
                  <a:lnTo>
                    <a:pt x="0" y="34517"/>
                  </a:lnTo>
                  <a:lnTo>
                    <a:pt x="25811" y="0"/>
                  </a:lnTo>
                  <a:close/>
                </a:path>
              </a:pathLst>
            </a:custGeom>
            <a:solidFill>
              <a:schemeClr val="accent3"/>
            </a:solidFill>
            <a:ln w="0">
              <a:noFill/>
              <a:prstDash val="solid"/>
              <a:round/>
              <a:headEnd/>
              <a:tailEnd/>
            </a:ln>
          </p:spPr>
          <p:txBody>
            <a:bodyPr vert="horz" wrap="square" lIns="93260" tIns="46630" rIns="93260" bIns="46630" numCol="1" anchor="t" anchorCtr="0" compatLnSpc="1">
              <a:prstTxWarp prst="textNoShape">
                <a:avLst/>
              </a:prstTxWarp>
              <a:noAutofit/>
            </a:bodyPr>
            <a:lstStyle/>
            <a:p>
              <a:endParaRPr lang="en-US" sz="1836"/>
            </a:p>
          </p:txBody>
        </p:sp>
        <p:sp>
          <p:nvSpPr>
            <p:cNvPr id="471" name="Freeform: Shape 296"/>
            <p:cNvSpPr>
              <a:spLocks/>
            </p:cNvSpPr>
            <p:nvPr/>
          </p:nvSpPr>
          <p:spPr bwMode="auto">
            <a:xfrm>
              <a:off x="7270971" y="3520672"/>
              <a:ext cx="78165" cy="78174"/>
            </a:xfrm>
            <a:custGeom>
              <a:avLst/>
              <a:gdLst>
                <a:gd name="connsiteX0" fmla="*/ 39083 w 78165"/>
                <a:gd name="connsiteY0" fmla="*/ 0 h 78174"/>
                <a:gd name="connsiteX1" fmla="*/ 78165 w 78165"/>
                <a:gd name="connsiteY1" fmla="*/ 39087 h 78174"/>
                <a:gd name="connsiteX2" fmla="*/ 39083 w 78165"/>
                <a:gd name="connsiteY2" fmla="*/ 78174 h 78174"/>
                <a:gd name="connsiteX3" fmla="*/ 0 w 78165"/>
                <a:gd name="connsiteY3" fmla="*/ 39087 h 78174"/>
                <a:gd name="connsiteX4" fmla="*/ 39083 w 78165"/>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65" h="78174">
                  <a:moveTo>
                    <a:pt x="39083" y="0"/>
                  </a:moveTo>
                  <a:cubicBezTo>
                    <a:pt x="60669" y="0"/>
                    <a:pt x="78165" y="17500"/>
                    <a:pt x="78165" y="39087"/>
                  </a:cubicBezTo>
                  <a:cubicBezTo>
                    <a:pt x="78165" y="60675"/>
                    <a:pt x="60669" y="78174"/>
                    <a:pt x="39083" y="78174"/>
                  </a:cubicBezTo>
                  <a:cubicBezTo>
                    <a:pt x="17490" y="78174"/>
                    <a:pt x="0" y="60675"/>
                    <a:pt x="0" y="39087"/>
                  </a:cubicBezTo>
                  <a:cubicBezTo>
                    <a:pt x="0" y="17500"/>
                    <a:pt x="17490" y="0"/>
                    <a:pt x="39083" y="0"/>
                  </a:cubicBezTo>
                  <a:close/>
                </a:path>
              </a:pathLst>
            </a:custGeom>
            <a:solidFill>
              <a:schemeClr val="accent3"/>
            </a:solidFill>
            <a:ln w="0">
              <a:noFill/>
              <a:prstDash val="solid"/>
              <a:round/>
              <a:headEnd/>
              <a:tailEnd/>
            </a:ln>
          </p:spPr>
          <p:txBody>
            <a:bodyPr vert="horz" wrap="square" lIns="93260" tIns="46630" rIns="93260" bIns="46630" numCol="1" anchor="t" anchorCtr="0" compatLnSpc="1">
              <a:prstTxWarp prst="textNoShape">
                <a:avLst/>
              </a:prstTxWarp>
              <a:noAutofit/>
            </a:bodyPr>
            <a:lstStyle/>
            <a:p>
              <a:endParaRPr lang="en-US" sz="1836"/>
            </a:p>
          </p:txBody>
        </p:sp>
        <p:sp>
          <p:nvSpPr>
            <p:cNvPr id="472" name="Freeform: Shape 297"/>
            <p:cNvSpPr>
              <a:spLocks/>
            </p:cNvSpPr>
            <p:nvPr/>
          </p:nvSpPr>
          <p:spPr bwMode="auto">
            <a:xfrm>
              <a:off x="7649490" y="3520672"/>
              <a:ext cx="78191" cy="78174"/>
            </a:xfrm>
            <a:custGeom>
              <a:avLst/>
              <a:gdLst>
                <a:gd name="connsiteX0" fmla="*/ 39100 w 78191"/>
                <a:gd name="connsiteY0" fmla="*/ 0 h 78174"/>
                <a:gd name="connsiteX1" fmla="*/ 78191 w 78191"/>
                <a:gd name="connsiteY1" fmla="*/ 39087 h 78174"/>
                <a:gd name="connsiteX2" fmla="*/ 39100 w 78191"/>
                <a:gd name="connsiteY2" fmla="*/ 78174 h 78174"/>
                <a:gd name="connsiteX3" fmla="*/ 0 w 78191"/>
                <a:gd name="connsiteY3" fmla="*/ 39087 h 78174"/>
                <a:gd name="connsiteX4" fmla="*/ 39100 w 78191"/>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91" h="78174">
                  <a:moveTo>
                    <a:pt x="39100" y="0"/>
                  </a:moveTo>
                  <a:cubicBezTo>
                    <a:pt x="60693" y="0"/>
                    <a:pt x="78191" y="17500"/>
                    <a:pt x="78191" y="39087"/>
                  </a:cubicBezTo>
                  <a:cubicBezTo>
                    <a:pt x="78191" y="60675"/>
                    <a:pt x="60693" y="78174"/>
                    <a:pt x="39100" y="78174"/>
                  </a:cubicBezTo>
                  <a:cubicBezTo>
                    <a:pt x="17505" y="78174"/>
                    <a:pt x="0" y="60675"/>
                    <a:pt x="0" y="39087"/>
                  </a:cubicBezTo>
                  <a:cubicBezTo>
                    <a:pt x="0" y="17500"/>
                    <a:pt x="17505" y="0"/>
                    <a:pt x="39100" y="0"/>
                  </a:cubicBezTo>
                  <a:close/>
                </a:path>
              </a:pathLst>
            </a:custGeom>
            <a:solidFill>
              <a:schemeClr val="accent3"/>
            </a:solidFill>
            <a:ln w="0">
              <a:noFill/>
              <a:prstDash val="solid"/>
              <a:round/>
              <a:headEnd/>
              <a:tailEnd/>
            </a:ln>
          </p:spPr>
          <p:txBody>
            <a:bodyPr vert="horz" wrap="square" lIns="93260" tIns="46630" rIns="93260" bIns="46630" numCol="1" anchor="t" anchorCtr="0" compatLnSpc="1">
              <a:prstTxWarp prst="textNoShape">
                <a:avLst/>
              </a:prstTxWarp>
              <a:noAutofit/>
            </a:bodyPr>
            <a:lstStyle/>
            <a:p>
              <a:endParaRPr lang="en-US" sz="1836"/>
            </a:p>
          </p:txBody>
        </p:sp>
        <p:sp>
          <p:nvSpPr>
            <p:cNvPr id="473" name="Freeform: Shape 298"/>
            <p:cNvSpPr>
              <a:spLocks/>
            </p:cNvSpPr>
            <p:nvPr/>
          </p:nvSpPr>
          <p:spPr bwMode="auto">
            <a:xfrm>
              <a:off x="8117967" y="3520672"/>
              <a:ext cx="78112" cy="78174"/>
            </a:xfrm>
            <a:custGeom>
              <a:avLst/>
              <a:gdLst>
                <a:gd name="connsiteX0" fmla="*/ 39014 w 78112"/>
                <a:gd name="connsiteY0" fmla="*/ 0 h 78174"/>
                <a:gd name="connsiteX1" fmla="*/ 78112 w 78112"/>
                <a:gd name="connsiteY1" fmla="*/ 39087 h 78174"/>
                <a:gd name="connsiteX2" fmla="*/ 39014 w 78112"/>
                <a:gd name="connsiteY2" fmla="*/ 78174 h 78174"/>
                <a:gd name="connsiteX3" fmla="*/ 0 w 78112"/>
                <a:gd name="connsiteY3" fmla="*/ 39087 h 78174"/>
                <a:gd name="connsiteX4" fmla="*/ 39014 w 78112"/>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12" h="78174">
                  <a:moveTo>
                    <a:pt x="39014" y="0"/>
                  </a:moveTo>
                  <a:cubicBezTo>
                    <a:pt x="60608" y="0"/>
                    <a:pt x="78112" y="17500"/>
                    <a:pt x="78112" y="39087"/>
                  </a:cubicBezTo>
                  <a:cubicBezTo>
                    <a:pt x="78112" y="60675"/>
                    <a:pt x="60608" y="78174"/>
                    <a:pt x="39014" y="78174"/>
                  </a:cubicBezTo>
                  <a:cubicBezTo>
                    <a:pt x="17498" y="78174"/>
                    <a:pt x="0" y="60675"/>
                    <a:pt x="0" y="39087"/>
                  </a:cubicBezTo>
                  <a:cubicBezTo>
                    <a:pt x="0" y="17500"/>
                    <a:pt x="17498" y="0"/>
                    <a:pt x="39014" y="0"/>
                  </a:cubicBezTo>
                  <a:close/>
                </a:path>
              </a:pathLst>
            </a:custGeom>
            <a:solidFill>
              <a:schemeClr val="accent3"/>
            </a:solidFill>
            <a:ln w="0">
              <a:noFill/>
              <a:prstDash val="solid"/>
              <a:round/>
              <a:headEnd/>
              <a:tailEnd/>
            </a:ln>
          </p:spPr>
          <p:txBody>
            <a:bodyPr vert="horz" wrap="square" lIns="93260" tIns="46630" rIns="93260" bIns="46630" numCol="1" anchor="t" anchorCtr="0" compatLnSpc="1">
              <a:prstTxWarp prst="textNoShape">
                <a:avLst/>
              </a:prstTxWarp>
              <a:noAutofit/>
            </a:bodyPr>
            <a:lstStyle/>
            <a:p>
              <a:endParaRPr lang="en-US" sz="1836"/>
            </a:p>
          </p:txBody>
        </p:sp>
        <p:sp>
          <p:nvSpPr>
            <p:cNvPr id="474" name="Freeform: Shape 299"/>
            <p:cNvSpPr>
              <a:spLocks/>
            </p:cNvSpPr>
            <p:nvPr/>
          </p:nvSpPr>
          <p:spPr bwMode="auto">
            <a:xfrm>
              <a:off x="9525647" y="3520672"/>
              <a:ext cx="78175" cy="78174"/>
            </a:xfrm>
            <a:custGeom>
              <a:avLst/>
              <a:gdLst>
                <a:gd name="connsiteX0" fmla="*/ 39088 w 78175"/>
                <a:gd name="connsiteY0" fmla="*/ 0 h 78174"/>
                <a:gd name="connsiteX1" fmla="*/ 78175 w 78175"/>
                <a:gd name="connsiteY1" fmla="*/ 39087 h 78174"/>
                <a:gd name="connsiteX2" fmla="*/ 39088 w 78175"/>
                <a:gd name="connsiteY2" fmla="*/ 78174 h 78174"/>
                <a:gd name="connsiteX3" fmla="*/ 0 w 78175"/>
                <a:gd name="connsiteY3" fmla="*/ 39087 h 78174"/>
                <a:gd name="connsiteX4" fmla="*/ 39088 w 78175"/>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5" h="78174">
                  <a:moveTo>
                    <a:pt x="39088" y="0"/>
                  </a:moveTo>
                  <a:cubicBezTo>
                    <a:pt x="60675" y="0"/>
                    <a:pt x="78175" y="17500"/>
                    <a:pt x="78175" y="39087"/>
                  </a:cubicBezTo>
                  <a:cubicBezTo>
                    <a:pt x="78175" y="60675"/>
                    <a:pt x="60675" y="78174"/>
                    <a:pt x="39088" y="78174"/>
                  </a:cubicBezTo>
                  <a:cubicBezTo>
                    <a:pt x="17500" y="78174"/>
                    <a:pt x="0" y="60675"/>
                    <a:pt x="0" y="39087"/>
                  </a:cubicBezTo>
                  <a:cubicBezTo>
                    <a:pt x="0" y="17500"/>
                    <a:pt x="17500" y="0"/>
                    <a:pt x="39088" y="0"/>
                  </a:cubicBezTo>
                  <a:close/>
                </a:path>
              </a:pathLst>
            </a:custGeom>
            <a:solidFill>
              <a:schemeClr val="accent3"/>
            </a:solidFill>
            <a:ln w="0">
              <a:noFill/>
              <a:prstDash val="solid"/>
              <a:round/>
              <a:headEnd/>
              <a:tailEnd/>
            </a:ln>
          </p:spPr>
          <p:txBody>
            <a:bodyPr vert="horz" wrap="square" lIns="93260" tIns="46630" rIns="93260" bIns="46630" numCol="1" anchor="t" anchorCtr="0" compatLnSpc="1">
              <a:prstTxWarp prst="textNoShape">
                <a:avLst/>
              </a:prstTxWarp>
              <a:noAutofit/>
            </a:bodyPr>
            <a:lstStyle/>
            <a:p>
              <a:endParaRPr lang="en-US" sz="1836"/>
            </a:p>
          </p:txBody>
        </p:sp>
        <p:sp>
          <p:nvSpPr>
            <p:cNvPr id="475" name="Freeform: Shape 300"/>
            <p:cNvSpPr>
              <a:spLocks/>
            </p:cNvSpPr>
            <p:nvPr/>
          </p:nvSpPr>
          <p:spPr bwMode="auto">
            <a:xfrm>
              <a:off x="9807202" y="3520672"/>
              <a:ext cx="78174" cy="78174"/>
            </a:xfrm>
            <a:custGeom>
              <a:avLst/>
              <a:gdLst>
                <a:gd name="connsiteX0" fmla="*/ 39087 w 78174"/>
                <a:gd name="connsiteY0" fmla="*/ 0 h 78174"/>
                <a:gd name="connsiteX1" fmla="*/ 78174 w 78174"/>
                <a:gd name="connsiteY1" fmla="*/ 39087 h 78174"/>
                <a:gd name="connsiteX2" fmla="*/ 39087 w 78174"/>
                <a:gd name="connsiteY2" fmla="*/ 78174 h 78174"/>
                <a:gd name="connsiteX3" fmla="*/ 0 w 78174"/>
                <a:gd name="connsiteY3" fmla="*/ 39087 h 78174"/>
                <a:gd name="connsiteX4" fmla="*/ 39087 w 78174"/>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74">
                  <a:moveTo>
                    <a:pt x="39087" y="0"/>
                  </a:moveTo>
                  <a:cubicBezTo>
                    <a:pt x="60674" y="0"/>
                    <a:pt x="78174" y="17500"/>
                    <a:pt x="78174" y="39087"/>
                  </a:cubicBezTo>
                  <a:cubicBezTo>
                    <a:pt x="78174" y="60675"/>
                    <a:pt x="60674" y="78174"/>
                    <a:pt x="39087" y="78174"/>
                  </a:cubicBezTo>
                  <a:cubicBezTo>
                    <a:pt x="17499" y="78174"/>
                    <a:pt x="0" y="60675"/>
                    <a:pt x="0" y="39087"/>
                  </a:cubicBezTo>
                  <a:cubicBezTo>
                    <a:pt x="0" y="17500"/>
                    <a:pt x="17499" y="0"/>
                    <a:pt x="39087" y="0"/>
                  </a:cubicBezTo>
                  <a:close/>
                </a:path>
              </a:pathLst>
            </a:custGeom>
            <a:solidFill>
              <a:schemeClr val="accent3"/>
            </a:solidFill>
            <a:ln w="0">
              <a:noFill/>
              <a:prstDash val="solid"/>
              <a:round/>
              <a:headEnd/>
              <a:tailEnd/>
            </a:ln>
          </p:spPr>
          <p:txBody>
            <a:bodyPr vert="horz" wrap="square" lIns="93260" tIns="46630" rIns="93260" bIns="46630" numCol="1" anchor="t" anchorCtr="0" compatLnSpc="1">
              <a:prstTxWarp prst="textNoShape">
                <a:avLst/>
              </a:prstTxWarp>
              <a:noAutofit/>
            </a:bodyPr>
            <a:lstStyle/>
            <a:p>
              <a:endParaRPr lang="en-US" sz="1836"/>
            </a:p>
          </p:txBody>
        </p:sp>
        <p:sp>
          <p:nvSpPr>
            <p:cNvPr id="476" name="Freeform: Shape 301"/>
            <p:cNvSpPr>
              <a:spLocks/>
            </p:cNvSpPr>
            <p:nvPr/>
          </p:nvSpPr>
          <p:spPr bwMode="auto">
            <a:xfrm>
              <a:off x="6710183" y="3608216"/>
              <a:ext cx="78175" cy="78175"/>
            </a:xfrm>
            <a:custGeom>
              <a:avLst/>
              <a:gdLst>
                <a:gd name="connsiteX0" fmla="*/ 39086 w 78175"/>
                <a:gd name="connsiteY0" fmla="*/ 0 h 78175"/>
                <a:gd name="connsiteX1" fmla="*/ 78175 w 78175"/>
                <a:gd name="connsiteY1" fmla="*/ 39087 h 78175"/>
                <a:gd name="connsiteX2" fmla="*/ 39086 w 78175"/>
                <a:gd name="connsiteY2" fmla="*/ 78175 h 78175"/>
                <a:gd name="connsiteX3" fmla="*/ 0 w 78175"/>
                <a:gd name="connsiteY3" fmla="*/ 39087 h 78175"/>
                <a:gd name="connsiteX4" fmla="*/ 39086 w 78175"/>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5" h="78175">
                  <a:moveTo>
                    <a:pt x="39086" y="0"/>
                  </a:moveTo>
                  <a:cubicBezTo>
                    <a:pt x="60676" y="0"/>
                    <a:pt x="78175" y="17500"/>
                    <a:pt x="78175" y="39087"/>
                  </a:cubicBezTo>
                  <a:cubicBezTo>
                    <a:pt x="78175" y="60675"/>
                    <a:pt x="60676" y="78175"/>
                    <a:pt x="39086" y="78175"/>
                  </a:cubicBezTo>
                  <a:cubicBezTo>
                    <a:pt x="17500" y="78175"/>
                    <a:pt x="0" y="60675"/>
                    <a:pt x="0" y="39087"/>
                  </a:cubicBezTo>
                  <a:cubicBezTo>
                    <a:pt x="0" y="17500"/>
                    <a:pt x="17500" y="0"/>
                    <a:pt x="39086" y="0"/>
                  </a:cubicBezTo>
                  <a:close/>
                </a:path>
              </a:pathLst>
            </a:custGeom>
            <a:solidFill>
              <a:schemeClr val="accent3"/>
            </a:solidFill>
            <a:ln w="0">
              <a:noFill/>
              <a:prstDash val="solid"/>
              <a:round/>
              <a:headEnd/>
              <a:tailEnd/>
            </a:ln>
          </p:spPr>
          <p:txBody>
            <a:bodyPr vert="horz" wrap="square" lIns="93260" tIns="46630" rIns="93260" bIns="46630" numCol="1" anchor="t" anchorCtr="0" compatLnSpc="1">
              <a:prstTxWarp prst="textNoShape">
                <a:avLst/>
              </a:prstTxWarp>
              <a:noAutofit/>
            </a:bodyPr>
            <a:lstStyle/>
            <a:p>
              <a:endParaRPr lang="en-US" sz="1836"/>
            </a:p>
          </p:txBody>
        </p:sp>
        <p:sp>
          <p:nvSpPr>
            <p:cNvPr id="477" name="Freeform: Shape 302"/>
            <p:cNvSpPr>
              <a:spLocks/>
            </p:cNvSpPr>
            <p:nvPr/>
          </p:nvSpPr>
          <p:spPr bwMode="auto">
            <a:xfrm>
              <a:off x="6897115" y="3608216"/>
              <a:ext cx="78170" cy="78175"/>
            </a:xfrm>
            <a:custGeom>
              <a:avLst/>
              <a:gdLst>
                <a:gd name="connsiteX0" fmla="*/ 39066 w 78170"/>
                <a:gd name="connsiteY0" fmla="*/ 0 h 78175"/>
                <a:gd name="connsiteX1" fmla="*/ 78170 w 78170"/>
                <a:gd name="connsiteY1" fmla="*/ 39087 h 78175"/>
                <a:gd name="connsiteX2" fmla="*/ 39066 w 78170"/>
                <a:gd name="connsiteY2" fmla="*/ 78175 h 78175"/>
                <a:gd name="connsiteX3" fmla="*/ 0 w 78170"/>
                <a:gd name="connsiteY3" fmla="*/ 39087 h 78175"/>
                <a:gd name="connsiteX4" fmla="*/ 39066 w 78170"/>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0" h="78175">
                  <a:moveTo>
                    <a:pt x="39066" y="0"/>
                  </a:moveTo>
                  <a:cubicBezTo>
                    <a:pt x="60653" y="0"/>
                    <a:pt x="78170" y="17500"/>
                    <a:pt x="78170" y="39087"/>
                  </a:cubicBezTo>
                  <a:cubicBezTo>
                    <a:pt x="78170" y="60675"/>
                    <a:pt x="60653" y="78175"/>
                    <a:pt x="39066" y="78175"/>
                  </a:cubicBezTo>
                  <a:cubicBezTo>
                    <a:pt x="17502" y="78175"/>
                    <a:pt x="0" y="60675"/>
                    <a:pt x="0" y="39087"/>
                  </a:cubicBezTo>
                  <a:cubicBezTo>
                    <a:pt x="0" y="17500"/>
                    <a:pt x="17502" y="0"/>
                    <a:pt x="39066" y="0"/>
                  </a:cubicBezTo>
                  <a:close/>
                </a:path>
              </a:pathLst>
            </a:custGeom>
            <a:solidFill>
              <a:schemeClr val="accent3"/>
            </a:solidFill>
            <a:ln w="0">
              <a:noFill/>
              <a:prstDash val="solid"/>
              <a:round/>
              <a:headEnd/>
              <a:tailEnd/>
            </a:ln>
          </p:spPr>
          <p:txBody>
            <a:bodyPr vert="horz" wrap="square" lIns="93260" tIns="46630" rIns="93260" bIns="46630" numCol="1" anchor="t" anchorCtr="0" compatLnSpc="1">
              <a:prstTxWarp prst="textNoShape">
                <a:avLst/>
              </a:prstTxWarp>
              <a:noAutofit/>
            </a:bodyPr>
            <a:lstStyle/>
            <a:p>
              <a:endParaRPr lang="en-US" sz="1836"/>
            </a:p>
          </p:txBody>
        </p:sp>
        <p:sp>
          <p:nvSpPr>
            <p:cNvPr id="478" name="Freeform: Shape 303"/>
            <p:cNvSpPr>
              <a:spLocks/>
            </p:cNvSpPr>
            <p:nvPr/>
          </p:nvSpPr>
          <p:spPr bwMode="auto">
            <a:xfrm>
              <a:off x="7552476" y="3608216"/>
              <a:ext cx="78171" cy="78175"/>
            </a:xfrm>
            <a:custGeom>
              <a:avLst/>
              <a:gdLst>
                <a:gd name="connsiteX0" fmla="*/ 39082 w 78171"/>
                <a:gd name="connsiteY0" fmla="*/ 0 h 78175"/>
                <a:gd name="connsiteX1" fmla="*/ 78171 w 78171"/>
                <a:gd name="connsiteY1" fmla="*/ 39087 h 78175"/>
                <a:gd name="connsiteX2" fmla="*/ 39082 w 78171"/>
                <a:gd name="connsiteY2" fmla="*/ 78175 h 78175"/>
                <a:gd name="connsiteX3" fmla="*/ 0 w 78171"/>
                <a:gd name="connsiteY3" fmla="*/ 39087 h 78175"/>
                <a:gd name="connsiteX4" fmla="*/ 39082 w 78171"/>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1" h="78175">
                  <a:moveTo>
                    <a:pt x="39082" y="0"/>
                  </a:moveTo>
                  <a:cubicBezTo>
                    <a:pt x="60665" y="0"/>
                    <a:pt x="78171" y="17500"/>
                    <a:pt x="78171" y="39087"/>
                  </a:cubicBezTo>
                  <a:cubicBezTo>
                    <a:pt x="78171" y="60675"/>
                    <a:pt x="60665" y="78175"/>
                    <a:pt x="39082" y="78175"/>
                  </a:cubicBezTo>
                  <a:cubicBezTo>
                    <a:pt x="17497" y="78175"/>
                    <a:pt x="0" y="60675"/>
                    <a:pt x="0" y="39087"/>
                  </a:cubicBezTo>
                  <a:cubicBezTo>
                    <a:pt x="0" y="17500"/>
                    <a:pt x="17497" y="0"/>
                    <a:pt x="39082" y="0"/>
                  </a:cubicBezTo>
                  <a:close/>
                </a:path>
              </a:pathLst>
            </a:custGeom>
            <a:solidFill>
              <a:schemeClr val="accent3"/>
            </a:solidFill>
            <a:ln w="0">
              <a:noFill/>
              <a:prstDash val="solid"/>
              <a:round/>
              <a:headEnd/>
              <a:tailEnd/>
            </a:ln>
          </p:spPr>
          <p:txBody>
            <a:bodyPr vert="horz" wrap="square" lIns="93260" tIns="46630" rIns="93260" bIns="46630" numCol="1" anchor="t" anchorCtr="0" compatLnSpc="1">
              <a:prstTxWarp prst="textNoShape">
                <a:avLst/>
              </a:prstTxWarp>
              <a:noAutofit/>
            </a:bodyPr>
            <a:lstStyle/>
            <a:p>
              <a:endParaRPr lang="en-US" sz="1836"/>
            </a:p>
          </p:txBody>
        </p:sp>
        <p:sp>
          <p:nvSpPr>
            <p:cNvPr id="479" name="Freeform: Shape 304"/>
            <p:cNvSpPr>
              <a:spLocks/>
            </p:cNvSpPr>
            <p:nvPr/>
          </p:nvSpPr>
          <p:spPr bwMode="auto">
            <a:xfrm>
              <a:off x="8210183" y="3608216"/>
              <a:ext cx="78173" cy="78175"/>
            </a:xfrm>
            <a:custGeom>
              <a:avLst/>
              <a:gdLst>
                <a:gd name="connsiteX0" fmla="*/ 39082 w 78173"/>
                <a:gd name="connsiteY0" fmla="*/ 0 h 78175"/>
                <a:gd name="connsiteX1" fmla="*/ 78173 w 78173"/>
                <a:gd name="connsiteY1" fmla="*/ 39087 h 78175"/>
                <a:gd name="connsiteX2" fmla="*/ 39082 w 78173"/>
                <a:gd name="connsiteY2" fmla="*/ 78175 h 78175"/>
                <a:gd name="connsiteX3" fmla="*/ 0 w 78173"/>
                <a:gd name="connsiteY3" fmla="*/ 39087 h 78175"/>
                <a:gd name="connsiteX4" fmla="*/ 39082 w 78173"/>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3" h="78175">
                  <a:moveTo>
                    <a:pt x="39082" y="0"/>
                  </a:moveTo>
                  <a:cubicBezTo>
                    <a:pt x="60660" y="0"/>
                    <a:pt x="78173" y="17500"/>
                    <a:pt x="78173" y="39087"/>
                  </a:cubicBezTo>
                  <a:cubicBezTo>
                    <a:pt x="78173" y="60675"/>
                    <a:pt x="60660" y="78175"/>
                    <a:pt x="39082" y="78175"/>
                  </a:cubicBezTo>
                  <a:cubicBezTo>
                    <a:pt x="17487" y="78175"/>
                    <a:pt x="0" y="60675"/>
                    <a:pt x="0" y="39087"/>
                  </a:cubicBezTo>
                  <a:cubicBezTo>
                    <a:pt x="0" y="17500"/>
                    <a:pt x="17487" y="0"/>
                    <a:pt x="39082" y="0"/>
                  </a:cubicBezTo>
                  <a:close/>
                </a:path>
              </a:pathLst>
            </a:custGeom>
            <a:solidFill>
              <a:schemeClr val="accent3"/>
            </a:solidFill>
            <a:ln w="0">
              <a:noFill/>
              <a:prstDash val="solid"/>
              <a:round/>
              <a:headEnd/>
              <a:tailEnd/>
            </a:ln>
          </p:spPr>
          <p:txBody>
            <a:bodyPr vert="horz" wrap="square" lIns="93260" tIns="46630" rIns="93260" bIns="46630" numCol="1" anchor="t" anchorCtr="0" compatLnSpc="1">
              <a:prstTxWarp prst="textNoShape">
                <a:avLst/>
              </a:prstTxWarp>
              <a:noAutofit/>
            </a:bodyPr>
            <a:lstStyle/>
            <a:p>
              <a:endParaRPr lang="en-US" sz="1836"/>
            </a:p>
          </p:txBody>
        </p:sp>
        <p:sp>
          <p:nvSpPr>
            <p:cNvPr id="480" name="Freeform: Shape 305"/>
            <p:cNvSpPr>
              <a:spLocks/>
            </p:cNvSpPr>
            <p:nvPr/>
          </p:nvSpPr>
          <p:spPr bwMode="auto">
            <a:xfrm>
              <a:off x="9151821" y="3608216"/>
              <a:ext cx="78180" cy="78175"/>
            </a:xfrm>
            <a:custGeom>
              <a:avLst/>
              <a:gdLst>
                <a:gd name="connsiteX0" fmla="*/ 39086 w 78180"/>
                <a:gd name="connsiteY0" fmla="*/ 0 h 78175"/>
                <a:gd name="connsiteX1" fmla="*/ 78180 w 78180"/>
                <a:gd name="connsiteY1" fmla="*/ 39087 h 78175"/>
                <a:gd name="connsiteX2" fmla="*/ 39086 w 78180"/>
                <a:gd name="connsiteY2" fmla="*/ 78175 h 78175"/>
                <a:gd name="connsiteX3" fmla="*/ 0 w 78180"/>
                <a:gd name="connsiteY3" fmla="*/ 39087 h 78175"/>
                <a:gd name="connsiteX4" fmla="*/ 39086 w 78180"/>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80" h="78175">
                  <a:moveTo>
                    <a:pt x="39086" y="0"/>
                  </a:moveTo>
                  <a:cubicBezTo>
                    <a:pt x="60675" y="0"/>
                    <a:pt x="78180" y="17500"/>
                    <a:pt x="78180" y="39087"/>
                  </a:cubicBezTo>
                  <a:cubicBezTo>
                    <a:pt x="78180" y="60675"/>
                    <a:pt x="60675" y="78175"/>
                    <a:pt x="39086" y="78175"/>
                  </a:cubicBezTo>
                  <a:cubicBezTo>
                    <a:pt x="17502" y="78175"/>
                    <a:pt x="0" y="60675"/>
                    <a:pt x="0" y="39087"/>
                  </a:cubicBezTo>
                  <a:cubicBezTo>
                    <a:pt x="0" y="17500"/>
                    <a:pt x="17502" y="0"/>
                    <a:pt x="39086" y="0"/>
                  </a:cubicBezTo>
                  <a:close/>
                </a:path>
              </a:pathLst>
            </a:custGeom>
            <a:solidFill>
              <a:schemeClr val="accent3"/>
            </a:solidFill>
            <a:ln w="0">
              <a:noFill/>
              <a:prstDash val="solid"/>
              <a:round/>
              <a:headEnd/>
              <a:tailEnd/>
            </a:ln>
          </p:spPr>
          <p:txBody>
            <a:bodyPr vert="horz" wrap="square" lIns="93260" tIns="46630" rIns="93260" bIns="46630" numCol="1" anchor="t" anchorCtr="0" compatLnSpc="1">
              <a:prstTxWarp prst="textNoShape">
                <a:avLst/>
              </a:prstTxWarp>
              <a:noAutofit/>
            </a:bodyPr>
            <a:lstStyle/>
            <a:p>
              <a:endParaRPr lang="en-US" sz="1836"/>
            </a:p>
          </p:txBody>
        </p:sp>
        <p:sp>
          <p:nvSpPr>
            <p:cNvPr id="481" name="Freeform: Shape 306"/>
            <p:cNvSpPr>
              <a:spLocks/>
            </p:cNvSpPr>
            <p:nvPr/>
          </p:nvSpPr>
          <p:spPr bwMode="auto">
            <a:xfrm>
              <a:off x="9617922" y="3608216"/>
              <a:ext cx="78174" cy="78175"/>
            </a:xfrm>
            <a:custGeom>
              <a:avLst/>
              <a:gdLst>
                <a:gd name="connsiteX0" fmla="*/ 39087 w 78174"/>
                <a:gd name="connsiteY0" fmla="*/ 0 h 78175"/>
                <a:gd name="connsiteX1" fmla="*/ 78174 w 78174"/>
                <a:gd name="connsiteY1" fmla="*/ 39087 h 78175"/>
                <a:gd name="connsiteX2" fmla="*/ 39087 w 78174"/>
                <a:gd name="connsiteY2" fmla="*/ 78175 h 78175"/>
                <a:gd name="connsiteX3" fmla="*/ 0 w 78174"/>
                <a:gd name="connsiteY3" fmla="*/ 39087 h 78175"/>
                <a:gd name="connsiteX4" fmla="*/ 39087 w 78174"/>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75">
                  <a:moveTo>
                    <a:pt x="39087" y="0"/>
                  </a:moveTo>
                  <a:cubicBezTo>
                    <a:pt x="60674" y="0"/>
                    <a:pt x="78174" y="17500"/>
                    <a:pt x="78174" y="39087"/>
                  </a:cubicBezTo>
                  <a:cubicBezTo>
                    <a:pt x="78174" y="60675"/>
                    <a:pt x="60674" y="78175"/>
                    <a:pt x="39087" y="78175"/>
                  </a:cubicBezTo>
                  <a:cubicBezTo>
                    <a:pt x="17500" y="78175"/>
                    <a:pt x="0" y="60675"/>
                    <a:pt x="0" y="39087"/>
                  </a:cubicBezTo>
                  <a:cubicBezTo>
                    <a:pt x="0" y="17500"/>
                    <a:pt x="17500" y="0"/>
                    <a:pt x="39087" y="0"/>
                  </a:cubicBezTo>
                  <a:close/>
                </a:path>
              </a:pathLst>
            </a:custGeom>
            <a:solidFill>
              <a:schemeClr val="accent3"/>
            </a:solidFill>
            <a:ln w="0">
              <a:noFill/>
              <a:prstDash val="solid"/>
              <a:round/>
              <a:headEnd/>
              <a:tailEnd/>
            </a:ln>
          </p:spPr>
          <p:txBody>
            <a:bodyPr vert="horz" wrap="square" lIns="93260" tIns="46630" rIns="93260" bIns="46630" numCol="1" anchor="t" anchorCtr="0" compatLnSpc="1">
              <a:prstTxWarp prst="textNoShape">
                <a:avLst/>
              </a:prstTxWarp>
              <a:noAutofit/>
            </a:bodyPr>
            <a:lstStyle/>
            <a:p>
              <a:endParaRPr lang="en-US" sz="1836"/>
            </a:p>
          </p:txBody>
        </p:sp>
        <p:sp>
          <p:nvSpPr>
            <p:cNvPr id="482" name="Freeform: Shape 307"/>
            <p:cNvSpPr>
              <a:spLocks/>
            </p:cNvSpPr>
            <p:nvPr/>
          </p:nvSpPr>
          <p:spPr bwMode="auto">
            <a:xfrm>
              <a:off x="9899477" y="3608216"/>
              <a:ext cx="78174" cy="78175"/>
            </a:xfrm>
            <a:custGeom>
              <a:avLst/>
              <a:gdLst>
                <a:gd name="connsiteX0" fmla="*/ 39087 w 78174"/>
                <a:gd name="connsiteY0" fmla="*/ 0 h 78175"/>
                <a:gd name="connsiteX1" fmla="*/ 78174 w 78174"/>
                <a:gd name="connsiteY1" fmla="*/ 39087 h 78175"/>
                <a:gd name="connsiteX2" fmla="*/ 39087 w 78174"/>
                <a:gd name="connsiteY2" fmla="*/ 78175 h 78175"/>
                <a:gd name="connsiteX3" fmla="*/ 0 w 78174"/>
                <a:gd name="connsiteY3" fmla="*/ 39087 h 78175"/>
                <a:gd name="connsiteX4" fmla="*/ 39087 w 78174"/>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75">
                  <a:moveTo>
                    <a:pt x="39087" y="0"/>
                  </a:moveTo>
                  <a:cubicBezTo>
                    <a:pt x="60674" y="0"/>
                    <a:pt x="78174" y="17500"/>
                    <a:pt x="78174" y="39087"/>
                  </a:cubicBezTo>
                  <a:cubicBezTo>
                    <a:pt x="78174" y="60675"/>
                    <a:pt x="60674" y="78175"/>
                    <a:pt x="39087" y="78175"/>
                  </a:cubicBezTo>
                  <a:cubicBezTo>
                    <a:pt x="17500" y="78175"/>
                    <a:pt x="0" y="60675"/>
                    <a:pt x="0" y="39087"/>
                  </a:cubicBezTo>
                  <a:cubicBezTo>
                    <a:pt x="0" y="17500"/>
                    <a:pt x="17500" y="0"/>
                    <a:pt x="39087" y="0"/>
                  </a:cubicBezTo>
                  <a:close/>
                </a:path>
              </a:pathLst>
            </a:custGeom>
            <a:solidFill>
              <a:schemeClr val="accent3"/>
            </a:solidFill>
            <a:ln w="0">
              <a:noFill/>
              <a:prstDash val="solid"/>
              <a:round/>
              <a:headEnd/>
              <a:tailEnd/>
            </a:ln>
          </p:spPr>
          <p:txBody>
            <a:bodyPr vert="horz" wrap="square" lIns="93260" tIns="46630" rIns="93260" bIns="46630" numCol="1" anchor="t" anchorCtr="0" compatLnSpc="1">
              <a:prstTxWarp prst="textNoShape">
                <a:avLst/>
              </a:prstTxWarp>
              <a:noAutofit/>
            </a:bodyPr>
            <a:lstStyle/>
            <a:p>
              <a:endParaRPr lang="en-US" sz="1836"/>
            </a:p>
          </p:txBody>
        </p:sp>
        <p:sp>
          <p:nvSpPr>
            <p:cNvPr id="483" name="Freeform: Shape 308"/>
            <p:cNvSpPr>
              <a:spLocks/>
            </p:cNvSpPr>
            <p:nvPr/>
          </p:nvSpPr>
          <p:spPr bwMode="auto">
            <a:xfrm>
              <a:off x="6655778" y="3629276"/>
              <a:ext cx="40306" cy="57114"/>
            </a:xfrm>
            <a:custGeom>
              <a:avLst/>
              <a:gdLst>
                <a:gd name="connsiteX0" fmla="*/ 32839 w 40306"/>
                <a:gd name="connsiteY0" fmla="*/ 0 h 57114"/>
                <a:gd name="connsiteX1" fmla="*/ 40306 w 40306"/>
                <a:gd name="connsiteY1" fmla="*/ 18026 h 57114"/>
                <a:gd name="connsiteX2" fmla="*/ 1218 w 40306"/>
                <a:gd name="connsiteY2" fmla="*/ 57114 h 57114"/>
                <a:gd name="connsiteX3" fmla="*/ 0 w 40306"/>
                <a:gd name="connsiteY3" fmla="*/ 56609 h 57114"/>
                <a:gd name="connsiteX4" fmla="*/ 5942 w 40306"/>
                <a:gd name="connsiteY4" fmla="*/ 44273 h 57114"/>
                <a:gd name="connsiteX5" fmla="*/ 32839 w 40306"/>
                <a:gd name="connsiteY5" fmla="*/ 0 h 571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0306" h="57114">
                  <a:moveTo>
                    <a:pt x="32839" y="0"/>
                  </a:moveTo>
                  <a:lnTo>
                    <a:pt x="40306" y="18026"/>
                  </a:lnTo>
                  <a:cubicBezTo>
                    <a:pt x="40306" y="39614"/>
                    <a:pt x="22806" y="57114"/>
                    <a:pt x="1218" y="57114"/>
                  </a:cubicBezTo>
                  <a:lnTo>
                    <a:pt x="0" y="56609"/>
                  </a:lnTo>
                  <a:lnTo>
                    <a:pt x="5942" y="44273"/>
                  </a:lnTo>
                  <a:lnTo>
                    <a:pt x="32839" y="0"/>
                  </a:lnTo>
                  <a:close/>
                </a:path>
              </a:pathLst>
            </a:custGeom>
            <a:solidFill>
              <a:schemeClr val="accent3"/>
            </a:solidFill>
            <a:ln w="0">
              <a:noFill/>
              <a:prstDash val="solid"/>
              <a:round/>
              <a:headEnd/>
              <a:tailEnd/>
            </a:ln>
          </p:spPr>
          <p:txBody>
            <a:bodyPr vert="horz" wrap="square" lIns="93260" tIns="46630" rIns="93260" bIns="46630" numCol="1" anchor="t" anchorCtr="0" compatLnSpc="1">
              <a:prstTxWarp prst="textNoShape">
                <a:avLst/>
              </a:prstTxWarp>
              <a:noAutofit/>
            </a:bodyPr>
            <a:lstStyle/>
            <a:p>
              <a:endParaRPr lang="en-US" sz="1836"/>
            </a:p>
          </p:txBody>
        </p:sp>
        <p:sp>
          <p:nvSpPr>
            <p:cNvPr id="484" name="Freeform: Shape 309"/>
            <p:cNvSpPr>
              <a:spLocks/>
            </p:cNvSpPr>
            <p:nvPr/>
          </p:nvSpPr>
          <p:spPr bwMode="auto">
            <a:xfrm>
              <a:off x="6804820" y="3693393"/>
              <a:ext cx="78189" cy="78173"/>
            </a:xfrm>
            <a:custGeom>
              <a:avLst/>
              <a:gdLst>
                <a:gd name="connsiteX0" fmla="*/ 39090 w 78189"/>
                <a:gd name="connsiteY0" fmla="*/ 0 h 78173"/>
                <a:gd name="connsiteX1" fmla="*/ 78189 w 78189"/>
                <a:gd name="connsiteY1" fmla="*/ 39087 h 78173"/>
                <a:gd name="connsiteX2" fmla="*/ 39090 w 78189"/>
                <a:gd name="connsiteY2" fmla="*/ 78173 h 78173"/>
                <a:gd name="connsiteX3" fmla="*/ 0 w 78189"/>
                <a:gd name="connsiteY3" fmla="*/ 39087 h 78173"/>
                <a:gd name="connsiteX4" fmla="*/ 39090 w 78189"/>
                <a:gd name="connsiteY4" fmla="*/ 0 h 781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89" h="78173">
                  <a:moveTo>
                    <a:pt x="39090" y="0"/>
                  </a:moveTo>
                  <a:cubicBezTo>
                    <a:pt x="60671" y="0"/>
                    <a:pt x="78189" y="17500"/>
                    <a:pt x="78189" y="39087"/>
                  </a:cubicBezTo>
                  <a:cubicBezTo>
                    <a:pt x="78189" y="60673"/>
                    <a:pt x="60671" y="78173"/>
                    <a:pt x="39090" y="78173"/>
                  </a:cubicBezTo>
                  <a:cubicBezTo>
                    <a:pt x="17499" y="78173"/>
                    <a:pt x="0" y="60673"/>
                    <a:pt x="0" y="39087"/>
                  </a:cubicBezTo>
                  <a:cubicBezTo>
                    <a:pt x="0" y="17500"/>
                    <a:pt x="17499" y="0"/>
                    <a:pt x="39090" y="0"/>
                  </a:cubicBezTo>
                  <a:close/>
                </a:path>
              </a:pathLst>
            </a:custGeom>
            <a:solidFill>
              <a:schemeClr val="accent3"/>
            </a:solidFill>
            <a:ln w="0">
              <a:noFill/>
              <a:prstDash val="solid"/>
              <a:round/>
              <a:headEnd/>
              <a:tailEnd/>
            </a:ln>
          </p:spPr>
          <p:txBody>
            <a:bodyPr vert="horz" wrap="square" lIns="93260" tIns="46630" rIns="93260" bIns="46630" numCol="1" anchor="t" anchorCtr="0" compatLnSpc="1">
              <a:prstTxWarp prst="textNoShape">
                <a:avLst/>
              </a:prstTxWarp>
              <a:noAutofit/>
            </a:bodyPr>
            <a:lstStyle/>
            <a:p>
              <a:endParaRPr lang="en-US" sz="1836"/>
            </a:p>
          </p:txBody>
        </p:sp>
        <p:sp>
          <p:nvSpPr>
            <p:cNvPr id="485" name="Freeform: Shape 310"/>
            <p:cNvSpPr>
              <a:spLocks/>
            </p:cNvSpPr>
            <p:nvPr/>
          </p:nvSpPr>
          <p:spPr bwMode="auto">
            <a:xfrm>
              <a:off x="7176318" y="3693393"/>
              <a:ext cx="78177" cy="78173"/>
            </a:xfrm>
            <a:custGeom>
              <a:avLst/>
              <a:gdLst>
                <a:gd name="connsiteX0" fmla="*/ 39075 w 78177"/>
                <a:gd name="connsiteY0" fmla="*/ 0 h 78173"/>
                <a:gd name="connsiteX1" fmla="*/ 78177 w 78177"/>
                <a:gd name="connsiteY1" fmla="*/ 39087 h 78173"/>
                <a:gd name="connsiteX2" fmla="*/ 39075 w 78177"/>
                <a:gd name="connsiteY2" fmla="*/ 78173 h 78173"/>
                <a:gd name="connsiteX3" fmla="*/ 0 w 78177"/>
                <a:gd name="connsiteY3" fmla="*/ 39087 h 78173"/>
                <a:gd name="connsiteX4" fmla="*/ 39075 w 78177"/>
                <a:gd name="connsiteY4" fmla="*/ 0 h 781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7" h="78173">
                  <a:moveTo>
                    <a:pt x="39075" y="0"/>
                  </a:moveTo>
                  <a:cubicBezTo>
                    <a:pt x="60680" y="0"/>
                    <a:pt x="78177" y="17500"/>
                    <a:pt x="78177" y="39087"/>
                  </a:cubicBezTo>
                  <a:cubicBezTo>
                    <a:pt x="78177" y="60673"/>
                    <a:pt x="60680" y="78173"/>
                    <a:pt x="39075" y="78173"/>
                  </a:cubicBezTo>
                  <a:cubicBezTo>
                    <a:pt x="17505" y="78173"/>
                    <a:pt x="0" y="60673"/>
                    <a:pt x="0" y="39087"/>
                  </a:cubicBezTo>
                  <a:cubicBezTo>
                    <a:pt x="0" y="17500"/>
                    <a:pt x="17505" y="0"/>
                    <a:pt x="39075" y="0"/>
                  </a:cubicBezTo>
                  <a:close/>
                </a:path>
              </a:pathLst>
            </a:custGeom>
            <a:solidFill>
              <a:schemeClr val="accent3"/>
            </a:solidFill>
            <a:ln w="0">
              <a:noFill/>
              <a:prstDash val="solid"/>
              <a:round/>
              <a:headEnd/>
              <a:tailEnd/>
            </a:ln>
          </p:spPr>
          <p:txBody>
            <a:bodyPr vert="horz" wrap="square" lIns="93260" tIns="46630" rIns="93260" bIns="46630" numCol="1" anchor="t" anchorCtr="0" compatLnSpc="1">
              <a:prstTxWarp prst="textNoShape">
                <a:avLst/>
              </a:prstTxWarp>
              <a:noAutofit/>
            </a:bodyPr>
            <a:lstStyle/>
            <a:p>
              <a:endParaRPr lang="en-US" sz="1836"/>
            </a:p>
          </p:txBody>
        </p:sp>
        <p:sp>
          <p:nvSpPr>
            <p:cNvPr id="486" name="Freeform: Shape 311"/>
            <p:cNvSpPr>
              <a:spLocks/>
            </p:cNvSpPr>
            <p:nvPr/>
          </p:nvSpPr>
          <p:spPr bwMode="auto">
            <a:xfrm>
              <a:off x="8964923" y="3693393"/>
              <a:ext cx="78167" cy="78173"/>
            </a:xfrm>
            <a:custGeom>
              <a:avLst/>
              <a:gdLst>
                <a:gd name="connsiteX0" fmla="*/ 39078 w 78167"/>
                <a:gd name="connsiteY0" fmla="*/ 0 h 78173"/>
                <a:gd name="connsiteX1" fmla="*/ 78167 w 78167"/>
                <a:gd name="connsiteY1" fmla="*/ 39087 h 78173"/>
                <a:gd name="connsiteX2" fmla="*/ 39078 w 78167"/>
                <a:gd name="connsiteY2" fmla="*/ 78173 h 78173"/>
                <a:gd name="connsiteX3" fmla="*/ 0 w 78167"/>
                <a:gd name="connsiteY3" fmla="*/ 39087 h 78173"/>
                <a:gd name="connsiteX4" fmla="*/ 39078 w 78167"/>
                <a:gd name="connsiteY4" fmla="*/ 0 h 781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67" h="78173">
                  <a:moveTo>
                    <a:pt x="39078" y="0"/>
                  </a:moveTo>
                  <a:cubicBezTo>
                    <a:pt x="60666" y="0"/>
                    <a:pt x="78167" y="17500"/>
                    <a:pt x="78167" y="39087"/>
                  </a:cubicBezTo>
                  <a:cubicBezTo>
                    <a:pt x="78167" y="60673"/>
                    <a:pt x="60666" y="78173"/>
                    <a:pt x="39078" y="78173"/>
                  </a:cubicBezTo>
                  <a:cubicBezTo>
                    <a:pt x="17502" y="78173"/>
                    <a:pt x="0" y="60673"/>
                    <a:pt x="0" y="39087"/>
                  </a:cubicBezTo>
                  <a:cubicBezTo>
                    <a:pt x="0" y="17500"/>
                    <a:pt x="17502" y="0"/>
                    <a:pt x="39078" y="0"/>
                  </a:cubicBezTo>
                  <a:close/>
                </a:path>
              </a:pathLst>
            </a:custGeom>
            <a:solidFill>
              <a:schemeClr val="accent3"/>
            </a:solidFill>
            <a:ln w="0">
              <a:noFill/>
              <a:prstDash val="solid"/>
              <a:round/>
              <a:headEnd/>
              <a:tailEnd/>
            </a:ln>
          </p:spPr>
          <p:txBody>
            <a:bodyPr vert="horz" wrap="square" lIns="93260" tIns="46630" rIns="93260" bIns="46630" numCol="1" anchor="t" anchorCtr="0" compatLnSpc="1">
              <a:prstTxWarp prst="textNoShape">
                <a:avLst/>
              </a:prstTxWarp>
              <a:noAutofit/>
            </a:bodyPr>
            <a:lstStyle/>
            <a:p>
              <a:endParaRPr lang="en-US" sz="1836"/>
            </a:p>
          </p:txBody>
        </p:sp>
        <p:sp>
          <p:nvSpPr>
            <p:cNvPr id="487" name="Freeform: Shape 312"/>
            <p:cNvSpPr>
              <a:spLocks/>
            </p:cNvSpPr>
            <p:nvPr/>
          </p:nvSpPr>
          <p:spPr bwMode="auto">
            <a:xfrm>
              <a:off x="9338734" y="3693394"/>
              <a:ext cx="78174" cy="78173"/>
            </a:xfrm>
            <a:custGeom>
              <a:avLst/>
              <a:gdLst>
                <a:gd name="connsiteX0" fmla="*/ 39087 w 78174"/>
                <a:gd name="connsiteY0" fmla="*/ 0 h 78173"/>
                <a:gd name="connsiteX1" fmla="*/ 78174 w 78174"/>
                <a:gd name="connsiteY1" fmla="*/ 39086 h 78173"/>
                <a:gd name="connsiteX2" fmla="*/ 39087 w 78174"/>
                <a:gd name="connsiteY2" fmla="*/ 78173 h 78173"/>
                <a:gd name="connsiteX3" fmla="*/ 0 w 78174"/>
                <a:gd name="connsiteY3" fmla="*/ 39086 h 78173"/>
                <a:gd name="connsiteX4" fmla="*/ 39087 w 78174"/>
                <a:gd name="connsiteY4" fmla="*/ 0 h 781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73">
                  <a:moveTo>
                    <a:pt x="39087" y="0"/>
                  </a:moveTo>
                  <a:cubicBezTo>
                    <a:pt x="60674" y="0"/>
                    <a:pt x="78174" y="17500"/>
                    <a:pt x="78174" y="39086"/>
                  </a:cubicBezTo>
                  <a:cubicBezTo>
                    <a:pt x="78174" y="60673"/>
                    <a:pt x="60674" y="78173"/>
                    <a:pt x="39087" y="78173"/>
                  </a:cubicBezTo>
                  <a:cubicBezTo>
                    <a:pt x="17500" y="78173"/>
                    <a:pt x="0" y="60673"/>
                    <a:pt x="0" y="39086"/>
                  </a:cubicBezTo>
                  <a:cubicBezTo>
                    <a:pt x="0" y="17500"/>
                    <a:pt x="17500" y="0"/>
                    <a:pt x="39087" y="0"/>
                  </a:cubicBezTo>
                  <a:close/>
                </a:path>
              </a:pathLst>
            </a:custGeom>
            <a:solidFill>
              <a:schemeClr val="accent3"/>
            </a:solidFill>
            <a:ln w="0">
              <a:noFill/>
              <a:prstDash val="solid"/>
              <a:round/>
              <a:headEnd/>
              <a:tailEnd/>
            </a:ln>
          </p:spPr>
          <p:txBody>
            <a:bodyPr vert="horz" wrap="square" lIns="93260" tIns="46630" rIns="93260" bIns="46630" numCol="1" anchor="t" anchorCtr="0" compatLnSpc="1">
              <a:prstTxWarp prst="textNoShape">
                <a:avLst/>
              </a:prstTxWarp>
              <a:noAutofit/>
            </a:bodyPr>
            <a:lstStyle/>
            <a:p>
              <a:endParaRPr lang="en-US" sz="1836"/>
            </a:p>
          </p:txBody>
        </p:sp>
        <p:sp>
          <p:nvSpPr>
            <p:cNvPr id="488" name="Freeform: Shape 313"/>
            <p:cNvSpPr>
              <a:spLocks/>
            </p:cNvSpPr>
            <p:nvPr/>
          </p:nvSpPr>
          <p:spPr bwMode="auto">
            <a:xfrm>
              <a:off x="9617922" y="3693394"/>
              <a:ext cx="78175" cy="78173"/>
            </a:xfrm>
            <a:custGeom>
              <a:avLst/>
              <a:gdLst>
                <a:gd name="connsiteX0" fmla="*/ 39087 w 78175"/>
                <a:gd name="connsiteY0" fmla="*/ 0 h 78173"/>
                <a:gd name="connsiteX1" fmla="*/ 78175 w 78175"/>
                <a:gd name="connsiteY1" fmla="*/ 39086 h 78173"/>
                <a:gd name="connsiteX2" fmla="*/ 39087 w 78175"/>
                <a:gd name="connsiteY2" fmla="*/ 78173 h 78173"/>
                <a:gd name="connsiteX3" fmla="*/ 0 w 78175"/>
                <a:gd name="connsiteY3" fmla="*/ 39086 h 78173"/>
                <a:gd name="connsiteX4" fmla="*/ 39087 w 78175"/>
                <a:gd name="connsiteY4" fmla="*/ 0 h 781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5" h="78173">
                  <a:moveTo>
                    <a:pt x="39087" y="0"/>
                  </a:moveTo>
                  <a:cubicBezTo>
                    <a:pt x="60675" y="0"/>
                    <a:pt x="78175" y="17500"/>
                    <a:pt x="78175" y="39086"/>
                  </a:cubicBezTo>
                  <a:cubicBezTo>
                    <a:pt x="78175" y="60673"/>
                    <a:pt x="60675" y="78173"/>
                    <a:pt x="39087" y="78173"/>
                  </a:cubicBezTo>
                  <a:cubicBezTo>
                    <a:pt x="17500" y="78173"/>
                    <a:pt x="0" y="60673"/>
                    <a:pt x="0" y="39086"/>
                  </a:cubicBezTo>
                  <a:cubicBezTo>
                    <a:pt x="0" y="17500"/>
                    <a:pt x="17500" y="0"/>
                    <a:pt x="39087" y="0"/>
                  </a:cubicBezTo>
                  <a:close/>
                </a:path>
              </a:pathLst>
            </a:custGeom>
            <a:solidFill>
              <a:schemeClr val="accent3"/>
            </a:solidFill>
            <a:ln w="0">
              <a:noFill/>
              <a:prstDash val="solid"/>
              <a:round/>
              <a:headEnd/>
              <a:tailEnd/>
            </a:ln>
          </p:spPr>
          <p:txBody>
            <a:bodyPr vert="horz" wrap="square" lIns="93260" tIns="46630" rIns="93260" bIns="46630" numCol="1" anchor="t" anchorCtr="0" compatLnSpc="1">
              <a:prstTxWarp prst="textNoShape">
                <a:avLst/>
              </a:prstTxWarp>
              <a:noAutofit/>
            </a:bodyPr>
            <a:lstStyle/>
            <a:p>
              <a:endParaRPr lang="en-US" sz="1836"/>
            </a:p>
          </p:txBody>
        </p:sp>
        <p:sp>
          <p:nvSpPr>
            <p:cNvPr id="489" name="Freeform: Shape 314"/>
            <p:cNvSpPr>
              <a:spLocks/>
            </p:cNvSpPr>
            <p:nvPr/>
          </p:nvSpPr>
          <p:spPr bwMode="auto">
            <a:xfrm>
              <a:off x="9807202" y="3693394"/>
              <a:ext cx="78175" cy="78173"/>
            </a:xfrm>
            <a:custGeom>
              <a:avLst/>
              <a:gdLst>
                <a:gd name="connsiteX0" fmla="*/ 39087 w 78175"/>
                <a:gd name="connsiteY0" fmla="*/ 0 h 78173"/>
                <a:gd name="connsiteX1" fmla="*/ 78175 w 78175"/>
                <a:gd name="connsiteY1" fmla="*/ 39086 h 78173"/>
                <a:gd name="connsiteX2" fmla="*/ 39087 w 78175"/>
                <a:gd name="connsiteY2" fmla="*/ 78173 h 78173"/>
                <a:gd name="connsiteX3" fmla="*/ 0 w 78175"/>
                <a:gd name="connsiteY3" fmla="*/ 39086 h 78173"/>
                <a:gd name="connsiteX4" fmla="*/ 39087 w 78175"/>
                <a:gd name="connsiteY4" fmla="*/ 0 h 781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5" h="78173">
                  <a:moveTo>
                    <a:pt x="39087" y="0"/>
                  </a:moveTo>
                  <a:cubicBezTo>
                    <a:pt x="60675" y="0"/>
                    <a:pt x="78175" y="17500"/>
                    <a:pt x="78175" y="39086"/>
                  </a:cubicBezTo>
                  <a:cubicBezTo>
                    <a:pt x="78175" y="60673"/>
                    <a:pt x="60675" y="78173"/>
                    <a:pt x="39087" y="78173"/>
                  </a:cubicBezTo>
                  <a:cubicBezTo>
                    <a:pt x="17500" y="78173"/>
                    <a:pt x="0" y="60673"/>
                    <a:pt x="0" y="39086"/>
                  </a:cubicBezTo>
                  <a:cubicBezTo>
                    <a:pt x="0" y="17500"/>
                    <a:pt x="17500" y="0"/>
                    <a:pt x="39087" y="0"/>
                  </a:cubicBezTo>
                  <a:close/>
                </a:path>
              </a:pathLst>
            </a:custGeom>
            <a:solidFill>
              <a:schemeClr val="accent3"/>
            </a:solidFill>
            <a:ln w="0">
              <a:noFill/>
              <a:prstDash val="solid"/>
              <a:round/>
              <a:headEnd/>
              <a:tailEnd/>
            </a:ln>
          </p:spPr>
          <p:txBody>
            <a:bodyPr vert="horz" wrap="square" lIns="93260" tIns="46630" rIns="93260" bIns="46630" numCol="1" anchor="t" anchorCtr="0" compatLnSpc="1">
              <a:prstTxWarp prst="textNoShape">
                <a:avLst/>
              </a:prstTxWarp>
              <a:noAutofit/>
            </a:bodyPr>
            <a:lstStyle/>
            <a:p>
              <a:endParaRPr lang="en-US" sz="1836"/>
            </a:p>
          </p:txBody>
        </p:sp>
        <p:sp>
          <p:nvSpPr>
            <p:cNvPr id="490" name="Freeform: Shape 315"/>
            <p:cNvSpPr>
              <a:spLocks/>
            </p:cNvSpPr>
            <p:nvPr/>
          </p:nvSpPr>
          <p:spPr bwMode="auto">
            <a:xfrm>
              <a:off x="10091123" y="3693394"/>
              <a:ext cx="78174" cy="78173"/>
            </a:xfrm>
            <a:custGeom>
              <a:avLst/>
              <a:gdLst>
                <a:gd name="connsiteX0" fmla="*/ 39088 w 78174"/>
                <a:gd name="connsiteY0" fmla="*/ 0 h 78173"/>
                <a:gd name="connsiteX1" fmla="*/ 78174 w 78174"/>
                <a:gd name="connsiteY1" fmla="*/ 39086 h 78173"/>
                <a:gd name="connsiteX2" fmla="*/ 39088 w 78174"/>
                <a:gd name="connsiteY2" fmla="*/ 78173 h 78173"/>
                <a:gd name="connsiteX3" fmla="*/ 0 w 78174"/>
                <a:gd name="connsiteY3" fmla="*/ 39086 h 78173"/>
                <a:gd name="connsiteX4" fmla="*/ 39088 w 78174"/>
                <a:gd name="connsiteY4" fmla="*/ 0 h 781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73">
                  <a:moveTo>
                    <a:pt x="39088" y="0"/>
                  </a:moveTo>
                  <a:cubicBezTo>
                    <a:pt x="60675" y="0"/>
                    <a:pt x="78174" y="17500"/>
                    <a:pt x="78174" y="39086"/>
                  </a:cubicBezTo>
                  <a:cubicBezTo>
                    <a:pt x="78174" y="60673"/>
                    <a:pt x="60675" y="78173"/>
                    <a:pt x="39088" y="78173"/>
                  </a:cubicBezTo>
                  <a:cubicBezTo>
                    <a:pt x="17500" y="78173"/>
                    <a:pt x="0" y="60673"/>
                    <a:pt x="0" y="39086"/>
                  </a:cubicBezTo>
                  <a:cubicBezTo>
                    <a:pt x="0" y="17500"/>
                    <a:pt x="17500" y="0"/>
                    <a:pt x="39088" y="0"/>
                  </a:cubicBezTo>
                  <a:close/>
                </a:path>
              </a:pathLst>
            </a:custGeom>
            <a:solidFill>
              <a:schemeClr val="accent3"/>
            </a:solidFill>
            <a:ln w="0">
              <a:noFill/>
              <a:prstDash val="solid"/>
              <a:round/>
              <a:headEnd/>
              <a:tailEnd/>
            </a:ln>
          </p:spPr>
          <p:txBody>
            <a:bodyPr vert="horz" wrap="square" lIns="93260" tIns="46630" rIns="93260" bIns="46630" numCol="1" anchor="t" anchorCtr="0" compatLnSpc="1">
              <a:prstTxWarp prst="textNoShape">
                <a:avLst/>
              </a:prstTxWarp>
              <a:noAutofit/>
            </a:bodyPr>
            <a:lstStyle/>
            <a:p>
              <a:endParaRPr lang="en-US" sz="1836"/>
            </a:p>
          </p:txBody>
        </p:sp>
        <p:sp>
          <p:nvSpPr>
            <p:cNvPr id="491" name="Freeform: Shape 316"/>
            <p:cNvSpPr>
              <a:spLocks/>
            </p:cNvSpPr>
            <p:nvPr/>
          </p:nvSpPr>
          <p:spPr bwMode="auto">
            <a:xfrm>
              <a:off x="10185763" y="3721072"/>
              <a:ext cx="26549" cy="45301"/>
            </a:xfrm>
            <a:custGeom>
              <a:avLst/>
              <a:gdLst>
                <a:gd name="connsiteX0" fmla="*/ 4726 w 26549"/>
                <a:gd name="connsiteY0" fmla="*/ 0 h 45301"/>
                <a:gd name="connsiteX1" fmla="*/ 26549 w 26549"/>
                <a:gd name="connsiteY1" fmla="*/ 45301 h 45301"/>
                <a:gd name="connsiteX2" fmla="*/ 11449 w 26549"/>
                <a:gd name="connsiteY2" fmla="*/ 39047 h 45301"/>
                <a:gd name="connsiteX3" fmla="*/ 0 w 26549"/>
                <a:gd name="connsiteY3" fmla="*/ 11408 h 45301"/>
                <a:gd name="connsiteX4" fmla="*/ 4726 w 26549"/>
                <a:gd name="connsiteY4" fmla="*/ 0 h 453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549" h="45301">
                  <a:moveTo>
                    <a:pt x="4726" y="0"/>
                  </a:moveTo>
                  <a:lnTo>
                    <a:pt x="26549" y="45301"/>
                  </a:lnTo>
                  <a:lnTo>
                    <a:pt x="11449" y="39047"/>
                  </a:lnTo>
                  <a:cubicBezTo>
                    <a:pt x="4375" y="31974"/>
                    <a:pt x="0" y="22202"/>
                    <a:pt x="0" y="11408"/>
                  </a:cubicBezTo>
                  <a:lnTo>
                    <a:pt x="4726" y="0"/>
                  </a:lnTo>
                  <a:close/>
                </a:path>
              </a:pathLst>
            </a:custGeom>
            <a:solidFill>
              <a:schemeClr val="accent3"/>
            </a:solidFill>
            <a:ln w="0">
              <a:noFill/>
              <a:prstDash val="solid"/>
              <a:round/>
              <a:headEnd/>
              <a:tailEnd/>
            </a:ln>
          </p:spPr>
          <p:txBody>
            <a:bodyPr vert="horz" wrap="square" lIns="93260" tIns="46630" rIns="93260" bIns="46630" numCol="1" anchor="t" anchorCtr="0" compatLnSpc="1">
              <a:prstTxWarp prst="textNoShape">
                <a:avLst/>
              </a:prstTxWarp>
              <a:noAutofit/>
            </a:bodyPr>
            <a:lstStyle/>
            <a:p>
              <a:endParaRPr lang="en-US" sz="1836"/>
            </a:p>
          </p:txBody>
        </p:sp>
        <p:sp>
          <p:nvSpPr>
            <p:cNvPr id="492" name="Freeform: Shape 317"/>
            <p:cNvSpPr>
              <a:spLocks/>
            </p:cNvSpPr>
            <p:nvPr/>
          </p:nvSpPr>
          <p:spPr bwMode="auto">
            <a:xfrm>
              <a:off x="6617902" y="3776203"/>
              <a:ext cx="78172" cy="78173"/>
            </a:xfrm>
            <a:custGeom>
              <a:avLst/>
              <a:gdLst>
                <a:gd name="connsiteX0" fmla="*/ 39086 w 78172"/>
                <a:gd name="connsiteY0" fmla="*/ 0 h 78173"/>
                <a:gd name="connsiteX1" fmla="*/ 78172 w 78172"/>
                <a:gd name="connsiteY1" fmla="*/ 39086 h 78173"/>
                <a:gd name="connsiteX2" fmla="*/ 39086 w 78172"/>
                <a:gd name="connsiteY2" fmla="*/ 78173 h 78173"/>
                <a:gd name="connsiteX3" fmla="*/ 0 w 78172"/>
                <a:gd name="connsiteY3" fmla="*/ 39086 h 78173"/>
                <a:gd name="connsiteX4" fmla="*/ 39086 w 78172"/>
                <a:gd name="connsiteY4" fmla="*/ 0 h 781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2" h="78173">
                  <a:moveTo>
                    <a:pt x="39086" y="0"/>
                  </a:moveTo>
                  <a:cubicBezTo>
                    <a:pt x="60673" y="0"/>
                    <a:pt x="78172" y="17499"/>
                    <a:pt x="78172" y="39086"/>
                  </a:cubicBezTo>
                  <a:cubicBezTo>
                    <a:pt x="78172" y="60673"/>
                    <a:pt x="60673" y="78173"/>
                    <a:pt x="39086" y="78173"/>
                  </a:cubicBezTo>
                  <a:cubicBezTo>
                    <a:pt x="17499" y="78173"/>
                    <a:pt x="0" y="60673"/>
                    <a:pt x="0" y="39086"/>
                  </a:cubicBezTo>
                  <a:cubicBezTo>
                    <a:pt x="0" y="17499"/>
                    <a:pt x="17499" y="0"/>
                    <a:pt x="39086" y="0"/>
                  </a:cubicBezTo>
                  <a:close/>
                </a:path>
              </a:pathLst>
            </a:custGeom>
            <a:solidFill>
              <a:schemeClr val="accent3"/>
            </a:solidFill>
            <a:ln w="0">
              <a:noFill/>
              <a:prstDash val="solid"/>
              <a:round/>
              <a:headEnd/>
              <a:tailEnd/>
            </a:ln>
          </p:spPr>
          <p:txBody>
            <a:bodyPr vert="horz" wrap="square" lIns="93260" tIns="46630" rIns="93260" bIns="46630" numCol="1" anchor="t" anchorCtr="0" compatLnSpc="1">
              <a:prstTxWarp prst="textNoShape">
                <a:avLst/>
              </a:prstTxWarp>
              <a:noAutofit/>
            </a:bodyPr>
            <a:lstStyle/>
            <a:p>
              <a:endParaRPr lang="en-US" sz="1836"/>
            </a:p>
          </p:txBody>
        </p:sp>
        <p:sp>
          <p:nvSpPr>
            <p:cNvPr id="493" name="Freeform: Shape 318"/>
            <p:cNvSpPr>
              <a:spLocks/>
            </p:cNvSpPr>
            <p:nvPr/>
          </p:nvSpPr>
          <p:spPr bwMode="auto">
            <a:xfrm>
              <a:off x="7084012" y="3776203"/>
              <a:ext cx="78196" cy="78173"/>
            </a:xfrm>
            <a:custGeom>
              <a:avLst/>
              <a:gdLst>
                <a:gd name="connsiteX0" fmla="*/ 39098 w 78196"/>
                <a:gd name="connsiteY0" fmla="*/ 0 h 78173"/>
                <a:gd name="connsiteX1" fmla="*/ 78196 w 78196"/>
                <a:gd name="connsiteY1" fmla="*/ 39086 h 78173"/>
                <a:gd name="connsiteX2" fmla="*/ 39098 w 78196"/>
                <a:gd name="connsiteY2" fmla="*/ 78173 h 78173"/>
                <a:gd name="connsiteX3" fmla="*/ 0 w 78196"/>
                <a:gd name="connsiteY3" fmla="*/ 39086 h 78173"/>
                <a:gd name="connsiteX4" fmla="*/ 39098 w 78196"/>
                <a:gd name="connsiteY4" fmla="*/ 0 h 781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96" h="78173">
                  <a:moveTo>
                    <a:pt x="39098" y="0"/>
                  </a:moveTo>
                  <a:cubicBezTo>
                    <a:pt x="60692" y="0"/>
                    <a:pt x="78196" y="17499"/>
                    <a:pt x="78196" y="39086"/>
                  </a:cubicBezTo>
                  <a:cubicBezTo>
                    <a:pt x="78196" y="60673"/>
                    <a:pt x="60692" y="78173"/>
                    <a:pt x="39098" y="78173"/>
                  </a:cubicBezTo>
                  <a:cubicBezTo>
                    <a:pt x="17505" y="78173"/>
                    <a:pt x="0" y="60673"/>
                    <a:pt x="0" y="39086"/>
                  </a:cubicBezTo>
                  <a:cubicBezTo>
                    <a:pt x="0" y="17499"/>
                    <a:pt x="17505" y="0"/>
                    <a:pt x="39098" y="0"/>
                  </a:cubicBezTo>
                  <a:close/>
                </a:path>
              </a:pathLst>
            </a:custGeom>
            <a:solidFill>
              <a:schemeClr val="accent3"/>
            </a:solidFill>
            <a:ln w="0">
              <a:noFill/>
              <a:prstDash val="solid"/>
              <a:round/>
              <a:headEnd/>
              <a:tailEnd/>
            </a:ln>
          </p:spPr>
          <p:txBody>
            <a:bodyPr vert="horz" wrap="square" lIns="93260" tIns="46630" rIns="93260" bIns="46630" numCol="1" anchor="t" anchorCtr="0" compatLnSpc="1">
              <a:prstTxWarp prst="textNoShape">
                <a:avLst/>
              </a:prstTxWarp>
              <a:noAutofit/>
            </a:bodyPr>
            <a:lstStyle/>
            <a:p>
              <a:endParaRPr lang="en-US" sz="1836"/>
            </a:p>
          </p:txBody>
        </p:sp>
        <p:sp>
          <p:nvSpPr>
            <p:cNvPr id="494" name="Freeform: Shape 319"/>
            <p:cNvSpPr>
              <a:spLocks/>
            </p:cNvSpPr>
            <p:nvPr/>
          </p:nvSpPr>
          <p:spPr bwMode="auto">
            <a:xfrm>
              <a:off x="7270954" y="3776203"/>
              <a:ext cx="78164" cy="78173"/>
            </a:xfrm>
            <a:custGeom>
              <a:avLst/>
              <a:gdLst>
                <a:gd name="connsiteX0" fmla="*/ 39081 w 78164"/>
                <a:gd name="connsiteY0" fmla="*/ 0 h 78173"/>
                <a:gd name="connsiteX1" fmla="*/ 78164 w 78164"/>
                <a:gd name="connsiteY1" fmla="*/ 39086 h 78173"/>
                <a:gd name="connsiteX2" fmla="*/ 39081 w 78164"/>
                <a:gd name="connsiteY2" fmla="*/ 78173 h 78173"/>
                <a:gd name="connsiteX3" fmla="*/ 0 w 78164"/>
                <a:gd name="connsiteY3" fmla="*/ 39086 h 78173"/>
                <a:gd name="connsiteX4" fmla="*/ 39081 w 78164"/>
                <a:gd name="connsiteY4" fmla="*/ 0 h 781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64" h="78173">
                  <a:moveTo>
                    <a:pt x="39081" y="0"/>
                  </a:moveTo>
                  <a:cubicBezTo>
                    <a:pt x="60665" y="0"/>
                    <a:pt x="78164" y="17499"/>
                    <a:pt x="78164" y="39086"/>
                  </a:cubicBezTo>
                  <a:cubicBezTo>
                    <a:pt x="78164" y="60673"/>
                    <a:pt x="60665" y="78173"/>
                    <a:pt x="39081" y="78173"/>
                  </a:cubicBezTo>
                  <a:cubicBezTo>
                    <a:pt x="17488" y="78173"/>
                    <a:pt x="0" y="60673"/>
                    <a:pt x="0" y="39086"/>
                  </a:cubicBezTo>
                  <a:cubicBezTo>
                    <a:pt x="0" y="17499"/>
                    <a:pt x="17488" y="0"/>
                    <a:pt x="39081" y="0"/>
                  </a:cubicBezTo>
                  <a:close/>
                </a:path>
              </a:pathLst>
            </a:custGeom>
            <a:solidFill>
              <a:schemeClr val="accent3"/>
            </a:solidFill>
            <a:ln w="0">
              <a:noFill/>
              <a:prstDash val="solid"/>
              <a:round/>
              <a:headEnd/>
              <a:tailEnd/>
            </a:ln>
          </p:spPr>
          <p:txBody>
            <a:bodyPr vert="horz" wrap="square" lIns="93260" tIns="46630" rIns="93260" bIns="46630" numCol="1" anchor="t" anchorCtr="0" compatLnSpc="1">
              <a:prstTxWarp prst="textNoShape">
                <a:avLst/>
              </a:prstTxWarp>
              <a:noAutofit/>
            </a:bodyPr>
            <a:lstStyle/>
            <a:p>
              <a:endParaRPr lang="en-US" sz="1836"/>
            </a:p>
          </p:txBody>
        </p:sp>
        <p:sp>
          <p:nvSpPr>
            <p:cNvPr id="495" name="Freeform: Shape 320"/>
            <p:cNvSpPr>
              <a:spLocks/>
            </p:cNvSpPr>
            <p:nvPr/>
          </p:nvSpPr>
          <p:spPr bwMode="auto">
            <a:xfrm>
              <a:off x="7836400" y="3776203"/>
              <a:ext cx="78169" cy="78173"/>
            </a:xfrm>
            <a:custGeom>
              <a:avLst/>
              <a:gdLst>
                <a:gd name="connsiteX0" fmla="*/ 39080 w 78169"/>
                <a:gd name="connsiteY0" fmla="*/ 0 h 78173"/>
                <a:gd name="connsiteX1" fmla="*/ 78169 w 78169"/>
                <a:gd name="connsiteY1" fmla="*/ 39086 h 78173"/>
                <a:gd name="connsiteX2" fmla="*/ 39080 w 78169"/>
                <a:gd name="connsiteY2" fmla="*/ 78173 h 78173"/>
                <a:gd name="connsiteX3" fmla="*/ 0 w 78169"/>
                <a:gd name="connsiteY3" fmla="*/ 39086 h 78173"/>
                <a:gd name="connsiteX4" fmla="*/ 39080 w 78169"/>
                <a:gd name="connsiteY4" fmla="*/ 0 h 781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69" h="78173">
                  <a:moveTo>
                    <a:pt x="39080" y="0"/>
                  </a:moveTo>
                  <a:cubicBezTo>
                    <a:pt x="60667" y="0"/>
                    <a:pt x="78169" y="17499"/>
                    <a:pt x="78169" y="39086"/>
                  </a:cubicBezTo>
                  <a:cubicBezTo>
                    <a:pt x="78169" y="60673"/>
                    <a:pt x="60667" y="78173"/>
                    <a:pt x="39080" y="78173"/>
                  </a:cubicBezTo>
                  <a:cubicBezTo>
                    <a:pt x="17498" y="78173"/>
                    <a:pt x="0" y="60673"/>
                    <a:pt x="0" y="39086"/>
                  </a:cubicBezTo>
                  <a:cubicBezTo>
                    <a:pt x="0" y="17499"/>
                    <a:pt x="17498" y="0"/>
                    <a:pt x="39080" y="0"/>
                  </a:cubicBezTo>
                  <a:close/>
                </a:path>
              </a:pathLst>
            </a:custGeom>
            <a:solidFill>
              <a:schemeClr val="accent3"/>
            </a:solidFill>
            <a:ln w="0">
              <a:noFill/>
              <a:prstDash val="solid"/>
              <a:round/>
              <a:headEnd/>
              <a:tailEnd/>
            </a:ln>
          </p:spPr>
          <p:txBody>
            <a:bodyPr vert="horz" wrap="square" lIns="93260" tIns="46630" rIns="93260" bIns="46630" numCol="1" anchor="t" anchorCtr="0" compatLnSpc="1">
              <a:prstTxWarp prst="textNoShape">
                <a:avLst/>
              </a:prstTxWarp>
              <a:noAutofit/>
            </a:bodyPr>
            <a:lstStyle/>
            <a:p>
              <a:endParaRPr lang="en-US" sz="1836"/>
            </a:p>
          </p:txBody>
        </p:sp>
        <p:sp>
          <p:nvSpPr>
            <p:cNvPr id="496" name="Freeform: Shape 321"/>
            <p:cNvSpPr>
              <a:spLocks/>
            </p:cNvSpPr>
            <p:nvPr/>
          </p:nvSpPr>
          <p:spPr bwMode="auto">
            <a:xfrm>
              <a:off x="9712562" y="3776203"/>
              <a:ext cx="78175" cy="78173"/>
            </a:xfrm>
            <a:custGeom>
              <a:avLst/>
              <a:gdLst>
                <a:gd name="connsiteX0" fmla="*/ 39087 w 78175"/>
                <a:gd name="connsiteY0" fmla="*/ 0 h 78173"/>
                <a:gd name="connsiteX1" fmla="*/ 78175 w 78175"/>
                <a:gd name="connsiteY1" fmla="*/ 39086 h 78173"/>
                <a:gd name="connsiteX2" fmla="*/ 39087 w 78175"/>
                <a:gd name="connsiteY2" fmla="*/ 78173 h 78173"/>
                <a:gd name="connsiteX3" fmla="*/ 0 w 78175"/>
                <a:gd name="connsiteY3" fmla="*/ 39086 h 78173"/>
                <a:gd name="connsiteX4" fmla="*/ 39087 w 78175"/>
                <a:gd name="connsiteY4" fmla="*/ 0 h 781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5" h="78173">
                  <a:moveTo>
                    <a:pt x="39087" y="0"/>
                  </a:moveTo>
                  <a:cubicBezTo>
                    <a:pt x="60675" y="0"/>
                    <a:pt x="78175" y="17499"/>
                    <a:pt x="78175" y="39086"/>
                  </a:cubicBezTo>
                  <a:cubicBezTo>
                    <a:pt x="78175" y="60673"/>
                    <a:pt x="60675" y="78173"/>
                    <a:pt x="39087" y="78173"/>
                  </a:cubicBezTo>
                  <a:cubicBezTo>
                    <a:pt x="17500" y="78173"/>
                    <a:pt x="0" y="60673"/>
                    <a:pt x="0" y="39086"/>
                  </a:cubicBezTo>
                  <a:cubicBezTo>
                    <a:pt x="0" y="17499"/>
                    <a:pt x="17500" y="0"/>
                    <a:pt x="39087" y="0"/>
                  </a:cubicBezTo>
                  <a:close/>
                </a:path>
              </a:pathLst>
            </a:custGeom>
            <a:solidFill>
              <a:schemeClr val="accent3"/>
            </a:solidFill>
            <a:ln w="0">
              <a:noFill/>
              <a:prstDash val="solid"/>
              <a:round/>
              <a:headEnd/>
              <a:tailEnd/>
            </a:ln>
          </p:spPr>
          <p:txBody>
            <a:bodyPr vert="horz" wrap="square" lIns="93260" tIns="46630" rIns="93260" bIns="46630" numCol="1" anchor="t" anchorCtr="0" compatLnSpc="1">
              <a:prstTxWarp prst="textNoShape">
                <a:avLst/>
              </a:prstTxWarp>
              <a:noAutofit/>
            </a:bodyPr>
            <a:lstStyle/>
            <a:p>
              <a:endParaRPr lang="en-US" sz="1836"/>
            </a:p>
          </p:txBody>
        </p:sp>
        <p:sp>
          <p:nvSpPr>
            <p:cNvPr id="497" name="Freeform: Shape 322"/>
            <p:cNvSpPr>
              <a:spLocks/>
            </p:cNvSpPr>
            <p:nvPr/>
          </p:nvSpPr>
          <p:spPr bwMode="auto">
            <a:xfrm>
              <a:off x="9899478" y="3776203"/>
              <a:ext cx="78175" cy="78173"/>
            </a:xfrm>
            <a:custGeom>
              <a:avLst/>
              <a:gdLst>
                <a:gd name="connsiteX0" fmla="*/ 39087 w 78175"/>
                <a:gd name="connsiteY0" fmla="*/ 0 h 78173"/>
                <a:gd name="connsiteX1" fmla="*/ 78175 w 78175"/>
                <a:gd name="connsiteY1" fmla="*/ 39086 h 78173"/>
                <a:gd name="connsiteX2" fmla="*/ 39087 w 78175"/>
                <a:gd name="connsiteY2" fmla="*/ 78173 h 78173"/>
                <a:gd name="connsiteX3" fmla="*/ 0 w 78175"/>
                <a:gd name="connsiteY3" fmla="*/ 39086 h 78173"/>
                <a:gd name="connsiteX4" fmla="*/ 39087 w 78175"/>
                <a:gd name="connsiteY4" fmla="*/ 0 h 781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5" h="78173">
                  <a:moveTo>
                    <a:pt x="39087" y="0"/>
                  </a:moveTo>
                  <a:cubicBezTo>
                    <a:pt x="60675" y="0"/>
                    <a:pt x="78175" y="17499"/>
                    <a:pt x="78175" y="39086"/>
                  </a:cubicBezTo>
                  <a:cubicBezTo>
                    <a:pt x="78175" y="60673"/>
                    <a:pt x="60675" y="78173"/>
                    <a:pt x="39087" y="78173"/>
                  </a:cubicBezTo>
                  <a:cubicBezTo>
                    <a:pt x="17500" y="78173"/>
                    <a:pt x="0" y="60673"/>
                    <a:pt x="0" y="39086"/>
                  </a:cubicBezTo>
                  <a:cubicBezTo>
                    <a:pt x="0" y="17499"/>
                    <a:pt x="17500" y="0"/>
                    <a:pt x="39087" y="0"/>
                  </a:cubicBezTo>
                  <a:close/>
                </a:path>
              </a:pathLst>
            </a:custGeom>
            <a:solidFill>
              <a:schemeClr val="accent3"/>
            </a:solidFill>
            <a:ln w="0">
              <a:noFill/>
              <a:prstDash val="solid"/>
              <a:round/>
              <a:headEnd/>
              <a:tailEnd/>
            </a:ln>
          </p:spPr>
          <p:txBody>
            <a:bodyPr vert="horz" wrap="square" lIns="93260" tIns="46630" rIns="93260" bIns="46630" numCol="1" anchor="t" anchorCtr="0" compatLnSpc="1">
              <a:prstTxWarp prst="textNoShape">
                <a:avLst/>
              </a:prstTxWarp>
              <a:noAutofit/>
            </a:bodyPr>
            <a:lstStyle/>
            <a:p>
              <a:endParaRPr lang="en-US" sz="1836"/>
            </a:p>
          </p:txBody>
        </p:sp>
        <p:sp>
          <p:nvSpPr>
            <p:cNvPr id="498" name="Freeform: Shape 323"/>
            <p:cNvSpPr>
              <a:spLocks/>
            </p:cNvSpPr>
            <p:nvPr/>
          </p:nvSpPr>
          <p:spPr bwMode="auto">
            <a:xfrm>
              <a:off x="6577698" y="3806367"/>
              <a:ext cx="23736" cy="41651"/>
            </a:xfrm>
            <a:custGeom>
              <a:avLst/>
              <a:gdLst>
                <a:gd name="connsiteX0" fmla="*/ 20041 w 23736"/>
                <a:gd name="connsiteY0" fmla="*/ 0 h 41651"/>
                <a:gd name="connsiteX1" fmla="*/ 23736 w 23736"/>
                <a:gd name="connsiteY1" fmla="*/ 8922 h 41651"/>
                <a:gd name="connsiteX2" fmla="*/ 12288 w 23736"/>
                <a:gd name="connsiteY2" fmla="*/ 36561 h 41651"/>
                <a:gd name="connsiteX3" fmla="*/ 0 w 23736"/>
                <a:gd name="connsiteY3" fmla="*/ 41651 h 41651"/>
                <a:gd name="connsiteX4" fmla="*/ 74 w 23736"/>
                <a:gd name="connsiteY4" fmla="*/ 41448 h 41651"/>
                <a:gd name="connsiteX5" fmla="*/ 20041 w 23736"/>
                <a:gd name="connsiteY5" fmla="*/ 0 h 41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736" h="41651">
                  <a:moveTo>
                    <a:pt x="20041" y="0"/>
                  </a:moveTo>
                  <a:lnTo>
                    <a:pt x="23736" y="8922"/>
                  </a:lnTo>
                  <a:cubicBezTo>
                    <a:pt x="23736" y="19716"/>
                    <a:pt x="19361" y="29487"/>
                    <a:pt x="12288" y="36561"/>
                  </a:cubicBezTo>
                  <a:lnTo>
                    <a:pt x="0" y="41651"/>
                  </a:lnTo>
                  <a:lnTo>
                    <a:pt x="74" y="41448"/>
                  </a:lnTo>
                  <a:lnTo>
                    <a:pt x="20041" y="0"/>
                  </a:lnTo>
                  <a:close/>
                </a:path>
              </a:pathLst>
            </a:custGeom>
            <a:solidFill>
              <a:schemeClr val="accent3"/>
            </a:solidFill>
            <a:ln w="0">
              <a:noFill/>
              <a:prstDash val="solid"/>
              <a:round/>
              <a:headEnd/>
              <a:tailEnd/>
            </a:ln>
          </p:spPr>
          <p:txBody>
            <a:bodyPr vert="horz" wrap="square" lIns="93260" tIns="46630" rIns="93260" bIns="46630" numCol="1" anchor="t" anchorCtr="0" compatLnSpc="1">
              <a:prstTxWarp prst="textNoShape">
                <a:avLst/>
              </a:prstTxWarp>
              <a:noAutofit/>
            </a:bodyPr>
            <a:lstStyle/>
            <a:p>
              <a:endParaRPr lang="en-US" sz="1836"/>
            </a:p>
          </p:txBody>
        </p:sp>
        <p:sp>
          <p:nvSpPr>
            <p:cNvPr id="499" name="Freeform: Shape 324"/>
            <p:cNvSpPr>
              <a:spLocks/>
            </p:cNvSpPr>
            <p:nvPr/>
          </p:nvSpPr>
          <p:spPr bwMode="auto">
            <a:xfrm>
              <a:off x="6710171" y="3863742"/>
              <a:ext cx="78175" cy="78173"/>
            </a:xfrm>
            <a:custGeom>
              <a:avLst/>
              <a:gdLst>
                <a:gd name="connsiteX0" fmla="*/ 39086 w 78175"/>
                <a:gd name="connsiteY0" fmla="*/ 0 h 78173"/>
                <a:gd name="connsiteX1" fmla="*/ 78175 w 78175"/>
                <a:gd name="connsiteY1" fmla="*/ 39087 h 78173"/>
                <a:gd name="connsiteX2" fmla="*/ 39086 w 78175"/>
                <a:gd name="connsiteY2" fmla="*/ 78173 h 78173"/>
                <a:gd name="connsiteX3" fmla="*/ 0 w 78175"/>
                <a:gd name="connsiteY3" fmla="*/ 39087 h 78173"/>
                <a:gd name="connsiteX4" fmla="*/ 39086 w 78175"/>
                <a:gd name="connsiteY4" fmla="*/ 0 h 781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5" h="78173">
                  <a:moveTo>
                    <a:pt x="39086" y="0"/>
                  </a:moveTo>
                  <a:cubicBezTo>
                    <a:pt x="60676" y="0"/>
                    <a:pt x="78175" y="17499"/>
                    <a:pt x="78175" y="39087"/>
                  </a:cubicBezTo>
                  <a:cubicBezTo>
                    <a:pt x="78175" y="60673"/>
                    <a:pt x="60676" y="78173"/>
                    <a:pt x="39086" y="78173"/>
                  </a:cubicBezTo>
                  <a:cubicBezTo>
                    <a:pt x="17500" y="78173"/>
                    <a:pt x="0" y="60673"/>
                    <a:pt x="0" y="39087"/>
                  </a:cubicBezTo>
                  <a:cubicBezTo>
                    <a:pt x="0" y="17499"/>
                    <a:pt x="17500" y="0"/>
                    <a:pt x="39086" y="0"/>
                  </a:cubicBezTo>
                  <a:close/>
                </a:path>
              </a:pathLst>
            </a:custGeom>
            <a:solidFill>
              <a:schemeClr val="accent3"/>
            </a:solidFill>
            <a:ln w="0">
              <a:noFill/>
              <a:prstDash val="solid"/>
              <a:round/>
              <a:headEnd/>
              <a:tailEnd/>
            </a:ln>
          </p:spPr>
          <p:txBody>
            <a:bodyPr vert="horz" wrap="square" lIns="93260" tIns="46630" rIns="93260" bIns="46630" numCol="1" anchor="t" anchorCtr="0" compatLnSpc="1">
              <a:prstTxWarp prst="textNoShape">
                <a:avLst/>
              </a:prstTxWarp>
              <a:noAutofit/>
            </a:bodyPr>
            <a:lstStyle/>
            <a:p>
              <a:endParaRPr lang="en-US" sz="1836"/>
            </a:p>
          </p:txBody>
        </p:sp>
        <p:sp>
          <p:nvSpPr>
            <p:cNvPr id="500" name="Freeform: Shape 325"/>
            <p:cNvSpPr>
              <a:spLocks/>
            </p:cNvSpPr>
            <p:nvPr/>
          </p:nvSpPr>
          <p:spPr bwMode="auto">
            <a:xfrm>
              <a:off x="7552465" y="3863742"/>
              <a:ext cx="78171" cy="78173"/>
            </a:xfrm>
            <a:custGeom>
              <a:avLst/>
              <a:gdLst>
                <a:gd name="connsiteX0" fmla="*/ 39081 w 78171"/>
                <a:gd name="connsiteY0" fmla="*/ 0 h 78173"/>
                <a:gd name="connsiteX1" fmla="*/ 78171 w 78171"/>
                <a:gd name="connsiteY1" fmla="*/ 39087 h 78173"/>
                <a:gd name="connsiteX2" fmla="*/ 39081 w 78171"/>
                <a:gd name="connsiteY2" fmla="*/ 78173 h 78173"/>
                <a:gd name="connsiteX3" fmla="*/ 0 w 78171"/>
                <a:gd name="connsiteY3" fmla="*/ 39087 h 78173"/>
                <a:gd name="connsiteX4" fmla="*/ 39081 w 78171"/>
                <a:gd name="connsiteY4" fmla="*/ 0 h 781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1" h="78173">
                  <a:moveTo>
                    <a:pt x="39081" y="0"/>
                  </a:moveTo>
                  <a:cubicBezTo>
                    <a:pt x="60666" y="0"/>
                    <a:pt x="78171" y="17499"/>
                    <a:pt x="78171" y="39087"/>
                  </a:cubicBezTo>
                  <a:cubicBezTo>
                    <a:pt x="78171" y="60673"/>
                    <a:pt x="60666" y="78173"/>
                    <a:pt x="39081" y="78173"/>
                  </a:cubicBezTo>
                  <a:cubicBezTo>
                    <a:pt x="17497" y="78173"/>
                    <a:pt x="0" y="60673"/>
                    <a:pt x="0" y="39087"/>
                  </a:cubicBezTo>
                  <a:cubicBezTo>
                    <a:pt x="0" y="17499"/>
                    <a:pt x="17497" y="0"/>
                    <a:pt x="39081" y="0"/>
                  </a:cubicBezTo>
                  <a:close/>
                </a:path>
              </a:pathLst>
            </a:custGeom>
            <a:solidFill>
              <a:schemeClr val="accent3"/>
            </a:solidFill>
            <a:ln w="0">
              <a:noFill/>
              <a:prstDash val="solid"/>
              <a:round/>
              <a:headEnd/>
              <a:tailEnd/>
            </a:ln>
          </p:spPr>
          <p:txBody>
            <a:bodyPr vert="horz" wrap="square" lIns="93260" tIns="46630" rIns="93260" bIns="46630" numCol="1" anchor="t" anchorCtr="0" compatLnSpc="1">
              <a:prstTxWarp prst="textNoShape">
                <a:avLst/>
              </a:prstTxWarp>
              <a:noAutofit/>
            </a:bodyPr>
            <a:lstStyle/>
            <a:p>
              <a:endParaRPr lang="en-US" sz="1836"/>
            </a:p>
          </p:txBody>
        </p:sp>
        <p:sp>
          <p:nvSpPr>
            <p:cNvPr id="501" name="Freeform: Shape 326"/>
            <p:cNvSpPr>
              <a:spLocks/>
            </p:cNvSpPr>
            <p:nvPr/>
          </p:nvSpPr>
          <p:spPr bwMode="auto">
            <a:xfrm>
              <a:off x="8870278" y="3863742"/>
              <a:ext cx="78171" cy="78173"/>
            </a:xfrm>
            <a:custGeom>
              <a:avLst/>
              <a:gdLst>
                <a:gd name="connsiteX0" fmla="*/ 39087 w 78171"/>
                <a:gd name="connsiteY0" fmla="*/ 0 h 78173"/>
                <a:gd name="connsiteX1" fmla="*/ 78171 w 78171"/>
                <a:gd name="connsiteY1" fmla="*/ 39087 h 78173"/>
                <a:gd name="connsiteX2" fmla="*/ 39087 w 78171"/>
                <a:gd name="connsiteY2" fmla="*/ 78173 h 78173"/>
                <a:gd name="connsiteX3" fmla="*/ 0 w 78171"/>
                <a:gd name="connsiteY3" fmla="*/ 39087 h 78173"/>
                <a:gd name="connsiteX4" fmla="*/ 39087 w 78171"/>
                <a:gd name="connsiteY4" fmla="*/ 0 h 781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1" h="78173">
                  <a:moveTo>
                    <a:pt x="39087" y="0"/>
                  </a:moveTo>
                  <a:cubicBezTo>
                    <a:pt x="60677" y="0"/>
                    <a:pt x="78171" y="17499"/>
                    <a:pt x="78171" y="39087"/>
                  </a:cubicBezTo>
                  <a:cubicBezTo>
                    <a:pt x="78171" y="60673"/>
                    <a:pt x="60677" y="78173"/>
                    <a:pt x="39087" y="78173"/>
                  </a:cubicBezTo>
                  <a:cubicBezTo>
                    <a:pt x="17503" y="78173"/>
                    <a:pt x="0" y="60673"/>
                    <a:pt x="0" y="39087"/>
                  </a:cubicBezTo>
                  <a:cubicBezTo>
                    <a:pt x="0" y="17499"/>
                    <a:pt x="17503" y="0"/>
                    <a:pt x="39087" y="0"/>
                  </a:cubicBezTo>
                  <a:close/>
                </a:path>
              </a:pathLst>
            </a:custGeom>
            <a:solidFill>
              <a:schemeClr val="accent3"/>
            </a:solidFill>
            <a:ln w="0">
              <a:noFill/>
              <a:prstDash val="solid"/>
              <a:round/>
              <a:headEnd/>
              <a:tailEnd/>
            </a:ln>
          </p:spPr>
          <p:txBody>
            <a:bodyPr vert="horz" wrap="square" lIns="93260" tIns="46630" rIns="93260" bIns="46630" numCol="1" anchor="t" anchorCtr="0" compatLnSpc="1">
              <a:prstTxWarp prst="textNoShape">
                <a:avLst/>
              </a:prstTxWarp>
              <a:noAutofit/>
            </a:bodyPr>
            <a:lstStyle/>
            <a:p>
              <a:endParaRPr lang="en-US" sz="1836"/>
            </a:p>
          </p:txBody>
        </p:sp>
        <p:sp>
          <p:nvSpPr>
            <p:cNvPr id="502" name="Freeform: Shape 327"/>
            <p:cNvSpPr>
              <a:spLocks/>
            </p:cNvSpPr>
            <p:nvPr/>
          </p:nvSpPr>
          <p:spPr bwMode="auto">
            <a:xfrm>
              <a:off x="9057191" y="3863742"/>
              <a:ext cx="78167" cy="78173"/>
            </a:xfrm>
            <a:custGeom>
              <a:avLst/>
              <a:gdLst>
                <a:gd name="connsiteX0" fmla="*/ 39082 w 78167"/>
                <a:gd name="connsiteY0" fmla="*/ 0 h 78173"/>
                <a:gd name="connsiteX1" fmla="*/ 78167 w 78167"/>
                <a:gd name="connsiteY1" fmla="*/ 39087 h 78173"/>
                <a:gd name="connsiteX2" fmla="*/ 39082 w 78167"/>
                <a:gd name="connsiteY2" fmla="*/ 78173 h 78173"/>
                <a:gd name="connsiteX3" fmla="*/ 0 w 78167"/>
                <a:gd name="connsiteY3" fmla="*/ 39087 h 78173"/>
                <a:gd name="connsiteX4" fmla="*/ 39082 w 78167"/>
                <a:gd name="connsiteY4" fmla="*/ 0 h 781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67" h="78173">
                  <a:moveTo>
                    <a:pt x="39082" y="0"/>
                  </a:moveTo>
                  <a:cubicBezTo>
                    <a:pt x="60667" y="0"/>
                    <a:pt x="78167" y="17499"/>
                    <a:pt x="78167" y="39087"/>
                  </a:cubicBezTo>
                  <a:cubicBezTo>
                    <a:pt x="78167" y="60673"/>
                    <a:pt x="60667" y="78173"/>
                    <a:pt x="39082" y="78173"/>
                  </a:cubicBezTo>
                  <a:cubicBezTo>
                    <a:pt x="17495" y="78173"/>
                    <a:pt x="0" y="60673"/>
                    <a:pt x="0" y="39087"/>
                  </a:cubicBezTo>
                  <a:cubicBezTo>
                    <a:pt x="0" y="17499"/>
                    <a:pt x="17495" y="0"/>
                    <a:pt x="39082" y="0"/>
                  </a:cubicBezTo>
                  <a:close/>
                </a:path>
              </a:pathLst>
            </a:custGeom>
            <a:solidFill>
              <a:schemeClr val="accent3"/>
            </a:solidFill>
            <a:ln w="0">
              <a:noFill/>
              <a:prstDash val="solid"/>
              <a:round/>
              <a:headEnd/>
              <a:tailEnd/>
            </a:ln>
          </p:spPr>
          <p:txBody>
            <a:bodyPr vert="horz" wrap="square" lIns="93260" tIns="46630" rIns="93260" bIns="46630" numCol="1" anchor="t" anchorCtr="0" compatLnSpc="1">
              <a:prstTxWarp prst="textNoShape">
                <a:avLst/>
              </a:prstTxWarp>
              <a:noAutofit/>
            </a:bodyPr>
            <a:lstStyle/>
            <a:p>
              <a:endParaRPr lang="en-US" sz="1836"/>
            </a:p>
          </p:txBody>
        </p:sp>
        <p:sp>
          <p:nvSpPr>
            <p:cNvPr id="503" name="Freeform: Shape 328"/>
            <p:cNvSpPr>
              <a:spLocks/>
            </p:cNvSpPr>
            <p:nvPr/>
          </p:nvSpPr>
          <p:spPr bwMode="auto">
            <a:xfrm>
              <a:off x="9244105" y="3863742"/>
              <a:ext cx="78163" cy="78173"/>
            </a:xfrm>
            <a:custGeom>
              <a:avLst/>
              <a:gdLst>
                <a:gd name="connsiteX0" fmla="*/ 39097 w 78163"/>
                <a:gd name="connsiteY0" fmla="*/ 0 h 78173"/>
                <a:gd name="connsiteX1" fmla="*/ 78163 w 78163"/>
                <a:gd name="connsiteY1" fmla="*/ 39087 h 78173"/>
                <a:gd name="connsiteX2" fmla="*/ 39097 w 78163"/>
                <a:gd name="connsiteY2" fmla="*/ 78173 h 78173"/>
                <a:gd name="connsiteX3" fmla="*/ 0 w 78163"/>
                <a:gd name="connsiteY3" fmla="*/ 39087 h 78173"/>
                <a:gd name="connsiteX4" fmla="*/ 39097 w 78163"/>
                <a:gd name="connsiteY4" fmla="*/ 0 h 781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63" h="78173">
                  <a:moveTo>
                    <a:pt x="39097" y="0"/>
                  </a:moveTo>
                  <a:cubicBezTo>
                    <a:pt x="60663" y="0"/>
                    <a:pt x="78163" y="17499"/>
                    <a:pt x="78163" y="39087"/>
                  </a:cubicBezTo>
                  <a:cubicBezTo>
                    <a:pt x="78163" y="60673"/>
                    <a:pt x="60663" y="78173"/>
                    <a:pt x="39097" y="78173"/>
                  </a:cubicBezTo>
                  <a:cubicBezTo>
                    <a:pt x="17504" y="78173"/>
                    <a:pt x="0" y="60673"/>
                    <a:pt x="0" y="39087"/>
                  </a:cubicBezTo>
                  <a:cubicBezTo>
                    <a:pt x="0" y="17499"/>
                    <a:pt x="17504" y="0"/>
                    <a:pt x="39097" y="0"/>
                  </a:cubicBezTo>
                  <a:close/>
                </a:path>
              </a:pathLst>
            </a:custGeom>
            <a:solidFill>
              <a:schemeClr val="accent3"/>
            </a:solidFill>
            <a:ln w="0">
              <a:noFill/>
              <a:prstDash val="solid"/>
              <a:round/>
              <a:headEnd/>
              <a:tailEnd/>
            </a:ln>
          </p:spPr>
          <p:txBody>
            <a:bodyPr vert="horz" wrap="square" lIns="93260" tIns="46630" rIns="93260" bIns="46630" numCol="1" anchor="t" anchorCtr="0" compatLnSpc="1">
              <a:prstTxWarp prst="textNoShape">
                <a:avLst/>
              </a:prstTxWarp>
              <a:noAutofit/>
            </a:bodyPr>
            <a:lstStyle/>
            <a:p>
              <a:endParaRPr lang="en-US" sz="1836"/>
            </a:p>
          </p:txBody>
        </p:sp>
        <p:sp>
          <p:nvSpPr>
            <p:cNvPr id="504" name="Freeform: Shape 329"/>
            <p:cNvSpPr>
              <a:spLocks/>
            </p:cNvSpPr>
            <p:nvPr/>
          </p:nvSpPr>
          <p:spPr bwMode="auto">
            <a:xfrm>
              <a:off x="9431009" y="3863742"/>
              <a:ext cx="78174" cy="78173"/>
            </a:xfrm>
            <a:custGeom>
              <a:avLst/>
              <a:gdLst>
                <a:gd name="connsiteX0" fmla="*/ 39088 w 78174"/>
                <a:gd name="connsiteY0" fmla="*/ 0 h 78173"/>
                <a:gd name="connsiteX1" fmla="*/ 78174 w 78174"/>
                <a:gd name="connsiteY1" fmla="*/ 39087 h 78173"/>
                <a:gd name="connsiteX2" fmla="*/ 39088 w 78174"/>
                <a:gd name="connsiteY2" fmla="*/ 78173 h 78173"/>
                <a:gd name="connsiteX3" fmla="*/ 0 w 78174"/>
                <a:gd name="connsiteY3" fmla="*/ 39087 h 78173"/>
                <a:gd name="connsiteX4" fmla="*/ 39088 w 78174"/>
                <a:gd name="connsiteY4" fmla="*/ 0 h 781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73">
                  <a:moveTo>
                    <a:pt x="39088" y="0"/>
                  </a:moveTo>
                  <a:cubicBezTo>
                    <a:pt x="60675" y="0"/>
                    <a:pt x="78174" y="17499"/>
                    <a:pt x="78174" y="39087"/>
                  </a:cubicBezTo>
                  <a:cubicBezTo>
                    <a:pt x="78174" y="60673"/>
                    <a:pt x="60675" y="78173"/>
                    <a:pt x="39088" y="78173"/>
                  </a:cubicBezTo>
                  <a:cubicBezTo>
                    <a:pt x="17500" y="78173"/>
                    <a:pt x="0" y="60673"/>
                    <a:pt x="0" y="39087"/>
                  </a:cubicBezTo>
                  <a:cubicBezTo>
                    <a:pt x="0" y="17499"/>
                    <a:pt x="17500" y="0"/>
                    <a:pt x="39088" y="0"/>
                  </a:cubicBezTo>
                  <a:close/>
                </a:path>
              </a:pathLst>
            </a:custGeom>
            <a:solidFill>
              <a:schemeClr val="accent3"/>
            </a:solidFill>
            <a:ln w="0">
              <a:noFill/>
              <a:prstDash val="solid"/>
              <a:round/>
              <a:headEnd/>
              <a:tailEnd/>
            </a:ln>
          </p:spPr>
          <p:txBody>
            <a:bodyPr vert="horz" wrap="square" lIns="93260" tIns="46630" rIns="93260" bIns="46630" numCol="1" anchor="t" anchorCtr="0" compatLnSpc="1">
              <a:prstTxWarp prst="textNoShape">
                <a:avLst/>
              </a:prstTxWarp>
              <a:noAutofit/>
            </a:bodyPr>
            <a:lstStyle/>
            <a:p>
              <a:endParaRPr lang="en-US" sz="1836"/>
            </a:p>
          </p:txBody>
        </p:sp>
        <p:sp>
          <p:nvSpPr>
            <p:cNvPr id="505" name="Freeform: Shape 330"/>
            <p:cNvSpPr>
              <a:spLocks/>
            </p:cNvSpPr>
            <p:nvPr/>
          </p:nvSpPr>
          <p:spPr bwMode="auto">
            <a:xfrm>
              <a:off x="9617922" y="3863742"/>
              <a:ext cx="78175" cy="78173"/>
            </a:xfrm>
            <a:custGeom>
              <a:avLst/>
              <a:gdLst>
                <a:gd name="connsiteX0" fmla="*/ 39087 w 78175"/>
                <a:gd name="connsiteY0" fmla="*/ 0 h 78173"/>
                <a:gd name="connsiteX1" fmla="*/ 78175 w 78175"/>
                <a:gd name="connsiteY1" fmla="*/ 39087 h 78173"/>
                <a:gd name="connsiteX2" fmla="*/ 39087 w 78175"/>
                <a:gd name="connsiteY2" fmla="*/ 78173 h 78173"/>
                <a:gd name="connsiteX3" fmla="*/ 0 w 78175"/>
                <a:gd name="connsiteY3" fmla="*/ 39087 h 78173"/>
                <a:gd name="connsiteX4" fmla="*/ 39087 w 78175"/>
                <a:gd name="connsiteY4" fmla="*/ 0 h 781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5" h="78173">
                  <a:moveTo>
                    <a:pt x="39087" y="0"/>
                  </a:moveTo>
                  <a:cubicBezTo>
                    <a:pt x="60675" y="0"/>
                    <a:pt x="78175" y="17499"/>
                    <a:pt x="78175" y="39087"/>
                  </a:cubicBezTo>
                  <a:cubicBezTo>
                    <a:pt x="78175" y="60673"/>
                    <a:pt x="60675" y="78173"/>
                    <a:pt x="39087" y="78173"/>
                  </a:cubicBezTo>
                  <a:cubicBezTo>
                    <a:pt x="17500" y="78173"/>
                    <a:pt x="0" y="60673"/>
                    <a:pt x="0" y="39087"/>
                  </a:cubicBezTo>
                  <a:cubicBezTo>
                    <a:pt x="0" y="17499"/>
                    <a:pt x="17500" y="0"/>
                    <a:pt x="39087" y="0"/>
                  </a:cubicBezTo>
                  <a:close/>
                </a:path>
              </a:pathLst>
            </a:custGeom>
            <a:solidFill>
              <a:schemeClr val="accent3"/>
            </a:solidFill>
            <a:ln w="0">
              <a:noFill/>
              <a:prstDash val="solid"/>
              <a:round/>
              <a:headEnd/>
              <a:tailEnd/>
            </a:ln>
          </p:spPr>
          <p:txBody>
            <a:bodyPr vert="horz" wrap="square" lIns="93260" tIns="46630" rIns="93260" bIns="46630" numCol="1" anchor="t" anchorCtr="0" compatLnSpc="1">
              <a:prstTxWarp prst="textNoShape">
                <a:avLst/>
              </a:prstTxWarp>
              <a:noAutofit/>
            </a:bodyPr>
            <a:lstStyle/>
            <a:p>
              <a:endParaRPr lang="en-US" sz="1836"/>
            </a:p>
          </p:txBody>
        </p:sp>
        <p:sp>
          <p:nvSpPr>
            <p:cNvPr id="506" name="Freeform: Shape 331"/>
            <p:cNvSpPr>
              <a:spLocks/>
            </p:cNvSpPr>
            <p:nvPr/>
          </p:nvSpPr>
          <p:spPr bwMode="auto">
            <a:xfrm>
              <a:off x="7363205" y="3948918"/>
              <a:ext cx="78164" cy="78161"/>
            </a:xfrm>
            <a:custGeom>
              <a:avLst/>
              <a:gdLst>
                <a:gd name="connsiteX0" fmla="*/ 39082 w 78164"/>
                <a:gd name="connsiteY0" fmla="*/ 0 h 78161"/>
                <a:gd name="connsiteX1" fmla="*/ 78164 w 78164"/>
                <a:gd name="connsiteY1" fmla="*/ 39086 h 78161"/>
                <a:gd name="connsiteX2" fmla="*/ 39082 w 78164"/>
                <a:gd name="connsiteY2" fmla="*/ 78161 h 78161"/>
                <a:gd name="connsiteX3" fmla="*/ 0 w 78164"/>
                <a:gd name="connsiteY3" fmla="*/ 39086 h 78161"/>
                <a:gd name="connsiteX4" fmla="*/ 39082 w 78164"/>
                <a:gd name="connsiteY4" fmla="*/ 0 h 781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64" h="78161">
                  <a:moveTo>
                    <a:pt x="39082" y="0"/>
                  </a:moveTo>
                  <a:cubicBezTo>
                    <a:pt x="60666" y="0"/>
                    <a:pt x="78164" y="17499"/>
                    <a:pt x="78164" y="39086"/>
                  </a:cubicBezTo>
                  <a:cubicBezTo>
                    <a:pt x="78164" y="60673"/>
                    <a:pt x="60666" y="78161"/>
                    <a:pt x="39082" y="78161"/>
                  </a:cubicBezTo>
                  <a:cubicBezTo>
                    <a:pt x="17497" y="78161"/>
                    <a:pt x="0" y="60673"/>
                    <a:pt x="0" y="39086"/>
                  </a:cubicBezTo>
                  <a:cubicBezTo>
                    <a:pt x="0" y="17499"/>
                    <a:pt x="17497" y="0"/>
                    <a:pt x="39082" y="0"/>
                  </a:cubicBezTo>
                  <a:close/>
                </a:path>
              </a:pathLst>
            </a:custGeom>
            <a:solidFill>
              <a:schemeClr val="accent3"/>
            </a:solidFill>
            <a:ln w="0">
              <a:noFill/>
              <a:prstDash val="solid"/>
              <a:round/>
              <a:headEnd/>
              <a:tailEnd/>
            </a:ln>
          </p:spPr>
          <p:txBody>
            <a:bodyPr vert="horz" wrap="square" lIns="93260" tIns="46630" rIns="93260" bIns="46630" numCol="1" anchor="t" anchorCtr="0" compatLnSpc="1">
              <a:prstTxWarp prst="textNoShape">
                <a:avLst/>
              </a:prstTxWarp>
              <a:noAutofit/>
            </a:bodyPr>
            <a:lstStyle/>
            <a:p>
              <a:endParaRPr lang="en-US" sz="1836"/>
            </a:p>
          </p:txBody>
        </p:sp>
        <p:sp>
          <p:nvSpPr>
            <p:cNvPr id="507" name="Freeform: Shape 332"/>
            <p:cNvSpPr>
              <a:spLocks/>
            </p:cNvSpPr>
            <p:nvPr/>
          </p:nvSpPr>
          <p:spPr bwMode="auto">
            <a:xfrm>
              <a:off x="7739391" y="3948918"/>
              <a:ext cx="78161" cy="78161"/>
            </a:xfrm>
            <a:custGeom>
              <a:avLst/>
              <a:gdLst>
                <a:gd name="connsiteX0" fmla="*/ 39087 w 78161"/>
                <a:gd name="connsiteY0" fmla="*/ 0 h 78161"/>
                <a:gd name="connsiteX1" fmla="*/ 78161 w 78161"/>
                <a:gd name="connsiteY1" fmla="*/ 39086 h 78161"/>
                <a:gd name="connsiteX2" fmla="*/ 39087 w 78161"/>
                <a:gd name="connsiteY2" fmla="*/ 78161 h 78161"/>
                <a:gd name="connsiteX3" fmla="*/ 0 w 78161"/>
                <a:gd name="connsiteY3" fmla="*/ 39086 h 78161"/>
                <a:gd name="connsiteX4" fmla="*/ 39087 w 78161"/>
                <a:gd name="connsiteY4" fmla="*/ 0 h 781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61" h="78161">
                  <a:moveTo>
                    <a:pt x="39087" y="0"/>
                  </a:moveTo>
                  <a:cubicBezTo>
                    <a:pt x="60670" y="0"/>
                    <a:pt x="78161" y="17499"/>
                    <a:pt x="78161" y="39086"/>
                  </a:cubicBezTo>
                  <a:cubicBezTo>
                    <a:pt x="78161" y="60673"/>
                    <a:pt x="60670" y="78161"/>
                    <a:pt x="39087" y="78161"/>
                  </a:cubicBezTo>
                  <a:cubicBezTo>
                    <a:pt x="17497" y="78161"/>
                    <a:pt x="0" y="60673"/>
                    <a:pt x="0" y="39086"/>
                  </a:cubicBezTo>
                  <a:cubicBezTo>
                    <a:pt x="0" y="17499"/>
                    <a:pt x="17497" y="0"/>
                    <a:pt x="39087" y="0"/>
                  </a:cubicBezTo>
                  <a:close/>
                </a:path>
              </a:pathLst>
            </a:custGeom>
            <a:solidFill>
              <a:schemeClr val="accent3"/>
            </a:solidFill>
            <a:ln w="0">
              <a:noFill/>
              <a:prstDash val="solid"/>
              <a:round/>
              <a:headEnd/>
              <a:tailEnd/>
            </a:ln>
          </p:spPr>
          <p:txBody>
            <a:bodyPr vert="horz" wrap="square" lIns="93260" tIns="46630" rIns="93260" bIns="46630" numCol="1" anchor="t" anchorCtr="0" compatLnSpc="1">
              <a:prstTxWarp prst="textNoShape">
                <a:avLst/>
              </a:prstTxWarp>
              <a:noAutofit/>
            </a:bodyPr>
            <a:lstStyle/>
            <a:p>
              <a:endParaRPr lang="en-US" sz="1836"/>
            </a:p>
          </p:txBody>
        </p:sp>
        <p:sp>
          <p:nvSpPr>
            <p:cNvPr id="508" name="Freeform: Shape 333"/>
            <p:cNvSpPr>
              <a:spLocks/>
            </p:cNvSpPr>
            <p:nvPr/>
          </p:nvSpPr>
          <p:spPr bwMode="auto">
            <a:xfrm>
              <a:off x="7926291" y="3948918"/>
              <a:ext cx="78181" cy="78161"/>
            </a:xfrm>
            <a:custGeom>
              <a:avLst/>
              <a:gdLst>
                <a:gd name="connsiteX0" fmla="*/ 39094 w 78181"/>
                <a:gd name="connsiteY0" fmla="*/ 0 h 78161"/>
                <a:gd name="connsiteX1" fmla="*/ 78181 w 78181"/>
                <a:gd name="connsiteY1" fmla="*/ 39086 h 78161"/>
                <a:gd name="connsiteX2" fmla="*/ 39094 w 78181"/>
                <a:gd name="connsiteY2" fmla="*/ 78161 h 78161"/>
                <a:gd name="connsiteX3" fmla="*/ 0 w 78181"/>
                <a:gd name="connsiteY3" fmla="*/ 39086 h 78161"/>
                <a:gd name="connsiteX4" fmla="*/ 39094 w 78181"/>
                <a:gd name="connsiteY4" fmla="*/ 0 h 781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81" h="78161">
                  <a:moveTo>
                    <a:pt x="39094" y="0"/>
                  </a:moveTo>
                  <a:cubicBezTo>
                    <a:pt x="60680" y="0"/>
                    <a:pt x="78181" y="17499"/>
                    <a:pt x="78181" y="39086"/>
                  </a:cubicBezTo>
                  <a:cubicBezTo>
                    <a:pt x="78181" y="60673"/>
                    <a:pt x="60680" y="78161"/>
                    <a:pt x="39094" y="78161"/>
                  </a:cubicBezTo>
                  <a:cubicBezTo>
                    <a:pt x="17501" y="78161"/>
                    <a:pt x="0" y="60673"/>
                    <a:pt x="0" y="39086"/>
                  </a:cubicBezTo>
                  <a:cubicBezTo>
                    <a:pt x="0" y="17499"/>
                    <a:pt x="17501" y="0"/>
                    <a:pt x="39094" y="0"/>
                  </a:cubicBezTo>
                  <a:close/>
                </a:path>
              </a:pathLst>
            </a:custGeom>
            <a:solidFill>
              <a:schemeClr val="accent3"/>
            </a:solidFill>
            <a:ln w="0">
              <a:noFill/>
              <a:prstDash val="solid"/>
              <a:round/>
              <a:headEnd/>
              <a:tailEnd/>
            </a:ln>
          </p:spPr>
          <p:txBody>
            <a:bodyPr vert="horz" wrap="square" lIns="93260" tIns="46630" rIns="93260" bIns="46630" numCol="1" anchor="t" anchorCtr="0" compatLnSpc="1">
              <a:prstTxWarp prst="textNoShape">
                <a:avLst/>
              </a:prstTxWarp>
              <a:noAutofit/>
            </a:bodyPr>
            <a:lstStyle/>
            <a:p>
              <a:endParaRPr lang="en-US" sz="1836"/>
            </a:p>
          </p:txBody>
        </p:sp>
        <p:sp>
          <p:nvSpPr>
            <p:cNvPr id="509" name="Freeform: Shape 334"/>
            <p:cNvSpPr>
              <a:spLocks/>
            </p:cNvSpPr>
            <p:nvPr/>
          </p:nvSpPr>
          <p:spPr bwMode="auto">
            <a:xfrm>
              <a:off x="9338735" y="3948918"/>
              <a:ext cx="78174" cy="78161"/>
            </a:xfrm>
            <a:custGeom>
              <a:avLst/>
              <a:gdLst>
                <a:gd name="connsiteX0" fmla="*/ 39087 w 78174"/>
                <a:gd name="connsiteY0" fmla="*/ 0 h 78161"/>
                <a:gd name="connsiteX1" fmla="*/ 78174 w 78174"/>
                <a:gd name="connsiteY1" fmla="*/ 39086 h 78161"/>
                <a:gd name="connsiteX2" fmla="*/ 39087 w 78174"/>
                <a:gd name="connsiteY2" fmla="*/ 78161 h 78161"/>
                <a:gd name="connsiteX3" fmla="*/ 0 w 78174"/>
                <a:gd name="connsiteY3" fmla="*/ 39086 h 78161"/>
                <a:gd name="connsiteX4" fmla="*/ 39087 w 78174"/>
                <a:gd name="connsiteY4" fmla="*/ 0 h 781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61">
                  <a:moveTo>
                    <a:pt x="39087" y="0"/>
                  </a:moveTo>
                  <a:cubicBezTo>
                    <a:pt x="60674" y="0"/>
                    <a:pt x="78174" y="17499"/>
                    <a:pt x="78174" y="39086"/>
                  </a:cubicBezTo>
                  <a:cubicBezTo>
                    <a:pt x="78174" y="60673"/>
                    <a:pt x="60674" y="78161"/>
                    <a:pt x="39087" y="78161"/>
                  </a:cubicBezTo>
                  <a:cubicBezTo>
                    <a:pt x="17500" y="78161"/>
                    <a:pt x="0" y="60673"/>
                    <a:pt x="0" y="39086"/>
                  </a:cubicBezTo>
                  <a:cubicBezTo>
                    <a:pt x="0" y="17499"/>
                    <a:pt x="17500" y="0"/>
                    <a:pt x="39087" y="0"/>
                  </a:cubicBezTo>
                  <a:close/>
                </a:path>
              </a:pathLst>
            </a:custGeom>
            <a:solidFill>
              <a:schemeClr val="accent3"/>
            </a:solidFill>
            <a:ln w="0">
              <a:noFill/>
              <a:prstDash val="solid"/>
              <a:round/>
              <a:headEnd/>
              <a:tailEnd/>
            </a:ln>
          </p:spPr>
          <p:txBody>
            <a:bodyPr vert="horz" wrap="square" lIns="93260" tIns="46630" rIns="93260" bIns="46630" numCol="1" anchor="t" anchorCtr="0" compatLnSpc="1">
              <a:prstTxWarp prst="textNoShape">
                <a:avLst/>
              </a:prstTxWarp>
              <a:noAutofit/>
            </a:bodyPr>
            <a:lstStyle/>
            <a:p>
              <a:endParaRPr lang="en-US" sz="1836"/>
            </a:p>
          </p:txBody>
        </p:sp>
        <p:sp>
          <p:nvSpPr>
            <p:cNvPr id="510" name="Freeform: Shape 335"/>
            <p:cNvSpPr>
              <a:spLocks/>
            </p:cNvSpPr>
            <p:nvPr/>
          </p:nvSpPr>
          <p:spPr bwMode="auto">
            <a:xfrm>
              <a:off x="9996483" y="3948918"/>
              <a:ext cx="78174" cy="78161"/>
            </a:xfrm>
            <a:custGeom>
              <a:avLst/>
              <a:gdLst>
                <a:gd name="connsiteX0" fmla="*/ 39088 w 78174"/>
                <a:gd name="connsiteY0" fmla="*/ 0 h 78161"/>
                <a:gd name="connsiteX1" fmla="*/ 78174 w 78174"/>
                <a:gd name="connsiteY1" fmla="*/ 39086 h 78161"/>
                <a:gd name="connsiteX2" fmla="*/ 39088 w 78174"/>
                <a:gd name="connsiteY2" fmla="*/ 78161 h 78161"/>
                <a:gd name="connsiteX3" fmla="*/ 0 w 78174"/>
                <a:gd name="connsiteY3" fmla="*/ 39086 h 78161"/>
                <a:gd name="connsiteX4" fmla="*/ 39088 w 78174"/>
                <a:gd name="connsiteY4" fmla="*/ 0 h 781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61">
                  <a:moveTo>
                    <a:pt x="39088" y="0"/>
                  </a:moveTo>
                  <a:cubicBezTo>
                    <a:pt x="60675" y="0"/>
                    <a:pt x="78174" y="17499"/>
                    <a:pt x="78174" y="39086"/>
                  </a:cubicBezTo>
                  <a:cubicBezTo>
                    <a:pt x="78174" y="60673"/>
                    <a:pt x="60675" y="78161"/>
                    <a:pt x="39088" y="78161"/>
                  </a:cubicBezTo>
                  <a:cubicBezTo>
                    <a:pt x="17500" y="78161"/>
                    <a:pt x="0" y="60673"/>
                    <a:pt x="0" y="39086"/>
                  </a:cubicBezTo>
                  <a:cubicBezTo>
                    <a:pt x="0" y="17499"/>
                    <a:pt x="17500" y="0"/>
                    <a:pt x="39088" y="0"/>
                  </a:cubicBezTo>
                  <a:close/>
                </a:path>
              </a:pathLst>
            </a:custGeom>
            <a:solidFill>
              <a:schemeClr val="accent3"/>
            </a:solidFill>
            <a:ln w="0">
              <a:noFill/>
              <a:prstDash val="solid"/>
              <a:round/>
              <a:headEnd/>
              <a:tailEnd/>
            </a:ln>
          </p:spPr>
          <p:txBody>
            <a:bodyPr vert="horz" wrap="square" lIns="93260" tIns="46630" rIns="93260" bIns="46630" numCol="1" anchor="t" anchorCtr="0" compatLnSpc="1">
              <a:prstTxWarp prst="textNoShape">
                <a:avLst/>
              </a:prstTxWarp>
              <a:noAutofit/>
            </a:bodyPr>
            <a:lstStyle/>
            <a:p>
              <a:endParaRPr lang="en-US" sz="1836"/>
            </a:p>
          </p:txBody>
        </p:sp>
        <p:sp>
          <p:nvSpPr>
            <p:cNvPr id="511" name="Freeform: Shape 336"/>
            <p:cNvSpPr>
              <a:spLocks/>
            </p:cNvSpPr>
            <p:nvPr/>
          </p:nvSpPr>
          <p:spPr bwMode="auto">
            <a:xfrm>
              <a:off x="10185765" y="3948918"/>
              <a:ext cx="78174" cy="78161"/>
            </a:xfrm>
            <a:custGeom>
              <a:avLst/>
              <a:gdLst>
                <a:gd name="connsiteX0" fmla="*/ 39087 w 78174"/>
                <a:gd name="connsiteY0" fmla="*/ 0 h 78161"/>
                <a:gd name="connsiteX1" fmla="*/ 78174 w 78174"/>
                <a:gd name="connsiteY1" fmla="*/ 39086 h 78161"/>
                <a:gd name="connsiteX2" fmla="*/ 39087 w 78174"/>
                <a:gd name="connsiteY2" fmla="*/ 78161 h 78161"/>
                <a:gd name="connsiteX3" fmla="*/ 0 w 78174"/>
                <a:gd name="connsiteY3" fmla="*/ 39086 h 78161"/>
                <a:gd name="connsiteX4" fmla="*/ 39087 w 78174"/>
                <a:gd name="connsiteY4" fmla="*/ 0 h 781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61">
                  <a:moveTo>
                    <a:pt x="39087" y="0"/>
                  </a:moveTo>
                  <a:cubicBezTo>
                    <a:pt x="60674" y="0"/>
                    <a:pt x="78174" y="17499"/>
                    <a:pt x="78174" y="39086"/>
                  </a:cubicBezTo>
                  <a:cubicBezTo>
                    <a:pt x="78174" y="60673"/>
                    <a:pt x="60674" y="78161"/>
                    <a:pt x="39087" y="78161"/>
                  </a:cubicBezTo>
                  <a:cubicBezTo>
                    <a:pt x="17500" y="78161"/>
                    <a:pt x="0" y="60673"/>
                    <a:pt x="0" y="39086"/>
                  </a:cubicBezTo>
                  <a:cubicBezTo>
                    <a:pt x="0" y="17499"/>
                    <a:pt x="17500" y="0"/>
                    <a:pt x="39087" y="0"/>
                  </a:cubicBezTo>
                  <a:close/>
                </a:path>
              </a:pathLst>
            </a:custGeom>
            <a:solidFill>
              <a:schemeClr val="accent3"/>
            </a:solidFill>
            <a:ln w="0">
              <a:noFill/>
              <a:prstDash val="solid"/>
              <a:round/>
              <a:headEnd/>
              <a:tailEnd/>
            </a:ln>
          </p:spPr>
          <p:txBody>
            <a:bodyPr vert="horz" wrap="square" lIns="93260" tIns="46630" rIns="93260" bIns="46630" numCol="1" anchor="t" anchorCtr="0" compatLnSpc="1">
              <a:prstTxWarp prst="textNoShape">
                <a:avLst/>
              </a:prstTxWarp>
              <a:noAutofit/>
            </a:bodyPr>
            <a:lstStyle/>
            <a:p>
              <a:endParaRPr lang="en-US" sz="1836"/>
            </a:p>
          </p:txBody>
        </p:sp>
        <p:sp>
          <p:nvSpPr>
            <p:cNvPr id="512" name="Freeform: Shape 337"/>
            <p:cNvSpPr>
              <a:spLocks/>
            </p:cNvSpPr>
            <p:nvPr/>
          </p:nvSpPr>
          <p:spPr bwMode="auto">
            <a:xfrm>
              <a:off x="6897096" y="3948918"/>
              <a:ext cx="78170" cy="78162"/>
            </a:xfrm>
            <a:custGeom>
              <a:avLst/>
              <a:gdLst>
                <a:gd name="connsiteX0" fmla="*/ 39067 w 78170"/>
                <a:gd name="connsiteY0" fmla="*/ 0 h 78162"/>
                <a:gd name="connsiteX1" fmla="*/ 78170 w 78170"/>
                <a:gd name="connsiteY1" fmla="*/ 39087 h 78162"/>
                <a:gd name="connsiteX2" fmla="*/ 39067 w 78170"/>
                <a:gd name="connsiteY2" fmla="*/ 78162 h 78162"/>
                <a:gd name="connsiteX3" fmla="*/ 0 w 78170"/>
                <a:gd name="connsiteY3" fmla="*/ 39087 h 78162"/>
                <a:gd name="connsiteX4" fmla="*/ 39067 w 78170"/>
                <a:gd name="connsiteY4" fmla="*/ 0 h 781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0" h="78162">
                  <a:moveTo>
                    <a:pt x="39067" y="0"/>
                  </a:moveTo>
                  <a:cubicBezTo>
                    <a:pt x="60660" y="0"/>
                    <a:pt x="78170" y="17500"/>
                    <a:pt x="78170" y="39087"/>
                  </a:cubicBezTo>
                  <a:cubicBezTo>
                    <a:pt x="78170" y="60674"/>
                    <a:pt x="60660" y="78162"/>
                    <a:pt x="39067" y="78162"/>
                  </a:cubicBezTo>
                  <a:cubicBezTo>
                    <a:pt x="17501" y="78162"/>
                    <a:pt x="0" y="60674"/>
                    <a:pt x="0" y="39087"/>
                  </a:cubicBezTo>
                  <a:cubicBezTo>
                    <a:pt x="0" y="17500"/>
                    <a:pt x="17501" y="0"/>
                    <a:pt x="39067" y="0"/>
                  </a:cubicBezTo>
                  <a:close/>
                </a:path>
              </a:pathLst>
            </a:custGeom>
            <a:solidFill>
              <a:schemeClr val="accent3"/>
            </a:solidFill>
            <a:ln w="0">
              <a:noFill/>
              <a:prstDash val="solid"/>
              <a:round/>
              <a:headEnd/>
              <a:tailEnd/>
            </a:ln>
          </p:spPr>
          <p:txBody>
            <a:bodyPr vert="horz" wrap="square" lIns="93260" tIns="46630" rIns="93260" bIns="46630" numCol="1" anchor="t" anchorCtr="0" compatLnSpc="1">
              <a:prstTxWarp prst="textNoShape">
                <a:avLst/>
              </a:prstTxWarp>
              <a:noAutofit/>
            </a:bodyPr>
            <a:lstStyle/>
            <a:p>
              <a:endParaRPr lang="en-US" sz="1836"/>
            </a:p>
          </p:txBody>
        </p:sp>
        <p:sp>
          <p:nvSpPr>
            <p:cNvPr id="513" name="Freeform: Shape 338"/>
            <p:cNvSpPr>
              <a:spLocks/>
            </p:cNvSpPr>
            <p:nvPr/>
          </p:nvSpPr>
          <p:spPr bwMode="auto">
            <a:xfrm>
              <a:off x="10278039" y="3959196"/>
              <a:ext cx="39113" cy="67883"/>
            </a:xfrm>
            <a:custGeom>
              <a:avLst/>
              <a:gdLst>
                <a:gd name="connsiteX0" fmla="*/ 14271 w 39113"/>
                <a:gd name="connsiteY0" fmla="*/ 0 h 67883"/>
                <a:gd name="connsiteX1" fmla="*/ 39113 w 39113"/>
                <a:gd name="connsiteY1" fmla="*/ 67872 h 67883"/>
                <a:gd name="connsiteX2" fmla="*/ 39088 w 39113"/>
                <a:gd name="connsiteY2" fmla="*/ 67883 h 67883"/>
                <a:gd name="connsiteX3" fmla="*/ 0 w 39113"/>
                <a:gd name="connsiteY3" fmla="*/ 28808 h 67883"/>
                <a:gd name="connsiteX4" fmla="*/ 11449 w 39113"/>
                <a:gd name="connsiteY4" fmla="*/ 1170 h 67883"/>
                <a:gd name="connsiteX5" fmla="*/ 14271 w 39113"/>
                <a:gd name="connsiteY5" fmla="*/ 0 h 67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113" h="67883">
                  <a:moveTo>
                    <a:pt x="14271" y="0"/>
                  </a:moveTo>
                  <a:lnTo>
                    <a:pt x="39113" y="67872"/>
                  </a:lnTo>
                  <a:lnTo>
                    <a:pt x="39088" y="67883"/>
                  </a:lnTo>
                  <a:cubicBezTo>
                    <a:pt x="17500" y="67883"/>
                    <a:pt x="0" y="50395"/>
                    <a:pt x="0" y="28808"/>
                  </a:cubicBezTo>
                  <a:cubicBezTo>
                    <a:pt x="0" y="18014"/>
                    <a:pt x="4375" y="8243"/>
                    <a:pt x="11449" y="1170"/>
                  </a:cubicBezTo>
                  <a:lnTo>
                    <a:pt x="14271" y="0"/>
                  </a:lnTo>
                  <a:close/>
                </a:path>
              </a:pathLst>
            </a:custGeom>
            <a:solidFill>
              <a:schemeClr val="accent3"/>
            </a:solidFill>
            <a:ln w="0">
              <a:noFill/>
              <a:prstDash val="solid"/>
              <a:round/>
              <a:headEnd/>
              <a:tailEnd/>
            </a:ln>
          </p:spPr>
          <p:txBody>
            <a:bodyPr vert="horz" wrap="square" lIns="93260" tIns="46630" rIns="93260" bIns="46630" numCol="1" anchor="t" anchorCtr="0" compatLnSpc="1">
              <a:prstTxWarp prst="textNoShape">
                <a:avLst/>
              </a:prstTxWarp>
              <a:noAutofit/>
            </a:bodyPr>
            <a:lstStyle/>
            <a:p>
              <a:endParaRPr lang="en-US" sz="1836"/>
            </a:p>
          </p:txBody>
        </p:sp>
        <p:sp>
          <p:nvSpPr>
            <p:cNvPr id="514" name="Freeform: Shape 339"/>
            <p:cNvSpPr>
              <a:spLocks/>
            </p:cNvSpPr>
            <p:nvPr/>
          </p:nvSpPr>
          <p:spPr bwMode="auto">
            <a:xfrm>
              <a:off x="6991734" y="4038814"/>
              <a:ext cx="78160" cy="78175"/>
            </a:xfrm>
            <a:custGeom>
              <a:avLst/>
              <a:gdLst>
                <a:gd name="connsiteX0" fmla="*/ 39076 w 78160"/>
                <a:gd name="connsiteY0" fmla="*/ 0 h 78175"/>
                <a:gd name="connsiteX1" fmla="*/ 78160 w 78160"/>
                <a:gd name="connsiteY1" fmla="*/ 39087 h 78175"/>
                <a:gd name="connsiteX2" fmla="*/ 39076 w 78160"/>
                <a:gd name="connsiteY2" fmla="*/ 78175 h 78175"/>
                <a:gd name="connsiteX3" fmla="*/ 0 w 78160"/>
                <a:gd name="connsiteY3" fmla="*/ 39087 h 78175"/>
                <a:gd name="connsiteX4" fmla="*/ 39076 w 78160"/>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60" h="78175">
                  <a:moveTo>
                    <a:pt x="39076" y="0"/>
                  </a:moveTo>
                  <a:cubicBezTo>
                    <a:pt x="60662" y="0"/>
                    <a:pt x="78160" y="17500"/>
                    <a:pt x="78160" y="39087"/>
                  </a:cubicBezTo>
                  <a:cubicBezTo>
                    <a:pt x="78160" y="60674"/>
                    <a:pt x="60662" y="78175"/>
                    <a:pt x="39076" y="78175"/>
                  </a:cubicBezTo>
                  <a:cubicBezTo>
                    <a:pt x="17481" y="78175"/>
                    <a:pt x="0" y="60674"/>
                    <a:pt x="0" y="39087"/>
                  </a:cubicBezTo>
                  <a:cubicBezTo>
                    <a:pt x="0" y="17500"/>
                    <a:pt x="17481" y="0"/>
                    <a:pt x="39076" y="0"/>
                  </a:cubicBezTo>
                  <a:close/>
                </a:path>
              </a:pathLst>
            </a:custGeom>
            <a:solidFill>
              <a:schemeClr val="accent3"/>
            </a:solidFill>
            <a:ln w="0">
              <a:noFill/>
              <a:prstDash val="solid"/>
              <a:round/>
              <a:headEnd/>
              <a:tailEnd/>
            </a:ln>
          </p:spPr>
          <p:txBody>
            <a:bodyPr vert="horz" wrap="square" lIns="93260" tIns="46630" rIns="93260" bIns="46630" numCol="1" anchor="t" anchorCtr="0" compatLnSpc="1">
              <a:prstTxWarp prst="textNoShape">
                <a:avLst/>
              </a:prstTxWarp>
              <a:noAutofit/>
            </a:bodyPr>
            <a:lstStyle/>
            <a:p>
              <a:endParaRPr lang="en-US" sz="1836"/>
            </a:p>
          </p:txBody>
        </p:sp>
        <p:sp>
          <p:nvSpPr>
            <p:cNvPr id="515" name="Freeform: Shape 340"/>
            <p:cNvSpPr>
              <a:spLocks/>
            </p:cNvSpPr>
            <p:nvPr/>
          </p:nvSpPr>
          <p:spPr bwMode="auto">
            <a:xfrm>
              <a:off x="7176294" y="4038814"/>
              <a:ext cx="78178" cy="78175"/>
            </a:xfrm>
            <a:custGeom>
              <a:avLst/>
              <a:gdLst>
                <a:gd name="connsiteX0" fmla="*/ 39074 w 78178"/>
                <a:gd name="connsiteY0" fmla="*/ 0 h 78175"/>
                <a:gd name="connsiteX1" fmla="*/ 78178 w 78178"/>
                <a:gd name="connsiteY1" fmla="*/ 39087 h 78175"/>
                <a:gd name="connsiteX2" fmla="*/ 39074 w 78178"/>
                <a:gd name="connsiteY2" fmla="*/ 78175 h 78175"/>
                <a:gd name="connsiteX3" fmla="*/ 0 w 78178"/>
                <a:gd name="connsiteY3" fmla="*/ 39087 h 78175"/>
                <a:gd name="connsiteX4" fmla="*/ 39074 w 78178"/>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8" h="78175">
                  <a:moveTo>
                    <a:pt x="39074" y="0"/>
                  </a:moveTo>
                  <a:cubicBezTo>
                    <a:pt x="60679" y="0"/>
                    <a:pt x="78178" y="17500"/>
                    <a:pt x="78178" y="39087"/>
                  </a:cubicBezTo>
                  <a:cubicBezTo>
                    <a:pt x="78178" y="60674"/>
                    <a:pt x="60679" y="78175"/>
                    <a:pt x="39074" y="78175"/>
                  </a:cubicBezTo>
                  <a:cubicBezTo>
                    <a:pt x="17504" y="78175"/>
                    <a:pt x="0" y="60674"/>
                    <a:pt x="0" y="39087"/>
                  </a:cubicBezTo>
                  <a:cubicBezTo>
                    <a:pt x="0" y="17500"/>
                    <a:pt x="17504" y="0"/>
                    <a:pt x="39074" y="0"/>
                  </a:cubicBezTo>
                  <a:close/>
                </a:path>
              </a:pathLst>
            </a:custGeom>
            <a:solidFill>
              <a:schemeClr val="accent3"/>
            </a:solidFill>
            <a:ln w="0">
              <a:noFill/>
              <a:prstDash val="solid"/>
              <a:round/>
              <a:headEnd/>
              <a:tailEnd/>
            </a:ln>
          </p:spPr>
          <p:txBody>
            <a:bodyPr vert="horz" wrap="square" lIns="93260" tIns="46630" rIns="93260" bIns="46630" numCol="1" anchor="t" anchorCtr="0" compatLnSpc="1">
              <a:prstTxWarp prst="textNoShape">
                <a:avLst/>
              </a:prstTxWarp>
              <a:noAutofit/>
            </a:bodyPr>
            <a:lstStyle/>
            <a:p>
              <a:endParaRPr lang="en-US" sz="1836"/>
            </a:p>
          </p:txBody>
        </p:sp>
        <p:sp>
          <p:nvSpPr>
            <p:cNvPr id="516" name="Freeform: Shape 341"/>
            <p:cNvSpPr>
              <a:spLocks/>
            </p:cNvSpPr>
            <p:nvPr/>
          </p:nvSpPr>
          <p:spPr bwMode="auto">
            <a:xfrm>
              <a:off x="9338735" y="4038814"/>
              <a:ext cx="78174" cy="78175"/>
            </a:xfrm>
            <a:custGeom>
              <a:avLst/>
              <a:gdLst>
                <a:gd name="connsiteX0" fmla="*/ 39087 w 78174"/>
                <a:gd name="connsiteY0" fmla="*/ 0 h 78175"/>
                <a:gd name="connsiteX1" fmla="*/ 78174 w 78174"/>
                <a:gd name="connsiteY1" fmla="*/ 39087 h 78175"/>
                <a:gd name="connsiteX2" fmla="*/ 39087 w 78174"/>
                <a:gd name="connsiteY2" fmla="*/ 78175 h 78175"/>
                <a:gd name="connsiteX3" fmla="*/ 0 w 78174"/>
                <a:gd name="connsiteY3" fmla="*/ 39087 h 78175"/>
                <a:gd name="connsiteX4" fmla="*/ 39087 w 78174"/>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75">
                  <a:moveTo>
                    <a:pt x="39087" y="0"/>
                  </a:moveTo>
                  <a:cubicBezTo>
                    <a:pt x="60674" y="0"/>
                    <a:pt x="78174" y="17500"/>
                    <a:pt x="78174" y="39087"/>
                  </a:cubicBezTo>
                  <a:cubicBezTo>
                    <a:pt x="78174" y="60674"/>
                    <a:pt x="60674" y="78175"/>
                    <a:pt x="39087" y="78175"/>
                  </a:cubicBezTo>
                  <a:cubicBezTo>
                    <a:pt x="17500" y="78175"/>
                    <a:pt x="0" y="60674"/>
                    <a:pt x="0" y="39087"/>
                  </a:cubicBezTo>
                  <a:cubicBezTo>
                    <a:pt x="0" y="17500"/>
                    <a:pt x="17500" y="0"/>
                    <a:pt x="39087" y="0"/>
                  </a:cubicBezTo>
                  <a:close/>
                </a:path>
              </a:pathLst>
            </a:custGeom>
            <a:solidFill>
              <a:schemeClr val="accent3"/>
            </a:solidFill>
            <a:ln w="0">
              <a:noFill/>
              <a:prstDash val="solid"/>
              <a:round/>
              <a:headEnd/>
              <a:tailEnd/>
            </a:ln>
          </p:spPr>
          <p:txBody>
            <a:bodyPr vert="horz" wrap="square" lIns="93260" tIns="46630" rIns="93260" bIns="46630" numCol="1" anchor="t" anchorCtr="0" compatLnSpc="1">
              <a:prstTxWarp prst="textNoShape">
                <a:avLst/>
              </a:prstTxWarp>
              <a:noAutofit/>
            </a:bodyPr>
            <a:lstStyle/>
            <a:p>
              <a:endParaRPr lang="en-US" sz="1836"/>
            </a:p>
          </p:txBody>
        </p:sp>
        <p:sp>
          <p:nvSpPr>
            <p:cNvPr id="517" name="Freeform: Shape 342"/>
            <p:cNvSpPr>
              <a:spLocks/>
            </p:cNvSpPr>
            <p:nvPr/>
          </p:nvSpPr>
          <p:spPr bwMode="auto">
            <a:xfrm>
              <a:off x="9525649" y="4038814"/>
              <a:ext cx="78174" cy="78175"/>
            </a:xfrm>
            <a:custGeom>
              <a:avLst/>
              <a:gdLst>
                <a:gd name="connsiteX0" fmla="*/ 39087 w 78174"/>
                <a:gd name="connsiteY0" fmla="*/ 0 h 78175"/>
                <a:gd name="connsiteX1" fmla="*/ 78174 w 78174"/>
                <a:gd name="connsiteY1" fmla="*/ 39087 h 78175"/>
                <a:gd name="connsiteX2" fmla="*/ 39087 w 78174"/>
                <a:gd name="connsiteY2" fmla="*/ 78175 h 78175"/>
                <a:gd name="connsiteX3" fmla="*/ 0 w 78174"/>
                <a:gd name="connsiteY3" fmla="*/ 39087 h 78175"/>
                <a:gd name="connsiteX4" fmla="*/ 39087 w 78174"/>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75">
                  <a:moveTo>
                    <a:pt x="39087" y="0"/>
                  </a:moveTo>
                  <a:cubicBezTo>
                    <a:pt x="60674" y="0"/>
                    <a:pt x="78174" y="17500"/>
                    <a:pt x="78174" y="39087"/>
                  </a:cubicBezTo>
                  <a:cubicBezTo>
                    <a:pt x="78174" y="60674"/>
                    <a:pt x="60674" y="78175"/>
                    <a:pt x="39087" y="78175"/>
                  </a:cubicBezTo>
                  <a:cubicBezTo>
                    <a:pt x="17500" y="78175"/>
                    <a:pt x="0" y="60674"/>
                    <a:pt x="0" y="39087"/>
                  </a:cubicBezTo>
                  <a:cubicBezTo>
                    <a:pt x="0" y="17500"/>
                    <a:pt x="17500" y="0"/>
                    <a:pt x="39087" y="0"/>
                  </a:cubicBezTo>
                  <a:close/>
                </a:path>
              </a:pathLst>
            </a:custGeom>
            <a:solidFill>
              <a:schemeClr val="accent3"/>
            </a:solidFill>
            <a:ln w="0">
              <a:noFill/>
              <a:prstDash val="solid"/>
              <a:round/>
              <a:headEnd/>
              <a:tailEnd/>
            </a:ln>
          </p:spPr>
          <p:txBody>
            <a:bodyPr vert="horz" wrap="square" lIns="93260" tIns="46630" rIns="93260" bIns="46630" numCol="1" anchor="t" anchorCtr="0" compatLnSpc="1">
              <a:prstTxWarp prst="textNoShape">
                <a:avLst/>
              </a:prstTxWarp>
              <a:noAutofit/>
            </a:bodyPr>
            <a:lstStyle/>
            <a:p>
              <a:endParaRPr lang="en-US" sz="1836"/>
            </a:p>
          </p:txBody>
        </p:sp>
        <p:sp>
          <p:nvSpPr>
            <p:cNvPr id="518" name="Freeform: Shape 343"/>
            <p:cNvSpPr>
              <a:spLocks/>
            </p:cNvSpPr>
            <p:nvPr/>
          </p:nvSpPr>
          <p:spPr bwMode="auto">
            <a:xfrm>
              <a:off x="9807203" y="4038814"/>
              <a:ext cx="78175" cy="78175"/>
            </a:xfrm>
            <a:custGeom>
              <a:avLst/>
              <a:gdLst>
                <a:gd name="connsiteX0" fmla="*/ 39088 w 78175"/>
                <a:gd name="connsiteY0" fmla="*/ 0 h 78175"/>
                <a:gd name="connsiteX1" fmla="*/ 78175 w 78175"/>
                <a:gd name="connsiteY1" fmla="*/ 39087 h 78175"/>
                <a:gd name="connsiteX2" fmla="*/ 39088 w 78175"/>
                <a:gd name="connsiteY2" fmla="*/ 78175 h 78175"/>
                <a:gd name="connsiteX3" fmla="*/ 0 w 78175"/>
                <a:gd name="connsiteY3" fmla="*/ 39087 h 78175"/>
                <a:gd name="connsiteX4" fmla="*/ 39088 w 78175"/>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5" h="78175">
                  <a:moveTo>
                    <a:pt x="39088" y="0"/>
                  </a:moveTo>
                  <a:cubicBezTo>
                    <a:pt x="60675" y="0"/>
                    <a:pt x="78175" y="17500"/>
                    <a:pt x="78175" y="39087"/>
                  </a:cubicBezTo>
                  <a:cubicBezTo>
                    <a:pt x="78175" y="60674"/>
                    <a:pt x="60675" y="78175"/>
                    <a:pt x="39088" y="78175"/>
                  </a:cubicBezTo>
                  <a:cubicBezTo>
                    <a:pt x="17500" y="78175"/>
                    <a:pt x="0" y="60674"/>
                    <a:pt x="0" y="39087"/>
                  </a:cubicBezTo>
                  <a:cubicBezTo>
                    <a:pt x="0" y="17500"/>
                    <a:pt x="17500" y="0"/>
                    <a:pt x="39088" y="0"/>
                  </a:cubicBezTo>
                  <a:close/>
                </a:path>
              </a:pathLst>
            </a:custGeom>
            <a:solidFill>
              <a:schemeClr val="accent3"/>
            </a:solidFill>
            <a:ln w="0">
              <a:noFill/>
              <a:prstDash val="solid"/>
              <a:round/>
              <a:headEnd/>
              <a:tailEnd/>
            </a:ln>
          </p:spPr>
          <p:txBody>
            <a:bodyPr vert="horz" wrap="square" lIns="93260" tIns="46630" rIns="93260" bIns="46630" numCol="1" anchor="t" anchorCtr="0" compatLnSpc="1">
              <a:prstTxWarp prst="textNoShape">
                <a:avLst/>
              </a:prstTxWarp>
              <a:noAutofit/>
            </a:bodyPr>
            <a:lstStyle/>
            <a:p>
              <a:endParaRPr lang="en-US" sz="1836"/>
            </a:p>
          </p:txBody>
        </p:sp>
        <p:sp>
          <p:nvSpPr>
            <p:cNvPr id="519" name="Freeform: Shape 344"/>
            <p:cNvSpPr>
              <a:spLocks/>
            </p:cNvSpPr>
            <p:nvPr/>
          </p:nvSpPr>
          <p:spPr bwMode="auto">
            <a:xfrm>
              <a:off x="9899478" y="4038814"/>
              <a:ext cx="78175" cy="78175"/>
            </a:xfrm>
            <a:custGeom>
              <a:avLst/>
              <a:gdLst>
                <a:gd name="connsiteX0" fmla="*/ 39087 w 78175"/>
                <a:gd name="connsiteY0" fmla="*/ 0 h 78175"/>
                <a:gd name="connsiteX1" fmla="*/ 78175 w 78175"/>
                <a:gd name="connsiteY1" fmla="*/ 39087 h 78175"/>
                <a:gd name="connsiteX2" fmla="*/ 39087 w 78175"/>
                <a:gd name="connsiteY2" fmla="*/ 78175 h 78175"/>
                <a:gd name="connsiteX3" fmla="*/ 0 w 78175"/>
                <a:gd name="connsiteY3" fmla="*/ 39087 h 78175"/>
                <a:gd name="connsiteX4" fmla="*/ 39087 w 78175"/>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5" h="78175">
                  <a:moveTo>
                    <a:pt x="39087" y="0"/>
                  </a:moveTo>
                  <a:cubicBezTo>
                    <a:pt x="60675" y="0"/>
                    <a:pt x="78175" y="17500"/>
                    <a:pt x="78175" y="39087"/>
                  </a:cubicBezTo>
                  <a:cubicBezTo>
                    <a:pt x="78175" y="60674"/>
                    <a:pt x="60675" y="78175"/>
                    <a:pt x="39087" y="78175"/>
                  </a:cubicBezTo>
                  <a:cubicBezTo>
                    <a:pt x="17500" y="78175"/>
                    <a:pt x="0" y="60674"/>
                    <a:pt x="0" y="39087"/>
                  </a:cubicBezTo>
                  <a:cubicBezTo>
                    <a:pt x="0" y="17500"/>
                    <a:pt x="17500" y="0"/>
                    <a:pt x="39087" y="0"/>
                  </a:cubicBezTo>
                  <a:close/>
                </a:path>
              </a:pathLst>
            </a:custGeom>
            <a:solidFill>
              <a:schemeClr val="accent3"/>
            </a:solidFill>
            <a:ln w="0">
              <a:noFill/>
              <a:prstDash val="solid"/>
              <a:round/>
              <a:headEnd/>
              <a:tailEnd/>
            </a:ln>
          </p:spPr>
          <p:txBody>
            <a:bodyPr vert="horz" wrap="square" lIns="93260" tIns="46630" rIns="93260" bIns="46630" numCol="1" anchor="t" anchorCtr="0" compatLnSpc="1">
              <a:prstTxWarp prst="textNoShape">
                <a:avLst/>
              </a:prstTxWarp>
              <a:noAutofit/>
            </a:bodyPr>
            <a:lstStyle/>
            <a:p>
              <a:endParaRPr lang="en-US" sz="1836"/>
            </a:p>
          </p:txBody>
        </p:sp>
        <p:sp>
          <p:nvSpPr>
            <p:cNvPr id="520" name="Freeform: Shape 345"/>
            <p:cNvSpPr>
              <a:spLocks/>
            </p:cNvSpPr>
            <p:nvPr/>
          </p:nvSpPr>
          <p:spPr bwMode="auto">
            <a:xfrm>
              <a:off x="10278039" y="4038814"/>
              <a:ext cx="60390" cy="78175"/>
            </a:xfrm>
            <a:custGeom>
              <a:avLst/>
              <a:gdLst>
                <a:gd name="connsiteX0" fmla="*/ 39088 w 60390"/>
                <a:gd name="connsiteY0" fmla="*/ 0 h 78175"/>
                <a:gd name="connsiteX1" fmla="*/ 42972 w 60390"/>
                <a:gd name="connsiteY1" fmla="*/ 1609 h 78175"/>
                <a:gd name="connsiteX2" fmla="*/ 60390 w 60390"/>
                <a:gd name="connsiteY2" fmla="*/ 69351 h 78175"/>
                <a:gd name="connsiteX3" fmla="*/ 39088 w 60390"/>
                <a:gd name="connsiteY3" fmla="*/ 78175 h 78175"/>
                <a:gd name="connsiteX4" fmla="*/ 0 w 60390"/>
                <a:gd name="connsiteY4" fmla="*/ 39087 h 78175"/>
                <a:gd name="connsiteX5" fmla="*/ 39088 w 60390"/>
                <a:gd name="connsiteY5" fmla="*/ 0 h 78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0390" h="78175">
                  <a:moveTo>
                    <a:pt x="39088" y="0"/>
                  </a:moveTo>
                  <a:lnTo>
                    <a:pt x="42972" y="1609"/>
                  </a:lnTo>
                  <a:lnTo>
                    <a:pt x="60390" y="69351"/>
                  </a:lnTo>
                  <a:lnTo>
                    <a:pt x="39088" y="78175"/>
                  </a:lnTo>
                  <a:cubicBezTo>
                    <a:pt x="17500" y="78175"/>
                    <a:pt x="0" y="60674"/>
                    <a:pt x="0" y="39087"/>
                  </a:cubicBezTo>
                  <a:cubicBezTo>
                    <a:pt x="0" y="17500"/>
                    <a:pt x="17500" y="0"/>
                    <a:pt x="39088" y="0"/>
                  </a:cubicBezTo>
                  <a:close/>
                </a:path>
              </a:pathLst>
            </a:custGeom>
            <a:solidFill>
              <a:schemeClr val="accent3"/>
            </a:solidFill>
            <a:ln w="0">
              <a:noFill/>
              <a:prstDash val="solid"/>
              <a:round/>
              <a:headEnd/>
              <a:tailEnd/>
            </a:ln>
          </p:spPr>
          <p:txBody>
            <a:bodyPr vert="horz" wrap="square" lIns="93260" tIns="46630" rIns="93260" bIns="46630" numCol="1" anchor="t" anchorCtr="0" compatLnSpc="1">
              <a:prstTxWarp prst="textNoShape">
                <a:avLst/>
              </a:prstTxWarp>
              <a:noAutofit/>
            </a:bodyPr>
            <a:lstStyle/>
            <a:p>
              <a:endParaRPr lang="en-US" sz="1836"/>
            </a:p>
          </p:txBody>
        </p:sp>
        <p:sp>
          <p:nvSpPr>
            <p:cNvPr id="521" name="Freeform: Shape 346"/>
            <p:cNvSpPr>
              <a:spLocks/>
            </p:cNvSpPr>
            <p:nvPr/>
          </p:nvSpPr>
          <p:spPr bwMode="auto">
            <a:xfrm>
              <a:off x="8964923" y="4121622"/>
              <a:ext cx="78170" cy="78174"/>
            </a:xfrm>
            <a:custGeom>
              <a:avLst/>
              <a:gdLst>
                <a:gd name="connsiteX0" fmla="*/ 39082 w 78170"/>
                <a:gd name="connsiteY0" fmla="*/ 0 h 78174"/>
                <a:gd name="connsiteX1" fmla="*/ 78170 w 78170"/>
                <a:gd name="connsiteY1" fmla="*/ 39087 h 78174"/>
                <a:gd name="connsiteX2" fmla="*/ 39082 w 78170"/>
                <a:gd name="connsiteY2" fmla="*/ 78174 h 78174"/>
                <a:gd name="connsiteX3" fmla="*/ 0 w 78170"/>
                <a:gd name="connsiteY3" fmla="*/ 39087 h 78174"/>
                <a:gd name="connsiteX4" fmla="*/ 39082 w 78170"/>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0" h="78174">
                  <a:moveTo>
                    <a:pt x="39082" y="0"/>
                  </a:moveTo>
                  <a:cubicBezTo>
                    <a:pt x="60670" y="0"/>
                    <a:pt x="78170" y="17500"/>
                    <a:pt x="78170" y="39087"/>
                  </a:cubicBezTo>
                  <a:cubicBezTo>
                    <a:pt x="78170" y="60675"/>
                    <a:pt x="60670" y="78174"/>
                    <a:pt x="39082" y="78174"/>
                  </a:cubicBezTo>
                  <a:cubicBezTo>
                    <a:pt x="17506" y="78174"/>
                    <a:pt x="0" y="60675"/>
                    <a:pt x="0" y="39087"/>
                  </a:cubicBezTo>
                  <a:cubicBezTo>
                    <a:pt x="0" y="17500"/>
                    <a:pt x="17506" y="0"/>
                    <a:pt x="39082" y="0"/>
                  </a:cubicBezTo>
                  <a:close/>
                </a:path>
              </a:pathLst>
            </a:custGeom>
            <a:solidFill>
              <a:schemeClr val="accent3"/>
            </a:solidFill>
            <a:ln w="0">
              <a:noFill/>
              <a:prstDash val="solid"/>
              <a:round/>
              <a:headEnd/>
              <a:tailEnd/>
            </a:ln>
          </p:spPr>
          <p:txBody>
            <a:bodyPr vert="horz" wrap="square" lIns="93260" tIns="46630" rIns="93260" bIns="46630" numCol="1" anchor="t" anchorCtr="0" compatLnSpc="1">
              <a:prstTxWarp prst="textNoShape">
                <a:avLst/>
              </a:prstTxWarp>
              <a:noAutofit/>
            </a:bodyPr>
            <a:lstStyle/>
            <a:p>
              <a:endParaRPr lang="en-US" sz="1836"/>
            </a:p>
          </p:txBody>
        </p:sp>
        <p:sp>
          <p:nvSpPr>
            <p:cNvPr id="522" name="Freeform: Shape 347"/>
            <p:cNvSpPr>
              <a:spLocks/>
            </p:cNvSpPr>
            <p:nvPr/>
          </p:nvSpPr>
          <p:spPr bwMode="auto">
            <a:xfrm>
              <a:off x="7649459" y="4121624"/>
              <a:ext cx="78187" cy="78174"/>
            </a:xfrm>
            <a:custGeom>
              <a:avLst/>
              <a:gdLst>
                <a:gd name="connsiteX0" fmla="*/ 39097 w 78187"/>
                <a:gd name="connsiteY0" fmla="*/ 0 h 78174"/>
                <a:gd name="connsiteX1" fmla="*/ 78187 w 78187"/>
                <a:gd name="connsiteY1" fmla="*/ 39087 h 78174"/>
                <a:gd name="connsiteX2" fmla="*/ 39097 w 78187"/>
                <a:gd name="connsiteY2" fmla="*/ 78174 h 78174"/>
                <a:gd name="connsiteX3" fmla="*/ 0 w 78187"/>
                <a:gd name="connsiteY3" fmla="*/ 39087 h 78174"/>
                <a:gd name="connsiteX4" fmla="*/ 39097 w 78187"/>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87" h="78174">
                  <a:moveTo>
                    <a:pt x="39097" y="0"/>
                  </a:moveTo>
                  <a:cubicBezTo>
                    <a:pt x="60688" y="0"/>
                    <a:pt x="78187" y="17500"/>
                    <a:pt x="78187" y="39087"/>
                  </a:cubicBezTo>
                  <a:cubicBezTo>
                    <a:pt x="78187" y="60674"/>
                    <a:pt x="60688" y="78174"/>
                    <a:pt x="39097" y="78174"/>
                  </a:cubicBezTo>
                  <a:cubicBezTo>
                    <a:pt x="17504" y="78174"/>
                    <a:pt x="0" y="60674"/>
                    <a:pt x="0" y="39087"/>
                  </a:cubicBezTo>
                  <a:cubicBezTo>
                    <a:pt x="0" y="17500"/>
                    <a:pt x="17504" y="0"/>
                    <a:pt x="39097" y="0"/>
                  </a:cubicBezTo>
                  <a:close/>
                </a:path>
              </a:pathLst>
            </a:custGeom>
            <a:solidFill>
              <a:schemeClr val="accent3"/>
            </a:solidFill>
            <a:ln w="0">
              <a:noFill/>
              <a:prstDash val="solid"/>
              <a:round/>
              <a:headEnd/>
              <a:tailEnd/>
            </a:ln>
          </p:spPr>
          <p:txBody>
            <a:bodyPr vert="horz" wrap="square" lIns="93260" tIns="46630" rIns="93260" bIns="46630" numCol="1" anchor="t" anchorCtr="0" compatLnSpc="1">
              <a:prstTxWarp prst="textNoShape">
                <a:avLst/>
              </a:prstTxWarp>
              <a:noAutofit/>
            </a:bodyPr>
            <a:lstStyle/>
            <a:p>
              <a:endParaRPr lang="en-US" sz="1836"/>
            </a:p>
          </p:txBody>
        </p:sp>
        <p:sp>
          <p:nvSpPr>
            <p:cNvPr id="523" name="Freeform: Shape 348"/>
            <p:cNvSpPr>
              <a:spLocks/>
            </p:cNvSpPr>
            <p:nvPr/>
          </p:nvSpPr>
          <p:spPr bwMode="auto">
            <a:xfrm>
              <a:off x="9617923" y="4121624"/>
              <a:ext cx="78175" cy="78174"/>
            </a:xfrm>
            <a:custGeom>
              <a:avLst/>
              <a:gdLst>
                <a:gd name="connsiteX0" fmla="*/ 39088 w 78175"/>
                <a:gd name="connsiteY0" fmla="*/ 0 h 78174"/>
                <a:gd name="connsiteX1" fmla="*/ 78175 w 78175"/>
                <a:gd name="connsiteY1" fmla="*/ 39087 h 78174"/>
                <a:gd name="connsiteX2" fmla="*/ 39088 w 78175"/>
                <a:gd name="connsiteY2" fmla="*/ 78174 h 78174"/>
                <a:gd name="connsiteX3" fmla="*/ 0 w 78175"/>
                <a:gd name="connsiteY3" fmla="*/ 39087 h 78174"/>
                <a:gd name="connsiteX4" fmla="*/ 39088 w 78175"/>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5" h="78174">
                  <a:moveTo>
                    <a:pt x="39088" y="0"/>
                  </a:moveTo>
                  <a:cubicBezTo>
                    <a:pt x="60675" y="0"/>
                    <a:pt x="78175" y="17500"/>
                    <a:pt x="78175" y="39087"/>
                  </a:cubicBezTo>
                  <a:cubicBezTo>
                    <a:pt x="78175" y="60674"/>
                    <a:pt x="60675" y="78174"/>
                    <a:pt x="39088" y="78174"/>
                  </a:cubicBezTo>
                  <a:cubicBezTo>
                    <a:pt x="17500" y="78174"/>
                    <a:pt x="0" y="60674"/>
                    <a:pt x="0" y="39087"/>
                  </a:cubicBezTo>
                  <a:cubicBezTo>
                    <a:pt x="0" y="17500"/>
                    <a:pt x="17500" y="0"/>
                    <a:pt x="39088" y="0"/>
                  </a:cubicBezTo>
                  <a:close/>
                </a:path>
              </a:pathLst>
            </a:custGeom>
            <a:solidFill>
              <a:schemeClr val="accent3"/>
            </a:solidFill>
            <a:ln w="0">
              <a:noFill/>
              <a:prstDash val="solid"/>
              <a:round/>
              <a:headEnd/>
              <a:tailEnd/>
            </a:ln>
          </p:spPr>
          <p:txBody>
            <a:bodyPr vert="horz" wrap="square" lIns="93260" tIns="46630" rIns="93260" bIns="46630" numCol="1" anchor="t" anchorCtr="0" compatLnSpc="1">
              <a:prstTxWarp prst="textNoShape">
                <a:avLst/>
              </a:prstTxWarp>
              <a:noAutofit/>
            </a:bodyPr>
            <a:lstStyle/>
            <a:p>
              <a:endParaRPr lang="en-US" sz="1836"/>
            </a:p>
          </p:txBody>
        </p:sp>
        <p:sp>
          <p:nvSpPr>
            <p:cNvPr id="524" name="Freeform: Shape 349"/>
            <p:cNvSpPr>
              <a:spLocks/>
            </p:cNvSpPr>
            <p:nvPr/>
          </p:nvSpPr>
          <p:spPr bwMode="auto">
            <a:xfrm>
              <a:off x="7083989" y="4206799"/>
              <a:ext cx="78190" cy="78175"/>
            </a:xfrm>
            <a:custGeom>
              <a:avLst/>
              <a:gdLst>
                <a:gd name="connsiteX0" fmla="*/ 39095 w 78190"/>
                <a:gd name="connsiteY0" fmla="*/ 0 h 78175"/>
                <a:gd name="connsiteX1" fmla="*/ 78190 w 78190"/>
                <a:gd name="connsiteY1" fmla="*/ 39087 h 78175"/>
                <a:gd name="connsiteX2" fmla="*/ 39095 w 78190"/>
                <a:gd name="connsiteY2" fmla="*/ 78175 h 78175"/>
                <a:gd name="connsiteX3" fmla="*/ 0 w 78190"/>
                <a:gd name="connsiteY3" fmla="*/ 39087 h 78175"/>
                <a:gd name="connsiteX4" fmla="*/ 39095 w 78190"/>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90" h="78175">
                  <a:moveTo>
                    <a:pt x="39095" y="0"/>
                  </a:moveTo>
                  <a:cubicBezTo>
                    <a:pt x="60687" y="0"/>
                    <a:pt x="78190" y="17500"/>
                    <a:pt x="78190" y="39087"/>
                  </a:cubicBezTo>
                  <a:cubicBezTo>
                    <a:pt x="78190" y="60674"/>
                    <a:pt x="60687" y="78175"/>
                    <a:pt x="39095" y="78175"/>
                  </a:cubicBezTo>
                  <a:cubicBezTo>
                    <a:pt x="17504" y="78175"/>
                    <a:pt x="0" y="60674"/>
                    <a:pt x="0" y="39087"/>
                  </a:cubicBezTo>
                  <a:cubicBezTo>
                    <a:pt x="0" y="17500"/>
                    <a:pt x="17504" y="0"/>
                    <a:pt x="39095" y="0"/>
                  </a:cubicBezTo>
                  <a:close/>
                </a:path>
              </a:pathLst>
            </a:custGeom>
            <a:solidFill>
              <a:schemeClr val="accent3"/>
            </a:solidFill>
            <a:ln w="0">
              <a:noFill/>
              <a:prstDash val="solid"/>
              <a:round/>
              <a:headEnd/>
              <a:tailEnd/>
            </a:ln>
          </p:spPr>
          <p:txBody>
            <a:bodyPr vert="horz" wrap="square" lIns="93260" tIns="46630" rIns="93260" bIns="46630" numCol="1" anchor="t" anchorCtr="0" compatLnSpc="1">
              <a:prstTxWarp prst="textNoShape">
                <a:avLst/>
              </a:prstTxWarp>
              <a:noAutofit/>
            </a:bodyPr>
            <a:lstStyle/>
            <a:p>
              <a:endParaRPr lang="en-US" sz="1836"/>
            </a:p>
          </p:txBody>
        </p:sp>
        <p:sp>
          <p:nvSpPr>
            <p:cNvPr id="525" name="Freeform: Shape 350"/>
            <p:cNvSpPr>
              <a:spLocks/>
            </p:cNvSpPr>
            <p:nvPr/>
          </p:nvSpPr>
          <p:spPr bwMode="auto">
            <a:xfrm>
              <a:off x="7457818" y="4206799"/>
              <a:ext cx="78167" cy="78175"/>
            </a:xfrm>
            <a:custGeom>
              <a:avLst/>
              <a:gdLst>
                <a:gd name="connsiteX0" fmla="*/ 39084 w 78167"/>
                <a:gd name="connsiteY0" fmla="*/ 0 h 78175"/>
                <a:gd name="connsiteX1" fmla="*/ 78167 w 78167"/>
                <a:gd name="connsiteY1" fmla="*/ 39087 h 78175"/>
                <a:gd name="connsiteX2" fmla="*/ 39084 w 78167"/>
                <a:gd name="connsiteY2" fmla="*/ 78175 h 78175"/>
                <a:gd name="connsiteX3" fmla="*/ 0 w 78167"/>
                <a:gd name="connsiteY3" fmla="*/ 39087 h 78175"/>
                <a:gd name="connsiteX4" fmla="*/ 39084 w 78167"/>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67" h="78175">
                  <a:moveTo>
                    <a:pt x="39084" y="0"/>
                  </a:moveTo>
                  <a:cubicBezTo>
                    <a:pt x="60669" y="0"/>
                    <a:pt x="78167" y="17500"/>
                    <a:pt x="78167" y="39087"/>
                  </a:cubicBezTo>
                  <a:cubicBezTo>
                    <a:pt x="78167" y="60674"/>
                    <a:pt x="60669" y="78175"/>
                    <a:pt x="39084" y="78175"/>
                  </a:cubicBezTo>
                  <a:cubicBezTo>
                    <a:pt x="17498" y="78175"/>
                    <a:pt x="0" y="60674"/>
                    <a:pt x="0" y="39087"/>
                  </a:cubicBezTo>
                  <a:cubicBezTo>
                    <a:pt x="0" y="17500"/>
                    <a:pt x="17498" y="0"/>
                    <a:pt x="39084" y="0"/>
                  </a:cubicBezTo>
                  <a:close/>
                </a:path>
              </a:pathLst>
            </a:custGeom>
            <a:solidFill>
              <a:schemeClr val="accent3"/>
            </a:solidFill>
            <a:ln w="0">
              <a:noFill/>
              <a:prstDash val="solid"/>
              <a:round/>
              <a:headEnd/>
              <a:tailEnd/>
            </a:ln>
          </p:spPr>
          <p:txBody>
            <a:bodyPr vert="horz" wrap="square" lIns="93260" tIns="46630" rIns="93260" bIns="46630" numCol="1" anchor="t" anchorCtr="0" compatLnSpc="1">
              <a:prstTxWarp prst="textNoShape">
                <a:avLst/>
              </a:prstTxWarp>
              <a:noAutofit/>
            </a:bodyPr>
            <a:lstStyle/>
            <a:p>
              <a:endParaRPr lang="en-US" sz="1836"/>
            </a:p>
          </p:txBody>
        </p:sp>
        <p:sp>
          <p:nvSpPr>
            <p:cNvPr id="526" name="Freeform: Shape 351"/>
            <p:cNvSpPr>
              <a:spLocks/>
            </p:cNvSpPr>
            <p:nvPr/>
          </p:nvSpPr>
          <p:spPr bwMode="auto">
            <a:xfrm>
              <a:off x="7649456" y="4206799"/>
              <a:ext cx="78184" cy="78175"/>
            </a:xfrm>
            <a:custGeom>
              <a:avLst/>
              <a:gdLst>
                <a:gd name="connsiteX0" fmla="*/ 39095 w 78184"/>
                <a:gd name="connsiteY0" fmla="*/ 0 h 78175"/>
                <a:gd name="connsiteX1" fmla="*/ 78184 w 78184"/>
                <a:gd name="connsiteY1" fmla="*/ 39087 h 78175"/>
                <a:gd name="connsiteX2" fmla="*/ 39095 w 78184"/>
                <a:gd name="connsiteY2" fmla="*/ 78175 h 78175"/>
                <a:gd name="connsiteX3" fmla="*/ 0 w 78184"/>
                <a:gd name="connsiteY3" fmla="*/ 39087 h 78175"/>
                <a:gd name="connsiteX4" fmla="*/ 39095 w 78184"/>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84" h="78175">
                  <a:moveTo>
                    <a:pt x="39095" y="0"/>
                  </a:moveTo>
                  <a:cubicBezTo>
                    <a:pt x="60686" y="0"/>
                    <a:pt x="78184" y="17500"/>
                    <a:pt x="78184" y="39087"/>
                  </a:cubicBezTo>
                  <a:cubicBezTo>
                    <a:pt x="78184" y="60674"/>
                    <a:pt x="60686" y="78175"/>
                    <a:pt x="39095" y="78175"/>
                  </a:cubicBezTo>
                  <a:cubicBezTo>
                    <a:pt x="17504" y="78175"/>
                    <a:pt x="0" y="60674"/>
                    <a:pt x="0" y="39087"/>
                  </a:cubicBezTo>
                  <a:cubicBezTo>
                    <a:pt x="0" y="17500"/>
                    <a:pt x="17504" y="0"/>
                    <a:pt x="39095" y="0"/>
                  </a:cubicBezTo>
                  <a:close/>
                </a:path>
              </a:pathLst>
            </a:custGeom>
            <a:solidFill>
              <a:schemeClr val="accent3"/>
            </a:solidFill>
            <a:ln w="0">
              <a:noFill/>
              <a:prstDash val="solid"/>
              <a:round/>
              <a:headEnd/>
              <a:tailEnd/>
            </a:ln>
          </p:spPr>
          <p:txBody>
            <a:bodyPr vert="horz" wrap="square" lIns="93260" tIns="46630" rIns="93260" bIns="46630" numCol="1" anchor="t" anchorCtr="0" compatLnSpc="1">
              <a:prstTxWarp prst="textNoShape">
                <a:avLst/>
              </a:prstTxWarp>
              <a:noAutofit/>
            </a:bodyPr>
            <a:lstStyle/>
            <a:p>
              <a:endParaRPr lang="en-US" sz="1836"/>
            </a:p>
          </p:txBody>
        </p:sp>
        <p:sp>
          <p:nvSpPr>
            <p:cNvPr id="527" name="Freeform: Shape 352"/>
            <p:cNvSpPr>
              <a:spLocks/>
            </p:cNvSpPr>
            <p:nvPr/>
          </p:nvSpPr>
          <p:spPr bwMode="auto">
            <a:xfrm>
              <a:off x="9807203" y="4206799"/>
              <a:ext cx="78175" cy="78175"/>
            </a:xfrm>
            <a:custGeom>
              <a:avLst/>
              <a:gdLst>
                <a:gd name="connsiteX0" fmla="*/ 39088 w 78175"/>
                <a:gd name="connsiteY0" fmla="*/ 0 h 78175"/>
                <a:gd name="connsiteX1" fmla="*/ 78175 w 78175"/>
                <a:gd name="connsiteY1" fmla="*/ 39087 h 78175"/>
                <a:gd name="connsiteX2" fmla="*/ 39088 w 78175"/>
                <a:gd name="connsiteY2" fmla="*/ 78175 h 78175"/>
                <a:gd name="connsiteX3" fmla="*/ 0 w 78175"/>
                <a:gd name="connsiteY3" fmla="*/ 39087 h 78175"/>
                <a:gd name="connsiteX4" fmla="*/ 39088 w 78175"/>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5" h="78175">
                  <a:moveTo>
                    <a:pt x="39088" y="0"/>
                  </a:moveTo>
                  <a:cubicBezTo>
                    <a:pt x="60675" y="0"/>
                    <a:pt x="78175" y="17500"/>
                    <a:pt x="78175" y="39087"/>
                  </a:cubicBezTo>
                  <a:cubicBezTo>
                    <a:pt x="78175" y="60674"/>
                    <a:pt x="60675" y="78175"/>
                    <a:pt x="39088" y="78175"/>
                  </a:cubicBezTo>
                  <a:cubicBezTo>
                    <a:pt x="17500" y="78175"/>
                    <a:pt x="0" y="60674"/>
                    <a:pt x="0" y="39087"/>
                  </a:cubicBezTo>
                  <a:cubicBezTo>
                    <a:pt x="0" y="17500"/>
                    <a:pt x="17500" y="0"/>
                    <a:pt x="39088" y="0"/>
                  </a:cubicBezTo>
                  <a:close/>
                </a:path>
              </a:pathLst>
            </a:custGeom>
            <a:solidFill>
              <a:schemeClr val="accent3"/>
            </a:solidFill>
            <a:ln w="0">
              <a:noFill/>
              <a:prstDash val="solid"/>
              <a:round/>
              <a:headEnd/>
              <a:tailEnd/>
            </a:ln>
          </p:spPr>
          <p:txBody>
            <a:bodyPr vert="horz" wrap="square" lIns="93260" tIns="46630" rIns="93260" bIns="46630" numCol="1" anchor="t" anchorCtr="0" compatLnSpc="1">
              <a:prstTxWarp prst="textNoShape">
                <a:avLst/>
              </a:prstTxWarp>
              <a:noAutofit/>
            </a:bodyPr>
            <a:lstStyle/>
            <a:p>
              <a:endParaRPr lang="en-US" sz="1836"/>
            </a:p>
          </p:txBody>
        </p:sp>
        <p:sp>
          <p:nvSpPr>
            <p:cNvPr id="528" name="Freeform: Shape 353"/>
            <p:cNvSpPr>
              <a:spLocks/>
            </p:cNvSpPr>
            <p:nvPr/>
          </p:nvSpPr>
          <p:spPr bwMode="auto">
            <a:xfrm>
              <a:off x="9996483" y="4206799"/>
              <a:ext cx="78174" cy="78175"/>
            </a:xfrm>
            <a:custGeom>
              <a:avLst/>
              <a:gdLst>
                <a:gd name="connsiteX0" fmla="*/ 39088 w 78174"/>
                <a:gd name="connsiteY0" fmla="*/ 0 h 78175"/>
                <a:gd name="connsiteX1" fmla="*/ 78174 w 78174"/>
                <a:gd name="connsiteY1" fmla="*/ 39087 h 78175"/>
                <a:gd name="connsiteX2" fmla="*/ 39088 w 78174"/>
                <a:gd name="connsiteY2" fmla="*/ 78175 h 78175"/>
                <a:gd name="connsiteX3" fmla="*/ 0 w 78174"/>
                <a:gd name="connsiteY3" fmla="*/ 39087 h 78175"/>
                <a:gd name="connsiteX4" fmla="*/ 39088 w 78174"/>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75">
                  <a:moveTo>
                    <a:pt x="39088" y="0"/>
                  </a:moveTo>
                  <a:cubicBezTo>
                    <a:pt x="60675" y="0"/>
                    <a:pt x="78174" y="17500"/>
                    <a:pt x="78174" y="39087"/>
                  </a:cubicBezTo>
                  <a:cubicBezTo>
                    <a:pt x="78174" y="60674"/>
                    <a:pt x="60675" y="78175"/>
                    <a:pt x="39088" y="78175"/>
                  </a:cubicBezTo>
                  <a:cubicBezTo>
                    <a:pt x="17500" y="78175"/>
                    <a:pt x="0" y="60674"/>
                    <a:pt x="0" y="39087"/>
                  </a:cubicBezTo>
                  <a:cubicBezTo>
                    <a:pt x="0" y="17500"/>
                    <a:pt x="17500" y="0"/>
                    <a:pt x="39088" y="0"/>
                  </a:cubicBezTo>
                  <a:close/>
                </a:path>
              </a:pathLst>
            </a:custGeom>
            <a:solidFill>
              <a:schemeClr val="accent3"/>
            </a:solidFill>
            <a:ln w="0">
              <a:noFill/>
              <a:prstDash val="solid"/>
              <a:round/>
              <a:headEnd/>
              <a:tailEnd/>
            </a:ln>
          </p:spPr>
          <p:txBody>
            <a:bodyPr vert="horz" wrap="square" lIns="93260" tIns="46630" rIns="93260" bIns="46630" numCol="1" anchor="t" anchorCtr="0" compatLnSpc="1">
              <a:prstTxWarp prst="textNoShape">
                <a:avLst/>
              </a:prstTxWarp>
              <a:noAutofit/>
            </a:bodyPr>
            <a:lstStyle/>
            <a:p>
              <a:endParaRPr lang="en-US" sz="1836"/>
            </a:p>
          </p:txBody>
        </p:sp>
        <p:sp>
          <p:nvSpPr>
            <p:cNvPr id="529" name="Freeform: Shape 354"/>
            <p:cNvSpPr>
              <a:spLocks/>
            </p:cNvSpPr>
            <p:nvPr/>
          </p:nvSpPr>
          <p:spPr bwMode="auto">
            <a:xfrm>
              <a:off x="10278039" y="4206799"/>
              <a:ext cx="78174" cy="78175"/>
            </a:xfrm>
            <a:custGeom>
              <a:avLst/>
              <a:gdLst>
                <a:gd name="connsiteX0" fmla="*/ 39088 w 78174"/>
                <a:gd name="connsiteY0" fmla="*/ 0 h 78175"/>
                <a:gd name="connsiteX1" fmla="*/ 78174 w 78174"/>
                <a:gd name="connsiteY1" fmla="*/ 39087 h 78175"/>
                <a:gd name="connsiteX2" fmla="*/ 39088 w 78174"/>
                <a:gd name="connsiteY2" fmla="*/ 78175 h 78175"/>
                <a:gd name="connsiteX3" fmla="*/ 0 w 78174"/>
                <a:gd name="connsiteY3" fmla="*/ 39087 h 78175"/>
                <a:gd name="connsiteX4" fmla="*/ 39088 w 78174"/>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75">
                  <a:moveTo>
                    <a:pt x="39088" y="0"/>
                  </a:moveTo>
                  <a:cubicBezTo>
                    <a:pt x="60675" y="0"/>
                    <a:pt x="78174" y="17500"/>
                    <a:pt x="78174" y="39087"/>
                  </a:cubicBezTo>
                  <a:cubicBezTo>
                    <a:pt x="78174" y="60674"/>
                    <a:pt x="60675" y="78175"/>
                    <a:pt x="39088" y="78175"/>
                  </a:cubicBezTo>
                  <a:cubicBezTo>
                    <a:pt x="17500" y="78175"/>
                    <a:pt x="0" y="60674"/>
                    <a:pt x="0" y="39087"/>
                  </a:cubicBezTo>
                  <a:cubicBezTo>
                    <a:pt x="0" y="17500"/>
                    <a:pt x="17500" y="0"/>
                    <a:pt x="39088" y="0"/>
                  </a:cubicBezTo>
                  <a:close/>
                </a:path>
              </a:pathLst>
            </a:custGeom>
            <a:solidFill>
              <a:schemeClr val="accent3"/>
            </a:solidFill>
            <a:ln w="0">
              <a:noFill/>
              <a:prstDash val="solid"/>
              <a:round/>
              <a:headEnd/>
              <a:tailEnd/>
            </a:ln>
          </p:spPr>
          <p:txBody>
            <a:bodyPr vert="horz" wrap="square" lIns="93260" tIns="46630" rIns="93260" bIns="46630" numCol="1" anchor="t" anchorCtr="0" compatLnSpc="1">
              <a:prstTxWarp prst="textNoShape">
                <a:avLst/>
              </a:prstTxWarp>
              <a:noAutofit/>
            </a:bodyPr>
            <a:lstStyle/>
            <a:p>
              <a:endParaRPr lang="en-US" sz="1836"/>
            </a:p>
          </p:txBody>
        </p:sp>
        <p:sp>
          <p:nvSpPr>
            <p:cNvPr id="530" name="Freeform: Shape 355"/>
            <p:cNvSpPr>
              <a:spLocks/>
            </p:cNvSpPr>
            <p:nvPr/>
          </p:nvSpPr>
          <p:spPr bwMode="auto">
            <a:xfrm>
              <a:off x="6804797" y="4206800"/>
              <a:ext cx="78184" cy="78175"/>
            </a:xfrm>
            <a:custGeom>
              <a:avLst/>
              <a:gdLst>
                <a:gd name="connsiteX0" fmla="*/ 39089 w 78184"/>
                <a:gd name="connsiteY0" fmla="*/ 0 h 78175"/>
                <a:gd name="connsiteX1" fmla="*/ 78184 w 78184"/>
                <a:gd name="connsiteY1" fmla="*/ 39087 h 78175"/>
                <a:gd name="connsiteX2" fmla="*/ 39089 w 78184"/>
                <a:gd name="connsiteY2" fmla="*/ 78175 h 78175"/>
                <a:gd name="connsiteX3" fmla="*/ 0 w 78184"/>
                <a:gd name="connsiteY3" fmla="*/ 39087 h 78175"/>
                <a:gd name="connsiteX4" fmla="*/ 39089 w 78184"/>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84" h="78175">
                  <a:moveTo>
                    <a:pt x="39089" y="0"/>
                  </a:moveTo>
                  <a:cubicBezTo>
                    <a:pt x="60672" y="0"/>
                    <a:pt x="78184" y="17500"/>
                    <a:pt x="78184" y="39087"/>
                  </a:cubicBezTo>
                  <a:cubicBezTo>
                    <a:pt x="78184" y="60674"/>
                    <a:pt x="60672" y="78175"/>
                    <a:pt x="39089" y="78175"/>
                  </a:cubicBezTo>
                  <a:cubicBezTo>
                    <a:pt x="17500" y="78175"/>
                    <a:pt x="0" y="60674"/>
                    <a:pt x="0" y="39087"/>
                  </a:cubicBezTo>
                  <a:cubicBezTo>
                    <a:pt x="0" y="17500"/>
                    <a:pt x="17500" y="0"/>
                    <a:pt x="39089" y="0"/>
                  </a:cubicBezTo>
                  <a:close/>
                </a:path>
              </a:pathLst>
            </a:custGeom>
            <a:solidFill>
              <a:schemeClr val="accent3"/>
            </a:solidFill>
            <a:ln w="0">
              <a:noFill/>
              <a:prstDash val="solid"/>
              <a:round/>
              <a:headEnd/>
              <a:tailEnd/>
            </a:ln>
          </p:spPr>
          <p:txBody>
            <a:bodyPr vert="horz" wrap="square" lIns="93260" tIns="46630" rIns="93260" bIns="46630" numCol="1" anchor="t" anchorCtr="0" compatLnSpc="1">
              <a:prstTxWarp prst="textNoShape">
                <a:avLst/>
              </a:prstTxWarp>
              <a:noAutofit/>
            </a:bodyPr>
            <a:lstStyle/>
            <a:p>
              <a:endParaRPr lang="en-US" sz="1836"/>
            </a:p>
          </p:txBody>
        </p:sp>
        <p:sp>
          <p:nvSpPr>
            <p:cNvPr id="531" name="Freeform: Shape 356"/>
            <p:cNvSpPr>
              <a:spLocks/>
            </p:cNvSpPr>
            <p:nvPr/>
          </p:nvSpPr>
          <p:spPr bwMode="auto">
            <a:xfrm>
              <a:off x="8117910" y="5658497"/>
              <a:ext cx="78169" cy="78175"/>
            </a:xfrm>
            <a:custGeom>
              <a:avLst/>
              <a:gdLst>
                <a:gd name="connsiteX0" fmla="*/ 39073 w 78169"/>
                <a:gd name="connsiteY0" fmla="*/ 0 h 78175"/>
                <a:gd name="connsiteX1" fmla="*/ 78169 w 78169"/>
                <a:gd name="connsiteY1" fmla="*/ 39087 h 78175"/>
                <a:gd name="connsiteX2" fmla="*/ 39073 w 78169"/>
                <a:gd name="connsiteY2" fmla="*/ 78175 h 78175"/>
                <a:gd name="connsiteX3" fmla="*/ 0 w 78169"/>
                <a:gd name="connsiteY3" fmla="*/ 39087 h 78175"/>
                <a:gd name="connsiteX4" fmla="*/ 39073 w 78169"/>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69" h="78175">
                  <a:moveTo>
                    <a:pt x="39073" y="0"/>
                  </a:moveTo>
                  <a:cubicBezTo>
                    <a:pt x="60660" y="0"/>
                    <a:pt x="78169" y="17500"/>
                    <a:pt x="78169" y="39087"/>
                  </a:cubicBezTo>
                  <a:cubicBezTo>
                    <a:pt x="78169" y="60674"/>
                    <a:pt x="60660" y="78175"/>
                    <a:pt x="39073" y="78175"/>
                  </a:cubicBezTo>
                  <a:cubicBezTo>
                    <a:pt x="17499" y="78175"/>
                    <a:pt x="0" y="60674"/>
                    <a:pt x="0" y="39087"/>
                  </a:cubicBezTo>
                  <a:cubicBezTo>
                    <a:pt x="0" y="17500"/>
                    <a:pt x="17499" y="0"/>
                    <a:pt x="39073" y="0"/>
                  </a:cubicBezTo>
                  <a:close/>
                </a:path>
              </a:pathLst>
            </a:custGeom>
            <a:solidFill>
              <a:schemeClr val="accent3"/>
            </a:solidFill>
            <a:ln w="0">
              <a:noFill/>
              <a:prstDash val="solid"/>
              <a:round/>
              <a:headEnd/>
              <a:tailEnd/>
            </a:ln>
          </p:spPr>
          <p:txBody>
            <a:bodyPr vert="horz" wrap="square" lIns="93260" tIns="46630" rIns="93260" bIns="46630" numCol="1" anchor="t" anchorCtr="0" compatLnSpc="1">
              <a:prstTxWarp prst="textNoShape">
                <a:avLst/>
              </a:prstTxWarp>
              <a:noAutofit/>
            </a:bodyPr>
            <a:lstStyle/>
            <a:p>
              <a:endParaRPr lang="en-US" sz="1836"/>
            </a:p>
          </p:txBody>
        </p:sp>
        <p:sp>
          <p:nvSpPr>
            <p:cNvPr id="532" name="Freeform: Shape 357"/>
            <p:cNvSpPr>
              <a:spLocks/>
            </p:cNvSpPr>
            <p:nvPr/>
          </p:nvSpPr>
          <p:spPr bwMode="auto">
            <a:xfrm>
              <a:off x="7457814" y="4294342"/>
              <a:ext cx="78167" cy="78175"/>
            </a:xfrm>
            <a:custGeom>
              <a:avLst/>
              <a:gdLst>
                <a:gd name="connsiteX0" fmla="*/ 39084 w 78167"/>
                <a:gd name="connsiteY0" fmla="*/ 0 h 78175"/>
                <a:gd name="connsiteX1" fmla="*/ 78167 w 78167"/>
                <a:gd name="connsiteY1" fmla="*/ 39088 h 78175"/>
                <a:gd name="connsiteX2" fmla="*/ 39084 w 78167"/>
                <a:gd name="connsiteY2" fmla="*/ 78175 h 78175"/>
                <a:gd name="connsiteX3" fmla="*/ 0 w 78167"/>
                <a:gd name="connsiteY3" fmla="*/ 39088 h 78175"/>
                <a:gd name="connsiteX4" fmla="*/ 39084 w 78167"/>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67" h="78175">
                  <a:moveTo>
                    <a:pt x="39084" y="0"/>
                  </a:moveTo>
                  <a:cubicBezTo>
                    <a:pt x="60669" y="0"/>
                    <a:pt x="78167" y="17500"/>
                    <a:pt x="78167" y="39088"/>
                  </a:cubicBezTo>
                  <a:cubicBezTo>
                    <a:pt x="78167" y="60675"/>
                    <a:pt x="60669" y="78175"/>
                    <a:pt x="39084" y="78175"/>
                  </a:cubicBezTo>
                  <a:cubicBezTo>
                    <a:pt x="17499" y="78175"/>
                    <a:pt x="0" y="60675"/>
                    <a:pt x="0" y="39088"/>
                  </a:cubicBezTo>
                  <a:cubicBezTo>
                    <a:pt x="0" y="17500"/>
                    <a:pt x="17499" y="0"/>
                    <a:pt x="39084" y="0"/>
                  </a:cubicBezTo>
                  <a:close/>
                </a:path>
              </a:pathLst>
            </a:custGeom>
            <a:solidFill>
              <a:schemeClr val="accent3"/>
            </a:solidFill>
            <a:ln w="0">
              <a:noFill/>
              <a:prstDash val="solid"/>
              <a:round/>
              <a:headEnd/>
              <a:tailEnd/>
            </a:ln>
          </p:spPr>
          <p:txBody>
            <a:bodyPr vert="horz" wrap="square" lIns="93260" tIns="46630" rIns="93260" bIns="46630" numCol="1" anchor="t" anchorCtr="0" compatLnSpc="1">
              <a:prstTxWarp prst="textNoShape">
                <a:avLst/>
              </a:prstTxWarp>
              <a:noAutofit/>
            </a:bodyPr>
            <a:lstStyle/>
            <a:p>
              <a:endParaRPr lang="en-US" sz="1836"/>
            </a:p>
          </p:txBody>
        </p:sp>
        <p:sp>
          <p:nvSpPr>
            <p:cNvPr id="533" name="Freeform: Shape 358"/>
            <p:cNvSpPr>
              <a:spLocks/>
            </p:cNvSpPr>
            <p:nvPr/>
          </p:nvSpPr>
          <p:spPr bwMode="auto">
            <a:xfrm>
              <a:off x="8870275" y="4294342"/>
              <a:ext cx="78173" cy="78175"/>
            </a:xfrm>
            <a:custGeom>
              <a:avLst/>
              <a:gdLst>
                <a:gd name="connsiteX0" fmla="*/ 39088 w 78173"/>
                <a:gd name="connsiteY0" fmla="*/ 0 h 78175"/>
                <a:gd name="connsiteX1" fmla="*/ 78173 w 78173"/>
                <a:gd name="connsiteY1" fmla="*/ 39088 h 78175"/>
                <a:gd name="connsiteX2" fmla="*/ 39088 w 78173"/>
                <a:gd name="connsiteY2" fmla="*/ 78175 h 78175"/>
                <a:gd name="connsiteX3" fmla="*/ 0 w 78173"/>
                <a:gd name="connsiteY3" fmla="*/ 39088 h 78175"/>
                <a:gd name="connsiteX4" fmla="*/ 39088 w 78173"/>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3" h="78175">
                  <a:moveTo>
                    <a:pt x="39088" y="0"/>
                  </a:moveTo>
                  <a:cubicBezTo>
                    <a:pt x="60677" y="0"/>
                    <a:pt x="78173" y="17500"/>
                    <a:pt x="78173" y="39088"/>
                  </a:cubicBezTo>
                  <a:cubicBezTo>
                    <a:pt x="78173" y="60675"/>
                    <a:pt x="60677" y="78175"/>
                    <a:pt x="39088" y="78175"/>
                  </a:cubicBezTo>
                  <a:cubicBezTo>
                    <a:pt x="17502" y="78175"/>
                    <a:pt x="0" y="60675"/>
                    <a:pt x="0" y="39088"/>
                  </a:cubicBezTo>
                  <a:cubicBezTo>
                    <a:pt x="0" y="17500"/>
                    <a:pt x="17502" y="0"/>
                    <a:pt x="39088" y="0"/>
                  </a:cubicBezTo>
                  <a:close/>
                </a:path>
              </a:pathLst>
            </a:custGeom>
            <a:solidFill>
              <a:schemeClr val="accent3"/>
            </a:solidFill>
            <a:ln w="0">
              <a:noFill/>
              <a:prstDash val="solid"/>
              <a:round/>
              <a:headEnd/>
              <a:tailEnd/>
            </a:ln>
          </p:spPr>
          <p:txBody>
            <a:bodyPr vert="horz" wrap="square" lIns="93260" tIns="46630" rIns="93260" bIns="46630" numCol="1" anchor="t" anchorCtr="0" compatLnSpc="1">
              <a:prstTxWarp prst="textNoShape">
                <a:avLst/>
              </a:prstTxWarp>
              <a:noAutofit/>
            </a:bodyPr>
            <a:lstStyle/>
            <a:p>
              <a:endParaRPr lang="en-US" sz="1836"/>
            </a:p>
          </p:txBody>
        </p:sp>
        <p:sp>
          <p:nvSpPr>
            <p:cNvPr id="534" name="Freeform: Shape 359"/>
            <p:cNvSpPr>
              <a:spLocks/>
            </p:cNvSpPr>
            <p:nvPr/>
          </p:nvSpPr>
          <p:spPr bwMode="auto">
            <a:xfrm>
              <a:off x="9338735" y="4294342"/>
              <a:ext cx="78174" cy="78175"/>
            </a:xfrm>
            <a:custGeom>
              <a:avLst/>
              <a:gdLst>
                <a:gd name="connsiteX0" fmla="*/ 39087 w 78174"/>
                <a:gd name="connsiteY0" fmla="*/ 0 h 78175"/>
                <a:gd name="connsiteX1" fmla="*/ 78174 w 78174"/>
                <a:gd name="connsiteY1" fmla="*/ 39088 h 78175"/>
                <a:gd name="connsiteX2" fmla="*/ 39087 w 78174"/>
                <a:gd name="connsiteY2" fmla="*/ 78175 h 78175"/>
                <a:gd name="connsiteX3" fmla="*/ 0 w 78174"/>
                <a:gd name="connsiteY3" fmla="*/ 39088 h 78175"/>
                <a:gd name="connsiteX4" fmla="*/ 39087 w 78174"/>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75">
                  <a:moveTo>
                    <a:pt x="39087" y="0"/>
                  </a:moveTo>
                  <a:cubicBezTo>
                    <a:pt x="60674" y="0"/>
                    <a:pt x="78174" y="17500"/>
                    <a:pt x="78174" y="39088"/>
                  </a:cubicBezTo>
                  <a:cubicBezTo>
                    <a:pt x="78174" y="60675"/>
                    <a:pt x="60674" y="78175"/>
                    <a:pt x="39087" y="78175"/>
                  </a:cubicBezTo>
                  <a:cubicBezTo>
                    <a:pt x="17500" y="78175"/>
                    <a:pt x="0" y="60675"/>
                    <a:pt x="0" y="39088"/>
                  </a:cubicBezTo>
                  <a:cubicBezTo>
                    <a:pt x="0" y="17500"/>
                    <a:pt x="17500" y="0"/>
                    <a:pt x="39087" y="0"/>
                  </a:cubicBezTo>
                  <a:close/>
                </a:path>
              </a:pathLst>
            </a:custGeom>
            <a:solidFill>
              <a:schemeClr val="accent3"/>
            </a:solidFill>
            <a:ln w="0">
              <a:noFill/>
              <a:prstDash val="solid"/>
              <a:round/>
              <a:headEnd/>
              <a:tailEnd/>
            </a:ln>
          </p:spPr>
          <p:txBody>
            <a:bodyPr vert="horz" wrap="square" lIns="93260" tIns="46630" rIns="93260" bIns="46630" numCol="1" anchor="t" anchorCtr="0" compatLnSpc="1">
              <a:prstTxWarp prst="textNoShape">
                <a:avLst/>
              </a:prstTxWarp>
              <a:noAutofit/>
            </a:bodyPr>
            <a:lstStyle/>
            <a:p>
              <a:endParaRPr lang="en-US" sz="1836"/>
            </a:p>
          </p:txBody>
        </p:sp>
        <p:sp>
          <p:nvSpPr>
            <p:cNvPr id="535" name="Freeform: Shape 360"/>
            <p:cNvSpPr>
              <a:spLocks/>
            </p:cNvSpPr>
            <p:nvPr/>
          </p:nvSpPr>
          <p:spPr bwMode="auto">
            <a:xfrm>
              <a:off x="9525649" y="4294342"/>
              <a:ext cx="78174" cy="78175"/>
            </a:xfrm>
            <a:custGeom>
              <a:avLst/>
              <a:gdLst>
                <a:gd name="connsiteX0" fmla="*/ 39087 w 78174"/>
                <a:gd name="connsiteY0" fmla="*/ 0 h 78175"/>
                <a:gd name="connsiteX1" fmla="*/ 78174 w 78174"/>
                <a:gd name="connsiteY1" fmla="*/ 39088 h 78175"/>
                <a:gd name="connsiteX2" fmla="*/ 39087 w 78174"/>
                <a:gd name="connsiteY2" fmla="*/ 78175 h 78175"/>
                <a:gd name="connsiteX3" fmla="*/ 0 w 78174"/>
                <a:gd name="connsiteY3" fmla="*/ 39088 h 78175"/>
                <a:gd name="connsiteX4" fmla="*/ 39087 w 78174"/>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75">
                  <a:moveTo>
                    <a:pt x="39087" y="0"/>
                  </a:moveTo>
                  <a:cubicBezTo>
                    <a:pt x="60674" y="0"/>
                    <a:pt x="78174" y="17500"/>
                    <a:pt x="78174" y="39088"/>
                  </a:cubicBezTo>
                  <a:cubicBezTo>
                    <a:pt x="78174" y="60675"/>
                    <a:pt x="60674" y="78175"/>
                    <a:pt x="39087" y="78175"/>
                  </a:cubicBezTo>
                  <a:cubicBezTo>
                    <a:pt x="17500" y="78175"/>
                    <a:pt x="0" y="60675"/>
                    <a:pt x="0" y="39088"/>
                  </a:cubicBezTo>
                  <a:cubicBezTo>
                    <a:pt x="0" y="17500"/>
                    <a:pt x="17500" y="0"/>
                    <a:pt x="39087" y="0"/>
                  </a:cubicBezTo>
                  <a:close/>
                </a:path>
              </a:pathLst>
            </a:custGeom>
            <a:solidFill>
              <a:schemeClr val="accent3"/>
            </a:solidFill>
            <a:ln w="0">
              <a:noFill/>
              <a:prstDash val="solid"/>
              <a:round/>
              <a:headEnd/>
              <a:tailEnd/>
            </a:ln>
          </p:spPr>
          <p:txBody>
            <a:bodyPr vert="horz" wrap="square" lIns="93260" tIns="46630" rIns="93260" bIns="46630" numCol="1" anchor="t" anchorCtr="0" compatLnSpc="1">
              <a:prstTxWarp prst="textNoShape">
                <a:avLst/>
              </a:prstTxWarp>
              <a:noAutofit/>
            </a:bodyPr>
            <a:lstStyle/>
            <a:p>
              <a:endParaRPr lang="en-US" sz="1836"/>
            </a:p>
          </p:txBody>
        </p:sp>
        <p:sp>
          <p:nvSpPr>
            <p:cNvPr id="536" name="Freeform: Shape 361"/>
            <p:cNvSpPr>
              <a:spLocks/>
            </p:cNvSpPr>
            <p:nvPr/>
          </p:nvSpPr>
          <p:spPr bwMode="auto">
            <a:xfrm>
              <a:off x="9807203" y="4294342"/>
              <a:ext cx="78175" cy="78175"/>
            </a:xfrm>
            <a:custGeom>
              <a:avLst/>
              <a:gdLst>
                <a:gd name="connsiteX0" fmla="*/ 39088 w 78175"/>
                <a:gd name="connsiteY0" fmla="*/ 0 h 78175"/>
                <a:gd name="connsiteX1" fmla="*/ 78175 w 78175"/>
                <a:gd name="connsiteY1" fmla="*/ 39088 h 78175"/>
                <a:gd name="connsiteX2" fmla="*/ 39088 w 78175"/>
                <a:gd name="connsiteY2" fmla="*/ 78175 h 78175"/>
                <a:gd name="connsiteX3" fmla="*/ 0 w 78175"/>
                <a:gd name="connsiteY3" fmla="*/ 39088 h 78175"/>
                <a:gd name="connsiteX4" fmla="*/ 39088 w 78175"/>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5" h="78175">
                  <a:moveTo>
                    <a:pt x="39088" y="0"/>
                  </a:moveTo>
                  <a:cubicBezTo>
                    <a:pt x="60675" y="0"/>
                    <a:pt x="78175" y="17500"/>
                    <a:pt x="78175" y="39088"/>
                  </a:cubicBezTo>
                  <a:cubicBezTo>
                    <a:pt x="78175" y="60675"/>
                    <a:pt x="60675" y="78175"/>
                    <a:pt x="39088" y="78175"/>
                  </a:cubicBezTo>
                  <a:cubicBezTo>
                    <a:pt x="17500" y="78175"/>
                    <a:pt x="0" y="60675"/>
                    <a:pt x="0" y="39088"/>
                  </a:cubicBezTo>
                  <a:cubicBezTo>
                    <a:pt x="0" y="17500"/>
                    <a:pt x="17500" y="0"/>
                    <a:pt x="39088" y="0"/>
                  </a:cubicBezTo>
                  <a:close/>
                </a:path>
              </a:pathLst>
            </a:custGeom>
            <a:solidFill>
              <a:schemeClr val="accent3"/>
            </a:solidFill>
            <a:ln w="0">
              <a:noFill/>
              <a:prstDash val="solid"/>
              <a:round/>
              <a:headEnd/>
              <a:tailEnd/>
            </a:ln>
          </p:spPr>
          <p:txBody>
            <a:bodyPr vert="horz" wrap="square" lIns="93260" tIns="46630" rIns="93260" bIns="46630" numCol="1" anchor="t" anchorCtr="0" compatLnSpc="1">
              <a:prstTxWarp prst="textNoShape">
                <a:avLst/>
              </a:prstTxWarp>
              <a:noAutofit/>
            </a:bodyPr>
            <a:lstStyle/>
            <a:p>
              <a:endParaRPr lang="en-US" sz="1836"/>
            </a:p>
          </p:txBody>
        </p:sp>
        <p:sp>
          <p:nvSpPr>
            <p:cNvPr id="537" name="Freeform: Shape 362"/>
            <p:cNvSpPr>
              <a:spLocks/>
            </p:cNvSpPr>
            <p:nvPr/>
          </p:nvSpPr>
          <p:spPr bwMode="auto">
            <a:xfrm>
              <a:off x="10185765" y="4294342"/>
              <a:ext cx="78174" cy="78175"/>
            </a:xfrm>
            <a:custGeom>
              <a:avLst/>
              <a:gdLst>
                <a:gd name="connsiteX0" fmla="*/ 39087 w 78174"/>
                <a:gd name="connsiteY0" fmla="*/ 0 h 78175"/>
                <a:gd name="connsiteX1" fmla="*/ 78174 w 78174"/>
                <a:gd name="connsiteY1" fmla="*/ 39088 h 78175"/>
                <a:gd name="connsiteX2" fmla="*/ 39087 w 78174"/>
                <a:gd name="connsiteY2" fmla="*/ 78175 h 78175"/>
                <a:gd name="connsiteX3" fmla="*/ 0 w 78174"/>
                <a:gd name="connsiteY3" fmla="*/ 39088 h 78175"/>
                <a:gd name="connsiteX4" fmla="*/ 39087 w 78174"/>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75">
                  <a:moveTo>
                    <a:pt x="39087" y="0"/>
                  </a:moveTo>
                  <a:cubicBezTo>
                    <a:pt x="60674" y="0"/>
                    <a:pt x="78174" y="17500"/>
                    <a:pt x="78174" y="39088"/>
                  </a:cubicBezTo>
                  <a:cubicBezTo>
                    <a:pt x="78174" y="60675"/>
                    <a:pt x="60674" y="78175"/>
                    <a:pt x="39087" y="78175"/>
                  </a:cubicBezTo>
                  <a:cubicBezTo>
                    <a:pt x="17500" y="78175"/>
                    <a:pt x="0" y="60675"/>
                    <a:pt x="0" y="39088"/>
                  </a:cubicBezTo>
                  <a:cubicBezTo>
                    <a:pt x="0" y="17500"/>
                    <a:pt x="17500" y="0"/>
                    <a:pt x="39087" y="0"/>
                  </a:cubicBezTo>
                  <a:close/>
                </a:path>
              </a:pathLst>
            </a:custGeom>
            <a:solidFill>
              <a:schemeClr val="accent3"/>
            </a:solidFill>
            <a:ln w="0">
              <a:noFill/>
              <a:prstDash val="solid"/>
              <a:round/>
              <a:headEnd/>
              <a:tailEnd/>
            </a:ln>
          </p:spPr>
          <p:txBody>
            <a:bodyPr vert="horz" wrap="square" lIns="93260" tIns="46630" rIns="93260" bIns="46630" numCol="1" anchor="t" anchorCtr="0" compatLnSpc="1">
              <a:prstTxWarp prst="textNoShape">
                <a:avLst/>
              </a:prstTxWarp>
              <a:noAutofit/>
            </a:bodyPr>
            <a:lstStyle/>
            <a:p>
              <a:endParaRPr lang="en-US" sz="1836"/>
            </a:p>
          </p:txBody>
        </p:sp>
        <p:sp>
          <p:nvSpPr>
            <p:cNvPr id="538" name="Freeform: Shape 363"/>
            <p:cNvSpPr>
              <a:spLocks/>
            </p:cNvSpPr>
            <p:nvPr/>
          </p:nvSpPr>
          <p:spPr bwMode="auto">
            <a:xfrm>
              <a:off x="10278039" y="4294342"/>
              <a:ext cx="78174" cy="78175"/>
            </a:xfrm>
            <a:custGeom>
              <a:avLst/>
              <a:gdLst>
                <a:gd name="connsiteX0" fmla="*/ 39088 w 78174"/>
                <a:gd name="connsiteY0" fmla="*/ 0 h 78175"/>
                <a:gd name="connsiteX1" fmla="*/ 78174 w 78174"/>
                <a:gd name="connsiteY1" fmla="*/ 39088 h 78175"/>
                <a:gd name="connsiteX2" fmla="*/ 39088 w 78174"/>
                <a:gd name="connsiteY2" fmla="*/ 78175 h 78175"/>
                <a:gd name="connsiteX3" fmla="*/ 0 w 78174"/>
                <a:gd name="connsiteY3" fmla="*/ 39088 h 78175"/>
                <a:gd name="connsiteX4" fmla="*/ 39088 w 78174"/>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75">
                  <a:moveTo>
                    <a:pt x="39088" y="0"/>
                  </a:moveTo>
                  <a:cubicBezTo>
                    <a:pt x="60675" y="0"/>
                    <a:pt x="78174" y="17500"/>
                    <a:pt x="78174" y="39088"/>
                  </a:cubicBezTo>
                  <a:cubicBezTo>
                    <a:pt x="78174" y="60675"/>
                    <a:pt x="60675" y="78175"/>
                    <a:pt x="39088" y="78175"/>
                  </a:cubicBezTo>
                  <a:cubicBezTo>
                    <a:pt x="17500" y="78175"/>
                    <a:pt x="0" y="60675"/>
                    <a:pt x="0" y="39088"/>
                  </a:cubicBezTo>
                  <a:cubicBezTo>
                    <a:pt x="0" y="17500"/>
                    <a:pt x="17500" y="0"/>
                    <a:pt x="39088" y="0"/>
                  </a:cubicBezTo>
                  <a:close/>
                </a:path>
              </a:pathLst>
            </a:custGeom>
            <a:solidFill>
              <a:schemeClr val="accent3"/>
            </a:solidFill>
            <a:ln w="0">
              <a:noFill/>
              <a:prstDash val="solid"/>
              <a:round/>
              <a:headEnd/>
              <a:tailEnd/>
            </a:ln>
          </p:spPr>
          <p:txBody>
            <a:bodyPr vert="horz" wrap="square" lIns="93260" tIns="46630" rIns="93260" bIns="46630" numCol="1" anchor="t" anchorCtr="0" compatLnSpc="1">
              <a:prstTxWarp prst="textNoShape">
                <a:avLst/>
              </a:prstTxWarp>
              <a:noAutofit/>
            </a:bodyPr>
            <a:lstStyle/>
            <a:p>
              <a:endParaRPr lang="en-US" sz="1836"/>
            </a:p>
          </p:txBody>
        </p:sp>
        <p:sp>
          <p:nvSpPr>
            <p:cNvPr id="539" name="Freeform: Shape 364"/>
            <p:cNvSpPr>
              <a:spLocks/>
            </p:cNvSpPr>
            <p:nvPr/>
          </p:nvSpPr>
          <p:spPr bwMode="auto">
            <a:xfrm>
              <a:off x="10372679" y="4312209"/>
              <a:ext cx="16571" cy="50981"/>
            </a:xfrm>
            <a:custGeom>
              <a:avLst/>
              <a:gdLst>
                <a:gd name="connsiteX0" fmla="*/ 8790 w 16571"/>
                <a:gd name="connsiteY0" fmla="*/ 0 h 50981"/>
                <a:gd name="connsiteX1" fmla="*/ 16571 w 16571"/>
                <a:gd name="connsiteY1" fmla="*/ 50981 h 50981"/>
                <a:gd name="connsiteX2" fmla="*/ 11449 w 16571"/>
                <a:gd name="connsiteY2" fmla="*/ 48859 h 50981"/>
                <a:gd name="connsiteX3" fmla="*/ 0 w 16571"/>
                <a:gd name="connsiteY3" fmla="*/ 21221 h 50981"/>
                <a:gd name="connsiteX4" fmla="*/ 8790 w 16571"/>
                <a:gd name="connsiteY4" fmla="*/ 0 h 509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571" h="50981">
                  <a:moveTo>
                    <a:pt x="8790" y="0"/>
                  </a:moveTo>
                  <a:lnTo>
                    <a:pt x="16571" y="50981"/>
                  </a:lnTo>
                  <a:lnTo>
                    <a:pt x="11449" y="48859"/>
                  </a:lnTo>
                  <a:cubicBezTo>
                    <a:pt x="4375" y="41786"/>
                    <a:pt x="0" y="32014"/>
                    <a:pt x="0" y="21221"/>
                  </a:cubicBezTo>
                  <a:lnTo>
                    <a:pt x="8790" y="0"/>
                  </a:lnTo>
                  <a:close/>
                </a:path>
              </a:pathLst>
            </a:custGeom>
            <a:solidFill>
              <a:schemeClr val="accent3"/>
            </a:solidFill>
            <a:ln w="0">
              <a:noFill/>
              <a:prstDash val="solid"/>
              <a:round/>
              <a:headEnd/>
              <a:tailEnd/>
            </a:ln>
          </p:spPr>
          <p:txBody>
            <a:bodyPr vert="horz" wrap="square" lIns="93260" tIns="46630" rIns="93260" bIns="46630" numCol="1" anchor="t" anchorCtr="0" compatLnSpc="1">
              <a:prstTxWarp prst="textNoShape">
                <a:avLst/>
              </a:prstTxWarp>
              <a:noAutofit/>
            </a:bodyPr>
            <a:lstStyle/>
            <a:p>
              <a:endParaRPr lang="en-US" sz="1836"/>
            </a:p>
          </p:txBody>
        </p:sp>
        <p:sp>
          <p:nvSpPr>
            <p:cNvPr id="540" name="Freeform: Shape 365"/>
            <p:cNvSpPr>
              <a:spLocks/>
            </p:cNvSpPr>
            <p:nvPr/>
          </p:nvSpPr>
          <p:spPr bwMode="auto">
            <a:xfrm>
              <a:off x="6991713" y="4377151"/>
              <a:ext cx="78166" cy="78175"/>
            </a:xfrm>
            <a:custGeom>
              <a:avLst/>
              <a:gdLst>
                <a:gd name="connsiteX0" fmla="*/ 39078 w 78166"/>
                <a:gd name="connsiteY0" fmla="*/ 0 h 78175"/>
                <a:gd name="connsiteX1" fmla="*/ 78166 w 78166"/>
                <a:gd name="connsiteY1" fmla="*/ 39088 h 78175"/>
                <a:gd name="connsiteX2" fmla="*/ 39078 w 78166"/>
                <a:gd name="connsiteY2" fmla="*/ 78175 h 78175"/>
                <a:gd name="connsiteX3" fmla="*/ 0 w 78166"/>
                <a:gd name="connsiteY3" fmla="*/ 39088 h 78175"/>
                <a:gd name="connsiteX4" fmla="*/ 39078 w 78166"/>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66" h="78175">
                  <a:moveTo>
                    <a:pt x="39078" y="0"/>
                  </a:moveTo>
                  <a:cubicBezTo>
                    <a:pt x="60666" y="0"/>
                    <a:pt x="78166" y="17500"/>
                    <a:pt x="78166" y="39088"/>
                  </a:cubicBezTo>
                  <a:cubicBezTo>
                    <a:pt x="78166" y="60674"/>
                    <a:pt x="60666" y="78175"/>
                    <a:pt x="39078" y="78175"/>
                  </a:cubicBezTo>
                  <a:cubicBezTo>
                    <a:pt x="17486" y="78175"/>
                    <a:pt x="0" y="60674"/>
                    <a:pt x="0" y="39088"/>
                  </a:cubicBezTo>
                  <a:cubicBezTo>
                    <a:pt x="0" y="17500"/>
                    <a:pt x="17486" y="0"/>
                    <a:pt x="39078" y="0"/>
                  </a:cubicBezTo>
                  <a:close/>
                </a:path>
              </a:pathLst>
            </a:custGeom>
            <a:solidFill>
              <a:schemeClr val="accent3"/>
            </a:solidFill>
            <a:ln w="0">
              <a:noFill/>
              <a:prstDash val="solid"/>
              <a:round/>
              <a:headEnd/>
              <a:tailEnd/>
            </a:ln>
          </p:spPr>
          <p:txBody>
            <a:bodyPr vert="horz" wrap="square" lIns="93260" tIns="46630" rIns="93260" bIns="46630" numCol="1" anchor="t" anchorCtr="0" compatLnSpc="1">
              <a:prstTxWarp prst="textNoShape">
                <a:avLst/>
              </a:prstTxWarp>
              <a:noAutofit/>
            </a:bodyPr>
            <a:lstStyle/>
            <a:p>
              <a:endParaRPr lang="en-US" sz="1836"/>
            </a:p>
          </p:txBody>
        </p:sp>
        <p:sp>
          <p:nvSpPr>
            <p:cNvPr id="541" name="Freeform: Shape 366"/>
            <p:cNvSpPr>
              <a:spLocks/>
            </p:cNvSpPr>
            <p:nvPr/>
          </p:nvSpPr>
          <p:spPr bwMode="auto">
            <a:xfrm>
              <a:off x="9151821" y="4377151"/>
              <a:ext cx="78177" cy="78175"/>
            </a:xfrm>
            <a:custGeom>
              <a:avLst/>
              <a:gdLst>
                <a:gd name="connsiteX0" fmla="*/ 39086 w 78177"/>
                <a:gd name="connsiteY0" fmla="*/ 0 h 78175"/>
                <a:gd name="connsiteX1" fmla="*/ 78177 w 78177"/>
                <a:gd name="connsiteY1" fmla="*/ 39088 h 78175"/>
                <a:gd name="connsiteX2" fmla="*/ 39086 w 78177"/>
                <a:gd name="connsiteY2" fmla="*/ 78175 h 78175"/>
                <a:gd name="connsiteX3" fmla="*/ 0 w 78177"/>
                <a:gd name="connsiteY3" fmla="*/ 39088 h 78175"/>
                <a:gd name="connsiteX4" fmla="*/ 39086 w 78177"/>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7" h="78175">
                  <a:moveTo>
                    <a:pt x="39086" y="0"/>
                  </a:moveTo>
                  <a:cubicBezTo>
                    <a:pt x="60675" y="0"/>
                    <a:pt x="78177" y="17500"/>
                    <a:pt x="78177" y="39088"/>
                  </a:cubicBezTo>
                  <a:cubicBezTo>
                    <a:pt x="78177" y="60674"/>
                    <a:pt x="60675" y="78175"/>
                    <a:pt x="39086" y="78175"/>
                  </a:cubicBezTo>
                  <a:cubicBezTo>
                    <a:pt x="17500" y="78175"/>
                    <a:pt x="0" y="60674"/>
                    <a:pt x="0" y="39088"/>
                  </a:cubicBezTo>
                  <a:cubicBezTo>
                    <a:pt x="0" y="17500"/>
                    <a:pt x="17500" y="0"/>
                    <a:pt x="39086" y="0"/>
                  </a:cubicBezTo>
                  <a:close/>
                </a:path>
              </a:pathLst>
            </a:custGeom>
            <a:solidFill>
              <a:schemeClr val="accent3"/>
            </a:solidFill>
            <a:ln w="0">
              <a:noFill/>
              <a:prstDash val="solid"/>
              <a:round/>
              <a:headEnd/>
              <a:tailEnd/>
            </a:ln>
          </p:spPr>
          <p:txBody>
            <a:bodyPr vert="horz" wrap="square" lIns="93260" tIns="46630" rIns="93260" bIns="46630" numCol="1" anchor="t" anchorCtr="0" compatLnSpc="1">
              <a:prstTxWarp prst="textNoShape">
                <a:avLst/>
              </a:prstTxWarp>
              <a:noAutofit/>
            </a:bodyPr>
            <a:lstStyle/>
            <a:p>
              <a:endParaRPr lang="en-US" sz="1836"/>
            </a:p>
          </p:txBody>
        </p:sp>
        <p:sp>
          <p:nvSpPr>
            <p:cNvPr id="542" name="Freeform: Shape 367"/>
            <p:cNvSpPr>
              <a:spLocks/>
            </p:cNvSpPr>
            <p:nvPr/>
          </p:nvSpPr>
          <p:spPr bwMode="auto">
            <a:xfrm>
              <a:off x="9244101" y="4377151"/>
              <a:ext cx="78167" cy="78175"/>
            </a:xfrm>
            <a:custGeom>
              <a:avLst/>
              <a:gdLst>
                <a:gd name="connsiteX0" fmla="*/ 39094 w 78167"/>
                <a:gd name="connsiteY0" fmla="*/ 0 h 78175"/>
                <a:gd name="connsiteX1" fmla="*/ 78167 w 78167"/>
                <a:gd name="connsiteY1" fmla="*/ 39088 h 78175"/>
                <a:gd name="connsiteX2" fmla="*/ 39094 w 78167"/>
                <a:gd name="connsiteY2" fmla="*/ 78175 h 78175"/>
                <a:gd name="connsiteX3" fmla="*/ 0 w 78167"/>
                <a:gd name="connsiteY3" fmla="*/ 39088 h 78175"/>
                <a:gd name="connsiteX4" fmla="*/ 39094 w 78167"/>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67" h="78175">
                  <a:moveTo>
                    <a:pt x="39094" y="0"/>
                  </a:moveTo>
                  <a:cubicBezTo>
                    <a:pt x="60667" y="0"/>
                    <a:pt x="78167" y="17500"/>
                    <a:pt x="78167" y="39088"/>
                  </a:cubicBezTo>
                  <a:cubicBezTo>
                    <a:pt x="78167" y="60674"/>
                    <a:pt x="60667" y="78175"/>
                    <a:pt x="39094" y="78175"/>
                  </a:cubicBezTo>
                  <a:cubicBezTo>
                    <a:pt x="17502" y="78175"/>
                    <a:pt x="0" y="60674"/>
                    <a:pt x="0" y="39088"/>
                  </a:cubicBezTo>
                  <a:cubicBezTo>
                    <a:pt x="0" y="17500"/>
                    <a:pt x="17502" y="0"/>
                    <a:pt x="39094" y="0"/>
                  </a:cubicBezTo>
                  <a:close/>
                </a:path>
              </a:pathLst>
            </a:custGeom>
            <a:solidFill>
              <a:schemeClr val="accent3"/>
            </a:solidFill>
            <a:ln w="0">
              <a:noFill/>
              <a:prstDash val="solid"/>
              <a:round/>
              <a:headEnd/>
              <a:tailEnd/>
            </a:ln>
          </p:spPr>
          <p:txBody>
            <a:bodyPr vert="horz" wrap="square" lIns="93260" tIns="46630" rIns="93260" bIns="46630" numCol="1" anchor="t" anchorCtr="0" compatLnSpc="1">
              <a:prstTxWarp prst="textNoShape">
                <a:avLst/>
              </a:prstTxWarp>
              <a:noAutofit/>
            </a:bodyPr>
            <a:lstStyle/>
            <a:p>
              <a:endParaRPr lang="en-US" sz="1836"/>
            </a:p>
          </p:txBody>
        </p:sp>
        <p:sp>
          <p:nvSpPr>
            <p:cNvPr id="543" name="Freeform: Shape 368"/>
            <p:cNvSpPr>
              <a:spLocks/>
            </p:cNvSpPr>
            <p:nvPr/>
          </p:nvSpPr>
          <p:spPr bwMode="auto">
            <a:xfrm>
              <a:off x="7083978" y="4462328"/>
              <a:ext cx="78186" cy="78175"/>
            </a:xfrm>
            <a:custGeom>
              <a:avLst/>
              <a:gdLst>
                <a:gd name="connsiteX0" fmla="*/ 39093 w 78186"/>
                <a:gd name="connsiteY0" fmla="*/ 0 h 78175"/>
                <a:gd name="connsiteX1" fmla="*/ 78186 w 78186"/>
                <a:gd name="connsiteY1" fmla="*/ 39087 h 78175"/>
                <a:gd name="connsiteX2" fmla="*/ 39093 w 78186"/>
                <a:gd name="connsiteY2" fmla="*/ 78175 h 78175"/>
                <a:gd name="connsiteX3" fmla="*/ 0 w 78186"/>
                <a:gd name="connsiteY3" fmla="*/ 39087 h 78175"/>
                <a:gd name="connsiteX4" fmla="*/ 39093 w 78186"/>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86" h="78175">
                  <a:moveTo>
                    <a:pt x="39093" y="0"/>
                  </a:moveTo>
                  <a:cubicBezTo>
                    <a:pt x="60685" y="0"/>
                    <a:pt x="78186" y="17500"/>
                    <a:pt x="78186" y="39087"/>
                  </a:cubicBezTo>
                  <a:cubicBezTo>
                    <a:pt x="78186" y="60675"/>
                    <a:pt x="60685" y="78175"/>
                    <a:pt x="39093" y="78175"/>
                  </a:cubicBezTo>
                  <a:cubicBezTo>
                    <a:pt x="17503" y="78175"/>
                    <a:pt x="0" y="60675"/>
                    <a:pt x="0" y="39087"/>
                  </a:cubicBezTo>
                  <a:cubicBezTo>
                    <a:pt x="0" y="17500"/>
                    <a:pt x="17503" y="0"/>
                    <a:pt x="39093" y="0"/>
                  </a:cubicBezTo>
                  <a:close/>
                </a:path>
              </a:pathLst>
            </a:custGeom>
            <a:solidFill>
              <a:schemeClr val="accent3"/>
            </a:solidFill>
            <a:ln w="0">
              <a:noFill/>
              <a:prstDash val="solid"/>
              <a:round/>
              <a:headEnd/>
              <a:tailEnd/>
            </a:ln>
          </p:spPr>
          <p:txBody>
            <a:bodyPr vert="horz" wrap="square" lIns="93260" tIns="46630" rIns="93260" bIns="46630" numCol="1" anchor="t" anchorCtr="0" compatLnSpc="1">
              <a:prstTxWarp prst="textNoShape">
                <a:avLst/>
              </a:prstTxWarp>
              <a:noAutofit/>
            </a:bodyPr>
            <a:lstStyle/>
            <a:p>
              <a:endParaRPr lang="en-US" sz="1836"/>
            </a:p>
          </p:txBody>
        </p:sp>
        <p:sp>
          <p:nvSpPr>
            <p:cNvPr id="544" name="Freeform: Shape 369"/>
            <p:cNvSpPr>
              <a:spLocks/>
            </p:cNvSpPr>
            <p:nvPr/>
          </p:nvSpPr>
          <p:spPr bwMode="auto">
            <a:xfrm>
              <a:off x="7270908" y="4462328"/>
              <a:ext cx="78169" cy="78173"/>
            </a:xfrm>
            <a:custGeom>
              <a:avLst/>
              <a:gdLst>
                <a:gd name="connsiteX0" fmla="*/ 39085 w 78169"/>
                <a:gd name="connsiteY0" fmla="*/ 0 h 78173"/>
                <a:gd name="connsiteX1" fmla="*/ 78169 w 78169"/>
                <a:gd name="connsiteY1" fmla="*/ 39086 h 78173"/>
                <a:gd name="connsiteX2" fmla="*/ 39085 w 78169"/>
                <a:gd name="connsiteY2" fmla="*/ 78173 h 78173"/>
                <a:gd name="connsiteX3" fmla="*/ 0 w 78169"/>
                <a:gd name="connsiteY3" fmla="*/ 39086 h 78173"/>
                <a:gd name="connsiteX4" fmla="*/ 39085 w 78169"/>
                <a:gd name="connsiteY4" fmla="*/ 0 h 781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69" h="78173">
                  <a:moveTo>
                    <a:pt x="39085" y="0"/>
                  </a:moveTo>
                  <a:cubicBezTo>
                    <a:pt x="60671" y="0"/>
                    <a:pt x="78169" y="17499"/>
                    <a:pt x="78169" y="39086"/>
                  </a:cubicBezTo>
                  <a:cubicBezTo>
                    <a:pt x="78169" y="60674"/>
                    <a:pt x="60671" y="78173"/>
                    <a:pt x="39085" y="78173"/>
                  </a:cubicBezTo>
                  <a:cubicBezTo>
                    <a:pt x="17496" y="78173"/>
                    <a:pt x="0" y="60674"/>
                    <a:pt x="0" y="39086"/>
                  </a:cubicBezTo>
                  <a:cubicBezTo>
                    <a:pt x="0" y="17499"/>
                    <a:pt x="17496" y="0"/>
                    <a:pt x="39085" y="0"/>
                  </a:cubicBezTo>
                  <a:close/>
                </a:path>
              </a:pathLst>
            </a:custGeom>
            <a:solidFill>
              <a:schemeClr val="accent3"/>
            </a:solidFill>
            <a:ln w="0">
              <a:noFill/>
              <a:prstDash val="solid"/>
              <a:round/>
              <a:headEnd/>
              <a:tailEnd/>
            </a:ln>
          </p:spPr>
          <p:txBody>
            <a:bodyPr vert="horz" wrap="square" lIns="93260" tIns="46630" rIns="93260" bIns="46630" numCol="1" anchor="t" anchorCtr="0" compatLnSpc="1">
              <a:prstTxWarp prst="textNoShape">
                <a:avLst/>
              </a:prstTxWarp>
              <a:noAutofit/>
            </a:bodyPr>
            <a:lstStyle/>
            <a:p>
              <a:endParaRPr lang="en-US" sz="1836"/>
            </a:p>
          </p:txBody>
        </p:sp>
        <p:sp>
          <p:nvSpPr>
            <p:cNvPr id="545" name="Freeform: Shape 370"/>
            <p:cNvSpPr>
              <a:spLocks/>
            </p:cNvSpPr>
            <p:nvPr/>
          </p:nvSpPr>
          <p:spPr bwMode="auto">
            <a:xfrm>
              <a:off x="9244101" y="4462328"/>
              <a:ext cx="78167" cy="78173"/>
            </a:xfrm>
            <a:custGeom>
              <a:avLst/>
              <a:gdLst>
                <a:gd name="connsiteX0" fmla="*/ 39092 w 78167"/>
                <a:gd name="connsiteY0" fmla="*/ 0 h 78173"/>
                <a:gd name="connsiteX1" fmla="*/ 78167 w 78167"/>
                <a:gd name="connsiteY1" fmla="*/ 39086 h 78173"/>
                <a:gd name="connsiteX2" fmla="*/ 39092 w 78167"/>
                <a:gd name="connsiteY2" fmla="*/ 78173 h 78173"/>
                <a:gd name="connsiteX3" fmla="*/ 0 w 78167"/>
                <a:gd name="connsiteY3" fmla="*/ 39086 h 78173"/>
                <a:gd name="connsiteX4" fmla="*/ 39092 w 78167"/>
                <a:gd name="connsiteY4" fmla="*/ 0 h 781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67" h="78173">
                  <a:moveTo>
                    <a:pt x="39092" y="0"/>
                  </a:moveTo>
                  <a:cubicBezTo>
                    <a:pt x="60667" y="0"/>
                    <a:pt x="78167" y="17499"/>
                    <a:pt x="78167" y="39086"/>
                  </a:cubicBezTo>
                  <a:cubicBezTo>
                    <a:pt x="78167" y="60674"/>
                    <a:pt x="60667" y="78173"/>
                    <a:pt x="39092" y="78173"/>
                  </a:cubicBezTo>
                  <a:cubicBezTo>
                    <a:pt x="17502" y="78173"/>
                    <a:pt x="0" y="60674"/>
                    <a:pt x="0" y="39086"/>
                  </a:cubicBezTo>
                  <a:cubicBezTo>
                    <a:pt x="0" y="17499"/>
                    <a:pt x="17502" y="0"/>
                    <a:pt x="39092" y="0"/>
                  </a:cubicBezTo>
                  <a:close/>
                </a:path>
              </a:pathLst>
            </a:custGeom>
            <a:solidFill>
              <a:schemeClr val="accent3"/>
            </a:solidFill>
            <a:ln w="0">
              <a:noFill/>
              <a:prstDash val="solid"/>
              <a:round/>
              <a:headEnd/>
              <a:tailEnd/>
            </a:ln>
          </p:spPr>
          <p:txBody>
            <a:bodyPr vert="horz" wrap="square" lIns="93260" tIns="46630" rIns="93260" bIns="46630" numCol="1" anchor="t" anchorCtr="0" compatLnSpc="1">
              <a:prstTxWarp prst="textNoShape">
                <a:avLst/>
              </a:prstTxWarp>
              <a:noAutofit/>
            </a:bodyPr>
            <a:lstStyle/>
            <a:p>
              <a:endParaRPr lang="en-US" sz="1836"/>
            </a:p>
          </p:txBody>
        </p:sp>
        <p:sp>
          <p:nvSpPr>
            <p:cNvPr id="546" name="Freeform: Shape 371"/>
            <p:cNvSpPr>
              <a:spLocks/>
            </p:cNvSpPr>
            <p:nvPr/>
          </p:nvSpPr>
          <p:spPr bwMode="auto">
            <a:xfrm>
              <a:off x="9525649" y="4462328"/>
              <a:ext cx="78174" cy="78173"/>
            </a:xfrm>
            <a:custGeom>
              <a:avLst/>
              <a:gdLst>
                <a:gd name="connsiteX0" fmla="*/ 39087 w 78174"/>
                <a:gd name="connsiteY0" fmla="*/ 0 h 78173"/>
                <a:gd name="connsiteX1" fmla="*/ 78174 w 78174"/>
                <a:gd name="connsiteY1" fmla="*/ 39086 h 78173"/>
                <a:gd name="connsiteX2" fmla="*/ 39087 w 78174"/>
                <a:gd name="connsiteY2" fmla="*/ 78173 h 78173"/>
                <a:gd name="connsiteX3" fmla="*/ 0 w 78174"/>
                <a:gd name="connsiteY3" fmla="*/ 39086 h 78173"/>
                <a:gd name="connsiteX4" fmla="*/ 39087 w 78174"/>
                <a:gd name="connsiteY4" fmla="*/ 0 h 781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73">
                  <a:moveTo>
                    <a:pt x="39087" y="0"/>
                  </a:moveTo>
                  <a:cubicBezTo>
                    <a:pt x="60674" y="0"/>
                    <a:pt x="78174" y="17499"/>
                    <a:pt x="78174" y="39086"/>
                  </a:cubicBezTo>
                  <a:cubicBezTo>
                    <a:pt x="78174" y="60674"/>
                    <a:pt x="60674" y="78173"/>
                    <a:pt x="39087" y="78173"/>
                  </a:cubicBezTo>
                  <a:cubicBezTo>
                    <a:pt x="17500" y="78173"/>
                    <a:pt x="0" y="60674"/>
                    <a:pt x="0" y="39086"/>
                  </a:cubicBezTo>
                  <a:cubicBezTo>
                    <a:pt x="0" y="17499"/>
                    <a:pt x="17500" y="0"/>
                    <a:pt x="39087" y="0"/>
                  </a:cubicBezTo>
                  <a:close/>
                </a:path>
              </a:pathLst>
            </a:custGeom>
            <a:solidFill>
              <a:schemeClr val="accent3"/>
            </a:solidFill>
            <a:ln w="0">
              <a:noFill/>
              <a:prstDash val="solid"/>
              <a:round/>
              <a:headEnd/>
              <a:tailEnd/>
            </a:ln>
          </p:spPr>
          <p:txBody>
            <a:bodyPr vert="horz" wrap="square" lIns="93260" tIns="46630" rIns="93260" bIns="46630" numCol="1" anchor="t" anchorCtr="0" compatLnSpc="1">
              <a:prstTxWarp prst="textNoShape">
                <a:avLst/>
              </a:prstTxWarp>
              <a:noAutofit/>
            </a:bodyPr>
            <a:lstStyle/>
            <a:p>
              <a:endParaRPr lang="en-US" sz="1836"/>
            </a:p>
          </p:txBody>
        </p:sp>
        <p:sp>
          <p:nvSpPr>
            <p:cNvPr id="547" name="Freeform: Shape 372"/>
            <p:cNvSpPr>
              <a:spLocks/>
            </p:cNvSpPr>
            <p:nvPr/>
          </p:nvSpPr>
          <p:spPr bwMode="auto">
            <a:xfrm>
              <a:off x="10091123" y="4462328"/>
              <a:ext cx="78174" cy="78175"/>
            </a:xfrm>
            <a:custGeom>
              <a:avLst/>
              <a:gdLst>
                <a:gd name="connsiteX0" fmla="*/ 39088 w 78174"/>
                <a:gd name="connsiteY0" fmla="*/ 0 h 78175"/>
                <a:gd name="connsiteX1" fmla="*/ 78174 w 78174"/>
                <a:gd name="connsiteY1" fmla="*/ 39087 h 78175"/>
                <a:gd name="connsiteX2" fmla="*/ 39088 w 78174"/>
                <a:gd name="connsiteY2" fmla="*/ 78175 h 78175"/>
                <a:gd name="connsiteX3" fmla="*/ 0 w 78174"/>
                <a:gd name="connsiteY3" fmla="*/ 39087 h 78175"/>
                <a:gd name="connsiteX4" fmla="*/ 39088 w 78174"/>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75">
                  <a:moveTo>
                    <a:pt x="39088" y="0"/>
                  </a:moveTo>
                  <a:cubicBezTo>
                    <a:pt x="60675" y="0"/>
                    <a:pt x="78174" y="17500"/>
                    <a:pt x="78174" y="39087"/>
                  </a:cubicBezTo>
                  <a:cubicBezTo>
                    <a:pt x="78174" y="60675"/>
                    <a:pt x="60675" y="78175"/>
                    <a:pt x="39088" y="78175"/>
                  </a:cubicBezTo>
                  <a:cubicBezTo>
                    <a:pt x="17500" y="78175"/>
                    <a:pt x="0" y="60675"/>
                    <a:pt x="0" y="39087"/>
                  </a:cubicBezTo>
                  <a:cubicBezTo>
                    <a:pt x="0" y="17500"/>
                    <a:pt x="17500" y="0"/>
                    <a:pt x="39088" y="0"/>
                  </a:cubicBezTo>
                  <a:close/>
                </a:path>
              </a:pathLst>
            </a:custGeom>
            <a:solidFill>
              <a:schemeClr val="accent3"/>
            </a:solidFill>
            <a:ln w="0">
              <a:noFill/>
              <a:prstDash val="solid"/>
              <a:round/>
              <a:headEnd/>
              <a:tailEnd/>
            </a:ln>
          </p:spPr>
          <p:txBody>
            <a:bodyPr vert="horz" wrap="square" lIns="93260" tIns="46630" rIns="93260" bIns="46630" numCol="1" anchor="t" anchorCtr="0" compatLnSpc="1">
              <a:prstTxWarp prst="textNoShape">
                <a:avLst/>
              </a:prstTxWarp>
              <a:noAutofit/>
            </a:bodyPr>
            <a:lstStyle/>
            <a:p>
              <a:endParaRPr lang="en-US" sz="1836"/>
            </a:p>
          </p:txBody>
        </p:sp>
        <p:sp>
          <p:nvSpPr>
            <p:cNvPr id="548" name="Freeform: Shape 373"/>
            <p:cNvSpPr>
              <a:spLocks/>
            </p:cNvSpPr>
            <p:nvPr/>
          </p:nvSpPr>
          <p:spPr bwMode="auto">
            <a:xfrm>
              <a:off x="10185763" y="4462328"/>
              <a:ext cx="78174" cy="78173"/>
            </a:xfrm>
            <a:custGeom>
              <a:avLst/>
              <a:gdLst>
                <a:gd name="connsiteX0" fmla="*/ 39088 w 78174"/>
                <a:gd name="connsiteY0" fmla="*/ 0 h 78173"/>
                <a:gd name="connsiteX1" fmla="*/ 78174 w 78174"/>
                <a:gd name="connsiteY1" fmla="*/ 39086 h 78173"/>
                <a:gd name="connsiteX2" fmla="*/ 39088 w 78174"/>
                <a:gd name="connsiteY2" fmla="*/ 78173 h 78173"/>
                <a:gd name="connsiteX3" fmla="*/ 0 w 78174"/>
                <a:gd name="connsiteY3" fmla="*/ 39086 h 78173"/>
                <a:gd name="connsiteX4" fmla="*/ 39088 w 78174"/>
                <a:gd name="connsiteY4" fmla="*/ 0 h 781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73">
                  <a:moveTo>
                    <a:pt x="39088" y="0"/>
                  </a:moveTo>
                  <a:cubicBezTo>
                    <a:pt x="60675" y="0"/>
                    <a:pt x="78174" y="17499"/>
                    <a:pt x="78174" y="39086"/>
                  </a:cubicBezTo>
                  <a:cubicBezTo>
                    <a:pt x="78174" y="60674"/>
                    <a:pt x="60675" y="78173"/>
                    <a:pt x="39088" y="78173"/>
                  </a:cubicBezTo>
                  <a:cubicBezTo>
                    <a:pt x="17500" y="78173"/>
                    <a:pt x="0" y="60674"/>
                    <a:pt x="0" y="39086"/>
                  </a:cubicBezTo>
                  <a:cubicBezTo>
                    <a:pt x="0" y="17499"/>
                    <a:pt x="17500" y="0"/>
                    <a:pt x="39088" y="0"/>
                  </a:cubicBezTo>
                  <a:close/>
                </a:path>
              </a:pathLst>
            </a:custGeom>
            <a:solidFill>
              <a:schemeClr val="accent3"/>
            </a:solidFill>
            <a:ln w="0">
              <a:noFill/>
              <a:prstDash val="solid"/>
              <a:round/>
              <a:headEnd/>
              <a:tailEnd/>
            </a:ln>
          </p:spPr>
          <p:txBody>
            <a:bodyPr vert="horz" wrap="square" lIns="93260" tIns="46630" rIns="93260" bIns="46630" numCol="1" anchor="t" anchorCtr="0" compatLnSpc="1">
              <a:prstTxWarp prst="textNoShape">
                <a:avLst/>
              </a:prstTxWarp>
              <a:noAutofit/>
            </a:bodyPr>
            <a:lstStyle/>
            <a:p>
              <a:endParaRPr lang="en-US" sz="1836"/>
            </a:p>
          </p:txBody>
        </p:sp>
        <p:sp>
          <p:nvSpPr>
            <p:cNvPr id="549" name="Freeform: Shape 374"/>
            <p:cNvSpPr>
              <a:spLocks/>
            </p:cNvSpPr>
            <p:nvPr/>
          </p:nvSpPr>
          <p:spPr bwMode="auto">
            <a:xfrm>
              <a:off x="10372678" y="4467079"/>
              <a:ext cx="31157" cy="70138"/>
            </a:xfrm>
            <a:custGeom>
              <a:avLst/>
              <a:gdLst>
                <a:gd name="connsiteX0" fmla="*/ 27616 w 31157"/>
                <a:gd name="connsiteY0" fmla="*/ 0 h 70138"/>
                <a:gd name="connsiteX1" fmla="*/ 31157 w 31157"/>
                <a:gd name="connsiteY1" fmla="*/ 70138 h 70138"/>
                <a:gd name="connsiteX2" fmla="*/ 11448 w 31157"/>
                <a:gd name="connsiteY2" fmla="*/ 61974 h 70138"/>
                <a:gd name="connsiteX3" fmla="*/ 0 w 31157"/>
                <a:gd name="connsiteY3" fmla="*/ 34335 h 70138"/>
                <a:gd name="connsiteX4" fmla="*/ 11448 w 31157"/>
                <a:gd name="connsiteY4" fmla="*/ 6697 h 70138"/>
                <a:gd name="connsiteX5" fmla="*/ 27616 w 31157"/>
                <a:gd name="connsiteY5" fmla="*/ 0 h 70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157" h="70138">
                  <a:moveTo>
                    <a:pt x="27616" y="0"/>
                  </a:moveTo>
                  <a:lnTo>
                    <a:pt x="31157" y="70138"/>
                  </a:lnTo>
                  <a:lnTo>
                    <a:pt x="11448" y="61974"/>
                  </a:lnTo>
                  <a:cubicBezTo>
                    <a:pt x="4375" y="54901"/>
                    <a:pt x="0" y="45129"/>
                    <a:pt x="0" y="34335"/>
                  </a:cubicBezTo>
                  <a:cubicBezTo>
                    <a:pt x="0" y="23542"/>
                    <a:pt x="4375" y="13770"/>
                    <a:pt x="11448" y="6697"/>
                  </a:cubicBezTo>
                  <a:lnTo>
                    <a:pt x="27616" y="0"/>
                  </a:lnTo>
                  <a:close/>
                </a:path>
              </a:pathLst>
            </a:custGeom>
            <a:solidFill>
              <a:schemeClr val="accent3"/>
            </a:solidFill>
            <a:ln w="0">
              <a:noFill/>
              <a:prstDash val="solid"/>
              <a:round/>
              <a:headEnd/>
              <a:tailEnd/>
            </a:ln>
          </p:spPr>
          <p:txBody>
            <a:bodyPr vert="horz" wrap="square" lIns="93260" tIns="46630" rIns="93260" bIns="46630" numCol="1" anchor="t" anchorCtr="0" compatLnSpc="1">
              <a:prstTxWarp prst="textNoShape">
                <a:avLst/>
              </a:prstTxWarp>
              <a:noAutofit/>
            </a:bodyPr>
            <a:lstStyle/>
            <a:p>
              <a:endParaRPr lang="en-US" sz="1836"/>
            </a:p>
          </p:txBody>
        </p:sp>
        <p:sp>
          <p:nvSpPr>
            <p:cNvPr id="550" name="Freeform: Shape 375"/>
            <p:cNvSpPr>
              <a:spLocks/>
            </p:cNvSpPr>
            <p:nvPr/>
          </p:nvSpPr>
          <p:spPr bwMode="auto">
            <a:xfrm>
              <a:off x="8964914" y="4547501"/>
              <a:ext cx="78172" cy="78174"/>
            </a:xfrm>
            <a:custGeom>
              <a:avLst/>
              <a:gdLst>
                <a:gd name="connsiteX0" fmla="*/ 39084 w 78172"/>
                <a:gd name="connsiteY0" fmla="*/ 0 h 78174"/>
                <a:gd name="connsiteX1" fmla="*/ 78172 w 78172"/>
                <a:gd name="connsiteY1" fmla="*/ 39088 h 78174"/>
                <a:gd name="connsiteX2" fmla="*/ 39084 w 78172"/>
                <a:gd name="connsiteY2" fmla="*/ 78174 h 78174"/>
                <a:gd name="connsiteX3" fmla="*/ 0 w 78172"/>
                <a:gd name="connsiteY3" fmla="*/ 39088 h 78174"/>
                <a:gd name="connsiteX4" fmla="*/ 39084 w 78172"/>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2" h="78174">
                  <a:moveTo>
                    <a:pt x="39084" y="0"/>
                  </a:moveTo>
                  <a:cubicBezTo>
                    <a:pt x="60673" y="0"/>
                    <a:pt x="78172" y="17500"/>
                    <a:pt x="78172" y="39088"/>
                  </a:cubicBezTo>
                  <a:cubicBezTo>
                    <a:pt x="78172" y="60675"/>
                    <a:pt x="60673" y="78174"/>
                    <a:pt x="39084" y="78174"/>
                  </a:cubicBezTo>
                  <a:cubicBezTo>
                    <a:pt x="17503" y="78174"/>
                    <a:pt x="0" y="60675"/>
                    <a:pt x="0" y="39088"/>
                  </a:cubicBezTo>
                  <a:cubicBezTo>
                    <a:pt x="0" y="17500"/>
                    <a:pt x="17503" y="0"/>
                    <a:pt x="39084" y="0"/>
                  </a:cubicBezTo>
                  <a:close/>
                </a:path>
              </a:pathLst>
            </a:custGeom>
            <a:solidFill>
              <a:schemeClr val="accent3"/>
            </a:solidFill>
            <a:ln w="0">
              <a:noFill/>
              <a:prstDash val="solid"/>
              <a:round/>
              <a:headEnd/>
              <a:tailEnd/>
            </a:ln>
          </p:spPr>
          <p:txBody>
            <a:bodyPr vert="horz" wrap="square" lIns="93260" tIns="46630" rIns="93260" bIns="46630" numCol="1" anchor="t" anchorCtr="0" compatLnSpc="1">
              <a:prstTxWarp prst="textNoShape">
                <a:avLst/>
              </a:prstTxWarp>
              <a:noAutofit/>
            </a:bodyPr>
            <a:lstStyle/>
            <a:p>
              <a:endParaRPr lang="en-US" sz="1836"/>
            </a:p>
          </p:txBody>
        </p:sp>
        <p:sp>
          <p:nvSpPr>
            <p:cNvPr id="551" name="Freeform: Shape 376"/>
            <p:cNvSpPr>
              <a:spLocks/>
            </p:cNvSpPr>
            <p:nvPr/>
          </p:nvSpPr>
          <p:spPr bwMode="auto">
            <a:xfrm>
              <a:off x="9338735" y="4547501"/>
              <a:ext cx="78174" cy="78174"/>
            </a:xfrm>
            <a:custGeom>
              <a:avLst/>
              <a:gdLst>
                <a:gd name="connsiteX0" fmla="*/ 39087 w 78174"/>
                <a:gd name="connsiteY0" fmla="*/ 0 h 78174"/>
                <a:gd name="connsiteX1" fmla="*/ 78174 w 78174"/>
                <a:gd name="connsiteY1" fmla="*/ 39088 h 78174"/>
                <a:gd name="connsiteX2" fmla="*/ 39087 w 78174"/>
                <a:gd name="connsiteY2" fmla="*/ 78174 h 78174"/>
                <a:gd name="connsiteX3" fmla="*/ 0 w 78174"/>
                <a:gd name="connsiteY3" fmla="*/ 39088 h 78174"/>
                <a:gd name="connsiteX4" fmla="*/ 39087 w 78174"/>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74">
                  <a:moveTo>
                    <a:pt x="39087" y="0"/>
                  </a:moveTo>
                  <a:cubicBezTo>
                    <a:pt x="60674" y="0"/>
                    <a:pt x="78174" y="17500"/>
                    <a:pt x="78174" y="39088"/>
                  </a:cubicBezTo>
                  <a:cubicBezTo>
                    <a:pt x="78174" y="60675"/>
                    <a:pt x="60674" y="78174"/>
                    <a:pt x="39087" y="78174"/>
                  </a:cubicBezTo>
                  <a:cubicBezTo>
                    <a:pt x="17500" y="78174"/>
                    <a:pt x="0" y="60675"/>
                    <a:pt x="0" y="39088"/>
                  </a:cubicBezTo>
                  <a:cubicBezTo>
                    <a:pt x="0" y="17500"/>
                    <a:pt x="17500" y="0"/>
                    <a:pt x="39087" y="0"/>
                  </a:cubicBezTo>
                  <a:close/>
                </a:path>
              </a:pathLst>
            </a:custGeom>
            <a:solidFill>
              <a:schemeClr val="accent3"/>
            </a:solidFill>
            <a:ln w="0">
              <a:noFill/>
              <a:prstDash val="solid"/>
              <a:round/>
              <a:headEnd/>
              <a:tailEnd/>
            </a:ln>
          </p:spPr>
          <p:txBody>
            <a:bodyPr vert="horz" wrap="square" lIns="93260" tIns="46630" rIns="93260" bIns="46630" numCol="1" anchor="t" anchorCtr="0" compatLnSpc="1">
              <a:prstTxWarp prst="textNoShape">
                <a:avLst/>
              </a:prstTxWarp>
              <a:noAutofit/>
            </a:bodyPr>
            <a:lstStyle/>
            <a:p>
              <a:endParaRPr lang="en-US" sz="1836"/>
            </a:p>
          </p:txBody>
        </p:sp>
        <p:sp>
          <p:nvSpPr>
            <p:cNvPr id="552" name="Freeform: Shape 377"/>
            <p:cNvSpPr>
              <a:spLocks/>
            </p:cNvSpPr>
            <p:nvPr/>
          </p:nvSpPr>
          <p:spPr bwMode="auto">
            <a:xfrm>
              <a:off x="10278039" y="4547501"/>
              <a:ext cx="78174" cy="78174"/>
            </a:xfrm>
            <a:custGeom>
              <a:avLst/>
              <a:gdLst>
                <a:gd name="connsiteX0" fmla="*/ 39088 w 78174"/>
                <a:gd name="connsiteY0" fmla="*/ 0 h 78174"/>
                <a:gd name="connsiteX1" fmla="*/ 78174 w 78174"/>
                <a:gd name="connsiteY1" fmla="*/ 39088 h 78174"/>
                <a:gd name="connsiteX2" fmla="*/ 39088 w 78174"/>
                <a:gd name="connsiteY2" fmla="*/ 78174 h 78174"/>
                <a:gd name="connsiteX3" fmla="*/ 0 w 78174"/>
                <a:gd name="connsiteY3" fmla="*/ 39088 h 78174"/>
                <a:gd name="connsiteX4" fmla="*/ 39088 w 78174"/>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74">
                  <a:moveTo>
                    <a:pt x="39088" y="0"/>
                  </a:moveTo>
                  <a:cubicBezTo>
                    <a:pt x="60675" y="0"/>
                    <a:pt x="78174" y="17500"/>
                    <a:pt x="78174" y="39088"/>
                  </a:cubicBezTo>
                  <a:cubicBezTo>
                    <a:pt x="78174" y="60675"/>
                    <a:pt x="60675" y="78174"/>
                    <a:pt x="39088" y="78174"/>
                  </a:cubicBezTo>
                  <a:cubicBezTo>
                    <a:pt x="17500" y="78174"/>
                    <a:pt x="0" y="60675"/>
                    <a:pt x="0" y="39088"/>
                  </a:cubicBezTo>
                  <a:cubicBezTo>
                    <a:pt x="0" y="17500"/>
                    <a:pt x="17500" y="0"/>
                    <a:pt x="39088" y="0"/>
                  </a:cubicBezTo>
                  <a:close/>
                </a:path>
              </a:pathLst>
            </a:custGeom>
            <a:solidFill>
              <a:schemeClr val="accent3"/>
            </a:solidFill>
            <a:ln w="0">
              <a:noFill/>
              <a:prstDash val="solid"/>
              <a:round/>
              <a:headEnd/>
              <a:tailEnd/>
            </a:ln>
          </p:spPr>
          <p:txBody>
            <a:bodyPr vert="horz" wrap="square" lIns="93260" tIns="46630" rIns="93260" bIns="46630" numCol="1" anchor="t" anchorCtr="0" compatLnSpc="1">
              <a:prstTxWarp prst="textNoShape">
                <a:avLst/>
              </a:prstTxWarp>
              <a:noAutofit/>
            </a:bodyPr>
            <a:lstStyle/>
            <a:p>
              <a:endParaRPr lang="en-US" sz="1836"/>
            </a:p>
          </p:txBody>
        </p:sp>
        <p:sp>
          <p:nvSpPr>
            <p:cNvPr id="553" name="Freeform: Shape 378"/>
            <p:cNvSpPr>
              <a:spLocks/>
            </p:cNvSpPr>
            <p:nvPr/>
          </p:nvSpPr>
          <p:spPr bwMode="auto">
            <a:xfrm>
              <a:off x="10372679" y="4550510"/>
              <a:ext cx="35528" cy="73683"/>
            </a:xfrm>
            <a:custGeom>
              <a:avLst/>
              <a:gdLst>
                <a:gd name="connsiteX0" fmla="*/ 31827 w 35528"/>
                <a:gd name="connsiteY0" fmla="*/ 0 h 73683"/>
                <a:gd name="connsiteX1" fmla="*/ 35528 w 35528"/>
                <a:gd name="connsiteY1" fmla="*/ 73284 h 73683"/>
                <a:gd name="connsiteX2" fmla="*/ 35508 w 35528"/>
                <a:gd name="connsiteY2" fmla="*/ 73683 h 73683"/>
                <a:gd name="connsiteX3" fmla="*/ 11449 w 35528"/>
                <a:gd name="connsiteY3" fmla="*/ 63718 h 73683"/>
                <a:gd name="connsiteX4" fmla="*/ 0 w 35528"/>
                <a:gd name="connsiteY4" fmla="*/ 36080 h 73683"/>
                <a:gd name="connsiteX5" fmla="*/ 11449 w 35528"/>
                <a:gd name="connsiteY5" fmla="*/ 8441 h 73683"/>
                <a:gd name="connsiteX6" fmla="*/ 31827 w 35528"/>
                <a:gd name="connsiteY6" fmla="*/ 0 h 736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5528" h="73683">
                  <a:moveTo>
                    <a:pt x="31827" y="0"/>
                  </a:moveTo>
                  <a:lnTo>
                    <a:pt x="35528" y="73284"/>
                  </a:lnTo>
                  <a:lnTo>
                    <a:pt x="35508" y="73683"/>
                  </a:lnTo>
                  <a:lnTo>
                    <a:pt x="11449" y="63718"/>
                  </a:lnTo>
                  <a:cubicBezTo>
                    <a:pt x="4375" y="56645"/>
                    <a:pt x="0" y="46874"/>
                    <a:pt x="0" y="36080"/>
                  </a:cubicBezTo>
                  <a:cubicBezTo>
                    <a:pt x="0" y="25286"/>
                    <a:pt x="4375" y="15514"/>
                    <a:pt x="11449" y="8441"/>
                  </a:cubicBezTo>
                  <a:lnTo>
                    <a:pt x="31827" y="0"/>
                  </a:lnTo>
                  <a:close/>
                </a:path>
              </a:pathLst>
            </a:custGeom>
            <a:solidFill>
              <a:schemeClr val="accent3"/>
            </a:solidFill>
            <a:ln w="0">
              <a:noFill/>
              <a:prstDash val="solid"/>
              <a:round/>
              <a:headEnd/>
              <a:tailEnd/>
            </a:ln>
          </p:spPr>
          <p:txBody>
            <a:bodyPr vert="horz" wrap="square" lIns="93260" tIns="46630" rIns="93260" bIns="46630" numCol="1" anchor="t" anchorCtr="0" compatLnSpc="1">
              <a:prstTxWarp prst="textNoShape">
                <a:avLst/>
              </a:prstTxWarp>
              <a:noAutofit/>
            </a:bodyPr>
            <a:lstStyle/>
            <a:p>
              <a:endParaRPr lang="en-US" sz="1836"/>
            </a:p>
          </p:txBody>
        </p:sp>
        <p:sp>
          <p:nvSpPr>
            <p:cNvPr id="554" name="Freeform: Shape 379"/>
            <p:cNvSpPr>
              <a:spLocks/>
            </p:cNvSpPr>
            <p:nvPr/>
          </p:nvSpPr>
          <p:spPr bwMode="auto">
            <a:xfrm>
              <a:off x="6991701" y="4635044"/>
              <a:ext cx="78168" cy="78174"/>
            </a:xfrm>
            <a:custGeom>
              <a:avLst/>
              <a:gdLst>
                <a:gd name="connsiteX0" fmla="*/ 39080 w 78168"/>
                <a:gd name="connsiteY0" fmla="*/ 0 h 78174"/>
                <a:gd name="connsiteX1" fmla="*/ 78168 w 78168"/>
                <a:gd name="connsiteY1" fmla="*/ 39087 h 78174"/>
                <a:gd name="connsiteX2" fmla="*/ 39080 w 78168"/>
                <a:gd name="connsiteY2" fmla="*/ 78174 h 78174"/>
                <a:gd name="connsiteX3" fmla="*/ 0 w 78168"/>
                <a:gd name="connsiteY3" fmla="*/ 39087 h 78174"/>
                <a:gd name="connsiteX4" fmla="*/ 39080 w 78168"/>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68" h="78174">
                  <a:moveTo>
                    <a:pt x="39080" y="0"/>
                  </a:moveTo>
                  <a:cubicBezTo>
                    <a:pt x="60670" y="0"/>
                    <a:pt x="78168" y="17499"/>
                    <a:pt x="78168" y="39087"/>
                  </a:cubicBezTo>
                  <a:cubicBezTo>
                    <a:pt x="78168" y="60674"/>
                    <a:pt x="60670" y="78174"/>
                    <a:pt x="39080" y="78174"/>
                  </a:cubicBezTo>
                  <a:cubicBezTo>
                    <a:pt x="17490" y="78174"/>
                    <a:pt x="0" y="60674"/>
                    <a:pt x="0" y="39087"/>
                  </a:cubicBezTo>
                  <a:cubicBezTo>
                    <a:pt x="0" y="17499"/>
                    <a:pt x="17490" y="0"/>
                    <a:pt x="39080" y="0"/>
                  </a:cubicBezTo>
                  <a:close/>
                </a:path>
              </a:pathLst>
            </a:custGeom>
            <a:solidFill>
              <a:schemeClr val="accent3"/>
            </a:solidFill>
            <a:ln w="0">
              <a:noFill/>
              <a:prstDash val="solid"/>
              <a:round/>
              <a:headEnd/>
              <a:tailEnd/>
            </a:ln>
          </p:spPr>
          <p:txBody>
            <a:bodyPr vert="horz" wrap="square" lIns="93260" tIns="46630" rIns="93260" bIns="46630" numCol="1" anchor="t" anchorCtr="0" compatLnSpc="1">
              <a:prstTxWarp prst="textNoShape">
                <a:avLst/>
              </a:prstTxWarp>
              <a:noAutofit/>
            </a:bodyPr>
            <a:lstStyle/>
            <a:p>
              <a:endParaRPr lang="en-US" sz="1836"/>
            </a:p>
          </p:txBody>
        </p:sp>
        <p:sp>
          <p:nvSpPr>
            <p:cNvPr id="555" name="Freeform: Shape 380"/>
            <p:cNvSpPr>
              <a:spLocks/>
            </p:cNvSpPr>
            <p:nvPr/>
          </p:nvSpPr>
          <p:spPr bwMode="auto">
            <a:xfrm>
              <a:off x="9151821" y="4635045"/>
              <a:ext cx="78176" cy="78175"/>
            </a:xfrm>
            <a:custGeom>
              <a:avLst/>
              <a:gdLst>
                <a:gd name="connsiteX0" fmla="*/ 39086 w 78176"/>
                <a:gd name="connsiteY0" fmla="*/ 0 h 78175"/>
                <a:gd name="connsiteX1" fmla="*/ 78176 w 78176"/>
                <a:gd name="connsiteY1" fmla="*/ 39087 h 78175"/>
                <a:gd name="connsiteX2" fmla="*/ 39086 w 78176"/>
                <a:gd name="connsiteY2" fmla="*/ 78175 h 78175"/>
                <a:gd name="connsiteX3" fmla="*/ 0 w 78176"/>
                <a:gd name="connsiteY3" fmla="*/ 39087 h 78175"/>
                <a:gd name="connsiteX4" fmla="*/ 39086 w 78176"/>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6" h="78175">
                  <a:moveTo>
                    <a:pt x="39086" y="0"/>
                  </a:moveTo>
                  <a:cubicBezTo>
                    <a:pt x="60674" y="0"/>
                    <a:pt x="78176" y="17500"/>
                    <a:pt x="78176" y="39087"/>
                  </a:cubicBezTo>
                  <a:cubicBezTo>
                    <a:pt x="78176" y="60674"/>
                    <a:pt x="60674" y="78175"/>
                    <a:pt x="39086" y="78175"/>
                  </a:cubicBezTo>
                  <a:cubicBezTo>
                    <a:pt x="17500" y="78175"/>
                    <a:pt x="0" y="60674"/>
                    <a:pt x="0" y="39087"/>
                  </a:cubicBezTo>
                  <a:cubicBezTo>
                    <a:pt x="0" y="17500"/>
                    <a:pt x="17500" y="0"/>
                    <a:pt x="39086" y="0"/>
                  </a:cubicBezTo>
                  <a:close/>
                </a:path>
              </a:pathLst>
            </a:custGeom>
            <a:solidFill>
              <a:schemeClr val="accent3"/>
            </a:solidFill>
            <a:ln w="0">
              <a:noFill/>
              <a:prstDash val="solid"/>
              <a:round/>
              <a:headEnd/>
              <a:tailEnd/>
            </a:ln>
          </p:spPr>
          <p:txBody>
            <a:bodyPr vert="horz" wrap="square" lIns="93260" tIns="46630" rIns="93260" bIns="46630" numCol="1" anchor="t" anchorCtr="0" compatLnSpc="1">
              <a:prstTxWarp prst="textNoShape">
                <a:avLst/>
              </a:prstTxWarp>
              <a:noAutofit/>
            </a:bodyPr>
            <a:lstStyle/>
            <a:p>
              <a:endParaRPr lang="en-US" sz="1836"/>
            </a:p>
          </p:txBody>
        </p:sp>
        <p:sp>
          <p:nvSpPr>
            <p:cNvPr id="556" name="Freeform: Shape 381"/>
            <p:cNvSpPr>
              <a:spLocks/>
            </p:cNvSpPr>
            <p:nvPr/>
          </p:nvSpPr>
          <p:spPr bwMode="auto">
            <a:xfrm>
              <a:off x="9617922" y="4635045"/>
              <a:ext cx="78175" cy="78175"/>
            </a:xfrm>
            <a:custGeom>
              <a:avLst/>
              <a:gdLst>
                <a:gd name="connsiteX0" fmla="*/ 39087 w 78175"/>
                <a:gd name="connsiteY0" fmla="*/ 0 h 78175"/>
                <a:gd name="connsiteX1" fmla="*/ 78175 w 78175"/>
                <a:gd name="connsiteY1" fmla="*/ 39087 h 78175"/>
                <a:gd name="connsiteX2" fmla="*/ 39087 w 78175"/>
                <a:gd name="connsiteY2" fmla="*/ 78175 h 78175"/>
                <a:gd name="connsiteX3" fmla="*/ 0 w 78175"/>
                <a:gd name="connsiteY3" fmla="*/ 39087 h 78175"/>
                <a:gd name="connsiteX4" fmla="*/ 39087 w 78175"/>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5" h="78175">
                  <a:moveTo>
                    <a:pt x="39087" y="0"/>
                  </a:moveTo>
                  <a:cubicBezTo>
                    <a:pt x="60675" y="0"/>
                    <a:pt x="78175" y="17500"/>
                    <a:pt x="78175" y="39087"/>
                  </a:cubicBezTo>
                  <a:cubicBezTo>
                    <a:pt x="78175" y="60674"/>
                    <a:pt x="60675" y="78175"/>
                    <a:pt x="39087" y="78175"/>
                  </a:cubicBezTo>
                  <a:cubicBezTo>
                    <a:pt x="17500" y="78175"/>
                    <a:pt x="0" y="60674"/>
                    <a:pt x="0" y="39087"/>
                  </a:cubicBezTo>
                  <a:cubicBezTo>
                    <a:pt x="0" y="17500"/>
                    <a:pt x="17500" y="0"/>
                    <a:pt x="39087" y="0"/>
                  </a:cubicBezTo>
                  <a:close/>
                </a:path>
              </a:pathLst>
            </a:custGeom>
            <a:solidFill>
              <a:schemeClr val="accent3"/>
            </a:solidFill>
            <a:ln w="0">
              <a:noFill/>
              <a:prstDash val="solid"/>
              <a:round/>
              <a:headEnd/>
              <a:tailEnd/>
            </a:ln>
          </p:spPr>
          <p:txBody>
            <a:bodyPr vert="horz" wrap="square" lIns="93260" tIns="46630" rIns="93260" bIns="46630" numCol="1" anchor="t" anchorCtr="0" compatLnSpc="1">
              <a:prstTxWarp prst="textNoShape">
                <a:avLst/>
              </a:prstTxWarp>
              <a:noAutofit/>
            </a:bodyPr>
            <a:lstStyle/>
            <a:p>
              <a:endParaRPr lang="en-US" sz="1836"/>
            </a:p>
          </p:txBody>
        </p:sp>
        <p:sp>
          <p:nvSpPr>
            <p:cNvPr id="557" name="Freeform: Shape 382"/>
            <p:cNvSpPr>
              <a:spLocks/>
            </p:cNvSpPr>
            <p:nvPr/>
          </p:nvSpPr>
          <p:spPr bwMode="auto">
            <a:xfrm>
              <a:off x="9899478" y="4635044"/>
              <a:ext cx="78175" cy="78174"/>
            </a:xfrm>
            <a:custGeom>
              <a:avLst/>
              <a:gdLst>
                <a:gd name="connsiteX0" fmla="*/ 39087 w 78175"/>
                <a:gd name="connsiteY0" fmla="*/ 0 h 78174"/>
                <a:gd name="connsiteX1" fmla="*/ 78175 w 78175"/>
                <a:gd name="connsiteY1" fmla="*/ 39087 h 78174"/>
                <a:gd name="connsiteX2" fmla="*/ 39087 w 78175"/>
                <a:gd name="connsiteY2" fmla="*/ 78174 h 78174"/>
                <a:gd name="connsiteX3" fmla="*/ 0 w 78175"/>
                <a:gd name="connsiteY3" fmla="*/ 39087 h 78174"/>
                <a:gd name="connsiteX4" fmla="*/ 39087 w 78175"/>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5" h="78174">
                  <a:moveTo>
                    <a:pt x="39087" y="0"/>
                  </a:moveTo>
                  <a:cubicBezTo>
                    <a:pt x="60675" y="0"/>
                    <a:pt x="78175" y="17499"/>
                    <a:pt x="78175" y="39087"/>
                  </a:cubicBezTo>
                  <a:cubicBezTo>
                    <a:pt x="78175" y="60674"/>
                    <a:pt x="60675" y="78174"/>
                    <a:pt x="39087" y="78174"/>
                  </a:cubicBezTo>
                  <a:cubicBezTo>
                    <a:pt x="17500" y="78174"/>
                    <a:pt x="0" y="60674"/>
                    <a:pt x="0" y="39087"/>
                  </a:cubicBezTo>
                  <a:cubicBezTo>
                    <a:pt x="0" y="17499"/>
                    <a:pt x="17500" y="0"/>
                    <a:pt x="39087" y="0"/>
                  </a:cubicBezTo>
                  <a:close/>
                </a:path>
              </a:pathLst>
            </a:custGeom>
            <a:solidFill>
              <a:schemeClr val="accent3"/>
            </a:solidFill>
            <a:ln w="0">
              <a:noFill/>
              <a:prstDash val="solid"/>
              <a:round/>
              <a:headEnd/>
              <a:tailEnd/>
            </a:ln>
          </p:spPr>
          <p:txBody>
            <a:bodyPr vert="horz" wrap="square" lIns="93260" tIns="46630" rIns="93260" bIns="46630" numCol="1" anchor="t" anchorCtr="0" compatLnSpc="1">
              <a:prstTxWarp prst="textNoShape">
                <a:avLst/>
              </a:prstTxWarp>
              <a:noAutofit/>
            </a:bodyPr>
            <a:lstStyle/>
            <a:p>
              <a:endParaRPr lang="en-US" sz="1836"/>
            </a:p>
          </p:txBody>
        </p:sp>
        <p:sp>
          <p:nvSpPr>
            <p:cNvPr id="558" name="Freeform: Shape 383"/>
            <p:cNvSpPr>
              <a:spLocks/>
            </p:cNvSpPr>
            <p:nvPr/>
          </p:nvSpPr>
          <p:spPr bwMode="auto">
            <a:xfrm>
              <a:off x="9244099" y="4722588"/>
              <a:ext cx="78169" cy="78174"/>
            </a:xfrm>
            <a:custGeom>
              <a:avLst/>
              <a:gdLst>
                <a:gd name="connsiteX0" fmla="*/ 39091 w 78169"/>
                <a:gd name="connsiteY0" fmla="*/ 0 h 78174"/>
                <a:gd name="connsiteX1" fmla="*/ 78169 w 78169"/>
                <a:gd name="connsiteY1" fmla="*/ 39087 h 78174"/>
                <a:gd name="connsiteX2" fmla="*/ 39091 w 78169"/>
                <a:gd name="connsiteY2" fmla="*/ 78174 h 78174"/>
                <a:gd name="connsiteX3" fmla="*/ 0 w 78169"/>
                <a:gd name="connsiteY3" fmla="*/ 39087 h 78174"/>
                <a:gd name="connsiteX4" fmla="*/ 39091 w 78169"/>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69" h="78174">
                  <a:moveTo>
                    <a:pt x="39091" y="0"/>
                  </a:moveTo>
                  <a:cubicBezTo>
                    <a:pt x="60669" y="0"/>
                    <a:pt x="78169" y="17500"/>
                    <a:pt x="78169" y="39087"/>
                  </a:cubicBezTo>
                  <a:cubicBezTo>
                    <a:pt x="78169" y="60674"/>
                    <a:pt x="60669" y="78174"/>
                    <a:pt x="39091" y="78174"/>
                  </a:cubicBezTo>
                  <a:cubicBezTo>
                    <a:pt x="17501" y="78174"/>
                    <a:pt x="0" y="60674"/>
                    <a:pt x="0" y="39087"/>
                  </a:cubicBezTo>
                  <a:cubicBezTo>
                    <a:pt x="0" y="17500"/>
                    <a:pt x="17501" y="0"/>
                    <a:pt x="39091" y="0"/>
                  </a:cubicBezTo>
                  <a:close/>
                </a:path>
              </a:pathLst>
            </a:custGeom>
            <a:solidFill>
              <a:schemeClr val="accent3"/>
            </a:solidFill>
            <a:ln w="0">
              <a:noFill/>
              <a:prstDash val="solid"/>
              <a:round/>
              <a:headEnd/>
              <a:tailEnd/>
            </a:ln>
          </p:spPr>
          <p:txBody>
            <a:bodyPr vert="horz" wrap="square" lIns="93260" tIns="46630" rIns="93260" bIns="46630" numCol="1" anchor="t" anchorCtr="0" compatLnSpc="1">
              <a:prstTxWarp prst="textNoShape">
                <a:avLst/>
              </a:prstTxWarp>
              <a:noAutofit/>
            </a:bodyPr>
            <a:lstStyle/>
            <a:p>
              <a:endParaRPr lang="en-US" sz="1836"/>
            </a:p>
          </p:txBody>
        </p:sp>
        <p:sp>
          <p:nvSpPr>
            <p:cNvPr id="559" name="Freeform: Shape 384"/>
            <p:cNvSpPr>
              <a:spLocks/>
            </p:cNvSpPr>
            <p:nvPr/>
          </p:nvSpPr>
          <p:spPr bwMode="auto">
            <a:xfrm>
              <a:off x="9525649" y="4722588"/>
              <a:ext cx="78174" cy="78174"/>
            </a:xfrm>
            <a:custGeom>
              <a:avLst/>
              <a:gdLst>
                <a:gd name="connsiteX0" fmla="*/ 39087 w 78174"/>
                <a:gd name="connsiteY0" fmla="*/ 0 h 78174"/>
                <a:gd name="connsiteX1" fmla="*/ 78174 w 78174"/>
                <a:gd name="connsiteY1" fmla="*/ 39087 h 78174"/>
                <a:gd name="connsiteX2" fmla="*/ 39087 w 78174"/>
                <a:gd name="connsiteY2" fmla="*/ 78174 h 78174"/>
                <a:gd name="connsiteX3" fmla="*/ 0 w 78174"/>
                <a:gd name="connsiteY3" fmla="*/ 39087 h 78174"/>
                <a:gd name="connsiteX4" fmla="*/ 39087 w 78174"/>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74">
                  <a:moveTo>
                    <a:pt x="39087" y="0"/>
                  </a:moveTo>
                  <a:cubicBezTo>
                    <a:pt x="60674" y="0"/>
                    <a:pt x="78174" y="17500"/>
                    <a:pt x="78174" y="39087"/>
                  </a:cubicBezTo>
                  <a:cubicBezTo>
                    <a:pt x="78174" y="60674"/>
                    <a:pt x="60674" y="78174"/>
                    <a:pt x="39087" y="78174"/>
                  </a:cubicBezTo>
                  <a:cubicBezTo>
                    <a:pt x="17500" y="78174"/>
                    <a:pt x="0" y="60674"/>
                    <a:pt x="0" y="39087"/>
                  </a:cubicBezTo>
                  <a:cubicBezTo>
                    <a:pt x="0" y="17500"/>
                    <a:pt x="17500" y="0"/>
                    <a:pt x="39087" y="0"/>
                  </a:cubicBezTo>
                  <a:close/>
                </a:path>
              </a:pathLst>
            </a:custGeom>
            <a:solidFill>
              <a:schemeClr val="accent3"/>
            </a:solidFill>
            <a:ln w="0">
              <a:noFill/>
              <a:prstDash val="solid"/>
              <a:round/>
              <a:headEnd/>
              <a:tailEnd/>
            </a:ln>
          </p:spPr>
          <p:txBody>
            <a:bodyPr vert="horz" wrap="square" lIns="93260" tIns="46630" rIns="93260" bIns="46630" numCol="1" anchor="t" anchorCtr="0" compatLnSpc="1">
              <a:prstTxWarp prst="textNoShape">
                <a:avLst/>
              </a:prstTxWarp>
              <a:noAutofit/>
            </a:bodyPr>
            <a:lstStyle/>
            <a:p>
              <a:endParaRPr lang="en-US" sz="1836"/>
            </a:p>
          </p:txBody>
        </p:sp>
        <p:sp>
          <p:nvSpPr>
            <p:cNvPr id="560" name="Freeform: Shape 385"/>
            <p:cNvSpPr>
              <a:spLocks/>
            </p:cNvSpPr>
            <p:nvPr/>
          </p:nvSpPr>
          <p:spPr bwMode="auto">
            <a:xfrm>
              <a:off x="9712562" y="4722588"/>
              <a:ext cx="78175" cy="78174"/>
            </a:xfrm>
            <a:custGeom>
              <a:avLst/>
              <a:gdLst>
                <a:gd name="connsiteX0" fmla="*/ 39087 w 78175"/>
                <a:gd name="connsiteY0" fmla="*/ 0 h 78174"/>
                <a:gd name="connsiteX1" fmla="*/ 78175 w 78175"/>
                <a:gd name="connsiteY1" fmla="*/ 39087 h 78174"/>
                <a:gd name="connsiteX2" fmla="*/ 39087 w 78175"/>
                <a:gd name="connsiteY2" fmla="*/ 78174 h 78174"/>
                <a:gd name="connsiteX3" fmla="*/ 0 w 78175"/>
                <a:gd name="connsiteY3" fmla="*/ 39087 h 78174"/>
                <a:gd name="connsiteX4" fmla="*/ 39087 w 78175"/>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5" h="78174">
                  <a:moveTo>
                    <a:pt x="39087" y="0"/>
                  </a:moveTo>
                  <a:cubicBezTo>
                    <a:pt x="60675" y="0"/>
                    <a:pt x="78175" y="17500"/>
                    <a:pt x="78175" y="39087"/>
                  </a:cubicBezTo>
                  <a:cubicBezTo>
                    <a:pt x="78175" y="60674"/>
                    <a:pt x="60675" y="78174"/>
                    <a:pt x="39087" y="78174"/>
                  </a:cubicBezTo>
                  <a:cubicBezTo>
                    <a:pt x="17500" y="78174"/>
                    <a:pt x="0" y="60674"/>
                    <a:pt x="0" y="39087"/>
                  </a:cubicBezTo>
                  <a:cubicBezTo>
                    <a:pt x="0" y="17500"/>
                    <a:pt x="17500" y="0"/>
                    <a:pt x="39087" y="0"/>
                  </a:cubicBezTo>
                  <a:close/>
                </a:path>
              </a:pathLst>
            </a:custGeom>
            <a:solidFill>
              <a:schemeClr val="accent3"/>
            </a:solidFill>
            <a:ln w="0">
              <a:noFill/>
              <a:prstDash val="solid"/>
              <a:round/>
              <a:headEnd/>
              <a:tailEnd/>
            </a:ln>
          </p:spPr>
          <p:txBody>
            <a:bodyPr vert="horz" wrap="square" lIns="93260" tIns="46630" rIns="93260" bIns="46630" numCol="1" anchor="t" anchorCtr="0" compatLnSpc="1">
              <a:prstTxWarp prst="textNoShape">
                <a:avLst/>
              </a:prstTxWarp>
              <a:noAutofit/>
            </a:bodyPr>
            <a:lstStyle/>
            <a:p>
              <a:endParaRPr lang="en-US" sz="1836"/>
            </a:p>
          </p:txBody>
        </p:sp>
        <p:sp>
          <p:nvSpPr>
            <p:cNvPr id="561" name="Freeform: Shape 386"/>
            <p:cNvSpPr>
              <a:spLocks/>
            </p:cNvSpPr>
            <p:nvPr/>
          </p:nvSpPr>
          <p:spPr bwMode="auto">
            <a:xfrm>
              <a:off x="7176250" y="4803030"/>
              <a:ext cx="78176" cy="78174"/>
            </a:xfrm>
            <a:custGeom>
              <a:avLst/>
              <a:gdLst>
                <a:gd name="connsiteX0" fmla="*/ 39079 w 78176"/>
                <a:gd name="connsiteY0" fmla="*/ 0 h 78174"/>
                <a:gd name="connsiteX1" fmla="*/ 78176 w 78176"/>
                <a:gd name="connsiteY1" fmla="*/ 39087 h 78174"/>
                <a:gd name="connsiteX2" fmla="*/ 39079 w 78176"/>
                <a:gd name="connsiteY2" fmla="*/ 78174 h 78174"/>
                <a:gd name="connsiteX3" fmla="*/ 0 w 78176"/>
                <a:gd name="connsiteY3" fmla="*/ 39087 h 78174"/>
                <a:gd name="connsiteX4" fmla="*/ 39079 w 78176"/>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6" h="78174">
                  <a:moveTo>
                    <a:pt x="39079" y="0"/>
                  </a:moveTo>
                  <a:cubicBezTo>
                    <a:pt x="60677" y="0"/>
                    <a:pt x="78176" y="17500"/>
                    <a:pt x="78176" y="39087"/>
                  </a:cubicBezTo>
                  <a:cubicBezTo>
                    <a:pt x="78176" y="60674"/>
                    <a:pt x="60677" y="78174"/>
                    <a:pt x="39079" y="78174"/>
                  </a:cubicBezTo>
                  <a:cubicBezTo>
                    <a:pt x="17502" y="78174"/>
                    <a:pt x="0" y="60674"/>
                    <a:pt x="0" y="39087"/>
                  </a:cubicBezTo>
                  <a:cubicBezTo>
                    <a:pt x="0" y="17500"/>
                    <a:pt x="17502" y="0"/>
                    <a:pt x="39079" y="0"/>
                  </a:cubicBezTo>
                  <a:close/>
                </a:path>
              </a:pathLst>
            </a:custGeom>
            <a:solidFill>
              <a:schemeClr val="accent3"/>
            </a:solidFill>
            <a:ln w="0">
              <a:noFill/>
              <a:prstDash val="solid"/>
              <a:round/>
              <a:headEnd/>
              <a:tailEnd/>
            </a:ln>
          </p:spPr>
          <p:txBody>
            <a:bodyPr vert="horz" wrap="square" lIns="93260" tIns="46630" rIns="93260" bIns="46630" numCol="1" anchor="t" anchorCtr="0" compatLnSpc="1">
              <a:prstTxWarp prst="textNoShape">
                <a:avLst/>
              </a:prstTxWarp>
              <a:noAutofit/>
            </a:bodyPr>
            <a:lstStyle/>
            <a:p>
              <a:endParaRPr lang="en-US" sz="1836"/>
            </a:p>
          </p:txBody>
        </p:sp>
        <p:sp>
          <p:nvSpPr>
            <p:cNvPr id="562" name="Freeform: Shape 387"/>
            <p:cNvSpPr>
              <a:spLocks/>
            </p:cNvSpPr>
            <p:nvPr/>
          </p:nvSpPr>
          <p:spPr bwMode="auto">
            <a:xfrm>
              <a:off x="7649436" y="4803030"/>
              <a:ext cx="78179" cy="78174"/>
            </a:xfrm>
            <a:custGeom>
              <a:avLst/>
              <a:gdLst>
                <a:gd name="connsiteX0" fmla="*/ 39092 w 78179"/>
                <a:gd name="connsiteY0" fmla="*/ 0 h 78174"/>
                <a:gd name="connsiteX1" fmla="*/ 78179 w 78179"/>
                <a:gd name="connsiteY1" fmla="*/ 39087 h 78174"/>
                <a:gd name="connsiteX2" fmla="*/ 39092 w 78179"/>
                <a:gd name="connsiteY2" fmla="*/ 78174 h 78174"/>
                <a:gd name="connsiteX3" fmla="*/ 0 w 78179"/>
                <a:gd name="connsiteY3" fmla="*/ 39087 h 78174"/>
                <a:gd name="connsiteX4" fmla="*/ 39092 w 78179"/>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9" h="78174">
                  <a:moveTo>
                    <a:pt x="39092" y="0"/>
                  </a:moveTo>
                  <a:cubicBezTo>
                    <a:pt x="60680" y="0"/>
                    <a:pt x="78179" y="17500"/>
                    <a:pt x="78179" y="39087"/>
                  </a:cubicBezTo>
                  <a:cubicBezTo>
                    <a:pt x="78179" y="60674"/>
                    <a:pt x="60680" y="78174"/>
                    <a:pt x="39092" y="78174"/>
                  </a:cubicBezTo>
                  <a:cubicBezTo>
                    <a:pt x="17502" y="78174"/>
                    <a:pt x="0" y="60674"/>
                    <a:pt x="0" y="39087"/>
                  </a:cubicBezTo>
                  <a:cubicBezTo>
                    <a:pt x="0" y="17500"/>
                    <a:pt x="17502" y="0"/>
                    <a:pt x="39092" y="0"/>
                  </a:cubicBezTo>
                  <a:close/>
                </a:path>
              </a:pathLst>
            </a:custGeom>
            <a:solidFill>
              <a:schemeClr val="accent3"/>
            </a:solidFill>
            <a:ln w="0">
              <a:noFill/>
              <a:prstDash val="solid"/>
              <a:round/>
              <a:headEnd/>
              <a:tailEnd/>
            </a:ln>
          </p:spPr>
          <p:txBody>
            <a:bodyPr vert="horz" wrap="square" lIns="93260" tIns="46630" rIns="93260" bIns="46630" numCol="1" anchor="t" anchorCtr="0" compatLnSpc="1">
              <a:prstTxWarp prst="textNoShape">
                <a:avLst/>
              </a:prstTxWarp>
              <a:noAutofit/>
            </a:bodyPr>
            <a:lstStyle/>
            <a:p>
              <a:endParaRPr lang="en-US" sz="1836"/>
            </a:p>
          </p:txBody>
        </p:sp>
        <p:sp>
          <p:nvSpPr>
            <p:cNvPr id="563" name="Freeform: Shape 388"/>
            <p:cNvSpPr>
              <a:spLocks/>
            </p:cNvSpPr>
            <p:nvPr/>
          </p:nvSpPr>
          <p:spPr bwMode="auto">
            <a:xfrm>
              <a:off x="9899478" y="4803030"/>
              <a:ext cx="78175" cy="78174"/>
            </a:xfrm>
            <a:custGeom>
              <a:avLst/>
              <a:gdLst>
                <a:gd name="connsiteX0" fmla="*/ 39087 w 78175"/>
                <a:gd name="connsiteY0" fmla="*/ 0 h 78174"/>
                <a:gd name="connsiteX1" fmla="*/ 78175 w 78175"/>
                <a:gd name="connsiteY1" fmla="*/ 39087 h 78174"/>
                <a:gd name="connsiteX2" fmla="*/ 39087 w 78175"/>
                <a:gd name="connsiteY2" fmla="*/ 78174 h 78174"/>
                <a:gd name="connsiteX3" fmla="*/ 0 w 78175"/>
                <a:gd name="connsiteY3" fmla="*/ 39087 h 78174"/>
                <a:gd name="connsiteX4" fmla="*/ 39087 w 78175"/>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5" h="78174">
                  <a:moveTo>
                    <a:pt x="39087" y="0"/>
                  </a:moveTo>
                  <a:cubicBezTo>
                    <a:pt x="60675" y="0"/>
                    <a:pt x="78175" y="17500"/>
                    <a:pt x="78175" y="39087"/>
                  </a:cubicBezTo>
                  <a:cubicBezTo>
                    <a:pt x="78175" y="60674"/>
                    <a:pt x="60675" y="78174"/>
                    <a:pt x="39087" y="78174"/>
                  </a:cubicBezTo>
                  <a:cubicBezTo>
                    <a:pt x="17500" y="78174"/>
                    <a:pt x="0" y="60674"/>
                    <a:pt x="0" y="39087"/>
                  </a:cubicBezTo>
                  <a:cubicBezTo>
                    <a:pt x="0" y="17500"/>
                    <a:pt x="17500" y="0"/>
                    <a:pt x="39087" y="0"/>
                  </a:cubicBezTo>
                  <a:close/>
                </a:path>
              </a:pathLst>
            </a:custGeom>
            <a:solidFill>
              <a:schemeClr val="accent3"/>
            </a:solidFill>
            <a:ln w="0">
              <a:noFill/>
              <a:prstDash val="solid"/>
              <a:round/>
              <a:headEnd/>
              <a:tailEnd/>
            </a:ln>
          </p:spPr>
          <p:txBody>
            <a:bodyPr vert="horz" wrap="square" lIns="93260" tIns="46630" rIns="93260" bIns="46630" numCol="1" anchor="t" anchorCtr="0" compatLnSpc="1">
              <a:prstTxWarp prst="textNoShape">
                <a:avLst/>
              </a:prstTxWarp>
              <a:noAutofit/>
            </a:bodyPr>
            <a:lstStyle/>
            <a:p>
              <a:endParaRPr lang="en-US" sz="1836"/>
            </a:p>
          </p:txBody>
        </p:sp>
        <p:sp>
          <p:nvSpPr>
            <p:cNvPr id="564" name="Freeform: Shape 389"/>
            <p:cNvSpPr>
              <a:spLocks/>
            </p:cNvSpPr>
            <p:nvPr/>
          </p:nvSpPr>
          <p:spPr bwMode="auto">
            <a:xfrm>
              <a:off x="7363157" y="4885841"/>
              <a:ext cx="78169" cy="78174"/>
            </a:xfrm>
            <a:custGeom>
              <a:avLst/>
              <a:gdLst>
                <a:gd name="connsiteX0" fmla="*/ 39084 w 78169"/>
                <a:gd name="connsiteY0" fmla="*/ 0 h 78174"/>
                <a:gd name="connsiteX1" fmla="*/ 78169 w 78169"/>
                <a:gd name="connsiteY1" fmla="*/ 39087 h 78174"/>
                <a:gd name="connsiteX2" fmla="*/ 39084 w 78169"/>
                <a:gd name="connsiteY2" fmla="*/ 78174 h 78174"/>
                <a:gd name="connsiteX3" fmla="*/ 0 w 78169"/>
                <a:gd name="connsiteY3" fmla="*/ 39087 h 78174"/>
                <a:gd name="connsiteX4" fmla="*/ 39084 w 78169"/>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69" h="78174">
                  <a:moveTo>
                    <a:pt x="39084" y="0"/>
                  </a:moveTo>
                  <a:cubicBezTo>
                    <a:pt x="60670" y="0"/>
                    <a:pt x="78169" y="17500"/>
                    <a:pt x="78169" y="39087"/>
                  </a:cubicBezTo>
                  <a:cubicBezTo>
                    <a:pt x="78169" y="60674"/>
                    <a:pt x="60670" y="78174"/>
                    <a:pt x="39084" y="78174"/>
                  </a:cubicBezTo>
                  <a:cubicBezTo>
                    <a:pt x="17498" y="78174"/>
                    <a:pt x="0" y="60674"/>
                    <a:pt x="0" y="39087"/>
                  </a:cubicBezTo>
                  <a:cubicBezTo>
                    <a:pt x="0" y="17500"/>
                    <a:pt x="17498" y="0"/>
                    <a:pt x="39084" y="0"/>
                  </a:cubicBezTo>
                  <a:close/>
                </a:path>
              </a:pathLst>
            </a:custGeom>
            <a:solidFill>
              <a:schemeClr val="accent3"/>
            </a:solidFill>
            <a:ln w="0">
              <a:noFill/>
              <a:prstDash val="solid"/>
              <a:round/>
              <a:headEnd/>
              <a:tailEnd/>
            </a:ln>
          </p:spPr>
          <p:txBody>
            <a:bodyPr vert="horz" wrap="square" lIns="93260" tIns="46630" rIns="93260" bIns="46630" numCol="1" anchor="t" anchorCtr="0" compatLnSpc="1">
              <a:prstTxWarp prst="textNoShape">
                <a:avLst/>
              </a:prstTxWarp>
              <a:noAutofit/>
            </a:bodyPr>
            <a:lstStyle/>
            <a:p>
              <a:endParaRPr lang="en-US" sz="1836"/>
            </a:p>
          </p:txBody>
        </p:sp>
        <p:sp>
          <p:nvSpPr>
            <p:cNvPr id="565" name="Freeform: Shape 390"/>
            <p:cNvSpPr>
              <a:spLocks/>
            </p:cNvSpPr>
            <p:nvPr/>
          </p:nvSpPr>
          <p:spPr bwMode="auto">
            <a:xfrm>
              <a:off x="8773265" y="4885841"/>
              <a:ext cx="78175" cy="78174"/>
            </a:xfrm>
            <a:custGeom>
              <a:avLst/>
              <a:gdLst>
                <a:gd name="connsiteX0" fmla="*/ 39089 w 78175"/>
                <a:gd name="connsiteY0" fmla="*/ 0 h 78174"/>
                <a:gd name="connsiteX1" fmla="*/ 78175 w 78175"/>
                <a:gd name="connsiteY1" fmla="*/ 39087 h 78174"/>
                <a:gd name="connsiteX2" fmla="*/ 39089 w 78175"/>
                <a:gd name="connsiteY2" fmla="*/ 78174 h 78174"/>
                <a:gd name="connsiteX3" fmla="*/ 0 w 78175"/>
                <a:gd name="connsiteY3" fmla="*/ 39087 h 78174"/>
                <a:gd name="connsiteX4" fmla="*/ 39089 w 78175"/>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5" h="78174">
                  <a:moveTo>
                    <a:pt x="39089" y="0"/>
                  </a:moveTo>
                  <a:cubicBezTo>
                    <a:pt x="60674" y="0"/>
                    <a:pt x="78175" y="17500"/>
                    <a:pt x="78175" y="39087"/>
                  </a:cubicBezTo>
                  <a:cubicBezTo>
                    <a:pt x="78175" y="60674"/>
                    <a:pt x="60674" y="78174"/>
                    <a:pt x="39089" y="78174"/>
                  </a:cubicBezTo>
                  <a:cubicBezTo>
                    <a:pt x="17498" y="78174"/>
                    <a:pt x="0" y="60674"/>
                    <a:pt x="0" y="39087"/>
                  </a:cubicBezTo>
                  <a:cubicBezTo>
                    <a:pt x="0" y="17500"/>
                    <a:pt x="17498" y="0"/>
                    <a:pt x="39089" y="0"/>
                  </a:cubicBezTo>
                  <a:close/>
                </a:path>
              </a:pathLst>
            </a:custGeom>
            <a:solidFill>
              <a:schemeClr val="accent3"/>
            </a:solidFill>
            <a:ln w="0">
              <a:noFill/>
              <a:prstDash val="solid"/>
              <a:round/>
              <a:headEnd/>
              <a:tailEnd/>
            </a:ln>
          </p:spPr>
          <p:txBody>
            <a:bodyPr vert="horz" wrap="square" lIns="93260" tIns="46630" rIns="93260" bIns="46630" numCol="1" anchor="t" anchorCtr="0" compatLnSpc="1">
              <a:prstTxWarp prst="textNoShape">
                <a:avLst/>
              </a:prstTxWarp>
              <a:noAutofit/>
            </a:bodyPr>
            <a:lstStyle/>
            <a:p>
              <a:endParaRPr lang="en-US" sz="1836"/>
            </a:p>
          </p:txBody>
        </p:sp>
        <p:sp>
          <p:nvSpPr>
            <p:cNvPr id="566" name="Freeform: Shape 391"/>
            <p:cNvSpPr>
              <a:spLocks/>
            </p:cNvSpPr>
            <p:nvPr/>
          </p:nvSpPr>
          <p:spPr bwMode="auto">
            <a:xfrm>
              <a:off x="9057184" y="4885841"/>
              <a:ext cx="78172" cy="78174"/>
            </a:xfrm>
            <a:custGeom>
              <a:avLst/>
              <a:gdLst>
                <a:gd name="connsiteX0" fmla="*/ 39085 w 78172"/>
                <a:gd name="connsiteY0" fmla="*/ 0 h 78174"/>
                <a:gd name="connsiteX1" fmla="*/ 78172 w 78172"/>
                <a:gd name="connsiteY1" fmla="*/ 39087 h 78174"/>
                <a:gd name="connsiteX2" fmla="*/ 39085 w 78172"/>
                <a:gd name="connsiteY2" fmla="*/ 78174 h 78174"/>
                <a:gd name="connsiteX3" fmla="*/ 0 w 78172"/>
                <a:gd name="connsiteY3" fmla="*/ 39087 h 78174"/>
                <a:gd name="connsiteX4" fmla="*/ 39085 w 78172"/>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2" h="78174">
                  <a:moveTo>
                    <a:pt x="39085" y="0"/>
                  </a:moveTo>
                  <a:cubicBezTo>
                    <a:pt x="60673" y="0"/>
                    <a:pt x="78172" y="17500"/>
                    <a:pt x="78172" y="39087"/>
                  </a:cubicBezTo>
                  <a:cubicBezTo>
                    <a:pt x="78172" y="60674"/>
                    <a:pt x="60673" y="78174"/>
                    <a:pt x="39085" y="78174"/>
                  </a:cubicBezTo>
                  <a:cubicBezTo>
                    <a:pt x="17498" y="78174"/>
                    <a:pt x="0" y="60674"/>
                    <a:pt x="0" y="39087"/>
                  </a:cubicBezTo>
                  <a:cubicBezTo>
                    <a:pt x="0" y="17500"/>
                    <a:pt x="17498" y="0"/>
                    <a:pt x="39085" y="0"/>
                  </a:cubicBezTo>
                  <a:close/>
                </a:path>
              </a:pathLst>
            </a:custGeom>
            <a:solidFill>
              <a:schemeClr val="accent3"/>
            </a:solidFill>
            <a:ln w="0">
              <a:noFill/>
              <a:prstDash val="solid"/>
              <a:round/>
              <a:headEnd/>
              <a:tailEnd/>
            </a:ln>
          </p:spPr>
          <p:txBody>
            <a:bodyPr vert="horz" wrap="square" lIns="93260" tIns="46630" rIns="93260" bIns="46630" numCol="1" anchor="t" anchorCtr="0" compatLnSpc="1">
              <a:prstTxWarp prst="textNoShape">
                <a:avLst/>
              </a:prstTxWarp>
              <a:noAutofit/>
            </a:bodyPr>
            <a:lstStyle/>
            <a:p>
              <a:endParaRPr lang="en-US" sz="1836"/>
            </a:p>
          </p:txBody>
        </p:sp>
        <p:sp>
          <p:nvSpPr>
            <p:cNvPr id="567" name="Freeform: Shape 392"/>
            <p:cNvSpPr>
              <a:spLocks/>
            </p:cNvSpPr>
            <p:nvPr/>
          </p:nvSpPr>
          <p:spPr bwMode="auto">
            <a:xfrm>
              <a:off x="9338734" y="4885841"/>
              <a:ext cx="78174" cy="78174"/>
            </a:xfrm>
            <a:custGeom>
              <a:avLst/>
              <a:gdLst>
                <a:gd name="connsiteX0" fmla="*/ 39087 w 78174"/>
                <a:gd name="connsiteY0" fmla="*/ 0 h 78174"/>
                <a:gd name="connsiteX1" fmla="*/ 78174 w 78174"/>
                <a:gd name="connsiteY1" fmla="*/ 39087 h 78174"/>
                <a:gd name="connsiteX2" fmla="*/ 39087 w 78174"/>
                <a:gd name="connsiteY2" fmla="*/ 78174 h 78174"/>
                <a:gd name="connsiteX3" fmla="*/ 0 w 78174"/>
                <a:gd name="connsiteY3" fmla="*/ 39087 h 78174"/>
                <a:gd name="connsiteX4" fmla="*/ 39087 w 78174"/>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74">
                  <a:moveTo>
                    <a:pt x="39087" y="0"/>
                  </a:moveTo>
                  <a:cubicBezTo>
                    <a:pt x="60674" y="0"/>
                    <a:pt x="78174" y="17500"/>
                    <a:pt x="78174" y="39087"/>
                  </a:cubicBezTo>
                  <a:cubicBezTo>
                    <a:pt x="78174" y="60674"/>
                    <a:pt x="60674" y="78174"/>
                    <a:pt x="39087" y="78174"/>
                  </a:cubicBezTo>
                  <a:cubicBezTo>
                    <a:pt x="17500" y="78174"/>
                    <a:pt x="0" y="60674"/>
                    <a:pt x="0" y="39087"/>
                  </a:cubicBezTo>
                  <a:cubicBezTo>
                    <a:pt x="0" y="17500"/>
                    <a:pt x="17500" y="0"/>
                    <a:pt x="39087" y="0"/>
                  </a:cubicBezTo>
                  <a:close/>
                </a:path>
              </a:pathLst>
            </a:custGeom>
            <a:solidFill>
              <a:schemeClr val="accent3"/>
            </a:solidFill>
            <a:ln w="0">
              <a:noFill/>
              <a:prstDash val="solid"/>
              <a:round/>
              <a:headEnd/>
              <a:tailEnd/>
            </a:ln>
          </p:spPr>
          <p:txBody>
            <a:bodyPr vert="horz" wrap="square" lIns="93260" tIns="46630" rIns="93260" bIns="46630" numCol="1" anchor="t" anchorCtr="0" compatLnSpc="1">
              <a:prstTxWarp prst="textNoShape">
                <a:avLst/>
              </a:prstTxWarp>
              <a:noAutofit/>
            </a:bodyPr>
            <a:lstStyle/>
            <a:p>
              <a:endParaRPr lang="en-US" sz="1836"/>
            </a:p>
          </p:txBody>
        </p:sp>
        <p:sp>
          <p:nvSpPr>
            <p:cNvPr id="568" name="Freeform: Shape 393"/>
            <p:cNvSpPr>
              <a:spLocks/>
            </p:cNvSpPr>
            <p:nvPr/>
          </p:nvSpPr>
          <p:spPr bwMode="auto">
            <a:xfrm>
              <a:off x="9525649" y="4885842"/>
              <a:ext cx="78174" cy="78174"/>
            </a:xfrm>
            <a:custGeom>
              <a:avLst/>
              <a:gdLst>
                <a:gd name="connsiteX0" fmla="*/ 39087 w 78174"/>
                <a:gd name="connsiteY0" fmla="*/ 0 h 78174"/>
                <a:gd name="connsiteX1" fmla="*/ 78174 w 78174"/>
                <a:gd name="connsiteY1" fmla="*/ 39087 h 78174"/>
                <a:gd name="connsiteX2" fmla="*/ 39087 w 78174"/>
                <a:gd name="connsiteY2" fmla="*/ 78174 h 78174"/>
                <a:gd name="connsiteX3" fmla="*/ 0 w 78174"/>
                <a:gd name="connsiteY3" fmla="*/ 39087 h 78174"/>
                <a:gd name="connsiteX4" fmla="*/ 39087 w 78174"/>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74">
                  <a:moveTo>
                    <a:pt x="39087" y="0"/>
                  </a:moveTo>
                  <a:cubicBezTo>
                    <a:pt x="60674" y="0"/>
                    <a:pt x="78174" y="17500"/>
                    <a:pt x="78174" y="39087"/>
                  </a:cubicBezTo>
                  <a:cubicBezTo>
                    <a:pt x="78174" y="60674"/>
                    <a:pt x="60674" y="78174"/>
                    <a:pt x="39087" y="78174"/>
                  </a:cubicBezTo>
                  <a:cubicBezTo>
                    <a:pt x="17500" y="78174"/>
                    <a:pt x="0" y="60674"/>
                    <a:pt x="0" y="39087"/>
                  </a:cubicBezTo>
                  <a:cubicBezTo>
                    <a:pt x="0" y="17500"/>
                    <a:pt x="17500" y="0"/>
                    <a:pt x="39087" y="0"/>
                  </a:cubicBezTo>
                  <a:close/>
                </a:path>
              </a:pathLst>
            </a:custGeom>
            <a:solidFill>
              <a:schemeClr val="accent3"/>
            </a:solidFill>
            <a:ln w="0">
              <a:noFill/>
              <a:prstDash val="solid"/>
              <a:round/>
              <a:headEnd/>
              <a:tailEnd/>
            </a:ln>
          </p:spPr>
          <p:txBody>
            <a:bodyPr vert="horz" wrap="square" lIns="93260" tIns="46630" rIns="93260" bIns="46630" numCol="1" anchor="t" anchorCtr="0" compatLnSpc="1">
              <a:prstTxWarp prst="textNoShape">
                <a:avLst/>
              </a:prstTxWarp>
              <a:noAutofit/>
            </a:bodyPr>
            <a:lstStyle/>
            <a:p>
              <a:endParaRPr lang="en-US" sz="1836"/>
            </a:p>
          </p:txBody>
        </p:sp>
        <p:sp>
          <p:nvSpPr>
            <p:cNvPr id="569" name="Freeform: Shape 394"/>
            <p:cNvSpPr>
              <a:spLocks/>
            </p:cNvSpPr>
            <p:nvPr/>
          </p:nvSpPr>
          <p:spPr bwMode="auto">
            <a:xfrm>
              <a:off x="9712563" y="4885842"/>
              <a:ext cx="78175" cy="78174"/>
            </a:xfrm>
            <a:custGeom>
              <a:avLst/>
              <a:gdLst>
                <a:gd name="connsiteX0" fmla="*/ 39088 w 78175"/>
                <a:gd name="connsiteY0" fmla="*/ 0 h 78174"/>
                <a:gd name="connsiteX1" fmla="*/ 78175 w 78175"/>
                <a:gd name="connsiteY1" fmla="*/ 39087 h 78174"/>
                <a:gd name="connsiteX2" fmla="*/ 39088 w 78175"/>
                <a:gd name="connsiteY2" fmla="*/ 78174 h 78174"/>
                <a:gd name="connsiteX3" fmla="*/ 0 w 78175"/>
                <a:gd name="connsiteY3" fmla="*/ 39087 h 78174"/>
                <a:gd name="connsiteX4" fmla="*/ 39088 w 78175"/>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5" h="78174">
                  <a:moveTo>
                    <a:pt x="39088" y="0"/>
                  </a:moveTo>
                  <a:cubicBezTo>
                    <a:pt x="60675" y="0"/>
                    <a:pt x="78175" y="17500"/>
                    <a:pt x="78175" y="39087"/>
                  </a:cubicBezTo>
                  <a:cubicBezTo>
                    <a:pt x="78175" y="60674"/>
                    <a:pt x="60675" y="78174"/>
                    <a:pt x="39088" y="78174"/>
                  </a:cubicBezTo>
                  <a:cubicBezTo>
                    <a:pt x="17500" y="78174"/>
                    <a:pt x="0" y="60674"/>
                    <a:pt x="0" y="39087"/>
                  </a:cubicBezTo>
                  <a:cubicBezTo>
                    <a:pt x="0" y="17500"/>
                    <a:pt x="17500" y="0"/>
                    <a:pt x="39088" y="0"/>
                  </a:cubicBezTo>
                  <a:close/>
                </a:path>
              </a:pathLst>
            </a:custGeom>
            <a:solidFill>
              <a:schemeClr val="accent3"/>
            </a:solidFill>
            <a:ln w="0">
              <a:noFill/>
              <a:prstDash val="solid"/>
              <a:round/>
              <a:headEnd/>
              <a:tailEnd/>
            </a:ln>
          </p:spPr>
          <p:txBody>
            <a:bodyPr vert="horz" wrap="square" lIns="93260" tIns="46630" rIns="93260" bIns="46630" numCol="1" anchor="t" anchorCtr="0" compatLnSpc="1">
              <a:prstTxWarp prst="textNoShape">
                <a:avLst/>
              </a:prstTxWarp>
              <a:noAutofit/>
            </a:bodyPr>
            <a:lstStyle/>
            <a:p>
              <a:endParaRPr lang="en-US" sz="1836"/>
            </a:p>
          </p:txBody>
        </p:sp>
        <p:sp>
          <p:nvSpPr>
            <p:cNvPr id="570" name="Freeform: Shape 395"/>
            <p:cNvSpPr>
              <a:spLocks/>
            </p:cNvSpPr>
            <p:nvPr/>
          </p:nvSpPr>
          <p:spPr bwMode="auto">
            <a:xfrm>
              <a:off x="9807203" y="4885842"/>
              <a:ext cx="78175" cy="78174"/>
            </a:xfrm>
            <a:custGeom>
              <a:avLst/>
              <a:gdLst>
                <a:gd name="connsiteX0" fmla="*/ 39088 w 78175"/>
                <a:gd name="connsiteY0" fmla="*/ 0 h 78174"/>
                <a:gd name="connsiteX1" fmla="*/ 78175 w 78175"/>
                <a:gd name="connsiteY1" fmla="*/ 39087 h 78174"/>
                <a:gd name="connsiteX2" fmla="*/ 39088 w 78175"/>
                <a:gd name="connsiteY2" fmla="*/ 78174 h 78174"/>
                <a:gd name="connsiteX3" fmla="*/ 0 w 78175"/>
                <a:gd name="connsiteY3" fmla="*/ 39087 h 78174"/>
                <a:gd name="connsiteX4" fmla="*/ 39088 w 78175"/>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5" h="78174">
                  <a:moveTo>
                    <a:pt x="39088" y="0"/>
                  </a:moveTo>
                  <a:cubicBezTo>
                    <a:pt x="60675" y="0"/>
                    <a:pt x="78175" y="17500"/>
                    <a:pt x="78175" y="39087"/>
                  </a:cubicBezTo>
                  <a:cubicBezTo>
                    <a:pt x="78175" y="60674"/>
                    <a:pt x="60675" y="78174"/>
                    <a:pt x="39088" y="78174"/>
                  </a:cubicBezTo>
                  <a:cubicBezTo>
                    <a:pt x="17500" y="78174"/>
                    <a:pt x="0" y="60674"/>
                    <a:pt x="0" y="39087"/>
                  </a:cubicBezTo>
                  <a:cubicBezTo>
                    <a:pt x="0" y="17500"/>
                    <a:pt x="17500" y="0"/>
                    <a:pt x="39088" y="0"/>
                  </a:cubicBezTo>
                  <a:close/>
                </a:path>
              </a:pathLst>
            </a:custGeom>
            <a:solidFill>
              <a:schemeClr val="accent3"/>
            </a:solidFill>
            <a:ln w="0">
              <a:noFill/>
              <a:prstDash val="solid"/>
              <a:round/>
              <a:headEnd/>
              <a:tailEnd/>
            </a:ln>
          </p:spPr>
          <p:txBody>
            <a:bodyPr vert="horz" wrap="square" lIns="93260" tIns="46630" rIns="93260" bIns="46630" numCol="1" anchor="t" anchorCtr="0" compatLnSpc="1">
              <a:prstTxWarp prst="textNoShape">
                <a:avLst/>
              </a:prstTxWarp>
              <a:noAutofit/>
            </a:bodyPr>
            <a:lstStyle/>
            <a:p>
              <a:endParaRPr lang="en-US" sz="1836"/>
            </a:p>
          </p:txBody>
        </p:sp>
        <p:sp>
          <p:nvSpPr>
            <p:cNvPr id="571" name="Freeform: Shape 396"/>
            <p:cNvSpPr>
              <a:spLocks/>
            </p:cNvSpPr>
            <p:nvPr/>
          </p:nvSpPr>
          <p:spPr bwMode="auto">
            <a:xfrm>
              <a:off x="9151821" y="4975750"/>
              <a:ext cx="78176" cy="78174"/>
            </a:xfrm>
            <a:custGeom>
              <a:avLst/>
              <a:gdLst>
                <a:gd name="connsiteX0" fmla="*/ 39086 w 78176"/>
                <a:gd name="connsiteY0" fmla="*/ 0 h 78174"/>
                <a:gd name="connsiteX1" fmla="*/ 78176 w 78176"/>
                <a:gd name="connsiteY1" fmla="*/ 39087 h 78174"/>
                <a:gd name="connsiteX2" fmla="*/ 39086 w 78176"/>
                <a:gd name="connsiteY2" fmla="*/ 78174 h 78174"/>
                <a:gd name="connsiteX3" fmla="*/ 0 w 78176"/>
                <a:gd name="connsiteY3" fmla="*/ 39087 h 78174"/>
                <a:gd name="connsiteX4" fmla="*/ 39086 w 78176"/>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6" h="78174">
                  <a:moveTo>
                    <a:pt x="39086" y="0"/>
                  </a:moveTo>
                  <a:cubicBezTo>
                    <a:pt x="60674" y="0"/>
                    <a:pt x="78176" y="17500"/>
                    <a:pt x="78176" y="39087"/>
                  </a:cubicBezTo>
                  <a:cubicBezTo>
                    <a:pt x="78176" y="60674"/>
                    <a:pt x="60674" y="78174"/>
                    <a:pt x="39086" y="78174"/>
                  </a:cubicBezTo>
                  <a:cubicBezTo>
                    <a:pt x="17500" y="78174"/>
                    <a:pt x="0" y="60674"/>
                    <a:pt x="0" y="39087"/>
                  </a:cubicBezTo>
                  <a:cubicBezTo>
                    <a:pt x="0" y="17500"/>
                    <a:pt x="17500" y="0"/>
                    <a:pt x="39086" y="0"/>
                  </a:cubicBezTo>
                  <a:close/>
                </a:path>
              </a:pathLst>
            </a:custGeom>
            <a:solidFill>
              <a:schemeClr val="accent3"/>
            </a:solidFill>
            <a:ln w="0">
              <a:noFill/>
              <a:prstDash val="solid"/>
              <a:round/>
              <a:headEnd/>
              <a:tailEnd/>
            </a:ln>
          </p:spPr>
          <p:txBody>
            <a:bodyPr vert="horz" wrap="square" lIns="93260" tIns="46630" rIns="93260" bIns="46630" numCol="1" anchor="t" anchorCtr="0" compatLnSpc="1">
              <a:prstTxWarp prst="textNoShape">
                <a:avLst/>
              </a:prstTxWarp>
              <a:noAutofit/>
            </a:bodyPr>
            <a:lstStyle/>
            <a:p>
              <a:endParaRPr lang="en-US" sz="1836"/>
            </a:p>
          </p:txBody>
        </p:sp>
        <p:sp>
          <p:nvSpPr>
            <p:cNvPr id="572" name="Freeform: Shape 397"/>
            <p:cNvSpPr>
              <a:spLocks/>
            </p:cNvSpPr>
            <p:nvPr/>
          </p:nvSpPr>
          <p:spPr bwMode="auto">
            <a:xfrm>
              <a:off x="9712563" y="4975750"/>
              <a:ext cx="78175" cy="78174"/>
            </a:xfrm>
            <a:custGeom>
              <a:avLst/>
              <a:gdLst>
                <a:gd name="connsiteX0" fmla="*/ 39088 w 78175"/>
                <a:gd name="connsiteY0" fmla="*/ 0 h 78174"/>
                <a:gd name="connsiteX1" fmla="*/ 78175 w 78175"/>
                <a:gd name="connsiteY1" fmla="*/ 39087 h 78174"/>
                <a:gd name="connsiteX2" fmla="*/ 39088 w 78175"/>
                <a:gd name="connsiteY2" fmla="*/ 78174 h 78174"/>
                <a:gd name="connsiteX3" fmla="*/ 0 w 78175"/>
                <a:gd name="connsiteY3" fmla="*/ 39087 h 78174"/>
                <a:gd name="connsiteX4" fmla="*/ 39088 w 78175"/>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5" h="78174">
                  <a:moveTo>
                    <a:pt x="39088" y="0"/>
                  </a:moveTo>
                  <a:cubicBezTo>
                    <a:pt x="60675" y="0"/>
                    <a:pt x="78175" y="17500"/>
                    <a:pt x="78175" y="39087"/>
                  </a:cubicBezTo>
                  <a:cubicBezTo>
                    <a:pt x="78175" y="60674"/>
                    <a:pt x="60675" y="78174"/>
                    <a:pt x="39088" y="78174"/>
                  </a:cubicBezTo>
                  <a:cubicBezTo>
                    <a:pt x="17500" y="78174"/>
                    <a:pt x="0" y="60674"/>
                    <a:pt x="0" y="39087"/>
                  </a:cubicBezTo>
                  <a:cubicBezTo>
                    <a:pt x="0" y="17500"/>
                    <a:pt x="17500" y="0"/>
                    <a:pt x="39088" y="0"/>
                  </a:cubicBezTo>
                  <a:close/>
                </a:path>
              </a:pathLst>
            </a:custGeom>
            <a:solidFill>
              <a:schemeClr val="accent3"/>
            </a:solidFill>
            <a:ln w="0">
              <a:noFill/>
              <a:prstDash val="solid"/>
              <a:round/>
              <a:headEnd/>
              <a:tailEnd/>
            </a:ln>
          </p:spPr>
          <p:txBody>
            <a:bodyPr vert="horz" wrap="square" lIns="93260" tIns="46630" rIns="93260" bIns="46630" numCol="1" anchor="t" anchorCtr="0" compatLnSpc="1">
              <a:prstTxWarp prst="textNoShape">
                <a:avLst/>
              </a:prstTxWarp>
              <a:noAutofit/>
            </a:bodyPr>
            <a:lstStyle/>
            <a:p>
              <a:endParaRPr lang="en-US" sz="1836"/>
            </a:p>
          </p:txBody>
        </p:sp>
        <p:sp>
          <p:nvSpPr>
            <p:cNvPr id="573" name="Freeform: Shape 398"/>
            <p:cNvSpPr>
              <a:spLocks/>
            </p:cNvSpPr>
            <p:nvPr/>
          </p:nvSpPr>
          <p:spPr bwMode="auto">
            <a:xfrm>
              <a:off x="9899478" y="4975750"/>
              <a:ext cx="78175" cy="78174"/>
            </a:xfrm>
            <a:custGeom>
              <a:avLst/>
              <a:gdLst>
                <a:gd name="connsiteX0" fmla="*/ 39087 w 78175"/>
                <a:gd name="connsiteY0" fmla="*/ 0 h 78174"/>
                <a:gd name="connsiteX1" fmla="*/ 78175 w 78175"/>
                <a:gd name="connsiteY1" fmla="*/ 39087 h 78174"/>
                <a:gd name="connsiteX2" fmla="*/ 39087 w 78175"/>
                <a:gd name="connsiteY2" fmla="*/ 78174 h 78174"/>
                <a:gd name="connsiteX3" fmla="*/ 0 w 78175"/>
                <a:gd name="connsiteY3" fmla="*/ 39087 h 78174"/>
                <a:gd name="connsiteX4" fmla="*/ 39087 w 78175"/>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5" h="78174">
                  <a:moveTo>
                    <a:pt x="39087" y="0"/>
                  </a:moveTo>
                  <a:cubicBezTo>
                    <a:pt x="60675" y="0"/>
                    <a:pt x="78175" y="17500"/>
                    <a:pt x="78175" y="39087"/>
                  </a:cubicBezTo>
                  <a:cubicBezTo>
                    <a:pt x="78175" y="60674"/>
                    <a:pt x="60675" y="78174"/>
                    <a:pt x="39087" y="78174"/>
                  </a:cubicBezTo>
                  <a:cubicBezTo>
                    <a:pt x="17500" y="78174"/>
                    <a:pt x="0" y="60674"/>
                    <a:pt x="0" y="39087"/>
                  </a:cubicBezTo>
                  <a:cubicBezTo>
                    <a:pt x="0" y="17500"/>
                    <a:pt x="17500" y="0"/>
                    <a:pt x="39087" y="0"/>
                  </a:cubicBezTo>
                  <a:close/>
                </a:path>
              </a:pathLst>
            </a:custGeom>
            <a:solidFill>
              <a:schemeClr val="accent3"/>
            </a:solidFill>
            <a:ln w="0">
              <a:noFill/>
              <a:prstDash val="solid"/>
              <a:round/>
              <a:headEnd/>
              <a:tailEnd/>
            </a:ln>
          </p:spPr>
          <p:txBody>
            <a:bodyPr vert="horz" wrap="square" lIns="93260" tIns="46630" rIns="93260" bIns="46630" numCol="1" anchor="t" anchorCtr="0" compatLnSpc="1">
              <a:prstTxWarp prst="textNoShape">
                <a:avLst/>
              </a:prstTxWarp>
              <a:noAutofit/>
            </a:bodyPr>
            <a:lstStyle/>
            <a:p>
              <a:endParaRPr lang="en-US" sz="1836"/>
            </a:p>
          </p:txBody>
        </p:sp>
        <p:sp>
          <p:nvSpPr>
            <p:cNvPr id="574" name="Freeform: Shape 399"/>
            <p:cNvSpPr>
              <a:spLocks/>
            </p:cNvSpPr>
            <p:nvPr/>
          </p:nvSpPr>
          <p:spPr bwMode="auto">
            <a:xfrm>
              <a:off x="10091123" y="4975750"/>
              <a:ext cx="78174" cy="78174"/>
            </a:xfrm>
            <a:custGeom>
              <a:avLst/>
              <a:gdLst>
                <a:gd name="connsiteX0" fmla="*/ 39088 w 78174"/>
                <a:gd name="connsiteY0" fmla="*/ 0 h 78174"/>
                <a:gd name="connsiteX1" fmla="*/ 78174 w 78174"/>
                <a:gd name="connsiteY1" fmla="*/ 39087 h 78174"/>
                <a:gd name="connsiteX2" fmla="*/ 39088 w 78174"/>
                <a:gd name="connsiteY2" fmla="*/ 78174 h 78174"/>
                <a:gd name="connsiteX3" fmla="*/ 0 w 78174"/>
                <a:gd name="connsiteY3" fmla="*/ 39087 h 78174"/>
                <a:gd name="connsiteX4" fmla="*/ 39088 w 78174"/>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74">
                  <a:moveTo>
                    <a:pt x="39088" y="0"/>
                  </a:moveTo>
                  <a:cubicBezTo>
                    <a:pt x="60675" y="0"/>
                    <a:pt x="78174" y="17500"/>
                    <a:pt x="78174" y="39087"/>
                  </a:cubicBezTo>
                  <a:cubicBezTo>
                    <a:pt x="78174" y="60674"/>
                    <a:pt x="60675" y="78174"/>
                    <a:pt x="39088" y="78174"/>
                  </a:cubicBezTo>
                  <a:cubicBezTo>
                    <a:pt x="17500" y="78174"/>
                    <a:pt x="0" y="60674"/>
                    <a:pt x="0" y="39087"/>
                  </a:cubicBezTo>
                  <a:cubicBezTo>
                    <a:pt x="0" y="17500"/>
                    <a:pt x="17500" y="0"/>
                    <a:pt x="39088" y="0"/>
                  </a:cubicBezTo>
                  <a:close/>
                </a:path>
              </a:pathLst>
            </a:custGeom>
            <a:solidFill>
              <a:schemeClr val="accent3"/>
            </a:solidFill>
            <a:ln w="0">
              <a:noFill/>
              <a:prstDash val="solid"/>
              <a:round/>
              <a:headEnd/>
              <a:tailEnd/>
            </a:ln>
          </p:spPr>
          <p:txBody>
            <a:bodyPr vert="horz" wrap="square" lIns="93260" tIns="46630" rIns="93260" bIns="46630" numCol="1" anchor="t" anchorCtr="0" compatLnSpc="1">
              <a:prstTxWarp prst="textNoShape">
                <a:avLst/>
              </a:prstTxWarp>
              <a:noAutofit/>
            </a:bodyPr>
            <a:lstStyle/>
            <a:p>
              <a:endParaRPr lang="en-US" sz="1836"/>
            </a:p>
          </p:txBody>
        </p:sp>
        <p:sp>
          <p:nvSpPr>
            <p:cNvPr id="575" name="Freeform: Shape 400"/>
            <p:cNvSpPr>
              <a:spLocks/>
            </p:cNvSpPr>
            <p:nvPr/>
          </p:nvSpPr>
          <p:spPr bwMode="auto">
            <a:xfrm>
              <a:off x="7836346" y="5063292"/>
              <a:ext cx="78173" cy="78174"/>
            </a:xfrm>
            <a:custGeom>
              <a:avLst/>
              <a:gdLst>
                <a:gd name="connsiteX0" fmla="*/ 39085 w 78173"/>
                <a:gd name="connsiteY0" fmla="*/ 0 h 78174"/>
                <a:gd name="connsiteX1" fmla="*/ 78173 w 78173"/>
                <a:gd name="connsiteY1" fmla="*/ 39087 h 78174"/>
                <a:gd name="connsiteX2" fmla="*/ 39085 w 78173"/>
                <a:gd name="connsiteY2" fmla="*/ 78174 h 78174"/>
                <a:gd name="connsiteX3" fmla="*/ 0 w 78173"/>
                <a:gd name="connsiteY3" fmla="*/ 39087 h 78174"/>
                <a:gd name="connsiteX4" fmla="*/ 39085 w 78173"/>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3" h="78174">
                  <a:moveTo>
                    <a:pt x="39085" y="0"/>
                  </a:moveTo>
                  <a:cubicBezTo>
                    <a:pt x="60672" y="0"/>
                    <a:pt x="78173" y="17500"/>
                    <a:pt x="78173" y="39087"/>
                  </a:cubicBezTo>
                  <a:cubicBezTo>
                    <a:pt x="78173" y="60674"/>
                    <a:pt x="60672" y="78174"/>
                    <a:pt x="39085" y="78174"/>
                  </a:cubicBezTo>
                  <a:cubicBezTo>
                    <a:pt x="17500" y="78174"/>
                    <a:pt x="0" y="60674"/>
                    <a:pt x="0" y="39087"/>
                  </a:cubicBezTo>
                  <a:cubicBezTo>
                    <a:pt x="0" y="17500"/>
                    <a:pt x="17500" y="0"/>
                    <a:pt x="39085" y="0"/>
                  </a:cubicBezTo>
                  <a:close/>
                </a:path>
              </a:pathLst>
            </a:custGeom>
            <a:solidFill>
              <a:schemeClr val="accent3"/>
            </a:solidFill>
            <a:ln w="0">
              <a:noFill/>
              <a:prstDash val="solid"/>
              <a:round/>
              <a:headEnd/>
              <a:tailEnd/>
            </a:ln>
          </p:spPr>
          <p:txBody>
            <a:bodyPr vert="horz" wrap="square" lIns="93260" tIns="46630" rIns="93260" bIns="46630" numCol="1" anchor="t" anchorCtr="0" compatLnSpc="1">
              <a:prstTxWarp prst="textNoShape">
                <a:avLst/>
              </a:prstTxWarp>
              <a:noAutofit/>
            </a:bodyPr>
            <a:lstStyle/>
            <a:p>
              <a:endParaRPr lang="en-US" sz="1836"/>
            </a:p>
          </p:txBody>
        </p:sp>
        <p:sp>
          <p:nvSpPr>
            <p:cNvPr id="576" name="Freeform: Shape 401"/>
            <p:cNvSpPr>
              <a:spLocks/>
            </p:cNvSpPr>
            <p:nvPr/>
          </p:nvSpPr>
          <p:spPr bwMode="auto">
            <a:xfrm>
              <a:off x="9338735" y="5063292"/>
              <a:ext cx="78174" cy="78174"/>
            </a:xfrm>
            <a:custGeom>
              <a:avLst/>
              <a:gdLst>
                <a:gd name="connsiteX0" fmla="*/ 39087 w 78174"/>
                <a:gd name="connsiteY0" fmla="*/ 0 h 78174"/>
                <a:gd name="connsiteX1" fmla="*/ 78174 w 78174"/>
                <a:gd name="connsiteY1" fmla="*/ 39087 h 78174"/>
                <a:gd name="connsiteX2" fmla="*/ 39087 w 78174"/>
                <a:gd name="connsiteY2" fmla="*/ 78174 h 78174"/>
                <a:gd name="connsiteX3" fmla="*/ 0 w 78174"/>
                <a:gd name="connsiteY3" fmla="*/ 39087 h 78174"/>
                <a:gd name="connsiteX4" fmla="*/ 39087 w 78174"/>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74">
                  <a:moveTo>
                    <a:pt x="39087" y="0"/>
                  </a:moveTo>
                  <a:cubicBezTo>
                    <a:pt x="60674" y="0"/>
                    <a:pt x="78174" y="17500"/>
                    <a:pt x="78174" y="39087"/>
                  </a:cubicBezTo>
                  <a:cubicBezTo>
                    <a:pt x="78174" y="60674"/>
                    <a:pt x="60674" y="78174"/>
                    <a:pt x="39087" y="78174"/>
                  </a:cubicBezTo>
                  <a:cubicBezTo>
                    <a:pt x="17500" y="78174"/>
                    <a:pt x="0" y="60674"/>
                    <a:pt x="0" y="39087"/>
                  </a:cubicBezTo>
                  <a:cubicBezTo>
                    <a:pt x="0" y="17500"/>
                    <a:pt x="17500" y="0"/>
                    <a:pt x="39087" y="0"/>
                  </a:cubicBezTo>
                  <a:close/>
                </a:path>
              </a:pathLst>
            </a:custGeom>
            <a:solidFill>
              <a:schemeClr val="accent3"/>
            </a:solidFill>
            <a:ln w="0">
              <a:noFill/>
              <a:prstDash val="solid"/>
              <a:round/>
              <a:headEnd/>
              <a:tailEnd/>
            </a:ln>
          </p:spPr>
          <p:txBody>
            <a:bodyPr vert="horz" wrap="square" lIns="93260" tIns="46630" rIns="93260" bIns="46630" numCol="1" anchor="t" anchorCtr="0" compatLnSpc="1">
              <a:prstTxWarp prst="textNoShape">
                <a:avLst/>
              </a:prstTxWarp>
              <a:noAutofit/>
            </a:bodyPr>
            <a:lstStyle/>
            <a:p>
              <a:endParaRPr lang="en-US" sz="1836"/>
            </a:p>
          </p:txBody>
        </p:sp>
        <p:sp>
          <p:nvSpPr>
            <p:cNvPr id="577" name="Freeform: Shape 402"/>
            <p:cNvSpPr>
              <a:spLocks/>
            </p:cNvSpPr>
            <p:nvPr/>
          </p:nvSpPr>
          <p:spPr bwMode="auto">
            <a:xfrm>
              <a:off x="9525649" y="5063292"/>
              <a:ext cx="78174" cy="78174"/>
            </a:xfrm>
            <a:custGeom>
              <a:avLst/>
              <a:gdLst>
                <a:gd name="connsiteX0" fmla="*/ 39087 w 78174"/>
                <a:gd name="connsiteY0" fmla="*/ 0 h 78174"/>
                <a:gd name="connsiteX1" fmla="*/ 78174 w 78174"/>
                <a:gd name="connsiteY1" fmla="*/ 39087 h 78174"/>
                <a:gd name="connsiteX2" fmla="*/ 39087 w 78174"/>
                <a:gd name="connsiteY2" fmla="*/ 78174 h 78174"/>
                <a:gd name="connsiteX3" fmla="*/ 0 w 78174"/>
                <a:gd name="connsiteY3" fmla="*/ 39087 h 78174"/>
                <a:gd name="connsiteX4" fmla="*/ 39087 w 78174"/>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74">
                  <a:moveTo>
                    <a:pt x="39087" y="0"/>
                  </a:moveTo>
                  <a:cubicBezTo>
                    <a:pt x="60674" y="0"/>
                    <a:pt x="78174" y="17500"/>
                    <a:pt x="78174" y="39087"/>
                  </a:cubicBezTo>
                  <a:cubicBezTo>
                    <a:pt x="78174" y="60674"/>
                    <a:pt x="60674" y="78174"/>
                    <a:pt x="39087" y="78174"/>
                  </a:cubicBezTo>
                  <a:cubicBezTo>
                    <a:pt x="17500" y="78174"/>
                    <a:pt x="0" y="60674"/>
                    <a:pt x="0" y="39087"/>
                  </a:cubicBezTo>
                  <a:cubicBezTo>
                    <a:pt x="0" y="17500"/>
                    <a:pt x="17500" y="0"/>
                    <a:pt x="39087" y="0"/>
                  </a:cubicBezTo>
                  <a:close/>
                </a:path>
              </a:pathLst>
            </a:custGeom>
            <a:solidFill>
              <a:schemeClr val="accent3"/>
            </a:solidFill>
            <a:ln w="0">
              <a:noFill/>
              <a:prstDash val="solid"/>
              <a:round/>
              <a:headEnd/>
              <a:tailEnd/>
            </a:ln>
          </p:spPr>
          <p:txBody>
            <a:bodyPr vert="horz" wrap="square" lIns="93260" tIns="46630" rIns="93260" bIns="46630" numCol="1" anchor="t" anchorCtr="0" compatLnSpc="1">
              <a:prstTxWarp prst="textNoShape">
                <a:avLst/>
              </a:prstTxWarp>
              <a:noAutofit/>
            </a:bodyPr>
            <a:lstStyle/>
            <a:p>
              <a:endParaRPr lang="en-US" sz="1836"/>
            </a:p>
          </p:txBody>
        </p:sp>
        <p:sp>
          <p:nvSpPr>
            <p:cNvPr id="578" name="Freeform: Shape 403"/>
            <p:cNvSpPr>
              <a:spLocks/>
            </p:cNvSpPr>
            <p:nvPr/>
          </p:nvSpPr>
          <p:spPr bwMode="auto">
            <a:xfrm>
              <a:off x="9996483" y="5148466"/>
              <a:ext cx="78174" cy="78174"/>
            </a:xfrm>
            <a:custGeom>
              <a:avLst/>
              <a:gdLst>
                <a:gd name="connsiteX0" fmla="*/ 39086 w 78174"/>
                <a:gd name="connsiteY0" fmla="*/ 0 h 78174"/>
                <a:gd name="connsiteX1" fmla="*/ 78174 w 78174"/>
                <a:gd name="connsiteY1" fmla="*/ 39087 h 78174"/>
                <a:gd name="connsiteX2" fmla="*/ 39086 w 78174"/>
                <a:gd name="connsiteY2" fmla="*/ 78174 h 78174"/>
                <a:gd name="connsiteX3" fmla="*/ 0 w 78174"/>
                <a:gd name="connsiteY3" fmla="*/ 39087 h 78174"/>
                <a:gd name="connsiteX4" fmla="*/ 39086 w 78174"/>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74">
                  <a:moveTo>
                    <a:pt x="39086" y="0"/>
                  </a:moveTo>
                  <a:cubicBezTo>
                    <a:pt x="60674" y="0"/>
                    <a:pt x="78174" y="17500"/>
                    <a:pt x="78174" y="39087"/>
                  </a:cubicBezTo>
                  <a:cubicBezTo>
                    <a:pt x="78174" y="60674"/>
                    <a:pt x="60674" y="78174"/>
                    <a:pt x="39086" y="78174"/>
                  </a:cubicBezTo>
                  <a:cubicBezTo>
                    <a:pt x="17499" y="78174"/>
                    <a:pt x="0" y="60674"/>
                    <a:pt x="0" y="39087"/>
                  </a:cubicBezTo>
                  <a:cubicBezTo>
                    <a:pt x="0" y="17500"/>
                    <a:pt x="17499" y="0"/>
                    <a:pt x="39086" y="0"/>
                  </a:cubicBezTo>
                  <a:close/>
                </a:path>
              </a:pathLst>
            </a:custGeom>
            <a:solidFill>
              <a:schemeClr val="accent3"/>
            </a:solidFill>
            <a:ln w="0">
              <a:noFill/>
              <a:prstDash val="solid"/>
              <a:round/>
              <a:headEnd/>
              <a:tailEnd/>
            </a:ln>
          </p:spPr>
          <p:txBody>
            <a:bodyPr vert="horz" wrap="square" lIns="93260" tIns="46630" rIns="93260" bIns="46630" numCol="1" anchor="t" anchorCtr="0" compatLnSpc="1">
              <a:prstTxWarp prst="textNoShape">
                <a:avLst/>
              </a:prstTxWarp>
              <a:noAutofit/>
            </a:bodyPr>
            <a:lstStyle/>
            <a:p>
              <a:endParaRPr lang="en-US" sz="1836"/>
            </a:p>
          </p:txBody>
        </p:sp>
        <p:sp>
          <p:nvSpPr>
            <p:cNvPr id="579" name="Freeform: Shape 404"/>
            <p:cNvSpPr>
              <a:spLocks/>
            </p:cNvSpPr>
            <p:nvPr/>
          </p:nvSpPr>
          <p:spPr bwMode="auto">
            <a:xfrm>
              <a:off x="7552421" y="5148468"/>
              <a:ext cx="78173" cy="78174"/>
            </a:xfrm>
            <a:custGeom>
              <a:avLst/>
              <a:gdLst>
                <a:gd name="connsiteX0" fmla="*/ 39086 w 78173"/>
                <a:gd name="connsiteY0" fmla="*/ 0 h 78174"/>
                <a:gd name="connsiteX1" fmla="*/ 78173 w 78173"/>
                <a:gd name="connsiteY1" fmla="*/ 39087 h 78174"/>
                <a:gd name="connsiteX2" fmla="*/ 39086 w 78173"/>
                <a:gd name="connsiteY2" fmla="*/ 78174 h 78174"/>
                <a:gd name="connsiteX3" fmla="*/ 0 w 78173"/>
                <a:gd name="connsiteY3" fmla="*/ 39087 h 78174"/>
                <a:gd name="connsiteX4" fmla="*/ 39086 w 78173"/>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3" h="78174">
                  <a:moveTo>
                    <a:pt x="39086" y="0"/>
                  </a:moveTo>
                  <a:cubicBezTo>
                    <a:pt x="60672" y="0"/>
                    <a:pt x="78173" y="17500"/>
                    <a:pt x="78173" y="39087"/>
                  </a:cubicBezTo>
                  <a:cubicBezTo>
                    <a:pt x="78173" y="60674"/>
                    <a:pt x="60672" y="78174"/>
                    <a:pt x="39086" y="78174"/>
                  </a:cubicBezTo>
                  <a:cubicBezTo>
                    <a:pt x="17499" y="78174"/>
                    <a:pt x="0" y="60674"/>
                    <a:pt x="0" y="39087"/>
                  </a:cubicBezTo>
                  <a:cubicBezTo>
                    <a:pt x="0" y="17500"/>
                    <a:pt x="17499" y="0"/>
                    <a:pt x="39086" y="0"/>
                  </a:cubicBezTo>
                  <a:close/>
                </a:path>
              </a:pathLst>
            </a:custGeom>
            <a:solidFill>
              <a:schemeClr val="accent3"/>
            </a:solidFill>
            <a:ln w="0">
              <a:noFill/>
              <a:prstDash val="solid"/>
              <a:round/>
              <a:headEnd/>
              <a:tailEnd/>
            </a:ln>
          </p:spPr>
          <p:txBody>
            <a:bodyPr vert="horz" wrap="square" lIns="93260" tIns="46630" rIns="93260" bIns="46630" numCol="1" anchor="t" anchorCtr="0" compatLnSpc="1">
              <a:prstTxWarp prst="textNoShape">
                <a:avLst/>
              </a:prstTxWarp>
              <a:noAutofit/>
            </a:bodyPr>
            <a:lstStyle/>
            <a:p>
              <a:endParaRPr lang="en-US" sz="1836"/>
            </a:p>
          </p:txBody>
        </p:sp>
        <p:sp>
          <p:nvSpPr>
            <p:cNvPr id="580" name="Freeform: Shape 405"/>
            <p:cNvSpPr>
              <a:spLocks/>
            </p:cNvSpPr>
            <p:nvPr/>
          </p:nvSpPr>
          <p:spPr bwMode="auto">
            <a:xfrm>
              <a:off x="9807203" y="5148468"/>
              <a:ext cx="78175" cy="78174"/>
            </a:xfrm>
            <a:custGeom>
              <a:avLst/>
              <a:gdLst>
                <a:gd name="connsiteX0" fmla="*/ 39088 w 78175"/>
                <a:gd name="connsiteY0" fmla="*/ 0 h 78174"/>
                <a:gd name="connsiteX1" fmla="*/ 78175 w 78175"/>
                <a:gd name="connsiteY1" fmla="*/ 39087 h 78174"/>
                <a:gd name="connsiteX2" fmla="*/ 39088 w 78175"/>
                <a:gd name="connsiteY2" fmla="*/ 78174 h 78174"/>
                <a:gd name="connsiteX3" fmla="*/ 0 w 78175"/>
                <a:gd name="connsiteY3" fmla="*/ 39087 h 78174"/>
                <a:gd name="connsiteX4" fmla="*/ 39088 w 78175"/>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5" h="78174">
                  <a:moveTo>
                    <a:pt x="39088" y="0"/>
                  </a:moveTo>
                  <a:cubicBezTo>
                    <a:pt x="60675" y="0"/>
                    <a:pt x="78175" y="17500"/>
                    <a:pt x="78175" y="39087"/>
                  </a:cubicBezTo>
                  <a:cubicBezTo>
                    <a:pt x="78175" y="60674"/>
                    <a:pt x="60675" y="78174"/>
                    <a:pt x="39088" y="78174"/>
                  </a:cubicBezTo>
                  <a:cubicBezTo>
                    <a:pt x="17500" y="78174"/>
                    <a:pt x="0" y="60674"/>
                    <a:pt x="0" y="39087"/>
                  </a:cubicBezTo>
                  <a:cubicBezTo>
                    <a:pt x="0" y="17500"/>
                    <a:pt x="17500" y="0"/>
                    <a:pt x="39088" y="0"/>
                  </a:cubicBezTo>
                  <a:close/>
                </a:path>
              </a:pathLst>
            </a:custGeom>
            <a:solidFill>
              <a:schemeClr val="accent3"/>
            </a:solidFill>
            <a:ln w="0">
              <a:noFill/>
              <a:prstDash val="solid"/>
              <a:round/>
              <a:headEnd/>
              <a:tailEnd/>
            </a:ln>
          </p:spPr>
          <p:txBody>
            <a:bodyPr vert="horz" wrap="square" lIns="93260" tIns="46630" rIns="93260" bIns="46630" numCol="1" anchor="t" anchorCtr="0" compatLnSpc="1">
              <a:prstTxWarp prst="textNoShape">
                <a:avLst/>
              </a:prstTxWarp>
              <a:noAutofit/>
            </a:bodyPr>
            <a:lstStyle/>
            <a:p>
              <a:endParaRPr lang="en-US" sz="1836"/>
            </a:p>
          </p:txBody>
        </p:sp>
        <p:sp>
          <p:nvSpPr>
            <p:cNvPr id="581" name="Freeform: Shape 406"/>
            <p:cNvSpPr>
              <a:spLocks/>
            </p:cNvSpPr>
            <p:nvPr/>
          </p:nvSpPr>
          <p:spPr bwMode="auto">
            <a:xfrm>
              <a:off x="8023255" y="5231276"/>
              <a:ext cx="78175" cy="78174"/>
            </a:xfrm>
            <a:custGeom>
              <a:avLst/>
              <a:gdLst>
                <a:gd name="connsiteX0" fmla="*/ 39088 w 78175"/>
                <a:gd name="connsiteY0" fmla="*/ 0 h 78174"/>
                <a:gd name="connsiteX1" fmla="*/ 78175 w 78175"/>
                <a:gd name="connsiteY1" fmla="*/ 39087 h 78174"/>
                <a:gd name="connsiteX2" fmla="*/ 39088 w 78175"/>
                <a:gd name="connsiteY2" fmla="*/ 78174 h 78174"/>
                <a:gd name="connsiteX3" fmla="*/ 0 w 78175"/>
                <a:gd name="connsiteY3" fmla="*/ 39087 h 78174"/>
                <a:gd name="connsiteX4" fmla="*/ 39088 w 78175"/>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5" h="78174">
                  <a:moveTo>
                    <a:pt x="39088" y="0"/>
                  </a:moveTo>
                  <a:cubicBezTo>
                    <a:pt x="60674" y="0"/>
                    <a:pt x="78175" y="17500"/>
                    <a:pt x="78175" y="39087"/>
                  </a:cubicBezTo>
                  <a:cubicBezTo>
                    <a:pt x="78175" y="60674"/>
                    <a:pt x="60674" y="78174"/>
                    <a:pt x="39088" y="78174"/>
                  </a:cubicBezTo>
                  <a:cubicBezTo>
                    <a:pt x="17500" y="78174"/>
                    <a:pt x="0" y="60674"/>
                    <a:pt x="0" y="39087"/>
                  </a:cubicBezTo>
                  <a:cubicBezTo>
                    <a:pt x="0" y="17500"/>
                    <a:pt x="17500" y="0"/>
                    <a:pt x="39088" y="0"/>
                  </a:cubicBezTo>
                  <a:close/>
                </a:path>
              </a:pathLst>
            </a:custGeom>
            <a:solidFill>
              <a:schemeClr val="accent3"/>
            </a:solidFill>
            <a:ln w="0">
              <a:noFill/>
              <a:prstDash val="solid"/>
              <a:round/>
              <a:headEnd/>
              <a:tailEnd/>
            </a:ln>
          </p:spPr>
          <p:txBody>
            <a:bodyPr vert="horz" wrap="square" lIns="93260" tIns="46630" rIns="93260" bIns="46630" numCol="1" anchor="t" anchorCtr="0" compatLnSpc="1">
              <a:prstTxWarp prst="textNoShape">
                <a:avLst/>
              </a:prstTxWarp>
              <a:noAutofit/>
            </a:bodyPr>
            <a:lstStyle/>
            <a:p>
              <a:endParaRPr lang="en-US" sz="1836"/>
            </a:p>
          </p:txBody>
        </p:sp>
        <p:sp>
          <p:nvSpPr>
            <p:cNvPr id="582" name="Freeform: Shape 407"/>
            <p:cNvSpPr>
              <a:spLocks/>
            </p:cNvSpPr>
            <p:nvPr/>
          </p:nvSpPr>
          <p:spPr bwMode="auto">
            <a:xfrm>
              <a:off x="9338734" y="5231276"/>
              <a:ext cx="78174" cy="78174"/>
            </a:xfrm>
            <a:custGeom>
              <a:avLst/>
              <a:gdLst>
                <a:gd name="connsiteX0" fmla="*/ 39087 w 78174"/>
                <a:gd name="connsiteY0" fmla="*/ 0 h 78174"/>
                <a:gd name="connsiteX1" fmla="*/ 78174 w 78174"/>
                <a:gd name="connsiteY1" fmla="*/ 39087 h 78174"/>
                <a:gd name="connsiteX2" fmla="*/ 39087 w 78174"/>
                <a:gd name="connsiteY2" fmla="*/ 78174 h 78174"/>
                <a:gd name="connsiteX3" fmla="*/ 0 w 78174"/>
                <a:gd name="connsiteY3" fmla="*/ 39087 h 78174"/>
                <a:gd name="connsiteX4" fmla="*/ 39087 w 78174"/>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74">
                  <a:moveTo>
                    <a:pt x="39087" y="0"/>
                  </a:moveTo>
                  <a:cubicBezTo>
                    <a:pt x="60674" y="0"/>
                    <a:pt x="78174" y="17500"/>
                    <a:pt x="78174" y="39087"/>
                  </a:cubicBezTo>
                  <a:cubicBezTo>
                    <a:pt x="78174" y="60674"/>
                    <a:pt x="60674" y="78174"/>
                    <a:pt x="39087" y="78174"/>
                  </a:cubicBezTo>
                  <a:cubicBezTo>
                    <a:pt x="17500" y="78174"/>
                    <a:pt x="0" y="60674"/>
                    <a:pt x="0" y="39087"/>
                  </a:cubicBezTo>
                  <a:cubicBezTo>
                    <a:pt x="0" y="17500"/>
                    <a:pt x="17500" y="0"/>
                    <a:pt x="39087" y="0"/>
                  </a:cubicBezTo>
                  <a:close/>
                </a:path>
              </a:pathLst>
            </a:custGeom>
            <a:solidFill>
              <a:schemeClr val="accent3"/>
            </a:solidFill>
            <a:ln w="0">
              <a:noFill/>
              <a:prstDash val="solid"/>
              <a:round/>
              <a:headEnd/>
              <a:tailEnd/>
            </a:ln>
          </p:spPr>
          <p:txBody>
            <a:bodyPr vert="horz" wrap="square" lIns="93260" tIns="46630" rIns="93260" bIns="46630" numCol="1" anchor="t" anchorCtr="0" compatLnSpc="1">
              <a:prstTxWarp prst="textNoShape">
                <a:avLst/>
              </a:prstTxWarp>
              <a:noAutofit/>
            </a:bodyPr>
            <a:lstStyle/>
            <a:p>
              <a:endParaRPr lang="en-US" sz="1836"/>
            </a:p>
          </p:txBody>
        </p:sp>
        <p:sp>
          <p:nvSpPr>
            <p:cNvPr id="583" name="Freeform: Shape 408"/>
            <p:cNvSpPr>
              <a:spLocks/>
            </p:cNvSpPr>
            <p:nvPr/>
          </p:nvSpPr>
          <p:spPr bwMode="auto">
            <a:xfrm>
              <a:off x="9712562" y="5231276"/>
              <a:ext cx="78175" cy="78174"/>
            </a:xfrm>
            <a:custGeom>
              <a:avLst/>
              <a:gdLst>
                <a:gd name="connsiteX0" fmla="*/ 39087 w 78175"/>
                <a:gd name="connsiteY0" fmla="*/ 0 h 78174"/>
                <a:gd name="connsiteX1" fmla="*/ 78175 w 78175"/>
                <a:gd name="connsiteY1" fmla="*/ 39087 h 78174"/>
                <a:gd name="connsiteX2" fmla="*/ 39087 w 78175"/>
                <a:gd name="connsiteY2" fmla="*/ 78174 h 78174"/>
                <a:gd name="connsiteX3" fmla="*/ 0 w 78175"/>
                <a:gd name="connsiteY3" fmla="*/ 39087 h 78174"/>
                <a:gd name="connsiteX4" fmla="*/ 39087 w 78175"/>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5" h="78174">
                  <a:moveTo>
                    <a:pt x="39087" y="0"/>
                  </a:moveTo>
                  <a:cubicBezTo>
                    <a:pt x="60675" y="0"/>
                    <a:pt x="78175" y="17500"/>
                    <a:pt x="78175" y="39087"/>
                  </a:cubicBezTo>
                  <a:cubicBezTo>
                    <a:pt x="78175" y="60674"/>
                    <a:pt x="60675" y="78174"/>
                    <a:pt x="39087" y="78174"/>
                  </a:cubicBezTo>
                  <a:cubicBezTo>
                    <a:pt x="17500" y="78174"/>
                    <a:pt x="0" y="60674"/>
                    <a:pt x="0" y="39087"/>
                  </a:cubicBezTo>
                  <a:cubicBezTo>
                    <a:pt x="0" y="17500"/>
                    <a:pt x="17500" y="0"/>
                    <a:pt x="39087" y="0"/>
                  </a:cubicBezTo>
                  <a:close/>
                </a:path>
              </a:pathLst>
            </a:custGeom>
            <a:solidFill>
              <a:schemeClr val="accent3"/>
            </a:solidFill>
            <a:ln w="0">
              <a:noFill/>
              <a:prstDash val="solid"/>
              <a:round/>
              <a:headEnd/>
              <a:tailEnd/>
            </a:ln>
          </p:spPr>
          <p:txBody>
            <a:bodyPr vert="horz" wrap="square" lIns="93260" tIns="46630" rIns="93260" bIns="46630" numCol="1" anchor="t" anchorCtr="0" compatLnSpc="1">
              <a:prstTxWarp prst="textNoShape">
                <a:avLst/>
              </a:prstTxWarp>
              <a:noAutofit/>
            </a:bodyPr>
            <a:lstStyle/>
            <a:p>
              <a:endParaRPr lang="en-US" sz="1836"/>
            </a:p>
          </p:txBody>
        </p:sp>
        <p:sp>
          <p:nvSpPr>
            <p:cNvPr id="584" name="Freeform: Shape 409"/>
            <p:cNvSpPr>
              <a:spLocks/>
            </p:cNvSpPr>
            <p:nvPr/>
          </p:nvSpPr>
          <p:spPr bwMode="auto">
            <a:xfrm>
              <a:off x="7457781" y="5316452"/>
              <a:ext cx="78171" cy="78174"/>
            </a:xfrm>
            <a:custGeom>
              <a:avLst/>
              <a:gdLst>
                <a:gd name="connsiteX0" fmla="*/ 39085 w 78171"/>
                <a:gd name="connsiteY0" fmla="*/ 0 h 78174"/>
                <a:gd name="connsiteX1" fmla="*/ 78171 w 78171"/>
                <a:gd name="connsiteY1" fmla="*/ 39087 h 78174"/>
                <a:gd name="connsiteX2" fmla="*/ 39085 w 78171"/>
                <a:gd name="connsiteY2" fmla="*/ 78174 h 78174"/>
                <a:gd name="connsiteX3" fmla="*/ 0 w 78171"/>
                <a:gd name="connsiteY3" fmla="*/ 39087 h 78174"/>
                <a:gd name="connsiteX4" fmla="*/ 39085 w 78171"/>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1" h="78174">
                  <a:moveTo>
                    <a:pt x="39085" y="0"/>
                  </a:moveTo>
                  <a:cubicBezTo>
                    <a:pt x="60672" y="0"/>
                    <a:pt x="78171" y="17500"/>
                    <a:pt x="78171" y="39087"/>
                  </a:cubicBezTo>
                  <a:cubicBezTo>
                    <a:pt x="78171" y="60674"/>
                    <a:pt x="60672" y="78174"/>
                    <a:pt x="39085" y="78174"/>
                  </a:cubicBezTo>
                  <a:cubicBezTo>
                    <a:pt x="17499" y="78174"/>
                    <a:pt x="0" y="60674"/>
                    <a:pt x="0" y="39087"/>
                  </a:cubicBezTo>
                  <a:cubicBezTo>
                    <a:pt x="0" y="17500"/>
                    <a:pt x="17499" y="0"/>
                    <a:pt x="39085" y="0"/>
                  </a:cubicBezTo>
                  <a:close/>
                </a:path>
              </a:pathLst>
            </a:custGeom>
            <a:solidFill>
              <a:schemeClr val="accent3"/>
            </a:solidFill>
            <a:ln w="0">
              <a:noFill/>
              <a:prstDash val="solid"/>
              <a:round/>
              <a:headEnd/>
              <a:tailEnd/>
            </a:ln>
          </p:spPr>
          <p:txBody>
            <a:bodyPr vert="horz" wrap="square" lIns="93260" tIns="46630" rIns="93260" bIns="46630" numCol="1" anchor="t" anchorCtr="0" compatLnSpc="1">
              <a:prstTxWarp prst="textNoShape">
                <a:avLst/>
              </a:prstTxWarp>
              <a:noAutofit/>
            </a:bodyPr>
            <a:lstStyle/>
            <a:p>
              <a:endParaRPr lang="en-US" sz="1836"/>
            </a:p>
          </p:txBody>
        </p:sp>
        <p:sp>
          <p:nvSpPr>
            <p:cNvPr id="585" name="Freeform: Shape 410"/>
            <p:cNvSpPr>
              <a:spLocks/>
            </p:cNvSpPr>
            <p:nvPr/>
          </p:nvSpPr>
          <p:spPr bwMode="auto">
            <a:xfrm>
              <a:off x="8210157" y="5316452"/>
              <a:ext cx="78174" cy="78174"/>
            </a:xfrm>
            <a:custGeom>
              <a:avLst/>
              <a:gdLst>
                <a:gd name="connsiteX0" fmla="*/ 39087 w 78174"/>
                <a:gd name="connsiteY0" fmla="*/ 0 h 78174"/>
                <a:gd name="connsiteX1" fmla="*/ 78174 w 78174"/>
                <a:gd name="connsiteY1" fmla="*/ 39087 h 78174"/>
                <a:gd name="connsiteX2" fmla="*/ 39087 w 78174"/>
                <a:gd name="connsiteY2" fmla="*/ 78174 h 78174"/>
                <a:gd name="connsiteX3" fmla="*/ 0 w 78174"/>
                <a:gd name="connsiteY3" fmla="*/ 39087 h 78174"/>
                <a:gd name="connsiteX4" fmla="*/ 39087 w 78174"/>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74">
                  <a:moveTo>
                    <a:pt x="39087" y="0"/>
                  </a:moveTo>
                  <a:cubicBezTo>
                    <a:pt x="60673" y="0"/>
                    <a:pt x="78174" y="17500"/>
                    <a:pt x="78174" y="39087"/>
                  </a:cubicBezTo>
                  <a:cubicBezTo>
                    <a:pt x="78174" y="60674"/>
                    <a:pt x="60673" y="78174"/>
                    <a:pt x="39087" y="78174"/>
                  </a:cubicBezTo>
                  <a:cubicBezTo>
                    <a:pt x="17499" y="78174"/>
                    <a:pt x="0" y="60674"/>
                    <a:pt x="0" y="39087"/>
                  </a:cubicBezTo>
                  <a:cubicBezTo>
                    <a:pt x="0" y="17500"/>
                    <a:pt x="17499" y="0"/>
                    <a:pt x="39087" y="0"/>
                  </a:cubicBezTo>
                  <a:close/>
                </a:path>
              </a:pathLst>
            </a:custGeom>
            <a:solidFill>
              <a:schemeClr val="accent3"/>
            </a:solidFill>
            <a:ln w="0">
              <a:noFill/>
              <a:prstDash val="solid"/>
              <a:round/>
              <a:headEnd/>
              <a:tailEnd/>
            </a:ln>
          </p:spPr>
          <p:txBody>
            <a:bodyPr vert="horz" wrap="square" lIns="93260" tIns="46630" rIns="93260" bIns="46630" numCol="1" anchor="t" anchorCtr="0" compatLnSpc="1">
              <a:prstTxWarp prst="textNoShape">
                <a:avLst/>
              </a:prstTxWarp>
              <a:noAutofit/>
            </a:bodyPr>
            <a:lstStyle/>
            <a:p>
              <a:endParaRPr lang="en-US" sz="1836"/>
            </a:p>
          </p:txBody>
        </p:sp>
        <p:sp>
          <p:nvSpPr>
            <p:cNvPr id="586" name="Freeform: Shape 411"/>
            <p:cNvSpPr>
              <a:spLocks/>
            </p:cNvSpPr>
            <p:nvPr/>
          </p:nvSpPr>
          <p:spPr bwMode="auto">
            <a:xfrm>
              <a:off x="9338734" y="5316452"/>
              <a:ext cx="78174" cy="78174"/>
            </a:xfrm>
            <a:custGeom>
              <a:avLst/>
              <a:gdLst>
                <a:gd name="connsiteX0" fmla="*/ 39087 w 78174"/>
                <a:gd name="connsiteY0" fmla="*/ 0 h 78174"/>
                <a:gd name="connsiteX1" fmla="*/ 78174 w 78174"/>
                <a:gd name="connsiteY1" fmla="*/ 39087 h 78174"/>
                <a:gd name="connsiteX2" fmla="*/ 39087 w 78174"/>
                <a:gd name="connsiteY2" fmla="*/ 78174 h 78174"/>
                <a:gd name="connsiteX3" fmla="*/ 0 w 78174"/>
                <a:gd name="connsiteY3" fmla="*/ 39087 h 78174"/>
                <a:gd name="connsiteX4" fmla="*/ 39087 w 78174"/>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74">
                  <a:moveTo>
                    <a:pt x="39087" y="0"/>
                  </a:moveTo>
                  <a:cubicBezTo>
                    <a:pt x="60674" y="0"/>
                    <a:pt x="78174" y="17500"/>
                    <a:pt x="78174" y="39087"/>
                  </a:cubicBezTo>
                  <a:cubicBezTo>
                    <a:pt x="78174" y="60674"/>
                    <a:pt x="60674" y="78174"/>
                    <a:pt x="39087" y="78174"/>
                  </a:cubicBezTo>
                  <a:cubicBezTo>
                    <a:pt x="17500" y="78174"/>
                    <a:pt x="0" y="60674"/>
                    <a:pt x="0" y="39087"/>
                  </a:cubicBezTo>
                  <a:cubicBezTo>
                    <a:pt x="0" y="17500"/>
                    <a:pt x="17500" y="0"/>
                    <a:pt x="39087" y="0"/>
                  </a:cubicBezTo>
                  <a:close/>
                </a:path>
              </a:pathLst>
            </a:custGeom>
            <a:solidFill>
              <a:schemeClr val="accent3"/>
            </a:solidFill>
            <a:ln w="0">
              <a:noFill/>
              <a:prstDash val="solid"/>
              <a:round/>
              <a:headEnd/>
              <a:tailEnd/>
            </a:ln>
          </p:spPr>
          <p:txBody>
            <a:bodyPr vert="horz" wrap="square" lIns="93260" tIns="46630" rIns="93260" bIns="46630" numCol="1" anchor="t" anchorCtr="0" compatLnSpc="1">
              <a:prstTxWarp prst="textNoShape">
                <a:avLst/>
              </a:prstTxWarp>
              <a:noAutofit/>
            </a:bodyPr>
            <a:lstStyle/>
            <a:p>
              <a:endParaRPr lang="en-US" sz="1836"/>
            </a:p>
          </p:txBody>
        </p:sp>
        <p:sp>
          <p:nvSpPr>
            <p:cNvPr id="587" name="Freeform: Shape 412"/>
            <p:cNvSpPr>
              <a:spLocks/>
            </p:cNvSpPr>
            <p:nvPr/>
          </p:nvSpPr>
          <p:spPr bwMode="auto">
            <a:xfrm>
              <a:off x="9525647" y="5316452"/>
              <a:ext cx="78175" cy="78174"/>
            </a:xfrm>
            <a:custGeom>
              <a:avLst/>
              <a:gdLst>
                <a:gd name="connsiteX0" fmla="*/ 39088 w 78175"/>
                <a:gd name="connsiteY0" fmla="*/ 0 h 78174"/>
                <a:gd name="connsiteX1" fmla="*/ 78175 w 78175"/>
                <a:gd name="connsiteY1" fmla="*/ 39087 h 78174"/>
                <a:gd name="connsiteX2" fmla="*/ 39088 w 78175"/>
                <a:gd name="connsiteY2" fmla="*/ 78174 h 78174"/>
                <a:gd name="connsiteX3" fmla="*/ 0 w 78175"/>
                <a:gd name="connsiteY3" fmla="*/ 39087 h 78174"/>
                <a:gd name="connsiteX4" fmla="*/ 39088 w 78175"/>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5" h="78174">
                  <a:moveTo>
                    <a:pt x="39088" y="0"/>
                  </a:moveTo>
                  <a:cubicBezTo>
                    <a:pt x="60675" y="0"/>
                    <a:pt x="78175" y="17500"/>
                    <a:pt x="78175" y="39087"/>
                  </a:cubicBezTo>
                  <a:cubicBezTo>
                    <a:pt x="78175" y="60674"/>
                    <a:pt x="60675" y="78174"/>
                    <a:pt x="39088" y="78174"/>
                  </a:cubicBezTo>
                  <a:cubicBezTo>
                    <a:pt x="17500" y="78174"/>
                    <a:pt x="0" y="60674"/>
                    <a:pt x="0" y="39087"/>
                  </a:cubicBezTo>
                  <a:cubicBezTo>
                    <a:pt x="0" y="17500"/>
                    <a:pt x="17500" y="0"/>
                    <a:pt x="39088" y="0"/>
                  </a:cubicBezTo>
                  <a:close/>
                </a:path>
              </a:pathLst>
            </a:custGeom>
            <a:solidFill>
              <a:schemeClr val="accent3"/>
            </a:solidFill>
            <a:ln w="0">
              <a:noFill/>
              <a:prstDash val="solid"/>
              <a:round/>
              <a:headEnd/>
              <a:tailEnd/>
            </a:ln>
          </p:spPr>
          <p:txBody>
            <a:bodyPr vert="horz" wrap="square" lIns="93260" tIns="46630" rIns="93260" bIns="46630" numCol="1" anchor="t" anchorCtr="0" compatLnSpc="1">
              <a:prstTxWarp prst="textNoShape">
                <a:avLst/>
              </a:prstTxWarp>
              <a:noAutofit/>
            </a:bodyPr>
            <a:lstStyle/>
            <a:p>
              <a:endParaRPr lang="en-US" sz="1836"/>
            </a:p>
          </p:txBody>
        </p:sp>
        <p:sp>
          <p:nvSpPr>
            <p:cNvPr id="588" name="Freeform: Shape 413"/>
            <p:cNvSpPr>
              <a:spLocks/>
            </p:cNvSpPr>
            <p:nvPr/>
          </p:nvSpPr>
          <p:spPr bwMode="auto">
            <a:xfrm>
              <a:off x="7836338" y="5408726"/>
              <a:ext cx="78173" cy="78175"/>
            </a:xfrm>
            <a:custGeom>
              <a:avLst/>
              <a:gdLst>
                <a:gd name="connsiteX0" fmla="*/ 39086 w 78173"/>
                <a:gd name="connsiteY0" fmla="*/ 0 h 78175"/>
                <a:gd name="connsiteX1" fmla="*/ 78173 w 78173"/>
                <a:gd name="connsiteY1" fmla="*/ 39087 h 78175"/>
                <a:gd name="connsiteX2" fmla="*/ 39086 w 78173"/>
                <a:gd name="connsiteY2" fmla="*/ 78175 h 78175"/>
                <a:gd name="connsiteX3" fmla="*/ 0 w 78173"/>
                <a:gd name="connsiteY3" fmla="*/ 39087 h 78175"/>
                <a:gd name="connsiteX4" fmla="*/ 39086 w 78173"/>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3" h="78175">
                  <a:moveTo>
                    <a:pt x="39086" y="0"/>
                  </a:moveTo>
                  <a:cubicBezTo>
                    <a:pt x="60672" y="0"/>
                    <a:pt x="78173" y="17500"/>
                    <a:pt x="78173" y="39087"/>
                  </a:cubicBezTo>
                  <a:cubicBezTo>
                    <a:pt x="78173" y="60675"/>
                    <a:pt x="60672" y="78175"/>
                    <a:pt x="39086" y="78175"/>
                  </a:cubicBezTo>
                  <a:cubicBezTo>
                    <a:pt x="17500" y="78175"/>
                    <a:pt x="0" y="60675"/>
                    <a:pt x="0" y="39087"/>
                  </a:cubicBezTo>
                  <a:cubicBezTo>
                    <a:pt x="0" y="17500"/>
                    <a:pt x="17500" y="0"/>
                    <a:pt x="39086" y="0"/>
                  </a:cubicBezTo>
                  <a:close/>
                </a:path>
              </a:pathLst>
            </a:custGeom>
            <a:solidFill>
              <a:schemeClr val="accent3"/>
            </a:solidFill>
            <a:ln w="0">
              <a:noFill/>
              <a:prstDash val="solid"/>
              <a:round/>
              <a:headEnd/>
              <a:tailEnd/>
            </a:ln>
          </p:spPr>
          <p:txBody>
            <a:bodyPr vert="horz" wrap="square" lIns="93260" tIns="46630" rIns="93260" bIns="46630" numCol="1" anchor="t" anchorCtr="0" compatLnSpc="1">
              <a:prstTxWarp prst="textNoShape">
                <a:avLst/>
              </a:prstTxWarp>
              <a:noAutofit/>
            </a:bodyPr>
            <a:lstStyle/>
            <a:p>
              <a:endParaRPr lang="en-US" sz="1836"/>
            </a:p>
          </p:txBody>
        </p:sp>
        <p:sp>
          <p:nvSpPr>
            <p:cNvPr id="589" name="Freeform: Shape 414"/>
            <p:cNvSpPr>
              <a:spLocks/>
            </p:cNvSpPr>
            <p:nvPr/>
          </p:nvSpPr>
          <p:spPr bwMode="auto">
            <a:xfrm>
              <a:off x="8023251" y="5408726"/>
              <a:ext cx="78175" cy="78175"/>
            </a:xfrm>
            <a:custGeom>
              <a:avLst/>
              <a:gdLst>
                <a:gd name="connsiteX0" fmla="*/ 39087 w 78175"/>
                <a:gd name="connsiteY0" fmla="*/ 0 h 78175"/>
                <a:gd name="connsiteX1" fmla="*/ 78175 w 78175"/>
                <a:gd name="connsiteY1" fmla="*/ 39087 h 78175"/>
                <a:gd name="connsiteX2" fmla="*/ 39087 w 78175"/>
                <a:gd name="connsiteY2" fmla="*/ 78175 h 78175"/>
                <a:gd name="connsiteX3" fmla="*/ 0 w 78175"/>
                <a:gd name="connsiteY3" fmla="*/ 39087 h 78175"/>
                <a:gd name="connsiteX4" fmla="*/ 39087 w 78175"/>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5" h="78175">
                  <a:moveTo>
                    <a:pt x="39087" y="0"/>
                  </a:moveTo>
                  <a:cubicBezTo>
                    <a:pt x="60675" y="0"/>
                    <a:pt x="78175" y="17500"/>
                    <a:pt x="78175" y="39087"/>
                  </a:cubicBezTo>
                  <a:cubicBezTo>
                    <a:pt x="78175" y="60675"/>
                    <a:pt x="60675" y="78175"/>
                    <a:pt x="39087" y="78175"/>
                  </a:cubicBezTo>
                  <a:cubicBezTo>
                    <a:pt x="17500" y="78175"/>
                    <a:pt x="0" y="60675"/>
                    <a:pt x="0" y="39087"/>
                  </a:cubicBezTo>
                  <a:cubicBezTo>
                    <a:pt x="0" y="17500"/>
                    <a:pt x="17500" y="0"/>
                    <a:pt x="39087" y="0"/>
                  </a:cubicBezTo>
                  <a:close/>
                </a:path>
              </a:pathLst>
            </a:custGeom>
            <a:solidFill>
              <a:schemeClr val="accent3"/>
            </a:solidFill>
            <a:ln w="0">
              <a:noFill/>
              <a:prstDash val="solid"/>
              <a:round/>
              <a:headEnd/>
              <a:tailEnd/>
            </a:ln>
          </p:spPr>
          <p:txBody>
            <a:bodyPr vert="horz" wrap="square" lIns="93260" tIns="46630" rIns="93260" bIns="46630" numCol="1" anchor="t" anchorCtr="0" compatLnSpc="1">
              <a:prstTxWarp prst="textNoShape">
                <a:avLst/>
              </a:prstTxWarp>
              <a:noAutofit/>
            </a:bodyPr>
            <a:lstStyle/>
            <a:p>
              <a:endParaRPr lang="en-US" sz="1836"/>
            </a:p>
          </p:txBody>
        </p:sp>
        <p:sp>
          <p:nvSpPr>
            <p:cNvPr id="590" name="Freeform: Shape 415"/>
            <p:cNvSpPr>
              <a:spLocks/>
            </p:cNvSpPr>
            <p:nvPr/>
          </p:nvSpPr>
          <p:spPr bwMode="auto">
            <a:xfrm>
              <a:off x="8304793" y="5408726"/>
              <a:ext cx="78174" cy="78175"/>
            </a:xfrm>
            <a:custGeom>
              <a:avLst/>
              <a:gdLst>
                <a:gd name="connsiteX0" fmla="*/ 39088 w 78174"/>
                <a:gd name="connsiteY0" fmla="*/ 0 h 78175"/>
                <a:gd name="connsiteX1" fmla="*/ 78174 w 78174"/>
                <a:gd name="connsiteY1" fmla="*/ 39087 h 78175"/>
                <a:gd name="connsiteX2" fmla="*/ 39088 w 78174"/>
                <a:gd name="connsiteY2" fmla="*/ 78175 h 78175"/>
                <a:gd name="connsiteX3" fmla="*/ 0 w 78174"/>
                <a:gd name="connsiteY3" fmla="*/ 39087 h 78175"/>
                <a:gd name="connsiteX4" fmla="*/ 39088 w 78174"/>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75">
                  <a:moveTo>
                    <a:pt x="39088" y="0"/>
                  </a:moveTo>
                  <a:cubicBezTo>
                    <a:pt x="60678" y="0"/>
                    <a:pt x="78174" y="17500"/>
                    <a:pt x="78174" y="39087"/>
                  </a:cubicBezTo>
                  <a:cubicBezTo>
                    <a:pt x="78174" y="60675"/>
                    <a:pt x="60678" y="78175"/>
                    <a:pt x="39088" y="78175"/>
                  </a:cubicBezTo>
                  <a:cubicBezTo>
                    <a:pt x="17501" y="78175"/>
                    <a:pt x="0" y="60675"/>
                    <a:pt x="0" y="39087"/>
                  </a:cubicBezTo>
                  <a:cubicBezTo>
                    <a:pt x="0" y="17500"/>
                    <a:pt x="17501" y="0"/>
                    <a:pt x="39088" y="0"/>
                  </a:cubicBezTo>
                  <a:close/>
                </a:path>
              </a:pathLst>
            </a:custGeom>
            <a:solidFill>
              <a:schemeClr val="accent3"/>
            </a:solidFill>
            <a:ln w="0">
              <a:noFill/>
              <a:prstDash val="solid"/>
              <a:round/>
              <a:headEnd/>
              <a:tailEnd/>
            </a:ln>
          </p:spPr>
          <p:txBody>
            <a:bodyPr vert="horz" wrap="square" lIns="93260" tIns="46630" rIns="93260" bIns="46630" numCol="1" anchor="t" anchorCtr="0" compatLnSpc="1">
              <a:prstTxWarp prst="textNoShape">
                <a:avLst/>
              </a:prstTxWarp>
              <a:noAutofit/>
            </a:bodyPr>
            <a:lstStyle/>
            <a:p>
              <a:endParaRPr lang="en-US" sz="1836"/>
            </a:p>
          </p:txBody>
        </p:sp>
        <p:sp>
          <p:nvSpPr>
            <p:cNvPr id="591" name="Freeform: Shape 416"/>
            <p:cNvSpPr>
              <a:spLocks/>
            </p:cNvSpPr>
            <p:nvPr/>
          </p:nvSpPr>
          <p:spPr bwMode="auto">
            <a:xfrm>
              <a:off x="7552414" y="5493902"/>
              <a:ext cx="78174" cy="78175"/>
            </a:xfrm>
            <a:custGeom>
              <a:avLst/>
              <a:gdLst>
                <a:gd name="connsiteX0" fmla="*/ 39086 w 78174"/>
                <a:gd name="connsiteY0" fmla="*/ 0 h 78175"/>
                <a:gd name="connsiteX1" fmla="*/ 78174 w 78174"/>
                <a:gd name="connsiteY1" fmla="*/ 39088 h 78175"/>
                <a:gd name="connsiteX2" fmla="*/ 39086 w 78174"/>
                <a:gd name="connsiteY2" fmla="*/ 78175 h 78175"/>
                <a:gd name="connsiteX3" fmla="*/ 0 w 78174"/>
                <a:gd name="connsiteY3" fmla="*/ 39088 h 78175"/>
                <a:gd name="connsiteX4" fmla="*/ 39086 w 78174"/>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75">
                  <a:moveTo>
                    <a:pt x="39086" y="0"/>
                  </a:moveTo>
                  <a:cubicBezTo>
                    <a:pt x="60673" y="0"/>
                    <a:pt x="78174" y="17500"/>
                    <a:pt x="78174" y="39088"/>
                  </a:cubicBezTo>
                  <a:cubicBezTo>
                    <a:pt x="78174" y="60675"/>
                    <a:pt x="60673" y="78175"/>
                    <a:pt x="39086" y="78175"/>
                  </a:cubicBezTo>
                  <a:cubicBezTo>
                    <a:pt x="17500" y="78175"/>
                    <a:pt x="0" y="60675"/>
                    <a:pt x="0" y="39088"/>
                  </a:cubicBezTo>
                  <a:cubicBezTo>
                    <a:pt x="0" y="17500"/>
                    <a:pt x="17500" y="0"/>
                    <a:pt x="39086" y="0"/>
                  </a:cubicBezTo>
                  <a:close/>
                </a:path>
              </a:pathLst>
            </a:custGeom>
            <a:solidFill>
              <a:schemeClr val="accent3"/>
            </a:solidFill>
            <a:ln w="0">
              <a:noFill/>
              <a:prstDash val="solid"/>
              <a:round/>
              <a:headEnd/>
              <a:tailEnd/>
            </a:ln>
          </p:spPr>
          <p:txBody>
            <a:bodyPr vert="horz" wrap="square" lIns="93260" tIns="46630" rIns="93260" bIns="46630" numCol="1" anchor="t" anchorCtr="0" compatLnSpc="1">
              <a:prstTxWarp prst="textNoShape">
                <a:avLst/>
              </a:prstTxWarp>
              <a:noAutofit/>
            </a:bodyPr>
            <a:lstStyle/>
            <a:p>
              <a:endParaRPr lang="en-US" sz="1836"/>
            </a:p>
          </p:txBody>
        </p:sp>
        <p:sp>
          <p:nvSpPr>
            <p:cNvPr id="592" name="Freeform: Shape 417"/>
            <p:cNvSpPr>
              <a:spLocks/>
            </p:cNvSpPr>
            <p:nvPr/>
          </p:nvSpPr>
          <p:spPr bwMode="auto">
            <a:xfrm>
              <a:off x="9338735" y="5661890"/>
              <a:ext cx="78174" cy="78174"/>
            </a:xfrm>
            <a:custGeom>
              <a:avLst/>
              <a:gdLst>
                <a:gd name="connsiteX0" fmla="*/ 39087 w 78174"/>
                <a:gd name="connsiteY0" fmla="*/ 0 h 78174"/>
                <a:gd name="connsiteX1" fmla="*/ 78174 w 78174"/>
                <a:gd name="connsiteY1" fmla="*/ 39087 h 78174"/>
                <a:gd name="connsiteX2" fmla="*/ 39087 w 78174"/>
                <a:gd name="connsiteY2" fmla="*/ 78174 h 78174"/>
                <a:gd name="connsiteX3" fmla="*/ 0 w 78174"/>
                <a:gd name="connsiteY3" fmla="*/ 39087 h 78174"/>
                <a:gd name="connsiteX4" fmla="*/ 39087 w 78174"/>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74">
                  <a:moveTo>
                    <a:pt x="39087" y="0"/>
                  </a:moveTo>
                  <a:cubicBezTo>
                    <a:pt x="60674" y="0"/>
                    <a:pt x="78174" y="17500"/>
                    <a:pt x="78174" y="39087"/>
                  </a:cubicBezTo>
                  <a:cubicBezTo>
                    <a:pt x="78174" y="60674"/>
                    <a:pt x="60674" y="78174"/>
                    <a:pt x="39087" y="78174"/>
                  </a:cubicBezTo>
                  <a:cubicBezTo>
                    <a:pt x="17500" y="78174"/>
                    <a:pt x="0" y="60674"/>
                    <a:pt x="0" y="39087"/>
                  </a:cubicBezTo>
                  <a:cubicBezTo>
                    <a:pt x="0" y="17500"/>
                    <a:pt x="17500" y="0"/>
                    <a:pt x="39087" y="0"/>
                  </a:cubicBezTo>
                  <a:close/>
                </a:path>
              </a:pathLst>
            </a:custGeom>
            <a:solidFill>
              <a:schemeClr val="accent3"/>
            </a:solidFill>
            <a:ln w="0">
              <a:noFill/>
              <a:prstDash val="solid"/>
              <a:round/>
              <a:headEnd/>
              <a:tailEnd/>
            </a:ln>
          </p:spPr>
          <p:txBody>
            <a:bodyPr vert="horz" wrap="square" lIns="93260" tIns="46630" rIns="93260" bIns="46630" numCol="1" anchor="t" anchorCtr="0" compatLnSpc="1">
              <a:prstTxWarp prst="textNoShape">
                <a:avLst/>
              </a:prstTxWarp>
              <a:noAutofit/>
            </a:bodyPr>
            <a:lstStyle/>
            <a:p>
              <a:endParaRPr lang="en-US" sz="1836"/>
            </a:p>
          </p:txBody>
        </p:sp>
        <p:sp>
          <p:nvSpPr>
            <p:cNvPr id="593" name="Freeform: Shape 418"/>
            <p:cNvSpPr>
              <a:spLocks/>
            </p:cNvSpPr>
            <p:nvPr/>
          </p:nvSpPr>
          <p:spPr bwMode="auto">
            <a:xfrm>
              <a:off x="9525649" y="5661890"/>
              <a:ext cx="78174" cy="78174"/>
            </a:xfrm>
            <a:custGeom>
              <a:avLst/>
              <a:gdLst>
                <a:gd name="connsiteX0" fmla="*/ 39087 w 78174"/>
                <a:gd name="connsiteY0" fmla="*/ 0 h 78174"/>
                <a:gd name="connsiteX1" fmla="*/ 78174 w 78174"/>
                <a:gd name="connsiteY1" fmla="*/ 39087 h 78174"/>
                <a:gd name="connsiteX2" fmla="*/ 39087 w 78174"/>
                <a:gd name="connsiteY2" fmla="*/ 78174 h 78174"/>
                <a:gd name="connsiteX3" fmla="*/ 0 w 78174"/>
                <a:gd name="connsiteY3" fmla="*/ 39087 h 78174"/>
                <a:gd name="connsiteX4" fmla="*/ 39087 w 78174"/>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74">
                  <a:moveTo>
                    <a:pt x="39087" y="0"/>
                  </a:moveTo>
                  <a:cubicBezTo>
                    <a:pt x="60674" y="0"/>
                    <a:pt x="78174" y="17500"/>
                    <a:pt x="78174" y="39087"/>
                  </a:cubicBezTo>
                  <a:cubicBezTo>
                    <a:pt x="78174" y="60674"/>
                    <a:pt x="60674" y="78174"/>
                    <a:pt x="39087" y="78174"/>
                  </a:cubicBezTo>
                  <a:cubicBezTo>
                    <a:pt x="17500" y="78174"/>
                    <a:pt x="0" y="60674"/>
                    <a:pt x="0" y="39087"/>
                  </a:cubicBezTo>
                  <a:cubicBezTo>
                    <a:pt x="0" y="17500"/>
                    <a:pt x="17500" y="0"/>
                    <a:pt x="39087" y="0"/>
                  </a:cubicBezTo>
                  <a:close/>
                </a:path>
              </a:pathLst>
            </a:custGeom>
            <a:solidFill>
              <a:schemeClr val="accent3"/>
            </a:solidFill>
            <a:ln w="0">
              <a:noFill/>
              <a:prstDash val="solid"/>
              <a:round/>
              <a:headEnd/>
              <a:tailEnd/>
            </a:ln>
          </p:spPr>
          <p:txBody>
            <a:bodyPr vert="horz" wrap="square" lIns="93260" tIns="46630" rIns="93260" bIns="46630" numCol="1" anchor="t" anchorCtr="0" compatLnSpc="1">
              <a:prstTxWarp prst="textNoShape">
                <a:avLst/>
              </a:prstTxWarp>
              <a:noAutofit/>
            </a:bodyPr>
            <a:lstStyle/>
            <a:p>
              <a:endParaRPr lang="en-US" sz="1836"/>
            </a:p>
          </p:txBody>
        </p:sp>
        <p:sp>
          <p:nvSpPr>
            <p:cNvPr id="594" name="Freeform: Shape 419"/>
            <p:cNvSpPr>
              <a:spLocks/>
            </p:cNvSpPr>
            <p:nvPr/>
          </p:nvSpPr>
          <p:spPr bwMode="auto">
            <a:xfrm>
              <a:off x="9712563" y="5749431"/>
              <a:ext cx="78175" cy="78174"/>
            </a:xfrm>
            <a:custGeom>
              <a:avLst/>
              <a:gdLst>
                <a:gd name="connsiteX0" fmla="*/ 39088 w 78175"/>
                <a:gd name="connsiteY0" fmla="*/ 0 h 78174"/>
                <a:gd name="connsiteX1" fmla="*/ 78175 w 78175"/>
                <a:gd name="connsiteY1" fmla="*/ 39087 h 78174"/>
                <a:gd name="connsiteX2" fmla="*/ 39088 w 78175"/>
                <a:gd name="connsiteY2" fmla="*/ 78174 h 78174"/>
                <a:gd name="connsiteX3" fmla="*/ 0 w 78175"/>
                <a:gd name="connsiteY3" fmla="*/ 39087 h 78174"/>
                <a:gd name="connsiteX4" fmla="*/ 39088 w 78175"/>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5" h="78174">
                  <a:moveTo>
                    <a:pt x="39088" y="0"/>
                  </a:moveTo>
                  <a:cubicBezTo>
                    <a:pt x="60675" y="0"/>
                    <a:pt x="78175" y="17500"/>
                    <a:pt x="78175" y="39087"/>
                  </a:cubicBezTo>
                  <a:cubicBezTo>
                    <a:pt x="78175" y="60674"/>
                    <a:pt x="60675" y="78174"/>
                    <a:pt x="39088" y="78174"/>
                  </a:cubicBezTo>
                  <a:cubicBezTo>
                    <a:pt x="17500" y="78174"/>
                    <a:pt x="0" y="60674"/>
                    <a:pt x="0" y="39087"/>
                  </a:cubicBezTo>
                  <a:cubicBezTo>
                    <a:pt x="0" y="17500"/>
                    <a:pt x="17500" y="0"/>
                    <a:pt x="39088" y="0"/>
                  </a:cubicBezTo>
                  <a:close/>
                </a:path>
              </a:pathLst>
            </a:custGeom>
            <a:solidFill>
              <a:schemeClr val="accent3"/>
            </a:solidFill>
            <a:ln w="0">
              <a:noFill/>
              <a:prstDash val="solid"/>
              <a:round/>
              <a:headEnd/>
              <a:tailEnd/>
            </a:ln>
          </p:spPr>
          <p:txBody>
            <a:bodyPr vert="horz" wrap="square" lIns="93260" tIns="46630" rIns="93260" bIns="46630" numCol="1" anchor="t" anchorCtr="0" compatLnSpc="1">
              <a:prstTxWarp prst="textNoShape">
                <a:avLst/>
              </a:prstTxWarp>
              <a:noAutofit/>
            </a:bodyPr>
            <a:lstStyle/>
            <a:p>
              <a:endParaRPr lang="en-US" sz="1836"/>
            </a:p>
          </p:txBody>
        </p:sp>
        <p:sp>
          <p:nvSpPr>
            <p:cNvPr id="595" name="Freeform: Shape 420"/>
            <p:cNvSpPr>
              <a:spLocks/>
            </p:cNvSpPr>
            <p:nvPr/>
          </p:nvSpPr>
          <p:spPr bwMode="auto">
            <a:xfrm>
              <a:off x="9996483" y="5749432"/>
              <a:ext cx="57354" cy="67253"/>
            </a:xfrm>
            <a:custGeom>
              <a:avLst/>
              <a:gdLst>
                <a:gd name="connsiteX0" fmla="*/ 39088 w 57354"/>
                <a:gd name="connsiteY0" fmla="*/ 0 h 67253"/>
                <a:gd name="connsiteX1" fmla="*/ 57354 w 57354"/>
                <a:gd name="connsiteY1" fmla="*/ 7567 h 67253"/>
                <a:gd name="connsiteX2" fmla="*/ 12722 w 57354"/>
                <a:gd name="connsiteY2" fmla="*/ 67253 h 67253"/>
                <a:gd name="connsiteX3" fmla="*/ 11448 w 57354"/>
                <a:gd name="connsiteY3" fmla="*/ 66726 h 67253"/>
                <a:gd name="connsiteX4" fmla="*/ 0 w 57354"/>
                <a:gd name="connsiteY4" fmla="*/ 39087 h 67253"/>
                <a:gd name="connsiteX5" fmla="*/ 39088 w 57354"/>
                <a:gd name="connsiteY5" fmla="*/ 0 h 67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7354" h="67253">
                  <a:moveTo>
                    <a:pt x="39088" y="0"/>
                  </a:moveTo>
                  <a:lnTo>
                    <a:pt x="57354" y="7567"/>
                  </a:lnTo>
                  <a:lnTo>
                    <a:pt x="12722" y="67253"/>
                  </a:lnTo>
                  <a:lnTo>
                    <a:pt x="11448" y="66726"/>
                  </a:lnTo>
                  <a:cubicBezTo>
                    <a:pt x="4375" y="59653"/>
                    <a:pt x="0" y="49881"/>
                    <a:pt x="0" y="39087"/>
                  </a:cubicBezTo>
                  <a:cubicBezTo>
                    <a:pt x="0" y="17500"/>
                    <a:pt x="17500" y="0"/>
                    <a:pt x="39088" y="0"/>
                  </a:cubicBezTo>
                  <a:close/>
                </a:path>
              </a:pathLst>
            </a:custGeom>
            <a:solidFill>
              <a:schemeClr val="accent3"/>
            </a:solidFill>
            <a:ln w="0">
              <a:noFill/>
              <a:prstDash val="solid"/>
              <a:round/>
              <a:headEnd/>
              <a:tailEnd/>
            </a:ln>
          </p:spPr>
          <p:txBody>
            <a:bodyPr vert="horz" wrap="square" lIns="93260" tIns="46630" rIns="93260" bIns="46630" numCol="1" anchor="t" anchorCtr="0" compatLnSpc="1">
              <a:prstTxWarp prst="textNoShape">
                <a:avLst/>
              </a:prstTxWarp>
              <a:noAutofit/>
            </a:bodyPr>
            <a:lstStyle/>
            <a:p>
              <a:endParaRPr lang="en-US" sz="1836"/>
            </a:p>
          </p:txBody>
        </p:sp>
        <p:sp>
          <p:nvSpPr>
            <p:cNvPr id="596" name="Freeform: Shape 421"/>
            <p:cNvSpPr>
              <a:spLocks/>
            </p:cNvSpPr>
            <p:nvPr/>
          </p:nvSpPr>
          <p:spPr bwMode="auto">
            <a:xfrm>
              <a:off x="7836333" y="5749432"/>
              <a:ext cx="78173" cy="78174"/>
            </a:xfrm>
            <a:custGeom>
              <a:avLst/>
              <a:gdLst>
                <a:gd name="connsiteX0" fmla="*/ 39086 w 78173"/>
                <a:gd name="connsiteY0" fmla="*/ 0 h 78174"/>
                <a:gd name="connsiteX1" fmla="*/ 78173 w 78173"/>
                <a:gd name="connsiteY1" fmla="*/ 39087 h 78174"/>
                <a:gd name="connsiteX2" fmla="*/ 39086 w 78173"/>
                <a:gd name="connsiteY2" fmla="*/ 78174 h 78174"/>
                <a:gd name="connsiteX3" fmla="*/ 0 w 78173"/>
                <a:gd name="connsiteY3" fmla="*/ 39087 h 78174"/>
                <a:gd name="connsiteX4" fmla="*/ 39086 w 78173"/>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3" h="78174">
                  <a:moveTo>
                    <a:pt x="39086" y="0"/>
                  </a:moveTo>
                  <a:cubicBezTo>
                    <a:pt x="60673" y="0"/>
                    <a:pt x="78173" y="17500"/>
                    <a:pt x="78173" y="39087"/>
                  </a:cubicBezTo>
                  <a:cubicBezTo>
                    <a:pt x="78173" y="60674"/>
                    <a:pt x="60673" y="78174"/>
                    <a:pt x="39086" y="78174"/>
                  </a:cubicBezTo>
                  <a:cubicBezTo>
                    <a:pt x="17499" y="78174"/>
                    <a:pt x="0" y="60674"/>
                    <a:pt x="0" y="39087"/>
                  </a:cubicBezTo>
                  <a:cubicBezTo>
                    <a:pt x="0" y="17500"/>
                    <a:pt x="17499" y="0"/>
                    <a:pt x="39086" y="0"/>
                  </a:cubicBezTo>
                  <a:close/>
                </a:path>
              </a:pathLst>
            </a:custGeom>
            <a:solidFill>
              <a:schemeClr val="accent3"/>
            </a:solidFill>
            <a:ln w="0">
              <a:noFill/>
              <a:prstDash val="solid"/>
              <a:round/>
              <a:headEnd/>
              <a:tailEnd/>
            </a:ln>
          </p:spPr>
          <p:txBody>
            <a:bodyPr vert="horz" wrap="square" lIns="93260" tIns="46630" rIns="93260" bIns="46630" numCol="1" anchor="t" anchorCtr="0" compatLnSpc="1">
              <a:prstTxWarp prst="textNoShape">
                <a:avLst/>
              </a:prstTxWarp>
              <a:noAutofit/>
            </a:bodyPr>
            <a:lstStyle/>
            <a:p>
              <a:endParaRPr lang="en-US" sz="1836"/>
            </a:p>
          </p:txBody>
        </p:sp>
        <p:sp>
          <p:nvSpPr>
            <p:cNvPr id="597" name="Freeform: Shape 422"/>
            <p:cNvSpPr>
              <a:spLocks/>
            </p:cNvSpPr>
            <p:nvPr/>
          </p:nvSpPr>
          <p:spPr bwMode="auto">
            <a:xfrm>
              <a:off x="9617923" y="5493902"/>
              <a:ext cx="78175" cy="78174"/>
            </a:xfrm>
            <a:custGeom>
              <a:avLst/>
              <a:gdLst>
                <a:gd name="connsiteX0" fmla="*/ 39088 w 78175"/>
                <a:gd name="connsiteY0" fmla="*/ 0 h 78174"/>
                <a:gd name="connsiteX1" fmla="*/ 78175 w 78175"/>
                <a:gd name="connsiteY1" fmla="*/ 39087 h 78174"/>
                <a:gd name="connsiteX2" fmla="*/ 39088 w 78175"/>
                <a:gd name="connsiteY2" fmla="*/ 78174 h 78174"/>
                <a:gd name="connsiteX3" fmla="*/ 0 w 78175"/>
                <a:gd name="connsiteY3" fmla="*/ 39087 h 78174"/>
                <a:gd name="connsiteX4" fmla="*/ 39088 w 78175"/>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5" h="78174">
                  <a:moveTo>
                    <a:pt x="39088" y="0"/>
                  </a:moveTo>
                  <a:cubicBezTo>
                    <a:pt x="60675" y="0"/>
                    <a:pt x="78175" y="17500"/>
                    <a:pt x="78175" y="39087"/>
                  </a:cubicBezTo>
                  <a:cubicBezTo>
                    <a:pt x="78175" y="60674"/>
                    <a:pt x="60675" y="78174"/>
                    <a:pt x="39088" y="78174"/>
                  </a:cubicBezTo>
                  <a:cubicBezTo>
                    <a:pt x="17500" y="78174"/>
                    <a:pt x="0" y="60674"/>
                    <a:pt x="0" y="39087"/>
                  </a:cubicBezTo>
                  <a:cubicBezTo>
                    <a:pt x="0" y="17500"/>
                    <a:pt x="17500" y="0"/>
                    <a:pt x="39088" y="0"/>
                  </a:cubicBezTo>
                  <a:close/>
                </a:path>
              </a:pathLst>
            </a:custGeom>
            <a:solidFill>
              <a:schemeClr val="accent3"/>
            </a:solidFill>
            <a:ln w="0">
              <a:noFill/>
              <a:prstDash val="solid"/>
              <a:round/>
              <a:headEnd/>
              <a:tailEnd/>
            </a:ln>
          </p:spPr>
          <p:txBody>
            <a:bodyPr vert="horz" wrap="square" lIns="93260" tIns="46630" rIns="93260" bIns="46630" numCol="1" anchor="t" anchorCtr="0" compatLnSpc="1">
              <a:prstTxWarp prst="textNoShape">
                <a:avLst/>
              </a:prstTxWarp>
              <a:noAutofit/>
            </a:bodyPr>
            <a:lstStyle/>
            <a:p>
              <a:endParaRPr lang="en-US" sz="1836"/>
            </a:p>
          </p:txBody>
        </p:sp>
        <p:sp>
          <p:nvSpPr>
            <p:cNvPr id="598" name="Freeform: Shape 423"/>
            <p:cNvSpPr>
              <a:spLocks/>
            </p:cNvSpPr>
            <p:nvPr/>
          </p:nvSpPr>
          <p:spPr bwMode="auto">
            <a:xfrm>
              <a:off x="7649416" y="5836973"/>
              <a:ext cx="78176" cy="78175"/>
            </a:xfrm>
            <a:custGeom>
              <a:avLst/>
              <a:gdLst>
                <a:gd name="connsiteX0" fmla="*/ 39088 w 78176"/>
                <a:gd name="connsiteY0" fmla="*/ 0 h 78175"/>
                <a:gd name="connsiteX1" fmla="*/ 78176 w 78176"/>
                <a:gd name="connsiteY1" fmla="*/ 39088 h 78175"/>
                <a:gd name="connsiteX2" fmla="*/ 39088 w 78176"/>
                <a:gd name="connsiteY2" fmla="*/ 78175 h 78175"/>
                <a:gd name="connsiteX3" fmla="*/ 0 w 78176"/>
                <a:gd name="connsiteY3" fmla="*/ 39088 h 78175"/>
                <a:gd name="connsiteX4" fmla="*/ 39088 w 78176"/>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6" h="78175">
                  <a:moveTo>
                    <a:pt x="39088" y="0"/>
                  </a:moveTo>
                  <a:cubicBezTo>
                    <a:pt x="60675" y="0"/>
                    <a:pt x="78176" y="17500"/>
                    <a:pt x="78176" y="39088"/>
                  </a:cubicBezTo>
                  <a:cubicBezTo>
                    <a:pt x="78176" y="60675"/>
                    <a:pt x="60675" y="78175"/>
                    <a:pt x="39088" y="78175"/>
                  </a:cubicBezTo>
                  <a:cubicBezTo>
                    <a:pt x="17500" y="78175"/>
                    <a:pt x="0" y="60675"/>
                    <a:pt x="0" y="39088"/>
                  </a:cubicBezTo>
                  <a:cubicBezTo>
                    <a:pt x="0" y="17500"/>
                    <a:pt x="17500" y="0"/>
                    <a:pt x="39088" y="0"/>
                  </a:cubicBezTo>
                  <a:close/>
                </a:path>
              </a:pathLst>
            </a:custGeom>
            <a:solidFill>
              <a:schemeClr val="accent3"/>
            </a:solidFill>
            <a:ln w="0">
              <a:noFill/>
              <a:prstDash val="solid"/>
              <a:round/>
              <a:headEnd/>
              <a:tailEnd/>
            </a:ln>
          </p:spPr>
          <p:txBody>
            <a:bodyPr vert="horz" wrap="square" lIns="93260" tIns="46630" rIns="93260" bIns="46630" numCol="1" anchor="t" anchorCtr="0" compatLnSpc="1">
              <a:prstTxWarp prst="textNoShape">
                <a:avLst/>
              </a:prstTxWarp>
              <a:noAutofit/>
            </a:bodyPr>
            <a:lstStyle/>
            <a:p>
              <a:endParaRPr lang="en-US" sz="1836"/>
            </a:p>
          </p:txBody>
        </p:sp>
        <p:sp>
          <p:nvSpPr>
            <p:cNvPr id="599" name="Freeform: Shape 424"/>
            <p:cNvSpPr>
              <a:spLocks/>
            </p:cNvSpPr>
            <p:nvPr/>
          </p:nvSpPr>
          <p:spPr bwMode="auto">
            <a:xfrm>
              <a:off x="9712563" y="5836973"/>
              <a:ext cx="78175" cy="78175"/>
            </a:xfrm>
            <a:custGeom>
              <a:avLst/>
              <a:gdLst>
                <a:gd name="connsiteX0" fmla="*/ 39088 w 78175"/>
                <a:gd name="connsiteY0" fmla="*/ 0 h 78175"/>
                <a:gd name="connsiteX1" fmla="*/ 78175 w 78175"/>
                <a:gd name="connsiteY1" fmla="*/ 39088 h 78175"/>
                <a:gd name="connsiteX2" fmla="*/ 39088 w 78175"/>
                <a:gd name="connsiteY2" fmla="*/ 78175 h 78175"/>
                <a:gd name="connsiteX3" fmla="*/ 0 w 78175"/>
                <a:gd name="connsiteY3" fmla="*/ 39088 h 78175"/>
                <a:gd name="connsiteX4" fmla="*/ 39088 w 78175"/>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5" h="78175">
                  <a:moveTo>
                    <a:pt x="39088" y="0"/>
                  </a:moveTo>
                  <a:cubicBezTo>
                    <a:pt x="60675" y="0"/>
                    <a:pt x="78175" y="17500"/>
                    <a:pt x="78175" y="39088"/>
                  </a:cubicBezTo>
                  <a:cubicBezTo>
                    <a:pt x="78175" y="60675"/>
                    <a:pt x="60675" y="78175"/>
                    <a:pt x="39088" y="78175"/>
                  </a:cubicBezTo>
                  <a:cubicBezTo>
                    <a:pt x="17500" y="78175"/>
                    <a:pt x="0" y="60675"/>
                    <a:pt x="0" y="39088"/>
                  </a:cubicBezTo>
                  <a:cubicBezTo>
                    <a:pt x="0" y="17500"/>
                    <a:pt x="17500" y="0"/>
                    <a:pt x="39088" y="0"/>
                  </a:cubicBezTo>
                  <a:close/>
                </a:path>
              </a:pathLst>
            </a:custGeom>
            <a:solidFill>
              <a:schemeClr val="accent3"/>
            </a:solidFill>
            <a:ln w="0">
              <a:noFill/>
              <a:prstDash val="solid"/>
              <a:round/>
              <a:headEnd/>
              <a:tailEnd/>
            </a:ln>
          </p:spPr>
          <p:txBody>
            <a:bodyPr vert="horz" wrap="square" lIns="93260" tIns="46630" rIns="93260" bIns="46630" numCol="1" anchor="t" anchorCtr="0" compatLnSpc="1">
              <a:prstTxWarp prst="textNoShape">
                <a:avLst/>
              </a:prstTxWarp>
              <a:noAutofit/>
            </a:bodyPr>
            <a:lstStyle/>
            <a:p>
              <a:endParaRPr lang="en-US" sz="1836"/>
            </a:p>
          </p:txBody>
        </p:sp>
        <p:sp>
          <p:nvSpPr>
            <p:cNvPr id="600" name="Freeform: Shape 425"/>
            <p:cNvSpPr>
              <a:spLocks/>
            </p:cNvSpPr>
            <p:nvPr/>
          </p:nvSpPr>
          <p:spPr bwMode="auto">
            <a:xfrm>
              <a:off x="7836328" y="5922149"/>
              <a:ext cx="78175" cy="78174"/>
            </a:xfrm>
            <a:custGeom>
              <a:avLst/>
              <a:gdLst>
                <a:gd name="connsiteX0" fmla="*/ 39087 w 78175"/>
                <a:gd name="connsiteY0" fmla="*/ 0 h 78174"/>
                <a:gd name="connsiteX1" fmla="*/ 78175 w 78175"/>
                <a:gd name="connsiteY1" fmla="*/ 39087 h 78174"/>
                <a:gd name="connsiteX2" fmla="*/ 39087 w 78175"/>
                <a:gd name="connsiteY2" fmla="*/ 78174 h 78174"/>
                <a:gd name="connsiteX3" fmla="*/ 0 w 78175"/>
                <a:gd name="connsiteY3" fmla="*/ 39087 h 78174"/>
                <a:gd name="connsiteX4" fmla="*/ 39087 w 78175"/>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5" h="78174">
                  <a:moveTo>
                    <a:pt x="39087" y="0"/>
                  </a:moveTo>
                  <a:cubicBezTo>
                    <a:pt x="60674" y="0"/>
                    <a:pt x="78175" y="17500"/>
                    <a:pt x="78175" y="39087"/>
                  </a:cubicBezTo>
                  <a:cubicBezTo>
                    <a:pt x="78175" y="60674"/>
                    <a:pt x="60674" y="78174"/>
                    <a:pt x="39087" y="78174"/>
                  </a:cubicBezTo>
                  <a:cubicBezTo>
                    <a:pt x="17500" y="78174"/>
                    <a:pt x="0" y="60674"/>
                    <a:pt x="0" y="39087"/>
                  </a:cubicBezTo>
                  <a:cubicBezTo>
                    <a:pt x="0" y="17500"/>
                    <a:pt x="17500" y="0"/>
                    <a:pt x="39087" y="0"/>
                  </a:cubicBezTo>
                  <a:close/>
                </a:path>
              </a:pathLst>
            </a:custGeom>
            <a:solidFill>
              <a:schemeClr val="accent3"/>
            </a:solidFill>
            <a:ln w="0">
              <a:noFill/>
              <a:prstDash val="solid"/>
              <a:round/>
              <a:headEnd/>
              <a:tailEnd/>
            </a:ln>
          </p:spPr>
          <p:txBody>
            <a:bodyPr vert="horz" wrap="square" lIns="93260" tIns="46630" rIns="93260" bIns="46630" numCol="1" anchor="t" anchorCtr="0" compatLnSpc="1">
              <a:prstTxWarp prst="textNoShape">
                <a:avLst/>
              </a:prstTxWarp>
              <a:noAutofit/>
            </a:bodyPr>
            <a:lstStyle/>
            <a:p>
              <a:endParaRPr lang="en-US" sz="1836"/>
            </a:p>
          </p:txBody>
        </p:sp>
        <p:sp>
          <p:nvSpPr>
            <p:cNvPr id="601" name="Freeform: Shape 426"/>
            <p:cNvSpPr>
              <a:spLocks/>
            </p:cNvSpPr>
            <p:nvPr/>
          </p:nvSpPr>
          <p:spPr bwMode="auto">
            <a:xfrm>
              <a:off x="9338735" y="5922149"/>
              <a:ext cx="78174" cy="78174"/>
            </a:xfrm>
            <a:custGeom>
              <a:avLst/>
              <a:gdLst>
                <a:gd name="connsiteX0" fmla="*/ 39087 w 78174"/>
                <a:gd name="connsiteY0" fmla="*/ 0 h 78174"/>
                <a:gd name="connsiteX1" fmla="*/ 78174 w 78174"/>
                <a:gd name="connsiteY1" fmla="*/ 39087 h 78174"/>
                <a:gd name="connsiteX2" fmla="*/ 39087 w 78174"/>
                <a:gd name="connsiteY2" fmla="*/ 78174 h 78174"/>
                <a:gd name="connsiteX3" fmla="*/ 0 w 78174"/>
                <a:gd name="connsiteY3" fmla="*/ 39087 h 78174"/>
                <a:gd name="connsiteX4" fmla="*/ 39087 w 78174"/>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74">
                  <a:moveTo>
                    <a:pt x="39087" y="0"/>
                  </a:moveTo>
                  <a:cubicBezTo>
                    <a:pt x="60674" y="0"/>
                    <a:pt x="78174" y="17500"/>
                    <a:pt x="78174" y="39087"/>
                  </a:cubicBezTo>
                  <a:cubicBezTo>
                    <a:pt x="78174" y="60674"/>
                    <a:pt x="60674" y="78174"/>
                    <a:pt x="39087" y="78174"/>
                  </a:cubicBezTo>
                  <a:cubicBezTo>
                    <a:pt x="17500" y="78174"/>
                    <a:pt x="0" y="60674"/>
                    <a:pt x="0" y="39087"/>
                  </a:cubicBezTo>
                  <a:cubicBezTo>
                    <a:pt x="0" y="17500"/>
                    <a:pt x="17500" y="0"/>
                    <a:pt x="39087" y="0"/>
                  </a:cubicBezTo>
                  <a:close/>
                </a:path>
              </a:pathLst>
            </a:custGeom>
            <a:solidFill>
              <a:schemeClr val="accent3"/>
            </a:solidFill>
            <a:ln w="0">
              <a:noFill/>
              <a:prstDash val="solid"/>
              <a:round/>
              <a:headEnd/>
              <a:tailEnd/>
            </a:ln>
          </p:spPr>
          <p:txBody>
            <a:bodyPr vert="horz" wrap="square" lIns="93260" tIns="46630" rIns="93260" bIns="46630" numCol="1" anchor="t" anchorCtr="0" compatLnSpc="1">
              <a:prstTxWarp prst="textNoShape">
                <a:avLst/>
              </a:prstTxWarp>
              <a:noAutofit/>
            </a:bodyPr>
            <a:lstStyle/>
            <a:p>
              <a:endParaRPr lang="en-US" sz="1836"/>
            </a:p>
          </p:txBody>
        </p:sp>
        <p:sp>
          <p:nvSpPr>
            <p:cNvPr id="602" name="Freeform: Shape 427"/>
            <p:cNvSpPr>
              <a:spLocks/>
            </p:cNvSpPr>
            <p:nvPr/>
          </p:nvSpPr>
          <p:spPr bwMode="auto">
            <a:xfrm>
              <a:off x="9525649" y="5922149"/>
              <a:ext cx="78174" cy="78174"/>
            </a:xfrm>
            <a:custGeom>
              <a:avLst/>
              <a:gdLst>
                <a:gd name="connsiteX0" fmla="*/ 39088 w 78174"/>
                <a:gd name="connsiteY0" fmla="*/ 0 h 78174"/>
                <a:gd name="connsiteX1" fmla="*/ 78174 w 78174"/>
                <a:gd name="connsiteY1" fmla="*/ 39087 h 78174"/>
                <a:gd name="connsiteX2" fmla="*/ 39088 w 78174"/>
                <a:gd name="connsiteY2" fmla="*/ 78174 h 78174"/>
                <a:gd name="connsiteX3" fmla="*/ 0 w 78174"/>
                <a:gd name="connsiteY3" fmla="*/ 39087 h 78174"/>
                <a:gd name="connsiteX4" fmla="*/ 39088 w 78174"/>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74">
                  <a:moveTo>
                    <a:pt x="39088" y="0"/>
                  </a:moveTo>
                  <a:cubicBezTo>
                    <a:pt x="60675" y="0"/>
                    <a:pt x="78174" y="17500"/>
                    <a:pt x="78174" y="39087"/>
                  </a:cubicBezTo>
                  <a:cubicBezTo>
                    <a:pt x="78174" y="60674"/>
                    <a:pt x="60675" y="78174"/>
                    <a:pt x="39088" y="78174"/>
                  </a:cubicBezTo>
                  <a:cubicBezTo>
                    <a:pt x="17500" y="78174"/>
                    <a:pt x="0" y="60674"/>
                    <a:pt x="0" y="39087"/>
                  </a:cubicBezTo>
                  <a:cubicBezTo>
                    <a:pt x="0" y="17500"/>
                    <a:pt x="17500" y="0"/>
                    <a:pt x="39088" y="0"/>
                  </a:cubicBezTo>
                  <a:close/>
                </a:path>
              </a:pathLst>
            </a:custGeom>
            <a:solidFill>
              <a:schemeClr val="accent3"/>
            </a:solidFill>
            <a:ln w="0">
              <a:noFill/>
              <a:prstDash val="solid"/>
              <a:round/>
              <a:headEnd/>
              <a:tailEnd/>
            </a:ln>
          </p:spPr>
          <p:txBody>
            <a:bodyPr vert="horz" wrap="square" lIns="93260" tIns="46630" rIns="93260" bIns="46630" numCol="1" anchor="t" anchorCtr="0" compatLnSpc="1">
              <a:prstTxWarp prst="textNoShape">
                <a:avLst/>
              </a:prstTxWarp>
              <a:noAutofit/>
            </a:bodyPr>
            <a:lstStyle/>
            <a:p>
              <a:endParaRPr lang="en-US" sz="1836"/>
            </a:p>
          </p:txBody>
        </p:sp>
        <p:sp>
          <p:nvSpPr>
            <p:cNvPr id="603" name="Freeform: Shape 428"/>
            <p:cNvSpPr>
              <a:spLocks/>
            </p:cNvSpPr>
            <p:nvPr/>
          </p:nvSpPr>
          <p:spPr bwMode="auto">
            <a:xfrm>
              <a:off x="7926235" y="6007325"/>
              <a:ext cx="78174" cy="78174"/>
            </a:xfrm>
            <a:custGeom>
              <a:avLst/>
              <a:gdLst>
                <a:gd name="connsiteX0" fmla="*/ 39087 w 78174"/>
                <a:gd name="connsiteY0" fmla="*/ 0 h 78174"/>
                <a:gd name="connsiteX1" fmla="*/ 78174 w 78174"/>
                <a:gd name="connsiteY1" fmla="*/ 39087 h 78174"/>
                <a:gd name="connsiteX2" fmla="*/ 39087 w 78174"/>
                <a:gd name="connsiteY2" fmla="*/ 78174 h 78174"/>
                <a:gd name="connsiteX3" fmla="*/ 0 w 78174"/>
                <a:gd name="connsiteY3" fmla="*/ 39087 h 78174"/>
                <a:gd name="connsiteX4" fmla="*/ 39087 w 78174"/>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74">
                  <a:moveTo>
                    <a:pt x="39087" y="0"/>
                  </a:moveTo>
                  <a:cubicBezTo>
                    <a:pt x="60675" y="0"/>
                    <a:pt x="78174" y="17500"/>
                    <a:pt x="78174" y="39087"/>
                  </a:cubicBezTo>
                  <a:cubicBezTo>
                    <a:pt x="78174" y="60674"/>
                    <a:pt x="60675" y="78174"/>
                    <a:pt x="39087" y="78174"/>
                  </a:cubicBezTo>
                  <a:cubicBezTo>
                    <a:pt x="17500" y="78174"/>
                    <a:pt x="0" y="60674"/>
                    <a:pt x="0" y="39087"/>
                  </a:cubicBezTo>
                  <a:cubicBezTo>
                    <a:pt x="0" y="17500"/>
                    <a:pt x="17500" y="0"/>
                    <a:pt x="39087" y="0"/>
                  </a:cubicBezTo>
                  <a:close/>
                </a:path>
              </a:pathLst>
            </a:custGeom>
            <a:solidFill>
              <a:schemeClr val="accent3"/>
            </a:solidFill>
            <a:ln w="0">
              <a:noFill/>
              <a:prstDash val="solid"/>
              <a:round/>
              <a:headEnd/>
              <a:tailEnd/>
            </a:ln>
          </p:spPr>
          <p:txBody>
            <a:bodyPr vert="horz" wrap="square" lIns="93260" tIns="46630" rIns="93260" bIns="46630" numCol="1" anchor="t" anchorCtr="0" compatLnSpc="1">
              <a:prstTxWarp prst="textNoShape">
                <a:avLst/>
              </a:prstTxWarp>
              <a:noAutofit/>
            </a:bodyPr>
            <a:lstStyle/>
            <a:p>
              <a:endParaRPr lang="en-US" sz="1836"/>
            </a:p>
          </p:txBody>
        </p:sp>
        <p:sp>
          <p:nvSpPr>
            <p:cNvPr id="604" name="Freeform: Shape 429"/>
            <p:cNvSpPr>
              <a:spLocks/>
            </p:cNvSpPr>
            <p:nvPr/>
          </p:nvSpPr>
          <p:spPr bwMode="auto">
            <a:xfrm>
              <a:off x="9525649" y="6007325"/>
              <a:ext cx="78174" cy="78174"/>
            </a:xfrm>
            <a:custGeom>
              <a:avLst/>
              <a:gdLst>
                <a:gd name="connsiteX0" fmla="*/ 39088 w 78174"/>
                <a:gd name="connsiteY0" fmla="*/ 0 h 78174"/>
                <a:gd name="connsiteX1" fmla="*/ 78174 w 78174"/>
                <a:gd name="connsiteY1" fmla="*/ 39087 h 78174"/>
                <a:gd name="connsiteX2" fmla="*/ 39088 w 78174"/>
                <a:gd name="connsiteY2" fmla="*/ 78174 h 78174"/>
                <a:gd name="connsiteX3" fmla="*/ 0 w 78174"/>
                <a:gd name="connsiteY3" fmla="*/ 39087 h 78174"/>
                <a:gd name="connsiteX4" fmla="*/ 39088 w 78174"/>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74">
                  <a:moveTo>
                    <a:pt x="39088" y="0"/>
                  </a:moveTo>
                  <a:cubicBezTo>
                    <a:pt x="60675" y="0"/>
                    <a:pt x="78174" y="17500"/>
                    <a:pt x="78174" y="39087"/>
                  </a:cubicBezTo>
                  <a:cubicBezTo>
                    <a:pt x="78174" y="60675"/>
                    <a:pt x="60675" y="78174"/>
                    <a:pt x="39088" y="78174"/>
                  </a:cubicBezTo>
                  <a:cubicBezTo>
                    <a:pt x="17500" y="78174"/>
                    <a:pt x="0" y="60675"/>
                    <a:pt x="0" y="39087"/>
                  </a:cubicBezTo>
                  <a:cubicBezTo>
                    <a:pt x="0" y="17500"/>
                    <a:pt x="17500" y="0"/>
                    <a:pt x="39088" y="0"/>
                  </a:cubicBezTo>
                  <a:close/>
                </a:path>
              </a:pathLst>
            </a:custGeom>
            <a:solidFill>
              <a:schemeClr val="accent3"/>
            </a:solidFill>
            <a:ln w="0">
              <a:noFill/>
              <a:prstDash val="solid"/>
              <a:round/>
              <a:headEnd/>
              <a:tailEnd/>
            </a:ln>
          </p:spPr>
          <p:txBody>
            <a:bodyPr vert="horz" wrap="square" lIns="93260" tIns="46630" rIns="93260" bIns="46630" numCol="1" anchor="t" anchorCtr="0" compatLnSpc="1">
              <a:prstTxWarp prst="textNoShape">
                <a:avLst/>
              </a:prstTxWarp>
              <a:noAutofit/>
            </a:bodyPr>
            <a:lstStyle/>
            <a:p>
              <a:endParaRPr lang="en-US" sz="1836"/>
            </a:p>
          </p:txBody>
        </p:sp>
        <p:sp>
          <p:nvSpPr>
            <p:cNvPr id="605" name="Freeform: Shape 430"/>
            <p:cNvSpPr>
              <a:spLocks/>
            </p:cNvSpPr>
            <p:nvPr/>
          </p:nvSpPr>
          <p:spPr bwMode="auto">
            <a:xfrm>
              <a:off x="9617923" y="6007325"/>
              <a:ext cx="78175" cy="78174"/>
            </a:xfrm>
            <a:custGeom>
              <a:avLst/>
              <a:gdLst>
                <a:gd name="connsiteX0" fmla="*/ 39088 w 78175"/>
                <a:gd name="connsiteY0" fmla="*/ 0 h 78174"/>
                <a:gd name="connsiteX1" fmla="*/ 78175 w 78175"/>
                <a:gd name="connsiteY1" fmla="*/ 39087 h 78174"/>
                <a:gd name="connsiteX2" fmla="*/ 39088 w 78175"/>
                <a:gd name="connsiteY2" fmla="*/ 78174 h 78174"/>
                <a:gd name="connsiteX3" fmla="*/ 0 w 78175"/>
                <a:gd name="connsiteY3" fmla="*/ 39087 h 78174"/>
                <a:gd name="connsiteX4" fmla="*/ 39088 w 78175"/>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5" h="78174">
                  <a:moveTo>
                    <a:pt x="39088" y="0"/>
                  </a:moveTo>
                  <a:cubicBezTo>
                    <a:pt x="60675" y="0"/>
                    <a:pt x="78175" y="17500"/>
                    <a:pt x="78175" y="39087"/>
                  </a:cubicBezTo>
                  <a:cubicBezTo>
                    <a:pt x="78175" y="60675"/>
                    <a:pt x="60675" y="78174"/>
                    <a:pt x="39088" y="78174"/>
                  </a:cubicBezTo>
                  <a:cubicBezTo>
                    <a:pt x="17500" y="78174"/>
                    <a:pt x="0" y="60675"/>
                    <a:pt x="0" y="39087"/>
                  </a:cubicBezTo>
                  <a:cubicBezTo>
                    <a:pt x="0" y="17500"/>
                    <a:pt x="17500" y="0"/>
                    <a:pt x="39088" y="0"/>
                  </a:cubicBezTo>
                  <a:close/>
                </a:path>
              </a:pathLst>
            </a:custGeom>
            <a:solidFill>
              <a:schemeClr val="accent3"/>
            </a:solidFill>
            <a:ln w="0">
              <a:noFill/>
              <a:prstDash val="solid"/>
              <a:round/>
              <a:headEnd/>
              <a:tailEnd/>
            </a:ln>
          </p:spPr>
          <p:txBody>
            <a:bodyPr vert="horz" wrap="square" lIns="93260" tIns="46630" rIns="93260" bIns="46630" numCol="1" anchor="t" anchorCtr="0" compatLnSpc="1">
              <a:prstTxWarp prst="textNoShape">
                <a:avLst/>
              </a:prstTxWarp>
              <a:noAutofit/>
            </a:bodyPr>
            <a:lstStyle/>
            <a:p>
              <a:endParaRPr lang="en-US" sz="1836"/>
            </a:p>
          </p:txBody>
        </p:sp>
        <p:sp>
          <p:nvSpPr>
            <p:cNvPr id="606" name="Freeform: Shape 431"/>
            <p:cNvSpPr>
              <a:spLocks/>
            </p:cNvSpPr>
            <p:nvPr/>
          </p:nvSpPr>
          <p:spPr bwMode="auto">
            <a:xfrm>
              <a:off x="7649412" y="6094867"/>
              <a:ext cx="78174" cy="78174"/>
            </a:xfrm>
            <a:custGeom>
              <a:avLst/>
              <a:gdLst>
                <a:gd name="connsiteX0" fmla="*/ 39087 w 78174"/>
                <a:gd name="connsiteY0" fmla="*/ 0 h 78174"/>
                <a:gd name="connsiteX1" fmla="*/ 78174 w 78174"/>
                <a:gd name="connsiteY1" fmla="*/ 39087 h 78174"/>
                <a:gd name="connsiteX2" fmla="*/ 39087 w 78174"/>
                <a:gd name="connsiteY2" fmla="*/ 78174 h 78174"/>
                <a:gd name="connsiteX3" fmla="*/ 0 w 78174"/>
                <a:gd name="connsiteY3" fmla="*/ 39087 h 78174"/>
                <a:gd name="connsiteX4" fmla="*/ 39087 w 78174"/>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74">
                  <a:moveTo>
                    <a:pt x="39087" y="0"/>
                  </a:moveTo>
                  <a:cubicBezTo>
                    <a:pt x="60674" y="0"/>
                    <a:pt x="78174" y="17499"/>
                    <a:pt x="78174" y="39087"/>
                  </a:cubicBezTo>
                  <a:cubicBezTo>
                    <a:pt x="78174" y="60674"/>
                    <a:pt x="60674" y="78174"/>
                    <a:pt x="39087" y="78174"/>
                  </a:cubicBezTo>
                  <a:cubicBezTo>
                    <a:pt x="17500" y="78174"/>
                    <a:pt x="0" y="60674"/>
                    <a:pt x="0" y="39087"/>
                  </a:cubicBezTo>
                  <a:cubicBezTo>
                    <a:pt x="0" y="17499"/>
                    <a:pt x="17500" y="0"/>
                    <a:pt x="39087" y="0"/>
                  </a:cubicBezTo>
                  <a:close/>
                </a:path>
              </a:pathLst>
            </a:custGeom>
            <a:solidFill>
              <a:schemeClr val="accent3"/>
            </a:solidFill>
            <a:ln w="0">
              <a:noFill/>
              <a:prstDash val="solid"/>
              <a:round/>
              <a:headEnd/>
              <a:tailEnd/>
            </a:ln>
          </p:spPr>
          <p:txBody>
            <a:bodyPr vert="horz" wrap="square" lIns="93260" tIns="46630" rIns="93260" bIns="46630" numCol="1" anchor="t" anchorCtr="0" compatLnSpc="1">
              <a:prstTxWarp prst="textNoShape">
                <a:avLst/>
              </a:prstTxWarp>
              <a:noAutofit/>
            </a:bodyPr>
            <a:lstStyle/>
            <a:p>
              <a:endParaRPr lang="en-US" sz="1836"/>
            </a:p>
          </p:txBody>
        </p:sp>
        <p:sp>
          <p:nvSpPr>
            <p:cNvPr id="607" name="Freeform: Shape 432"/>
            <p:cNvSpPr>
              <a:spLocks/>
            </p:cNvSpPr>
            <p:nvPr/>
          </p:nvSpPr>
          <p:spPr bwMode="auto">
            <a:xfrm>
              <a:off x="7836324" y="6177678"/>
              <a:ext cx="78175" cy="78175"/>
            </a:xfrm>
            <a:custGeom>
              <a:avLst/>
              <a:gdLst>
                <a:gd name="connsiteX0" fmla="*/ 39088 w 78175"/>
                <a:gd name="connsiteY0" fmla="*/ 0 h 78175"/>
                <a:gd name="connsiteX1" fmla="*/ 78175 w 78175"/>
                <a:gd name="connsiteY1" fmla="*/ 39088 h 78175"/>
                <a:gd name="connsiteX2" fmla="*/ 39088 w 78175"/>
                <a:gd name="connsiteY2" fmla="*/ 78175 h 78175"/>
                <a:gd name="connsiteX3" fmla="*/ 0 w 78175"/>
                <a:gd name="connsiteY3" fmla="*/ 39088 h 78175"/>
                <a:gd name="connsiteX4" fmla="*/ 39088 w 78175"/>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5" h="78175">
                  <a:moveTo>
                    <a:pt x="39088" y="0"/>
                  </a:moveTo>
                  <a:cubicBezTo>
                    <a:pt x="60675" y="0"/>
                    <a:pt x="78175" y="17500"/>
                    <a:pt x="78175" y="39088"/>
                  </a:cubicBezTo>
                  <a:cubicBezTo>
                    <a:pt x="78175" y="60675"/>
                    <a:pt x="60675" y="78175"/>
                    <a:pt x="39088" y="78175"/>
                  </a:cubicBezTo>
                  <a:cubicBezTo>
                    <a:pt x="17500" y="78175"/>
                    <a:pt x="0" y="60675"/>
                    <a:pt x="0" y="39088"/>
                  </a:cubicBezTo>
                  <a:cubicBezTo>
                    <a:pt x="0" y="17500"/>
                    <a:pt x="17500" y="0"/>
                    <a:pt x="39088" y="0"/>
                  </a:cubicBezTo>
                  <a:close/>
                </a:path>
              </a:pathLst>
            </a:custGeom>
            <a:solidFill>
              <a:schemeClr val="accent3"/>
            </a:solidFill>
            <a:ln w="0">
              <a:noFill/>
              <a:prstDash val="solid"/>
              <a:round/>
              <a:headEnd/>
              <a:tailEnd/>
            </a:ln>
          </p:spPr>
          <p:txBody>
            <a:bodyPr vert="horz" wrap="square" lIns="93260" tIns="46630" rIns="93260" bIns="46630" numCol="1" anchor="t" anchorCtr="0" compatLnSpc="1">
              <a:prstTxWarp prst="textNoShape">
                <a:avLst/>
              </a:prstTxWarp>
              <a:noAutofit/>
            </a:bodyPr>
            <a:lstStyle/>
            <a:p>
              <a:endParaRPr lang="en-US" sz="1836"/>
            </a:p>
          </p:txBody>
        </p:sp>
        <p:sp>
          <p:nvSpPr>
            <p:cNvPr id="608" name="Freeform: Shape 433"/>
            <p:cNvSpPr>
              <a:spLocks/>
            </p:cNvSpPr>
            <p:nvPr/>
          </p:nvSpPr>
          <p:spPr bwMode="auto">
            <a:xfrm>
              <a:off x="7649409" y="6350395"/>
              <a:ext cx="78174" cy="78174"/>
            </a:xfrm>
            <a:custGeom>
              <a:avLst/>
              <a:gdLst>
                <a:gd name="connsiteX0" fmla="*/ 39087 w 78174"/>
                <a:gd name="connsiteY0" fmla="*/ 0 h 78174"/>
                <a:gd name="connsiteX1" fmla="*/ 78174 w 78174"/>
                <a:gd name="connsiteY1" fmla="*/ 39087 h 78174"/>
                <a:gd name="connsiteX2" fmla="*/ 39087 w 78174"/>
                <a:gd name="connsiteY2" fmla="*/ 78174 h 78174"/>
                <a:gd name="connsiteX3" fmla="*/ 0 w 78174"/>
                <a:gd name="connsiteY3" fmla="*/ 39087 h 78174"/>
                <a:gd name="connsiteX4" fmla="*/ 39087 w 78174"/>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74">
                  <a:moveTo>
                    <a:pt x="39087" y="0"/>
                  </a:moveTo>
                  <a:cubicBezTo>
                    <a:pt x="60674" y="0"/>
                    <a:pt x="78174" y="17500"/>
                    <a:pt x="78174" y="39087"/>
                  </a:cubicBezTo>
                  <a:cubicBezTo>
                    <a:pt x="78174" y="60674"/>
                    <a:pt x="60674" y="78174"/>
                    <a:pt x="39087" y="78174"/>
                  </a:cubicBezTo>
                  <a:cubicBezTo>
                    <a:pt x="17499" y="78174"/>
                    <a:pt x="0" y="60674"/>
                    <a:pt x="0" y="39087"/>
                  </a:cubicBezTo>
                  <a:cubicBezTo>
                    <a:pt x="0" y="17500"/>
                    <a:pt x="17499" y="0"/>
                    <a:pt x="39087" y="0"/>
                  </a:cubicBezTo>
                  <a:close/>
                </a:path>
              </a:pathLst>
            </a:custGeom>
            <a:solidFill>
              <a:schemeClr val="accent3"/>
            </a:solidFill>
            <a:ln w="0">
              <a:noFill/>
              <a:prstDash val="solid"/>
              <a:round/>
              <a:headEnd/>
              <a:tailEnd/>
            </a:ln>
          </p:spPr>
          <p:txBody>
            <a:bodyPr vert="horz" wrap="square" lIns="93260" tIns="46630" rIns="93260" bIns="46630" numCol="1" anchor="t" anchorCtr="0" compatLnSpc="1">
              <a:prstTxWarp prst="textNoShape">
                <a:avLst/>
              </a:prstTxWarp>
              <a:noAutofit/>
            </a:bodyPr>
            <a:lstStyle/>
            <a:p>
              <a:endParaRPr lang="en-US" sz="1836"/>
            </a:p>
          </p:txBody>
        </p:sp>
      </p:grpSp>
      <p:grpSp>
        <p:nvGrpSpPr>
          <p:cNvPr id="323" name="Group 322"/>
          <p:cNvGrpSpPr/>
          <p:nvPr/>
        </p:nvGrpSpPr>
        <p:grpSpPr>
          <a:xfrm>
            <a:off x="-3919" y="2526364"/>
            <a:ext cx="450812" cy="305337"/>
            <a:chOff x="6082249" y="5559189"/>
            <a:chExt cx="564210" cy="382141"/>
          </a:xfrm>
          <a:solidFill>
            <a:schemeClr val="accent2"/>
          </a:solidFill>
        </p:grpSpPr>
        <p:sp>
          <p:nvSpPr>
            <p:cNvPr id="324" name="Isosceles Triangle 31"/>
            <p:cNvSpPr/>
            <p:nvPr/>
          </p:nvSpPr>
          <p:spPr bwMode="auto">
            <a:xfrm rot="5400000">
              <a:off x="6359855" y="5654725"/>
              <a:ext cx="382140" cy="191069"/>
            </a:xfrm>
            <a:prstGeom prst="triangle">
              <a:avLst>
                <a:gd name="adj" fmla="val 49896"/>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err="1">
                <a:gradFill>
                  <a:gsLst>
                    <a:gs pos="0">
                      <a:srgbClr val="FFFFFF"/>
                    </a:gs>
                    <a:gs pos="100000">
                      <a:srgbClr val="FFFFFF"/>
                    </a:gs>
                  </a:gsLst>
                  <a:lin ang="5400000" scaled="0"/>
                </a:gradFill>
                <a:ea typeface="Segoe UI" pitchFamily="34" charset="0"/>
                <a:cs typeface="Segoe UI" pitchFamily="34" charset="0"/>
              </a:endParaRPr>
            </a:p>
          </p:txBody>
        </p:sp>
        <p:sp>
          <p:nvSpPr>
            <p:cNvPr id="325" name="Rectangle 324"/>
            <p:cNvSpPr/>
            <p:nvPr/>
          </p:nvSpPr>
          <p:spPr bwMode="auto">
            <a:xfrm>
              <a:off x="6082249" y="5559189"/>
              <a:ext cx="373140" cy="382141"/>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98399620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323"/>
                                        </p:tgtEl>
                                        <p:attrNameLst>
                                          <p:attrName>style.visibility</p:attrName>
                                        </p:attrNameLst>
                                      </p:cBhvr>
                                      <p:to>
                                        <p:strVal val="visible"/>
                                      </p:to>
                                    </p:set>
                                    <p:animEffect transition="in" filter="fade">
                                      <p:cBhvr>
                                        <p:cTn id="10" dur="500"/>
                                        <p:tgtEl>
                                          <p:spTgt spid="32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1" name="Rectangle 150"/>
          <p:cNvSpPr/>
          <p:nvPr/>
        </p:nvSpPr>
        <p:spPr>
          <a:xfrm>
            <a:off x="89" y="2024342"/>
            <a:ext cx="4934105" cy="4970183"/>
          </a:xfrm>
          <a:prstGeom prst="rect">
            <a:avLst/>
          </a:prstGeom>
          <a:solidFill>
            <a:srgbClr val="3999C6"/>
          </a:solidFill>
          <a:ln w="12700" cap="flat" cmpd="sng" algn="ctr">
            <a:noFill/>
            <a:prstDash val="solid"/>
            <a:miter lim="800000"/>
          </a:ln>
          <a:effectLst/>
        </p:spPr>
        <p:txBody>
          <a:bodyPr rtlCol="0" anchor="ctr"/>
          <a:lstStyle/>
          <a:p>
            <a:pPr algn="ctr" defTabSz="932597">
              <a:defRPr/>
            </a:pPr>
            <a:endParaRPr lang="en-US" sz="1836" kern="0">
              <a:solidFill>
                <a:srgbClr val="FFFFFF"/>
              </a:solidFill>
              <a:latin typeface="Calibri" panose="020F0502020204030204"/>
              <a:ea typeface=""/>
              <a:cs typeface=""/>
            </a:endParaRPr>
          </a:p>
        </p:txBody>
      </p:sp>
      <p:sp>
        <p:nvSpPr>
          <p:cNvPr id="11" name="Title 10"/>
          <p:cNvSpPr>
            <a:spLocks noGrp="1"/>
          </p:cNvSpPr>
          <p:nvPr>
            <p:ph type="title"/>
          </p:nvPr>
        </p:nvSpPr>
        <p:spPr/>
        <p:txBody>
          <a:bodyPr>
            <a:noAutofit/>
          </a:bodyPr>
          <a:lstStyle/>
          <a:p>
            <a:r>
              <a:rPr lang="en-US"/>
              <a:t>Introducing Azure Cosmos DB</a:t>
            </a:r>
            <a:br>
              <a:rPr lang="en-US"/>
            </a:br>
            <a:r>
              <a:rPr lang="en-US" sz="2448">
                <a:solidFill>
                  <a:schemeClr val="accent1"/>
                </a:solidFill>
              </a:rPr>
              <a:t>A globally distributed, massively scalable, multi-model database service</a:t>
            </a:r>
          </a:p>
        </p:txBody>
      </p:sp>
      <p:sp>
        <p:nvSpPr>
          <p:cNvPr id="3" name="Content Placeholder 2"/>
          <p:cNvSpPr>
            <a:spLocks noGrp="1"/>
          </p:cNvSpPr>
          <p:nvPr>
            <p:ph sz="half" idx="4294967295"/>
          </p:nvPr>
        </p:nvSpPr>
        <p:spPr>
          <a:xfrm>
            <a:off x="446892" y="2490181"/>
            <a:ext cx="2721713" cy="476479"/>
          </a:xfrm>
        </p:spPr>
        <p:txBody>
          <a:bodyPr wrap="square">
            <a:spAutoFit/>
          </a:bodyPr>
          <a:lstStyle/>
          <a:p>
            <a:pPr marL="0" indent="0">
              <a:buNone/>
            </a:pPr>
            <a:r>
              <a:rPr lang="en-US" sz="2040" b="1">
                <a:solidFill>
                  <a:srgbClr val="59B4D9"/>
                </a:solidFill>
                <a:latin typeface="Segoe UI" charset="0"/>
                <a:ea typeface="Segoe UI" charset="0"/>
                <a:cs typeface="Segoe UI" charset="0"/>
              </a:rPr>
              <a:t>Global distribution</a:t>
            </a:r>
          </a:p>
        </p:txBody>
      </p:sp>
      <p:grpSp>
        <p:nvGrpSpPr>
          <p:cNvPr id="323" name="Group 322"/>
          <p:cNvGrpSpPr/>
          <p:nvPr/>
        </p:nvGrpSpPr>
        <p:grpSpPr>
          <a:xfrm>
            <a:off x="-3919" y="2526364"/>
            <a:ext cx="450812" cy="305337"/>
            <a:chOff x="6082249" y="5559189"/>
            <a:chExt cx="564210" cy="382141"/>
          </a:xfrm>
          <a:solidFill>
            <a:schemeClr val="accent6"/>
          </a:solidFill>
        </p:grpSpPr>
        <p:sp>
          <p:nvSpPr>
            <p:cNvPr id="324" name="Isosceles Triangle 31"/>
            <p:cNvSpPr/>
            <p:nvPr/>
          </p:nvSpPr>
          <p:spPr bwMode="auto">
            <a:xfrm rot="5400000">
              <a:off x="6359855" y="5654725"/>
              <a:ext cx="382140" cy="191069"/>
            </a:xfrm>
            <a:prstGeom prst="triangle">
              <a:avLst>
                <a:gd name="adj" fmla="val 49896"/>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err="1">
                <a:solidFill>
                  <a:schemeClr val="accent6"/>
                </a:solidFill>
                <a:ea typeface="Segoe UI" pitchFamily="34" charset="0"/>
                <a:cs typeface="Segoe UI" pitchFamily="34" charset="0"/>
              </a:endParaRPr>
            </a:p>
          </p:txBody>
        </p:sp>
        <p:sp>
          <p:nvSpPr>
            <p:cNvPr id="325" name="Rectangle 324"/>
            <p:cNvSpPr/>
            <p:nvPr/>
          </p:nvSpPr>
          <p:spPr bwMode="auto">
            <a:xfrm>
              <a:off x="6082249" y="5559189"/>
              <a:ext cx="373140" cy="382141"/>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err="1">
                <a:solidFill>
                  <a:schemeClr val="accent6"/>
                </a:solidFill>
                <a:ea typeface="Segoe UI" pitchFamily="34" charset="0"/>
                <a:cs typeface="Segoe UI" pitchFamily="34" charset="0"/>
              </a:endParaRPr>
            </a:p>
          </p:txBody>
        </p:sp>
      </p:grpSp>
      <p:sp>
        <p:nvSpPr>
          <p:cNvPr id="184" name="Content Placeholder 2"/>
          <p:cNvSpPr txBox="1">
            <a:spLocks/>
          </p:cNvSpPr>
          <p:nvPr/>
        </p:nvSpPr>
        <p:spPr>
          <a:xfrm>
            <a:off x="446892" y="3218776"/>
            <a:ext cx="3395260" cy="382308"/>
          </a:xfrm>
          <a:prstGeom prst="rect">
            <a:avLst/>
          </a:prstGeom>
        </p:spPr>
        <p:txBody>
          <a:bodyPr vert="horz" wrap="square" lIns="93260" tIns="46630" rIns="93260" bIns="4663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40" b="1">
                <a:solidFill>
                  <a:schemeClr val="bg1"/>
                </a:solidFill>
                <a:latin typeface="Segoe UI" charset="0"/>
                <a:ea typeface="Segoe UI" charset="0"/>
                <a:cs typeface="Segoe UI" charset="0"/>
              </a:rPr>
              <a:t>Multi-model + multi API</a:t>
            </a:r>
          </a:p>
        </p:txBody>
      </p:sp>
      <p:grpSp>
        <p:nvGrpSpPr>
          <p:cNvPr id="185" name="Group 184"/>
          <p:cNvGrpSpPr/>
          <p:nvPr/>
        </p:nvGrpSpPr>
        <p:grpSpPr>
          <a:xfrm>
            <a:off x="-3919" y="3252560"/>
            <a:ext cx="450812" cy="305337"/>
            <a:chOff x="6082249" y="5559189"/>
            <a:chExt cx="564210" cy="382141"/>
          </a:xfrm>
          <a:solidFill>
            <a:schemeClr val="accent2"/>
          </a:solidFill>
        </p:grpSpPr>
        <p:sp>
          <p:nvSpPr>
            <p:cNvPr id="186" name="Isosceles Triangle 28"/>
            <p:cNvSpPr/>
            <p:nvPr/>
          </p:nvSpPr>
          <p:spPr bwMode="auto">
            <a:xfrm rot="5400000">
              <a:off x="6359855" y="5654725"/>
              <a:ext cx="382140" cy="191069"/>
            </a:xfrm>
            <a:prstGeom prst="triangle">
              <a:avLst>
                <a:gd name="adj" fmla="val 49896"/>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err="1">
                <a:gradFill>
                  <a:gsLst>
                    <a:gs pos="0">
                      <a:srgbClr val="FFFFFF"/>
                    </a:gs>
                    <a:gs pos="100000">
                      <a:srgbClr val="FFFFFF"/>
                    </a:gs>
                  </a:gsLst>
                  <a:lin ang="5400000" scaled="0"/>
                </a:gradFill>
                <a:ea typeface="Segoe UI" pitchFamily="34" charset="0"/>
                <a:cs typeface="Segoe UI" pitchFamily="34" charset="0"/>
              </a:endParaRPr>
            </a:p>
          </p:txBody>
        </p:sp>
        <p:sp>
          <p:nvSpPr>
            <p:cNvPr id="187" name="Rectangle 186"/>
            <p:cNvSpPr/>
            <p:nvPr/>
          </p:nvSpPr>
          <p:spPr bwMode="auto">
            <a:xfrm>
              <a:off x="6082249" y="5559189"/>
              <a:ext cx="373140" cy="382141"/>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err="1">
                <a:gradFill>
                  <a:gsLst>
                    <a:gs pos="0">
                      <a:srgbClr val="FFFFFF"/>
                    </a:gs>
                    <a:gs pos="100000">
                      <a:srgbClr val="FFFFFF"/>
                    </a:gs>
                  </a:gsLst>
                  <a:lin ang="5400000" scaled="0"/>
                </a:gradFill>
                <a:ea typeface="Segoe UI" pitchFamily="34" charset="0"/>
                <a:cs typeface="Segoe UI" pitchFamily="34" charset="0"/>
              </a:endParaRPr>
            </a:p>
          </p:txBody>
        </p:sp>
      </p:grpSp>
      <p:sp>
        <p:nvSpPr>
          <p:cNvPr id="189" name="TextBox 188"/>
          <p:cNvSpPr txBox="1"/>
          <p:nvPr/>
        </p:nvSpPr>
        <p:spPr>
          <a:xfrm>
            <a:off x="5082246" y="2162889"/>
            <a:ext cx="5393660" cy="542399"/>
          </a:xfrm>
          <a:prstGeom prst="rect">
            <a:avLst/>
          </a:prstGeom>
          <a:noFill/>
        </p:spPr>
        <p:txBody>
          <a:bodyPr wrap="square" rtlCol="0">
            <a:spAutoFit/>
          </a:bodyPr>
          <a:lstStyle/>
          <a:p>
            <a:r>
              <a:rPr lang="en-US" sz="1428" b="1">
                <a:solidFill>
                  <a:schemeClr val="accent3"/>
                </a:solidFill>
                <a:latin typeface="Segoe UI Semibold" charset="0"/>
                <a:ea typeface="Segoe UI Semibold" charset="0"/>
                <a:cs typeface="Segoe UI Semibold" charset="0"/>
              </a:rPr>
              <a:t>Use key-value, graph, and document with a schema-agnostic service that doesn’t require any schema or secondary indexes</a:t>
            </a:r>
          </a:p>
        </p:txBody>
      </p:sp>
      <p:grpSp>
        <p:nvGrpSpPr>
          <p:cNvPr id="9" name="Group 8"/>
          <p:cNvGrpSpPr/>
          <p:nvPr/>
        </p:nvGrpSpPr>
        <p:grpSpPr>
          <a:xfrm>
            <a:off x="6808570" y="3165877"/>
            <a:ext cx="1448397" cy="1356434"/>
            <a:chOff x="6320820" y="3015862"/>
            <a:chExt cx="1420126" cy="1329958"/>
          </a:xfrm>
        </p:grpSpPr>
        <p:cxnSp>
          <p:nvCxnSpPr>
            <p:cNvPr id="224" name="Straight Connector 223"/>
            <p:cNvCxnSpPr>
              <a:cxnSpLocks/>
            </p:cNvCxnSpPr>
            <p:nvPr/>
          </p:nvCxnSpPr>
          <p:spPr>
            <a:xfrm>
              <a:off x="6572187" y="3141543"/>
              <a:ext cx="928793" cy="0"/>
            </a:xfrm>
            <a:prstGeom prst="line">
              <a:avLst/>
            </a:prstGeom>
            <a:noFill/>
            <a:ln w="38100" cap="flat" cmpd="sng" algn="ctr">
              <a:solidFill>
                <a:srgbClr val="59B4D9"/>
              </a:solidFill>
              <a:prstDash val="sysDot"/>
              <a:miter lim="800000"/>
              <a:headEnd type="none"/>
              <a:tailEnd type="none"/>
            </a:ln>
            <a:effectLst/>
          </p:spPr>
        </p:cxnSp>
        <p:sp>
          <p:nvSpPr>
            <p:cNvPr id="225" name="Oval 224"/>
            <p:cNvSpPr/>
            <p:nvPr/>
          </p:nvSpPr>
          <p:spPr bwMode="auto">
            <a:xfrm>
              <a:off x="6320820" y="3015863"/>
              <a:ext cx="251367" cy="251367"/>
            </a:xfrm>
            <a:prstGeom prst="ellipse">
              <a:avLst/>
            </a:prstGeom>
            <a:solidFill>
              <a:srgbClr val="FFFFFF"/>
            </a:solidFill>
            <a:ln w="3175" cap="flat" cmpd="sng" algn="ctr">
              <a:noFill/>
              <a:prstDash val="solid"/>
              <a:miter lim="800000"/>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0">
                      <a:srgbClr val="FFFFFF"/>
                    </a:gs>
                    <a:gs pos="100000">
                      <a:srgbClr val="FFFFFF"/>
                    </a:gs>
                  </a:gsLst>
                  <a:lin ang="5400000" scaled="0"/>
                </a:gradFill>
                <a:latin typeface="Segoe UI"/>
              </a:endParaRPr>
            </a:p>
          </p:txBody>
        </p:sp>
        <p:sp>
          <p:nvSpPr>
            <p:cNvPr id="226" name="Circle: Hollow 67"/>
            <p:cNvSpPr/>
            <p:nvPr/>
          </p:nvSpPr>
          <p:spPr bwMode="auto">
            <a:xfrm>
              <a:off x="7489581" y="3015862"/>
              <a:ext cx="251365" cy="251365"/>
            </a:xfrm>
            <a:prstGeom prst="donut">
              <a:avLst/>
            </a:prstGeom>
            <a:solidFill>
              <a:srgbClr val="B8D432"/>
            </a:solidFill>
            <a:ln w="38100" cap="flat" cmpd="sng" algn="ctr">
              <a:noFill/>
              <a:prstDash val="solid"/>
              <a:miter lim="800000"/>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0">
                      <a:srgbClr val="FFFFFF"/>
                    </a:gs>
                    <a:gs pos="100000">
                      <a:srgbClr val="FFFFFF"/>
                    </a:gs>
                  </a:gsLst>
                  <a:lin ang="5400000" scaled="0"/>
                </a:gradFill>
                <a:latin typeface="Segoe UI"/>
              </a:endParaRPr>
            </a:p>
          </p:txBody>
        </p:sp>
        <p:cxnSp>
          <p:nvCxnSpPr>
            <p:cNvPr id="227" name="Straight Connector 226"/>
            <p:cNvCxnSpPr>
              <a:cxnSpLocks/>
            </p:cNvCxnSpPr>
            <p:nvPr/>
          </p:nvCxnSpPr>
          <p:spPr>
            <a:xfrm>
              <a:off x="6572187" y="3474055"/>
              <a:ext cx="928793" cy="0"/>
            </a:xfrm>
            <a:prstGeom prst="line">
              <a:avLst/>
            </a:prstGeom>
            <a:noFill/>
            <a:ln w="38100" cap="flat" cmpd="sng" algn="ctr">
              <a:solidFill>
                <a:srgbClr val="59B4D9"/>
              </a:solidFill>
              <a:prstDash val="sysDot"/>
              <a:miter lim="800000"/>
              <a:headEnd type="none"/>
              <a:tailEnd type="none"/>
            </a:ln>
            <a:effectLst/>
          </p:spPr>
        </p:cxnSp>
        <p:sp>
          <p:nvSpPr>
            <p:cNvPr id="228" name="Oval 227"/>
            <p:cNvSpPr/>
            <p:nvPr/>
          </p:nvSpPr>
          <p:spPr bwMode="auto">
            <a:xfrm>
              <a:off x="6320820" y="3348374"/>
              <a:ext cx="251367" cy="251367"/>
            </a:xfrm>
            <a:prstGeom prst="ellipse">
              <a:avLst/>
            </a:prstGeom>
            <a:solidFill>
              <a:srgbClr val="FFFFFF"/>
            </a:solidFill>
            <a:ln w="3175" cap="flat" cmpd="sng" algn="ctr">
              <a:noFill/>
              <a:prstDash val="solid"/>
              <a:miter lim="800000"/>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0">
                      <a:srgbClr val="FFFFFF"/>
                    </a:gs>
                    <a:gs pos="100000">
                      <a:srgbClr val="FFFFFF"/>
                    </a:gs>
                  </a:gsLst>
                  <a:lin ang="5400000" scaled="0"/>
                </a:gradFill>
                <a:latin typeface="Segoe UI"/>
              </a:endParaRPr>
            </a:p>
          </p:txBody>
        </p:sp>
        <p:sp>
          <p:nvSpPr>
            <p:cNvPr id="229" name="Circle: Hollow 70"/>
            <p:cNvSpPr/>
            <p:nvPr/>
          </p:nvSpPr>
          <p:spPr bwMode="auto">
            <a:xfrm>
              <a:off x="7489581" y="3348373"/>
              <a:ext cx="251365" cy="251365"/>
            </a:xfrm>
            <a:prstGeom prst="donut">
              <a:avLst/>
            </a:prstGeom>
            <a:solidFill>
              <a:srgbClr val="B8D432"/>
            </a:solidFill>
            <a:ln w="38100" cap="flat" cmpd="sng" algn="ctr">
              <a:noFill/>
              <a:prstDash val="solid"/>
              <a:miter lim="800000"/>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0">
                      <a:srgbClr val="FFFFFF"/>
                    </a:gs>
                    <a:gs pos="100000">
                      <a:srgbClr val="FFFFFF"/>
                    </a:gs>
                  </a:gsLst>
                  <a:lin ang="5400000" scaled="0"/>
                </a:gradFill>
                <a:latin typeface="Segoe UI"/>
              </a:endParaRPr>
            </a:p>
          </p:txBody>
        </p:sp>
        <p:cxnSp>
          <p:nvCxnSpPr>
            <p:cNvPr id="230" name="Straight Connector 229"/>
            <p:cNvCxnSpPr>
              <a:cxnSpLocks/>
            </p:cNvCxnSpPr>
            <p:nvPr/>
          </p:nvCxnSpPr>
          <p:spPr>
            <a:xfrm>
              <a:off x="6572187" y="3816580"/>
              <a:ext cx="928793" cy="0"/>
            </a:xfrm>
            <a:prstGeom prst="line">
              <a:avLst/>
            </a:prstGeom>
            <a:noFill/>
            <a:ln w="38100" cap="flat" cmpd="sng" algn="ctr">
              <a:solidFill>
                <a:srgbClr val="59B4D9"/>
              </a:solidFill>
              <a:prstDash val="sysDot"/>
              <a:miter lim="800000"/>
              <a:headEnd type="none"/>
              <a:tailEnd type="none"/>
            </a:ln>
            <a:effectLst/>
          </p:spPr>
        </p:cxnSp>
        <p:sp>
          <p:nvSpPr>
            <p:cNvPr id="231" name="Oval 230"/>
            <p:cNvSpPr/>
            <p:nvPr/>
          </p:nvSpPr>
          <p:spPr bwMode="auto">
            <a:xfrm>
              <a:off x="6320820" y="3690898"/>
              <a:ext cx="251367" cy="251367"/>
            </a:xfrm>
            <a:prstGeom prst="ellipse">
              <a:avLst/>
            </a:prstGeom>
            <a:solidFill>
              <a:srgbClr val="FFFFFF"/>
            </a:solidFill>
            <a:ln w="3175" cap="flat" cmpd="sng" algn="ctr">
              <a:noFill/>
              <a:prstDash val="solid"/>
              <a:miter lim="800000"/>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0">
                      <a:srgbClr val="FFFFFF"/>
                    </a:gs>
                    <a:gs pos="100000">
                      <a:srgbClr val="FFFFFF"/>
                    </a:gs>
                  </a:gsLst>
                  <a:lin ang="5400000" scaled="0"/>
                </a:gradFill>
                <a:latin typeface="Segoe UI"/>
              </a:endParaRPr>
            </a:p>
          </p:txBody>
        </p:sp>
        <p:sp>
          <p:nvSpPr>
            <p:cNvPr id="232" name="Circle: Hollow 73"/>
            <p:cNvSpPr/>
            <p:nvPr/>
          </p:nvSpPr>
          <p:spPr bwMode="auto">
            <a:xfrm>
              <a:off x="7489581" y="3690898"/>
              <a:ext cx="251365" cy="251365"/>
            </a:xfrm>
            <a:prstGeom prst="donut">
              <a:avLst/>
            </a:prstGeom>
            <a:solidFill>
              <a:srgbClr val="B8D432"/>
            </a:solidFill>
            <a:ln w="38100" cap="flat" cmpd="sng" algn="ctr">
              <a:noFill/>
              <a:prstDash val="solid"/>
              <a:miter lim="800000"/>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0">
                      <a:srgbClr val="FFFFFF"/>
                    </a:gs>
                    <a:gs pos="100000">
                      <a:srgbClr val="FFFFFF"/>
                    </a:gs>
                  </a:gsLst>
                  <a:lin ang="5400000" scaled="0"/>
                </a:gradFill>
                <a:latin typeface="Segoe UI"/>
              </a:endParaRPr>
            </a:p>
          </p:txBody>
        </p:sp>
        <p:sp>
          <p:nvSpPr>
            <p:cNvPr id="233" name="TextBox 232"/>
            <p:cNvSpPr txBox="1"/>
            <p:nvPr/>
          </p:nvSpPr>
          <p:spPr>
            <a:xfrm>
              <a:off x="6320820" y="4002328"/>
              <a:ext cx="1116203" cy="343492"/>
            </a:xfrm>
            <a:prstGeom prst="rect">
              <a:avLst/>
            </a:prstGeom>
            <a:noFill/>
          </p:spPr>
          <p:txBody>
            <a:bodyPr wrap="none" lIns="0" rtlCol="0">
              <a:spAutoFit/>
            </a:bodyPr>
            <a:lstStyle/>
            <a:p>
              <a:r>
                <a:rPr lang="en-US" sz="1632">
                  <a:solidFill>
                    <a:srgbClr val="59B4D9"/>
                  </a:solidFill>
                  <a:latin typeface="Segoe UI" charset="0"/>
                  <a:ea typeface="Segoe UI" charset="0"/>
                  <a:cs typeface="Segoe UI" charset="0"/>
                </a:rPr>
                <a:t>KEY-VALUE</a:t>
              </a:r>
            </a:p>
          </p:txBody>
        </p:sp>
      </p:grpSp>
      <p:grpSp>
        <p:nvGrpSpPr>
          <p:cNvPr id="6" name="Group 5"/>
          <p:cNvGrpSpPr/>
          <p:nvPr/>
        </p:nvGrpSpPr>
        <p:grpSpPr>
          <a:xfrm>
            <a:off x="8947881" y="3488842"/>
            <a:ext cx="1744978" cy="1033469"/>
            <a:chOff x="9255136" y="3332523"/>
            <a:chExt cx="1710918" cy="1013297"/>
          </a:xfrm>
        </p:grpSpPr>
        <p:cxnSp>
          <p:nvCxnSpPr>
            <p:cNvPr id="218" name="Straight Connector 217"/>
            <p:cNvCxnSpPr>
              <a:cxnSpLocks/>
            </p:cNvCxnSpPr>
            <p:nvPr/>
          </p:nvCxnSpPr>
          <p:spPr>
            <a:xfrm>
              <a:off x="9541821" y="3458204"/>
              <a:ext cx="377347" cy="0"/>
            </a:xfrm>
            <a:prstGeom prst="line">
              <a:avLst/>
            </a:prstGeom>
            <a:noFill/>
            <a:ln w="38100" cap="flat" cmpd="sng" algn="ctr">
              <a:solidFill>
                <a:srgbClr val="59B4D9"/>
              </a:solidFill>
              <a:prstDash val="sysDot"/>
              <a:miter lim="800000"/>
              <a:headEnd type="none"/>
              <a:tailEnd type="none"/>
            </a:ln>
            <a:effectLst/>
          </p:spPr>
        </p:cxnSp>
        <p:sp>
          <p:nvSpPr>
            <p:cNvPr id="219" name="Oval 218"/>
            <p:cNvSpPr/>
            <p:nvPr/>
          </p:nvSpPr>
          <p:spPr bwMode="auto">
            <a:xfrm>
              <a:off x="9255136" y="3332523"/>
              <a:ext cx="251367" cy="251363"/>
            </a:xfrm>
            <a:prstGeom prst="ellipse">
              <a:avLst/>
            </a:prstGeom>
            <a:solidFill>
              <a:srgbClr val="FFFFFF"/>
            </a:solidFill>
            <a:ln w="3175" cap="flat" cmpd="sng" algn="ctr">
              <a:noFill/>
              <a:prstDash val="solid"/>
              <a:miter lim="800000"/>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0">
                      <a:srgbClr val="FFFFFF"/>
                    </a:gs>
                    <a:gs pos="100000">
                      <a:srgbClr val="FFFFFF"/>
                    </a:gs>
                  </a:gsLst>
                  <a:lin ang="5400000" scaled="0"/>
                </a:gradFill>
                <a:latin typeface="Segoe UI"/>
              </a:endParaRPr>
            </a:p>
          </p:txBody>
        </p:sp>
        <p:sp>
          <p:nvSpPr>
            <p:cNvPr id="220" name="Circle: Hollow 61"/>
            <p:cNvSpPr/>
            <p:nvPr/>
          </p:nvSpPr>
          <p:spPr bwMode="auto">
            <a:xfrm>
              <a:off x="9907772" y="3332523"/>
              <a:ext cx="251365" cy="251363"/>
            </a:xfrm>
            <a:prstGeom prst="donut">
              <a:avLst/>
            </a:prstGeom>
            <a:solidFill>
              <a:srgbClr val="B8D432"/>
            </a:solidFill>
            <a:ln w="38100" cap="flat" cmpd="sng" algn="ctr">
              <a:noFill/>
              <a:prstDash val="solid"/>
              <a:miter lim="800000"/>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0">
                      <a:srgbClr val="FFFFFF"/>
                    </a:gs>
                    <a:gs pos="100000">
                      <a:srgbClr val="FFFFFF"/>
                    </a:gs>
                  </a:gsLst>
                  <a:lin ang="5400000" scaled="0"/>
                </a:gradFill>
                <a:latin typeface="Segoe UI"/>
              </a:endParaRPr>
            </a:p>
          </p:txBody>
        </p:sp>
        <p:sp>
          <p:nvSpPr>
            <p:cNvPr id="221" name="Circle: Hollow 62"/>
            <p:cNvSpPr/>
            <p:nvPr/>
          </p:nvSpPr>
          <p:spPr bwMode="auto">
            <a:xfrm>
              <a:off x="10178270" y="3332523"/>
              <a:ext cx="251365" cy="251363"/>
            </a:xfrm>
            <a:prstGeom prst="donut">
              <a:avLst/>
            </a:prstGeom>
            <a:solidFill>
              <a:srgbClr val="B8D432"/>
            </a:solidFill>
            <a:ln w="38100" cap="flat" cmpd="sng" algn="ctr">
              <a:noFill/>
              <a:prstDash val="solid"/>
              <a:miter lim="800000"/>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0">
                      <a:srgbClr val="FFFFFF"/>
                    </a:gs>
                    <a:gs pos="100000">
                      <a:srgbClr val="FFFFFF"/>
                    </a:gs>
                  </a:gsLst>
                  <a:lin ang="5400000" scaled="0"/>
                </a:gradFill>
                <a:latin typeface="Segoe UI"/>
              </a:endParaRPr>
            </a:p>
          </p:txBody>
        </p:sp>
        <p:sp>
          <p:nvSpPr>
            <p:cNvPr id="222" name="Circle: Hollow 63"/>
            <p:cNvSpPr/>
            <p:nvPr/>
          </p:nvSpPr>
          <p:spPr bwMode="auto">
            <a:xfrm>
              <a:off x="10448770" y="3332523"/>
              <a:ext cx="251365" cy="251363"/>
            </a:xfrm>
            <a:prstGeom prst="donut">
              <a:avLst/>
            </a:prstGeom>
            <a:solidFill>
              <a:srgbClr val="B8D432"/>
            </a:solidFill>
            <a:ln w="38100" cap="flat" cmpd="sng" algn="ctr">
              <a:noFill/>
              <a:prstDash val="solid"/>
              <a:miter lim="800000"/>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0">
                      <a:srgbClr val="FFFFFF"/>
                    </a:gs>
                    <a:gs pos="100000">
                      <a:srgbClr val="FFFFFF"/>
                    </a:gs>
                  </a:gsLst>
                  <a:lin ang="5400000" scaled="0"/>
                </a:gradFill>
                <a:latin typeface="Segoe UI"/>
              </a:endParaRPr>
            </a:p>
          </p:txBody>
        </p:sp>
        <p:sp>
          <p:nvSpPr>
            <p:cNvPr id="223" name="TextBox 222"/>
            <p:cNvSpPr txBox="1"/>
            <p:nvPr/>
          </p:nvSpPr>
          <p:spPr>
            <a:xfrm>
              <a:off x="9255136" y="4002328"/>
              <a:ext cx="1710918" cy="343492"/>
            </a:xfrm>
            <a:prstGeom prst="rect">
              <a:avLst/>
            </a:prstGeom>
            <a:noFill/>
          </p:spPr>
          <p:txBody>
            <a:bodyPr wrap="none" lIns="0" rtlCol="0">
              <a:spAutoFit/>
            </a:bodyPr>
            <a:lstStyle/>
            <a:p>
              <a:r>
                <a:rPr lang="en-US" sz="1632">
                  <a:solidFill>
                    <a:srgbClr val="59B4D9"/>
                  </a:solidFill>
                  <a:latin typeface="Segoe UI" charset="0"/>
                  <a:ea typeface="Segoe UI" charset="0"/>
                  <a:cs typeface="Segoe UI" charset="0"/>
                </a:rPr>
                <a:t>COLUMN-FAMILY</a:t>
              </a:r>
            </a:p>
          </p:txBody>
        </p:sp>
      </p:grpSp>
      <p:grpSp>
        <p:nvGrpSpPr>
          <p:cNvPr id="8" name="Group 7"/>
          <p:cNvGrpSpPr/>
          <p:nvPr/>
        </p:nvGrpSpPr>
        <p:grpSpPr>
          <a:xfrm>
            <a:off x="6808571" y="4933946"/>
            <a:ext cx="1254960" cy="1511313"/>
            <a:chOff x="6320820" y="4918446"/>
            <a:chExt cx="1230465" cy="1481814"/>
          </a:xfrm>
        </p:grpSpPr>
        <p:cxnSp>
          <p:nvCxnSpPr>
            <p:cNvPr id="204" name="Straight Connector 203"/>
            <p:cNvCxnSpPr>
              <a:cxnSpLocks/>
            </p:cNvCxnSpPr>
            <p:nvPr/>
          </p:nvCxnSpPr>
          <p:spPr>
            <a:xfrm>
              <a:off x="6320820" y="5455959"/>
              <a:ext cx="448156" cy="136562"/>
            </a:xfrm>
            <a:prstGeom prst="line">
              <a:avLst/>
            </a:prstGeom>
            <a:solidFill>
              <a:srgbClr val="B8D432"/>
            </a:solidFill>
            <a:ln w="38100" cap="flat" cmpd="sng" algn="ctr">
              <a:solidFill>
                <a:srgbClr val="59B4D9"/>
              </a:solidFill>
              <a:prstDash val="sysDot"/>
              <a:miter lim="800000"/>
              <a:headEnd type="none"/>
              <a:tailEnd type="none"/>
            </a:ln>
            <a:effectLst/>
          </p:spPr>
        </p:cxnSp>
        <p:cxnSp>
          <p:nvCxnSpPr>
            <p:cNvPr id="205" name="Straight Connector 204"/>
            <p:cNvCxnSpPr>
              <a:cxnSpLocks/>
            </p:cNvCxnSpPr>
            <p:nvPr/>
          </p:nvCxnSpPr>
          <p:spPr>
            <a:xfrm flipV="1">
              <a:off x="6320820" y="5319397"/>
              <a:ext cx="440187" cy="136562"/>
            </a:xfrm>
            <a:prstGeom prst="line">
              <a:avLst/>
            </a:prstGeom>
            <a:solidFill>
              <a:srgbClr val="B8D432"/>
            </a:solidFill>
            <a:ln w="38100" cap="flat" cmpd="sng" algn="ctr">
              <a:solidFill>
                <a:srgbClr val="59B4D9"/>
              </a:solidFill>
              <a:prstDash val="sysDot"/>
              <a:miter lim="800000"/>
              <a:headEnd type="none"/>
              <a:tailEnd type="none"/>
            </a:ln>
            <a:effectLst/>
          </p:spPr>
        </p:cxnSp>
        <p:sp>
          <p:nvSpPr>
            <p:cNvPr id="206" name="Oval 205"/>
            <p:cNvSpPr/>
            <p:nvPr/>
          </p:nvSpPr>
          <p:spPr bwMode="auto">
            <a:xfrm>
              <a:off x="6320820" y="5326877"/>
              <a:ext cx="258162" cy="258162"/>
            </a:xfrm>
            <a:prstGeom prst="ellipse">
              <a:avLst/>
            </a:prstGeom>
            <a:solidFill>
              <a:srgbClr val="B8D432"/>
            </a:solidFill>
            <a:ln w="12700" cap="flat" cmpd="sng" algn="ctr">
              <a:noFill/>
              <a:prstDash val="solid"/>
              <a:miter lim="800000"/>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solidFill>
                  <a:srgbClr val="FFFFFF"/>
                </a:solidFill>
                <a:latin typeface="Segoe UI"/>
              </a:endParaRPr>
            </a:p>
          </p:txBody>
        </p:sp>
        <p:cxnSp>
          <p:nvCxnSpPr>
            <p:cNvPr id="207" name="Straight Connector 206"/>
            <p:cNvCxnSpPr>
              <a:cxnSpLocks/>
            </p:cNvCxnSpPr>
            <p:nvPr/>
          </p:nvCxnSpPr>
          <p:spPr>
            <a:xfrm>
              <a:off x="6768976" y="5592521"/>
              <a:ext cx="454413" cy="203966"/>
            </a:xfrm>
            <a:prstGeom prst="line">
              <a:avLst/>
            </a:prstGeom>
            <a:solidFill>
              <a:srgbClr val="B8D432"/>
            </a:solidFill>
            <a:ln w="38100" cap="flat" cmpd="sng" algn="ctr">
              <a:solidFill>
                <a:srgbClr val="59B4D9"/>
              </a:solidFill>
              <a:prstDash val="sysDot"/>
              <a:miter lim="800000"/>
              <a:headEnd type="none"/>
              <a:tailEnd type="none"/>
            </a:ln>
            <a:effectLst/>
          </p:spPr>
        </p:cxnSp>
        <p:cxnSp>
          <p:nvCxnSpPr>
            <p:cNvPr id="208" name="Straight Connector 207"/>
            <p:cNvCxnSpPr>
              <a:cxnSpLocks/>
            </p:cNvCxnSpPr>
            <p:nvPr/>
          </p:nvCxnSpPr>
          <p:spPr>
            <a:xfrm>
              <a:off x="6768976" y="5592521"/>
              <a:ext cx="432215" cy="2561"/>
            </a:xfrm>
            <a:prstGeom prst="line">
              <a:avLst/>
            </a:prstGeom>
            <a:solidFill>
              <a:srgbClr val="B8D432"/>
            </a:solidFill>
            <a:ln w="38100" cap="flat" cmpd="sng" algn="ctr">
              <a:solidFill>
                <a:srgbClr val="59B4D9"/>
              </a:solidFill>
              <a:prstDash val="sysDot"/>
              <a:miter lim="800000"/>
              <a:headEnd type="none"/>
              <a:tailEnd type="none"/>
            </a:ln>
            <a:effectLst/>
          </p:spPr>
        </p:cxnSp>
        <p:sp>
          <p:nvSpPr>
            <p:cNvPr id="209" name="Oval 208"/>
            <p:cNvSpPr/>
            <p:nvPr/>
          </p:nvSpPr>
          <p:spPr bwMode="auto">
            <a:xfrm rot="20946206">
              <a:off x="7201191" y="5739779"/>
              <a:ext cx="258162" cy="258162"/>
            </a:xfrm>
            <a:prstGeom prst="ellipse">
              <a:avLst/>
            </a:prstGeom>
            <a:solidFill>
              <a:srgbClr val="B8D432"/>
            </a:solidFill>
            <a:ln w="12700" cap="flat" cmpd="sng" algn="ctr">
              <a:noFill/>
              <a:prstDash val="solid"/>
              <a:miter lim="800000"/>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solidFill>
                  <a:srgbClr val="FFFFFF"/>
                </a:solidFill>
                <a:latin typeface="Segoe UI"/>
              </a:endParaRPr>
            </a:p>
          </p:txBody>
        </p:sp>
        <p:sp>
          <p:nvSpPr>
            <p:cNvPr id="210" name="Oval 209"/>
            <p:cNvSpPr/>
            <p:nvPr/>
          </p:nvSpPr>
          <p:spPr bwMode="auto">
            <a:xfrm>
              <a:off x="7201191" y="5466001"/>
              <a:ext cx="258162" cy="258162"/>
            </a:xfrm>
            <a:prstGeom prst="ellipse">
              <a:avLst/>
            </a:prstGeom>
            <a:solidFill>
              <a:srgbClr val="B8D432"/>
            </a:solidFill>
            <a:ln w="12700" cap="flat" cmpd="sng" algn="ctr">
              <a:noFill/>
              <a:prstDash val="solid"/>
              <a:miter lim="800000"/>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solidFill>
                  <a:srgbClr val="FFFFFF"/>
                </a:solidFill>
                <a:latin typeface="Segoe UI"/>
              </a:endParaRPr>
            </a:p>
          </p:txBody>
        </p:sp>
        <p:cxnSp>
          <p:nvCxnSpPr>
            <p:cNvPr id="211" name="Straight Connector 210"/>
            <p:cNvCxnSpPr>
              <a:cxnSpLocks/>
            </p:cNvCxnSpPr>
            <p:nvPr/>
          </p:nvCxnSpPr>
          <p:spPr>
            <a:xfrm>
              <a:off x="6761007" y="5319399"/>
              <a:ext cx="440184" cy="1906"/>
            </a:xfrm>
            <a:prstGeom prst="line">
              <a:avLst/>
            </a:prstGeom>
            <a:solidFill>
              <a:srgbClr val="B8D432"/>
            </a:solidFill>
            <a:ln w="38100" cap="flat" cmpd="sng" algn="ctr">
              <a:solidFill>
                <a:srgbClr val="59B4D9"/>
              </a:solidFill>
              <a:prstDash val="sysDot"/>
              <a:miter lim="800000"/>
              <a:headEnd type="none"/>
              <a:tailEnd type="none"/>
            </a:ln>
            <a:effectLst/>
          </p:spPr>
        </p:cxnSp>
        <p:sp>
          <p:nvSpPr>
            <p:cNvPr id="212" name="Oval 211"/>
            <p:cNvSpPr/>
            <p:nvPr/>
          </p:nvSpPr>
          <p:spPr bwMode="auto">
            <a:xfrm>
              <a:off x="6768976" y="5463438"/>
              <a:ext cx="258162" cy="258162"/>
            </a:xfrm>
            <a:prstGeom prst="ellipse">
              <a:avLst/>
            </a:prstGeom>
            <a:solidFill>
              <a:srgbClr val="B8D432"/>
            </a:solidFill>
            <a:ln w="12700" cap="flat" cmpd="sng" algn="ctr">
              <a:noFill/>
              <a:prstDash val="solid"/>
              <a:miter lim="800000"/>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solidFill>
                  <a:srgbClr val="FFFFFF"/>
                </a:solidFill>
                <a:latin typeface="Segoe UI"/>
              </a:endParaRPr>
            </a:p>
          </p:txBody>
        </p:sp>
        <p:cxnSp>
          <p:nvCxnSpPr>
            <p:cNvPr id="213" name="Straight Connector 212"/>
            <p:cNvCxnSpPr>
              <a:cxnSpLocks/>
            </p:cNvCxnSpPr>
            <p:nvPr/>
          </p:nvCxnSpPr>
          <p:spPr>
            <a:xfrm flipV="1">
              <a:off x="6761007" y="5128243"/>
              <a:ext cx="468533" cy="191156"/>
            </a:xfrm>
            <a:prstGeom prst="line">
              <a:avLst/>
            </a:prstGeom>
            <a:solidFill>
              <a:srgbClr val="B8D432"/>
            </a:solidFill>
            <a:ln w="38100" cap="flat" cmpd="sng" algn="ctr">
              <a:solidFill>
                <a:srgbClr val="59B4D9"/>
              </a:solidFill>
              <a:prstDash val="sysDot"/>
              <a:miter lim="800000"/>
              <a:headEnd type="none"/>
              <a:tailEnd type="none"/>
            </a:ln>
            <a:effectLst/>
          </p:spPr>
        </p:cxnSp>
        <p:sp>
          <p:nvSpPr>
            <p:cNvPr id="214" name="Oval 213"/>
            <p:cNvSpPr/>
            <p:nvPr/>
          </p:nvSpPr>
          <p:spPr bwMode="auto">
            <a:xfrm>
              <a:off x="6761007" y="5190316"/>
              <a:ext cx="258162" cy="258162"/>
            </a:xfrm>
            <a:prstGeom prst="ellipse">
              <a:avLst/>
            </a:prstGeom>
            <a:solidFill>
              <a:srgbClr val="B8D432"/>
            </a:solidFill>
            <a:ln w="12700" cap="flat" cmpd="sng" algn="ctr">
              <a:noFill/>
              <a:prstDash val="solid"/>
              <a:miter lim="800000"/>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solidFill>
                  <a:srgbClr val="FFFFFF"/>
                </a:solidFill>
                <a:latin typeface="Segoe UI"/>
              </a:endParaRPr>
            </a:p>
          </p:txBody>
        </p:sp>
        <p:sp>
          <p:nvSpPr>
            <p:cNvPr id="215" name="Oval 214"/>
            <p:cNvSpPr/>
            <p:nvPr/>
          </p:nvSpPr>
          <p:spPr bwMode="auto">
            <a:xfrm>
              <a:off x="7201191" y="5192224"/>
              <a:ext cx="258162" cy="258162"/>
            </a:xfrm>
            <a:prstGeom prst="ellipse">
              <a:avLst/>
            </a:prstGeom>
            <a:solidFill>
              <a:srgbClr val="B8D432"/>
            </a:solidFill>
            <a:ln w="12700" cap="flat" cmpd="sng" algn="ctr">
              <a:noFill/>
              <a:prstDash val="solid"/>
              <a:miter lim="800000"/>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solidFill>
                  <a:srgbClr val="FFFFFF"/>
                </a:solidFill>
                <a:latin typeface="Segoe UI"/>
              </a:endParaRPr>
            </a:p>
          </p:txBody>
        </p:sp>
        <p:sp>
          <p:nvSpPr>
            <p:cNvPr id="216" name="Oval 215"/>
            <p:cNvSpPr/>
            <p:nvPr/>
          </p:nvSpPr>
          <p:spPr bwMode="auto">
            <a:xfrm rot="377738">
              <a:off x="7201191" y="4918446"/>
              <a:ext cx="258162" cy="258162"/>
            </a:xfrm>
            <a:prstGeom prst="ellipse">
              <a:avLst/>
            </a:prstGeom>
            <a:solidFill>
              <a:srgbClr val="B8D432"/>
            </a:solidFill>
            <a:ln w="12700" cap="flat" cmpd="sng" algn="ctr">
              <a:noFill/>
              <a:prstDash val="solid"/>
              <a:miter lim="800000"/>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solidFill>
                  <a:srgbClr val="FFFFFF"/>
                </a:solidFill>
                <a:latin typeface="Segoe UI"/>
              </a:endParaRPr>
            </a:p>
          </p:txBody>
        </p:sp>
        <p:sp>
          <p:nvSpPr>
            <p:cNvPr id="217" name="TextBox 216"/>
            <p:cNvSpPr txBox="1"/>
            <p:nvPr/>
          </p:nvSpPr>
          <p:spPr>
            <a:xfrm>
              <a:off x="6320820" y="6056768"/>
              <a:ext cx="1230465" cy="343492"/>
            </a:xfrm>
            <a:prstGeom prst="rect">
              <a:avLst/>
            </a:prstGeom>
            <a:noFill/>
          </p:spPr>
          <p:txBody>
            <a:bodyPr wrap="none" lIns="0" rtlCol="0">
              <a:spAutoFit/>
            </a:bodyPr>
            <a:lstStyle/>
            <a:p>
              <a:r>
                <a:rPr lang="en-US" sz="1632">
                  <a:solidFill>
                    <a:srgbClr val="59B4D9"/>
                  </a:solidFill>
                  <a:latin typeface="Segoe UI" charset="0"/>
                  <a:ea typeface="Segoe UI" charset="0"/>
                  <a:cs typeface="Segoe UI" charset="0"/>
                </a:rPr>
                <a:t>DOCUMENT</a:t>
              </a:r>
            </a:p>
          </p:txBody>
        </p:sp>
      </p:grpSp>
      <p:grpSp>
        <p:nvGrpSpPr>
          <p:cNvPr id="7" name="Group 6"/>
          <p:cNvGrpSpPr/>
          <p:nvPr/>
        </p:nvGrpSpPr>
        <p:grpSpPr>
          <a:xfrm>
            <a:off x="8977934" y="5053763"/>
            <a:ext cx="1387511" cy="1391497"/>
            <a:chOff x="9255136" y="5035923"/>
            <a:chExt cx="1360428" cy="1364337"/>
          </a:xfrm>
        </p:grpSpPr>
        <p:sp>
          <p:nvSpPr>
            <p:cNvPr id="195" name="Oval 194"/>
            <p:cNvSpPr/>
            <p:nvPr/>
          </p:nvSpPr>
          <p:spPr bwMode="auto">
            <a:xfrm rot="715722">
              <a:off x="9278401" y="5035923"/>
              <a:ext cx="251367" cy="251367"/>
            </a:xfrm>
            <a:prstGeom prst="ellipse">
              <a:avLst/>
            </a:prstGeom>
            <a:solidFill>
              <a:srgbClr val="FFFFFF"/>
            </a:solidFill>
            <a:ln w="3175" cap="flat" cmpd="sng" algn="ctr">
              <a:noFill/>
              <a:prstDash val="solid"/>
              <a:miter lim="800000"/>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0">
                      <a:srgbClr val="FFFFFF"/>
                    </a:gs>
                    <a:gs pos="100000">
                      <a:srgbClr val="FFFFFF"/>
                    </a:gs>
                  </a:gsLst>
                  <a:lin ang="5400000" scaled="0"/>
                </a:gradFill>
                <a:latin typeface="Segoe UI"/>
              </a:endParaRPr>
            </a:p>
          </p:txBody>
        </p:sp>
        <p:sp>
          <p:nvSpPr>
            <p:cNvPr id="196" name="Oval 195"/>
            <p:cNvSpPr/>
            <p:nvPr/>
          </p:nvSpPr>
          <p:spPr bwMode="auto">
            <a:xfrm>
              <a:off x="10002267" y="5193250"/>
              <a:ext cx="251367" cy="251367"/>
            </a:xfrm>
            <a:prstGeom prst="ellipse">
              <a:avLst/>
            </a:prstGeom>
            <a:solidFill>
              <a:srgbClr val="FFFFFF"/>
            </a:solidFill>
            <a:ln w="3175" cap="flat" cmpd="sng" algn="ctr">
              <a:noFill/>
              <a:prstDash val="solid"/>
              <a:miter lim="800000"/>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0">
                      <a:srgbClr val="FFFFFF"/>
                    </a:gs>
                    <a:gs pos="100000">
                      <a:srgbClr val="FFFFFF"/>
                    </a:gs>
                  </a:gsLst>
                  <a:lin ang="5400000" scaled="0"/>
                </a:gradFill>
                <a:latin typeface="Segoe UI"/>
              </a:endParaRPr>
            </a:p>
          </p:txBody>
        </p:sp>
        <p:sp>
          <p:nvSpPr>
            <p:cNvPr id="197" name="Oval 196"/>
            <p:cNvSpPr/>
            <p:nvPr/>
          </p:nvSpPr>
          <p:spPr bwMode="auto">
            <a:xfrm>
              <a:off x="9640334" y="5644746"/>
              <a:ext cx="251367" cy="251367"/>
            </a:xfrm>
            <a:prstGeom prst="ellipse">
              <a:avLst/>
            </a:prstGeom>
            <a:solidFill>
              <a:srgbClr val="FFFFFF"/>
            </a:solidFill>
            <a:ln w="3175" cap="flat" cmpd="sng" algn="ctr">
              <a:noFill/>
              <a:prstDash val="solid"/>
              <a:miter lim="800000"/>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0">
                      <a:srgbClr val="FFFFFF"/>
                    </a:gs>
                    <a:gs pos="100000">
                      <a:srgbClr val="FFFFFF"/>
                    </a:gs>
                  </a:gsLst>
                  <a:lin ang="5400000" scaled="0"/>
                </a:gradFill>
                <a:latin typeface="Segoe UI"/>
              </a:endParaRPr>
            </a:p>
          </p:txBody>
        </p:sp>
        <p:sp>
          <p:nvSpPr>
            <p:cNvPr id="198" name="Oval 197"/>
            <p:cNvSpPr/>
            <p:nvPr/>
          </p:nvSpPr>
          <p:spPr bwMode="auto">
            <a:xfrm>
              <a:off x="10364197" y="5644746"/>
              <a:ext cx="251367" cy="251367"/>
            </a:xfrm>
            <a:prstGeom prst="ellipse">
              <a:avLst/>
            </a:prstGeom>
            <a:solidFill>
              <a:srgbClr val="FFFFFF"/>
            </a:solidFill>
            <a:ln w="3175" cap="flat" cmpd="sng" algn="ctr">
              <a:noFill/>
              <a:prstDash val="solid"/>
              <a:miter lim="800000"/>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0">
                      <a:srgbClr val="FFFFFF"/>
                    </a:gs>
                    <a:gs pos="100000">
                      <a:srgbClr val="FFFFFF"/>
                    </a:gs>
                  </a:gsLst>
                  <a:lin ang="5400000" scaled="0"/>
                </a:gradFill>
                <a:latin typeface="Segoe UI"/>
              </a:endParaRPr>
            </a:p>
          </p:txBody>
        </p:sp>
        <p:cxnSp>
          <p:nvCxnSpPr>
            <p:cNvPr id="199" name="Straight Connector 198"/>
            <p:cNvCxnSpPr>
              <a:cxnSpLocks/>
            </p:cNvCxnSpPr>
            <p:nvPr/>
          </p:nvCxnSpPr>
          <p:spPr>
            <a:xfrm>
              <a:off x="9527053" y="5187586"/>
              <a:ext cx="475213" cy="131349"/>
            </a:xfrm>
            <a:prstGeom prst="line">
              <a:avLst/>
            </a:prstGeom>
            <a:solidFill>
              <a:srgbClr val="59B4D9"/>
            </a:solidFill>
            <a:ln w="38100" cap="flat" cmpd="sng" algn="ctr">
              <a:solidFill>
                <a:srgbClr val="59B4D9"/>
              </a:solidFill>
              <a:prstDash val="sysDot"/>
              <a:miter lim="800000"/>
              <a:headEnd type="none"/>
              <a:tailEnd type="none"/>
            </a:ln>
            <a:effectLst/>
          </p:spPr>
        </p:cxnSp>
        <p:cxnSp>
          <p:nvCxnSpPr>
            <p:cNvPr id="200" name="Straight Connector 199"/>
            <p:cNvCxnSpPr>
              <a:cxnSpLocks/>
            </p:cNvCxnSpPr>
            <p:nvPr/>
          </p:nvCxnSpPr>
          <p:spPr>
            <a:xfrm>
              <a:off x="9891700" y="5770429"/>
              <a:ext cx="472496" cy="0"/>
            </a:xfrm>
            <a:prstGeom prst="line">
              <a:avLst/>
            </a:prstGeom>
            <a:solidFill>
              <a:srgbClr val="59B4D9"/>
            </a:solidFill>
            <a:ln w="38100" cap="flat" cmpd="sng" algn="ctr">
              <a:solidFill>
                <a:srgbClr val="59B4D9"/>
              </a:solidFill>
              <a:prstDash val="sysDot"/>
              <a:miter lim="800000"/>
              <a:headEnd type="none"/>
              <a:tailEnd type="none"/>
            </a:ln>
            <a:effectLst/>
          </p:spPr>
        </p:cxnSp>
        <p:cxnSp>
          <p:nvCxnSpPr>
            <p:cNvPr id="201" name="Straight Connector 200"/>
            <p:cNvCxnSpPr>
              <a:cxnSpLocks/>
            </p:cNvCxnSpPr>
            <p:nvPr/>
          </p:nvCxnSpPr>
          <p:spPr>
            <a:xfrm>
              <a:off x="10216821" y="5407806"/>
              <a:ext cx="184188" cy="273752"/>
            </a:xfrm>
            <a:prstGeom prst="line">
              <a:avLst/>
            </a:prstGeom>
            <a:solidFill>
              <a:srgbClr val="59B4D9"/>
            </a:solidFill>
            <a:ln w="38100" cap="flat" cmpd="sng" algn="ctr">
              <a:solidFill>
                <a:srgbClr val="59B4D9"/>
              </a:solidFill>
              <a:prstDash val="sysDot"/>
              <a:miter lim="800000"/>
              <a:headEnd type="none"/>
              <a:tailEnd type="none"/>
            </a:ln>
            <a:effectLst/>
          </p:spPr>
        </p:cxnSp>
        <p:cxnSp>
          <p:nvCxnSpPr>
            <p:cNvPr id="202" name="Straight Connector 201"/>
            <p:cNvCxnSpPr>
              <a:cxnSpLocks/>
            </p:cNvCxnSpPr>
            <p:nvPr/>
          </p:nvCxnSpPr>
          <p:spPr>
            <a:xfrm flipV="1">
              <a:off x="9854889" y="5407806"/>
              <a:ext cx="184190" cy="273752"/>
            </a:xfrm>
            <a:prstGeom prst="line">
              <a:avLst/>
            </a:prstGeom>
            <a:solidFill>
              <a:srgbClr val="59B4D9"/>
            </a:solidFill>
            <a:ln w="38100" cap="flat" cmpd="sng" algn="ctr">
              <a:solidFill>
                <a:srgbClr val="59B4D9"/>
              </a:solidFill>
              <a:prstDash val="sysDot"/>
              <a:miter lim="800000"/>
              <a:headEnd type="none"/>
              <a:tailEnd type="none"/>
            </a:ln>
            <a:effectLst/>
          </p:spPr>
        </p:cxnSp>
        <p:sp>
          <p:nvSpPr>
            <p:cNvPr id="203" name="TextBox 202"/>
            <p:cNvSpPr txBox="1"/>
            <p:nvPr/>
          </p:nvSpPr>
          <p:spPr>
            <a:xfrm>
              <a:off x="9255136" y="6056768"/>
              <a:ext cx="762388" cy="343492"/>
            </a:xfrm>
            <a:prstGeom prst="rect">
              <a:avLst/>
            </a:prstGeom>
            <a:noFill/>
          </p:spPr>
          <p:txBody>
            <a:bodyPr wrap="none" lIns="0" rtlCol="0">
              <a:spAutoFit/>
            </a:bodyPr>
            <a:lstStyle/>
            <a:p>
              <a:r>
                <a:rPr lang="en-US" sz="1632">
                  <a:solidFill>
                    <a:srgbClr val="59B4D9"/>
                  </a:solidFill>
                  <a:latin typeface="Segoe UI" charset="0"/>
                  <a:ea typeface="Segoe UI" charset="0"/>
                  <a:cs typeface="Segoe UI" charset="0"/>
                </a:rPr>
                <a:t>GRAPH</a:t>
              </a:r>
            </a:p>
          </p:txBody>
        </p:sp>
      </p:grpSp>
    </p:spTree>
    <p:extLst>
      <p:ext uri="{BB962C8B-B14F-4D97-AF65-F5344CB8AC3E}">
        <p14:creationId xmlns:p14="http://schemas.microsoft.com/office/powerpoint/2010/main" val="2404956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84">
                                            <p:txEl>
                                              <p:pRg st="0" end="0"/>
                                            </p:txEl>
                                          </p:spTgt>
                                        </p:tgtEl>
                                        <p:attrNameLst>
                                          <p:attrName>style.visibility</p:attrName>
                                        </p:attrNameLst>
                                      </p:cBhvr>
                                      <p:to>
                                        <p:strVal val="visible"/>
                                      </p:to>
                                    </p:set>
                                    <p:animEffect transition="in" filter="fade">
                                      <p:cBhvr>
                                        <p:cTn id="7" dur="500"/>
                                        <p:tgtEl>
                                          <p:spTgt spid="184">
                                            <p:txEl>
                                              <p:pRg st="0" end="0"/>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185"/>
                                        </p:tgtEl>
                                        <p:attrNameLst>
                                          <p:attrName>style.visibility</p:attrName>
                                        </p:attrNameLst>
                                      </p:cBhvr>
                                      <p:to>
                                        <p:strVal val="visible"/>
                                      </p:to>
                                    </p:set>
                                    <p:animEffect transition="in" filter="fade">
                                      <p:cBhvr>
                                        <p:cTn id="10" dur="500"/>
                                        <p:tgtEl>
                                          <p:spTgt spid="18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4" grpId="0" build="p"/>
    </p:bld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1" name="Rectangle 150"/>
          <p:cNvSpPr/>
          <p:nvPr/>
        </p:nvSpPr>
        <p:spPr>
          <a:xfrm>
            <a:off x="89" y="2024342"/>
            <a:ext cx="4934105" cy="4970183"/>
          </a:xfrm>
          <a:prstGeom prst="rect">
            <a:avLst/>
          </a:prstGeom>
          <a:solidFill>
            <a:srgbClr val="3999C6"/>
          </a:solidFill>
          <a:ln w="12700" cap="flat" cmpd="sng" algn="ctr">
            <a:noFill/>
            <a:prstDash val="solid"/>
            <a:miter lim="800000"/>
          </a:ln>
          <a:effectLst/>
        </p:spPr>
        <p:txBody>
          <a:bodyPr rtlCol="0" anchor="ctr"/>
          <a:lstStyle/>
          <a:p>
            <a:pPr algn="ctr" defTabSz="932597">
              <a:defRPr/>
            </a:pPr>
            <a:endParaRPr lang="en-US" sz="1836" kern="0">
              <a:solidFill>
                <a:srgbClr val="FFFFFF"/>
              </a:solidFill>
              <a:latin typeface="Calibri" panose="020F0502020204030204"/>
              <a:ea typeface=""/>
              <a:cs typeface=""/>
            </a:endParaRPr>
          </a:p>
        </p:txBody>
      </p:sp>
      <p:sp>
        <p:nvSpPr>
          <p:cNvPr id="11" name="Title 10"/>
          <p:cNvSpPr>
            <a:spLocks noGrp="1"/>
          </p:cNvSpPr>
          <p:nvPr>
            <p:ph type="title"/>
          </p:nvPr>
        </p:nvSpPr>
        <p:spPr/>
        <p:txBody>
          <a:bodyPr>
            <a:noAutofit/>
          </a:bodyPr>
          <a:lstStyle/>
          <a:p>
            <a:r>
              <a:rPr lang="en-US"/>
              <a:t>Introducing Azure Cosmos DB</a:t>
            </a:r>
            <a:br>
              <a:rPr lang="en-US"/>
            </a:br>
            <a:r>
              <a:rPr lang="en-US" sz="2448">
                <a:solidFill>
                  <a:schemeClr val="accent1"/>
                </a:solidFill>
              </a:rPr>
              <a:t>A globally distributed, massively scalable, multi-model database service</a:t>
            </a:r>
          </a:p>
        </p:txBody>
      </p:sp>
      <p:sp>
        <p:nvSpPr>
          <p:cNvPr id="3" name="Content Placeholder 2"/>
          <p:cNvSpPr>
            <a:spLocks noGrp="1"/>
          </p:cNvSpPr>
          <p:nvPr>
            <p:ph sz="half" idx="4294967295"/>
          </p:nvPr>
        </p:nvSpPr>
        <p:spPr>
          <a:xfrm>
            <a:off x="446892" y="2490181"/>
            <a:ext cx="2721713" cy="476479"/>
          </a:xfrm>
        </p:spPr>
        <p:txBody>
          <a:bodyPr wrap="square">
            <a:spAutoFit/>
          </a:bodyPr>
          <a:lstStyle/>
          <a:p>
            <a:pPr marL="0" indent="0">
              <a:buNone/>
            </a:pPr>
            <a:r>
              <a:rPr lang="en-US" sz="2040" b="1">
                <a:solidFill>
                  <a:srgbClr val="59B4D9"/>
                </a:solidFill>
                <a:latin typeface="Segoe UI" charset="0"/>
                <a:ea typeface="Segoe UI" charset="0"/>
                <a:cs typeface="Segoe UI" charset="0"/>
              </a:rPr>
              <a:t>Global distribution</a:t>
            </a:r>
          </a:p>
        </p:txBody>
      </p:sp>
      <p:grpSp>
        <p:nvGrpSpPr>
          <p:cNvPr id="323" name="Group 322"/>
          <p:cNvGrpSpPr/>
          <p:nvPr/>
        </p:nvGrpSpPr>
        <p:grpSpPr>
          <a:xfrm>
            <a:off x="-3919" y="2526364"/>
            <a:ext cx="450812" cy="305337"/>
            <a:chOff x="6082249" y="5559189"/>
            <a:chExt cx="564210" cy="382141"/>
          </a:xfrm>
          <a:solidFill>
            <a:schemeClr val="accent6"/>
          </a:solidFill>
        </p:grpSpPr>
        <p:sp>
          <p:nvSpPr>
            <p:cNvPr id="324" name="Isosceles Triangle 31"/>
            <p:cNvSpPr/>
            <p:nvPr/>
          </p:nvSpPr>
          <p:spPr bwMode="auto">
            <a:xfrm rot="5400000">
              <a:off x="6359855" y="5654725"/>
              <a:ext cx="382140" cy="191069"/>
            </a:xfrm>
            <a:prstGeom prst="triangle">
              <a:avLst>
                <a:gd name="adj" fmla="val 49896"/>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err="1">
                <a:gradFill>
                  <a:gsLst>
                    <a:gs pos="0">
                      <a:srgbClr val="FFFFFF"/>
                    </a:gs>
                    <a:gs pos="100000">
                      <a:srgbClr val="FFFFFF"/>
                    </a:gs>
                  </a:gsLst>
                  <a:lin ang="5400000" scaled="0"/>
                </a:gradFill>
                <a:ea typeface="Segoe UI" pitchFamily="34" charset="0"/>
                <a:cs typeface="Segoe UI" pitchFamily="34" charset="0"/>
              </a:endParaRPr>
            </a:p>
          </p:txBody>
        </p:sp>
        <p:sp>
          <p:nvSpPr>
            <p:cNvPr id="325" name="Rectangle 324"/>
            <p:cNvSpPr/>
            <p:nvPr/>
          </p:nvSpPr>
          <p:spPr bwMode="auto">
            <a:xfrm>
              <a:off x="6082249" y="5559189"/>
              <a:ext cx="373140" cy="382141"/>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err="1">
                <a:gradFill>
                  <a:gsLst>
                    <a:gs pos="0">
                      <a:srgbClr val="FFFFFF"/>
                    </a:gs>
                    <a:gs pos="100000">
                      <a:srgbClr val="FFFFFF"/>
                    </a:gs>
                  </a:gsLst>
                  <a:lin ang="5400000" scaled="0"/>
                </a:gradFill>
                <a:ea typeface="Segoe UI" pitchFamily="34" charset="0"/>
                <a:cs typeface="Segoe UI" pitchFamily="34" charset="0"/>
              </a:endParaRPr>
            </a:p>
          </p:txBody>
        </p:sp>
      </p:grpSp>
      <p:sp>
        <p:nvSpPr>
          <p:cNvPr id="184" name="Content Placeholder 2"/>
          <p:cNvSpPr txBox="1">
            <a:spLocks/>
          </p:cNvSpPr>
          <p:nvPr/>
        </p:nvSpPr>
        <p:spPr>
          <a:xfrm>
            <a:off x="446892" y="3218776"/>
            <a:ext cx="3395260" cy="382308"/>
          </a:xfrm>
          <a:prstGeom prst="rect">
            <a:avLst/>
          </a:prstGeom>
        </p:spPr>
        <p:txBody>
          <a:bodyPr vert="horz" wrap="square" lIns="93260" tIns="46630" rIns="93260" bIns="4663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40" b="1">
                <a:solidFill>
                  <a:srgbClr val="59B4D9"/>
                </a:solidFill>
                <a:latin typeface="Segoe UI" charset="0"/>
                <a:ea typeface="Segoe UI" charset="0"/>
                <a:cs typeface="Segoe UI" charset="0"/>
              </a:rPr>
              <a:t>Multi-model + multi API</a:t>
            </a:r>
          </a:p>
        </p:txBody>
      </p:sp>
      <p:grpSp>
        <p:nvGrpSpPr>
          <p:cNvPr id="185" name="Group 184"/>
          <p:cNvGrpSpPr/>
          <p:nvPr/>
        </p:nvGrpSpPr>
        <p:grpSpPr>
          <a:xfrm>
            <a:off x="-3919" y="3252560"/>
            <a:ext cx="450812" cy="305337"/>
            <a:chOff x="6082249" y="5559189"/>
            <a:chExt cx="564210" cy="382141"/>
          </a:xfrm>
          <a:solidFill>
            <a:schemeClr val="accent6"/>
          </a:solidFill>
        </p:grpSpPr>
        <p:sp>
          <p:nvSpPr>
            <p:cNvPr id="186" name="Isosceles Triangle 28"/>
            <p:cNvSpPr/>
            <p:nvPr/>
          </p:nvSpPr>
          <p:spPr bwMode="auto">
            <a:xfrm rot="5400000">
              <a:off x="6359855" y="5654725"/>
              <a:ext cx="382140" cy="191069"/>
            </a:xfrm>
            <a:prstGeom prst="triangle">
              <a:avLst>
                <a:gd name="adj" fmla="val 49896"/>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err="1">
                <a:gradFill>
                  <a:gsLst>
                    <a:gs pos="0">
                      <a:srgbClr val="FFFFFF"/>
                    </a:gs>
                    <a:gs pos="100000">
                      <a:srgbClr val="FFFFFF"/>
                    </a:gs>
                  </a:gsLst>
                  <a:lin ang="5400000" scaled="0"/>
                </a:gradFill>
                <a:ea typeface="Segoe UI" pitchFamily="34" charset="0"/>
                <a:cs typeface="Segoe UI" pitchFamily="34" charset="0"/>
              </a:endParaRPr>
            </a:p>
          </p:txBody>
        </p:sp>
        <p:sp>
          <p:nvSpPr>
            <p:cNvPr id="187" name="Rectangle 186"/>
            <p:cNvSpPr/>
            <p:nvPr/>
          </p:nvSpPr>
          <p:spPr bwMode="auto">
            <a:xfrm>
              <a:off x="6082249" y="5559189"/>
              <a:ext cx="373140" cy="382141"/>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err="1">
                <a:gradFill>
                  <a:gsLst>
                    <a:gs pos="0">
                      <a:srgbClr val="FFFFFF"/>
                    </a:gs>
                    <a:gs pos="100000">
                      <a:srgbClr val="FFFFFF"/>
                    </a:gs>
                  </a:gsLst>
                  <a:lin ang="5400000" scaled="0"/>
                </a:gradFill>
                <a:ea typeface="Segoe UI" pitchFamily="34" charset="0"/>
                <a:cs typeface="Segoe UI" pitchFamily="34" charset="0"/>
              </a:endParaRPr>
            </a:p>
          </p:txBody>
        </p:sp>
      </p:grpSp>
      <p:sp>
        <p:nvSpPr>
          <p:cNvPr id="58" name="Content Placeholder 2"/>
          <p:cNvSpPr txBox="1">
            <a:spLocks/>
          </p:cNvSpPr>
          <p:nvPr/>
        </p:nvSpPr>
        <p:spPr>
          <a:xfrm>
            <a:off x="446893" y="3945754"/>
            <a:ext cx="2418940" cy="382308"/>
          </a:xfrm>
          <a:prstGeom prst="rect">
            <a:avLst/>
          </a:prstGeom>
        </p:spPr>
        <p:txBody>
          <a:bodyPr vert="horz" wrap="square" lIns="93260" tIns="46630" rIns="93260" bIns="4663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40" b="1">
                <a:solidFill>
                  <a:schemeClr val="bg1"/>
                </a:solidFill>
                <a:latin typeface="Segoe UI" charset="0"/>
                <a:ea typeface="Segoe UI" charset="0"/>
                <a:cs typeface="Segoe UI" charset="0"/>
              </a:rPr>
              <a:t>Elastic scale-out</a:t>
            </a:r>
          </a:p>
        </p:txBody>
      </p:sp>
      <p:grpSp>
        <p:nvGrpSpPr>
          <p:cNvPr id="59" name="Group 58"/>
          <p:cNvGrpSpPr/>
          <p:nvPr/>
        </p:nvGrpSpPr>
        <p:grpSpPr>
          <a:xfrm>
            <a:off x="-3919" y="3978757"/>
            <a:ext cx="450812" cy="305337"/>
            <a:chOff x="6082249" y="5559189"/>
            <a:chExt cx="564210" cy="382141"/>
          </a:xfrm>
          <a:solidFill>
            <a:schemeClr val="accent2"/>
          </a:solidFill>
        </p:grpSpPr>
        <p:sp>
          <p:nvSpPr>
            <p:cNvPr id="60" name="Isosceles Triangle 25"/>
            <p:cNvSpPr/>
            <p:nvPr/>
          </p:nvSpPr>
          <p:spPr bwMode="auto">
            <a:xfrm rot="5400000">
              <a:off x="6359855" y="5654725"/>
              <a:ext cx="382140" cy="191069"/>
            </a:xfrm>
            <a:prstGeom prst="triangle">
              <a:avLst>
                <a:gd name="adj" fmla="val 49896"/>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err="1">
                <a:gradFill>
                  <a:gsLst>
                    <a:gs pos="0">
                      <a:srgbClr val="FFFFFF"/>
                    </a:gs>
                    <a:gs pos="100000">
                      <a:srgbClr val="FFFFFF"/>
                    </a:gs>
                  </a:gsLst>
                  <a:lin ang="5400000" scaled="0"/>
                </a:gradFill>
                <a:ea typeface="Segoe UI" pitchFamily="34" charset="0"/>
                <a:cs typeface="Segoe UI" pitchFamily="34" charset="0"/>
              </a:endParaRPr>
            </a:p>
          </p:txBody>
        </p:sp>
        <p:sp>
          <p:nvSpPr>
            <p:cNvPr id="61" name="Rectangle 60"/>
            <p:cNvSpPr/>
            <p:nvPr/>
          </p:nvSpPr>
          <p:spPr bwMode="auto">
            <a:xfrm>
              <a:off x="6082249" y="5559189"/>
              <a:ext cx="373140" cy="382141"/>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err="1">
                <a:gradFill>
                  <a:gsLst>
                    <a:gs pos="0">
                      <a:srgbClr val="FFFFFF"/>
                    </a:gs>
                    <a:gs pos="100000">
                      <a:srgbClr val="FFFFFF"/>
                    </a:gs>
                  </a:gsLst>
                  <a:lin ang="5400000" scaled="0"/>
                </a:gradFill>
                <a:ea typeface="Segoe UI" pitchFamily="34" charset="0"/>
                <a:cs typeface="Segoe UI" pitchFamily="34" charset="0"/>
              </a:endParaRPr>
            </a:p>
          </p:txBody>
        </p:sp>
      </p:grpSp>
      <p:sp>
        <p:nvSpPr>
          <p:cNvPr id="63" name="TextBox 62"/>
          <p:cNvSpPr txBox="1"/>
          <p:nvPr/>
        </p:nvSpPr>
        <p:spPr>
          <a:xfrm>
            <a:off x="5082247" y="2162889"/>
            <a:ext cx="6508768" cy="318286"/>
          </a:xfrm>
          <a:prstGeom prst="rect">
            <a:avLst/>
          </a:prstGeom>
          <a:noFill/>
        </p:spPr>
        <p:txBody>
          <a:bodyPr wrap="square" rtlCol="0">
            <a:spAutoFit/>
          </a:bodyPr>
          <a:lstStyle/>
          <a:p>
            <a:r>
              <a:rPr lang="en-US" sz="1428" b="1">
                <a:solidFill>
                  <a:schemeClr val="accent3"/>
                </a:solidFill>
                <a:latin typeface="Segoe UI Semibold" charset="0"/>
                <a:ea typeface="Segoe UI Semibold" charset="0"/>
                <a:cs typeface="Segoe UI Semibold" charset="0"/>
              </a:rPr>
              <a:t>Independently and elastically scale storage and throughput across regions</a:t>
            </a:r>
          </a:p>
        </p:txBody>
      </p:sp>
      <p:sp>
        <p:nvSpPr>
          <p:cNvPr id="67" name="Freeform: Shape 83"/>
          <p:cNvSpPr/>
          <p:nvPr/>
        </p:nvSpPr>
        <p:spPr>
          <a:xfrm>
            <a:off x="5706534" y="3431230"/>
            <a:ext cx="1924508" cy="2822667"/>
          </a:xfrm>
          <a:custGeom>
            <a:avLst/>
            <a:gdLst>
              <a:gd name="connsiteX0" fmla="*/ 0 w 4763589"/>
              <a:gd name="connsiteY0" fmla="*/ 2403565 h 2504203"/>
              <a:gd name="connsiteX1" fmla="*/ 2669177 w 4763589"/>
              <a:gd name="connsiteY1" fmla="*/ 2220685 h 2504203"/>
              <a:gd name="connsiteX2" fmla="*/ 4763589 w 4763589"/>
              <a:gd name="connsiteY2" fmla="*/ 0 h 2504203"/>
              <a:gd name="connsiteX0" fmla="*/ 0 w 4763589"/>
              <a:gd name="connsiteY0" fmla="*/ 2403565 h 2403565"/>
              <a:gd name="connsiteX1" fmla="*/ 4763589 w 4763589"/>
              <a:gd name="connsiteY1" fmla="*/ 0 h 2403565"/>
              <a:gd name="connsiteX0" fmla="*/ 0 w 4763589"/>
              <a:gd name="connsiteY0" fmla="*/ 2403565 h 2403565"/>
              <a:gd name="connsiteX1" fmla="*/ 4763589 w 4763589"/>
              <a:gd name="connsiteY1" fmla="*/ 0 h 2403565"/>
              <a:gd name="connsiteX0" fmla="*/ 0 w 4763589"/>
              <a:gd name="connsiteY0" fmla="*/ 2403565 h 2403565"/>
              <a:gd name="connsiteX1" fmla="*/ 4763589 w 4763589"/>
              <a:gd name="connsiteY1" fmla="*/ 0 h 2403565"/>
              <a:gd name="connsiteX0" fmla="*/ 0 w 4763589"/>
              <a:gd name="connsiteY0" fmla="*/ 2403565 h 2414882"/>
              <a:gd name="connsiteX1" fmla="*/ 4763589 w 4763589"/>
              <a:gd name="connsiteY1" fmla="*/ 0 h 2414882"/>
              <a:gd name="connsiteX0" fmla="*/ 0 w 4763589"/>
              <a:gd name="connsiteY0" fmla="*/ 2403565 h 2403565"/>
              <a:gd name="connsiteX1" fmla="*/ 4763589 w 4763589"/>
              <a:gd name="connsiteY1" fmla="*/ 0 h 2403565"/>
              <a:gd name="connsiteX0" fmla="*/ 0 w 4763589"/>
              <a:gd name="connsiteY0" fmla="*/ 2403565 h 2403565"/>
              <a:gd name="connsiteX1" fmla="*/ 4763589 w 4763589"/>
              <a:gd name="connsiteY1" fmla="*/ 0 h 2403565"/>
              <a:gd name="connsiteX0" fmla="*/ 0 w 4763589"/>
              <a:gd name="connsiteY0" fmla="*/ 2403565 h 2403565"/>
              <a:gd name="connsiteX1" fmla="*/ 4763589 w 4763589"/>
              <a:gd name="connsiteY1" fmla="*/ 0 h 2403565"/>
            </a:gdLst>
            <a:ahLst/>
            <a:cxnLst>
              <a:cxn ang="0">
                <a:pos x="connsiteX0" y="connsiteY0"/>
              </a:cxn>
              <a:cxn ang="0">
                <a:pos x="connsiteX1" y="connsiteY1"/>
              </a:cxn>
            </a:cxnLst>
            <a:rect l="l" t="t" r="r" b="b"/>
            <a:pathLst>
              <a:path w="4763589" h="2403565">
                <a:moveTo>
                  <a:pt x="0" y="2403565"/>
                </a:moveTo>
                <a:cubicBezTo>
                  <a:pt x="1612078" y="2269470"/>
                  <a:pt x="3695453" y="1313760"/>
                  <a:pt x="4763589" y="0"/>
                </a:cubicBezTo>
              </a:path>
            </a:pathLst>
          </a:custGeom>
          <a:noFill/>
          <a:ln w="57150">
            <a:solidFill>
              <a:srgbClr val="B8D432"/>
            </a:solidFill>
            <a:prstDash val="sysDot"/>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sp>
        <p:nvSpPr>
          <p:cNvPr id="68" name="Freeform 1490"/>
          <p:cNvSpPr/>
          <p:nvPr/>
        </p:nvSpPr>
        <p:spPr bwMode="auto">
          <a:xfrm>
            <a:off x="5632604" y="6000686"/>
            <a:ext cx="339370" cy="435261"/>
          </a:xfrm>
          <a:custGeom>
            <a:avLst/>
            <a:gdLst>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143359 h 1866625"/>
              <a:gd name="connsiteX30" fmla="*/ 21049 w 1455401"/>
              <a:gd name="connsiteY30" fmla="*/ 1033051 h 1866625"/>
              <a:gd name="connsiteX31" fmla="*/ 15633 w 1455401"/>
              <a:gd name="connsiteY31" fmla="*/ 1030526 h 1866625"/>
              <a:gd name="connsiteX32" fmla="*/ 0 w 1455401"/>
              <a:gd name="connsiteY32" fmla="*/ 1017423 h 1866625"/>
              <a:gd name="connsiteX33" fmla="*/ 1 w 1455401"/>
              <a:gd name="connsiteY33" fmla="*/ 296841 h 1866625"/>
              <a:gd name="connsiteX34" fmla="*/ 0 w 1455401"/>
              <a:gd name="connsiteY34" fmla="*/ 296838 h 1866625"/>
              <a:gd name="connsiteX35" fmla="*/ 1 w 1455401"/>
              <a:gd name="connsiteY35" fmla="*/ 296835 h 1866625"/>
              <a:gd name="connsiteX36" fmla="*/ 3758 w 1455401"/>
              <a:gd name="connsiteY36" fmla="*/ 266488 h 1866625"/>
              <a:gd name="connsiteX37" fmla="*/ 727700 w 1455401"/>
              <a:gd name="connsiteY3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033051 h 1866625"/>
              <a:gd name="connsiteX30" fmla="*/ 15633 w 1455401"/>
              <a:gd name="connsiteY30" fmla="*/ 1030526 h 1866625"/>
              <a:gd name="connsiteX31" fmla="*/ 0 w 1455401"/>
              <a:gd name="connsiteY31" fmla="*/ 1017423 h 1866625"/>
              <a:gd name="connsiteX32" fmla="*/ 1 w 1455401"/>
              <a:gd name="connsiteY32" fmla="*/ 296841 h 1866625"/>
              <a:gd name="connsiteX33" fmla="*/ 0 w 1455401"/>
              <a:gd name="connsiteY33" fmla="*/ 296838 h 1866625"/>
              <a:gd name="connsiteX34" fmla="*/ 1 w 1455401"/>
              <a:gd name="connsiteY34" fmla="*/ 296835 h 1866625"/>
              <a:gd name="connsiteX35" fmla="*/ 3758 w 1455401"/>
              <a:gd name="connsiteY35" fmla="*/ 266488 h 1866625"/>
              <a:gd name="connsiteX36" fmla="*/ 727700 w 1455401"/>
              <a:gd name="connsiteY3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15633 w 1455401"/>
              <a:gd name="connsiteY29" fmla="*/ 1030526 h 1866625"/>
              <a:gd name="connsiteX30" fmla="*/ 0 w 1455401"/>
              <a:gd name="connsiteY30" fmla="*/ 1017423 h 1866625"/>
              <a:gd name="connsiteX31" fmla="*/ 1 w 1455401"/>
              <a:gd name="connsiteY31" fmla="*/ 296841 h 1866625"/>
              <a:gd name="connsiteX32" fmla="*/ 0 w 1455401"/>
              <a:gd name="connsiteY32" fmla="*/ 296838 h 1866625"/>
              <a:gd name="connsiteX33" fmla="*/ 1 w 1455401"/>
              <a:gd name="connsiteY33" fmla="*/ 296835 h 1866625"/>
              <a:gd name="connsiteX34" fmla="*/ 3758 w 1455401"/>
              <a:gd name="connsiteY34" fmla="*/ 266488 h 1866625"/>
              <a:gd name="connsiteX35" fmla="*/ 727700 w 1455401"/>
              <a:gd name="connsiteY35"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0 w 1455401"/>
              <a:gd name="connsiteY29" fmla="*/ 1017423 h 1866625"/>
              <a:gd name="connsiteX30" fmla="*/ 1 w 1455401"/>
              <a:gd name="connsiteY30" fmla="*/ 296841 h 1866625"/>
              <a:gd name="connsiteX31" fmla="*/ 0 w 1455401"/>
              <a:gd name="connsiteY31" fmla="*/ 296838 h 1866625"/>
              <a:gd name="connsiteX32" fmla="*/ 1 w 1455401"/>
              <a:gd name="connsiteY32" fmla="*/ 296835 h 1866625"/>
              <a:gd name="connsiteX33" fmla="*/ 3758 w 1455401"/>
              <a:gd name="connsiteY33" fmla="*/ 266488 h 1866625"/>
              <a:gd name="connsiteX34" fmla="*/ 727700 w 1455401"/>
              <a:gd name="connsiteY34"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0 w 1455401"/>
              <a:gd name="connsiteY28" fmla="*/ 1017423 h 1866625"/>
              <a:gd name="connsiteX29" fmla="*/ 1 w 1455401"/>
              <a:gd name="connsiteY29" fmla="*/ 296841 h 1866625"/>
              <a:gd name="connsiteX30" fmla="*/ 0 w 1455401"/>
              <a:gd name="connsiteY30" fmla="*/ 296838 h 1866625"/>
              <a:gd name="connsiteX31" fmla="*/ 1 w 1455401"/>
              <a:gd name="connsiteY31" fmla="*/ 296835 h 1866625"/>
              <a:gd name="connsiteX32" fmla="*/ 3758 w 1455401"/>
              <a:gd name="connsiteY32" fmla="*/ 266488 h 1866625"/>
              <a:gd name="connsiteX33" fmla="*/ 727700 w 1455401"/>
              <a:gd name="connsiteY33"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 w 1455401"/>
              <a:gd name="connsiteY28" fmla="*/ 296841 h 1866625"/>
              <a:gd name="connsiteX29" fmla="*/ 0 w 1455401"/>
              <a:gd name="connsiteY29" fmla="*/ 296838 h 1866625"/>
              <a:gd name="connsiteX30" fmla="*/ 1 w 1455401"/>
              <a:gd name="connsiteY30" fmla="*/ 296835 h 1866625"/>
              <a:gd name="connsiteX31" fmla="*/ 3758 w 1455401"/>
              <a:gd name="connsiteY31" fmla="*/ 266488 h 1866625"/>
              <a:gd name="connsiteX32" fmla="*/ 727700 w 1455401"/>
              <a:gd name="connsiteY32"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296841 h 1866625"/>
              <a:gd name="connsiteX28" fmla="*/ 0 w 1455401"/>
              <a:gd name="connsiteY28" fmla="*/ 296838 h 1866625"/>
              <a:gd name="connsiteX29" fmla="*/ 1 w 1455401"/>
              <a:gd name="connsiteY29" fmla="*/ 296835 h 1866625"/>
              <a:gd name="connsiteX30" fmla="*/ 3758 w 1455401"/>
              <a:gd name="connsiteY30" fmla="*/ 266488 h 1866625"/>
              <a:gd name="connsiteX31" fmla="*/ 727700 w 1455401"/>
              <a:gd name="connsiteY31"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143359 h 1866625"/>
              <a:gd name="connsiteX13" fmla="*/ 1439768 w 1455401"/>
              <a:gd name="connsiteY13" fmla="*/ 1140834 h 1866625"/>
              <a:gd name="connsiteX14" fmla="*/ 1455401 w 1455401"/>
              <a:gd name="connsiteY14" fmla="*/ 1127732 h 1866625"/>
              <a:gd name="connsiteX15" fmla="*/ 1455401 w 1455401"/>
              <a:gd name="connsiteY15" fmla="*/ 1569784 h 1866625"/>
              <a:gd name="connsiteX16" fmla="*/ 1455401 w 1455401"/>
              <a:gd name="connsiteY16" fmla="*/ 1569787 h 1866625"/>
              <a:gd name="connsiteX17" fmla="*/ 1455401 w 1455401"/>
              <a:gd name="connsiteY17" fmla="*/ 1569790 h 1866625"/>
              <a:gd name="connsiteX18" fmla="*/ 1455401 w 1455401"/>
              <a:gd name="connsiteY18" fmla="*/ 1578767 h 1866625"/>
              <a:gd name="connsiteX19" fmla="*/ 1454289 w 1455401"/>
              <a:gd name="connsiteY19" fmla="*/ 1578767 h 1866625"/>
              <a:gd name="connsiteX20" fmla="*/ 1451644 w 1455401"/>
              <a:gd name="connsiteY20" fmla="*/ 1600137 h 1866625"/>
              <a:gd name="connsiteX21" fmla="*/ 727701 w 1455401"/>
              <a:gd name="connsiteY21" fmla="*/ 1866625 h 1866625"/>
              <a:gd name="connsiteX22" fmla="*/ 3758 w 1455401"/>
              <a:gd name="connsiteY22" fmla="*/ 1600137 h 1866625"/>
              <a:gd name="connsiteX23" fmla="*/ 1113 w 1455401"/>
              <a:gd name="connsiteY23" fmla="*/ 1578767 h 1866625"/>
              <a:gd name="connsiteX24" fmla="*/ 1 w 1455401"/>
              <a:gd name="connsiteY24" fmla="*/ 1578767 h 1866625"/>
              <a:gd name="connsiteX25" fmla="*/ 1 w 1455401"/>
              <a:gd name="connsiteY25" fmla="*/ 1569787 h 1866625"/>
              <a:gd name="connsiteX26" fmla="*/ 1 w 1455401"/>
              <a:gd name="connsiteY26" fmla="*/ 296841 h 1866625"/>
              <a:gd name="connsiteX27" fmla="*/ 0 w 1455401"/>
              <a:gd name="connsiteY27" fmla="*/ 296838 h 1866625"/>
              <a:gd name="connsiteX28" fmla="*/ 1 w 1455401"/>
              <a:gd name="connsiteY28" fmla="*/ 296835 h 1866625"/>
              <a:gd name="connsiteX29" fmla="*/ 3758 w 1455401"/>
              <a:gd name="connsiteY29" fmla="*/ 266488 h 1866625"/>
              <a:gd name="connsiteX30" fmla="*/ 727700 w 1455401"/>
              <a:gd name="connsiteY30"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4352 w 1455401"/>
              <a:gd name="connsiteY11" fmla="*/ 1143359 h 1866625"/>
              <a:gd name="connsiteX12" fmla="*/ 1439768 w 1455401"/>
              <a:gd name="connsiteY12" fmla="*/ 1140834 h 1866625"/>
              <a:gd name="connsiteX13" fmla="*/ 1455401 w 1455401"/>
              <a:gd name="connsiteY13" fmla="*/ 1127732 h 1866625"/>
              <a:gd name="connsiteX14" fmla="*/ 1455401 w 1455401"/>
              <a:gd name="connsiteY14" fmla="*/ 1569784 h 1866625"/>
              <a:gd name="connsiteX15" fmla="*/ 1455401 w 1455401"/>
              <a:gd name="connsiteY15" fmla="*/ 1569787 h 1866625"/>
              <a:gd name="connsiteX16" fmla="*/ 1455401 w 1455401"/>
              <a:gd name="connsiteY16" fmla="*/ 1569790 h 1866625"/>
              <a:gd name="connsiteX17" fmla="*/ 1455401 w 1455401"/>
              <a:gd name="connsiteY17" fmla="*/ 1578767 h 1866625"/>
              <a:gd name="connsiteX18" fmla="*/ 1454289 w 1455401"/>
              <a:gd name="connsiteY18" fmla="*/ 1578767 h 1866625"/>
              <a:gd name="connsiteX19" fmla="*/ 1451644 w 1455401"/>
              <a:gd name="connsiteY19" fmla="*/ 1600137 h 1866625"/>
              <a:gd name="connsiteX20" fmla="*/ 727701 w 1455401"/>
              <a:gd name="connsiteY20" fmla="*/ 1866625 h 1866625"/>
              <a:gd name="connsiteX21" fmla="*/ 3758 w 1455401"/>
              <a:gd name="connsiteY21" fmla="*/ 1600137 h 1866625"/>
              <a:gd name="connsiteX22" fmla="*/ 1113 w 1455401"/>
              <a:gd name="connsiteY22" fmla="*/ 1578767 h 1866625"/>
              <a:gd name="connsiteX23" fmla="*/ 1 w 1455401"/>
              <a:gd name="connsiteY23" fmla="*/ 1578767 h 1866625"/>
              <a:gd name="connsiteX24" fmla="*/ 1 w 1455401"/>
              <a:gd name="connsiteY24" fmla="*/ 1569787 h 1866625"/>
              <a:gd name="connsiteX25" fmla="*/ 1 w 1455401"/>
              <a:gd name="connsiteY25" fmla="*/ 296841 h 1866625"/>
              <a:gd name="connsiteX26" fmla="*/ 0 w 1455401"/>
              <a:gd name="connsiteY26" fmla="*/ 296838 h 1866625"/>
              <a:gd name="connsiteX27" fmla="*/ 1 w 1455401"/>
              <a:gd name="connsiteY27" fmla="*/ 296835 h 1866625"/>
              <a:gd name="connsiteX28" fmla="*/ 3758 w 1455401"/>
              <a:gd name="connsiteY28" fmla="*/ 266488 h 1866625"/>
              <a:gd name="connsiteX29" fmla="*/ 727700 w 1455401"/>
              <a:gd name="connsiteY29"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127732 h 1866625"/>
              <a:gd name="connsiteX13" fmla="*/ 1455401 w 1455401"/>
              <a:gd name="connsiteY13" fmla="*/ 1569784 h 1866625"/>
              <a:gd name="connsiteX14" fmla="*/ 1455401 w 1455401"/>
              <a:gd name="connsiteY14" fmla="*/ 1569787 h 1866625"/>
              <a:gd name="connsiteX15" fmla="*/ 1455401 w 1455401"/>
              <a:gd name="connsiteY15" fmla="*/ 1569790 h 1866625"/>
              <a:gd name="connsiteX16" fmla="*/ 1455401 w 1455401"/>
              <a:gd name="connsiteY16" fmla="*/ 1578767 h 1866625"/>
              <a:gd name="connsiteX17" fmla="*/ 1454289 w 1455401"/>
              <a:gd name="connsiteY17" fmla="*/ 1578767 h 1866625"/>
              <a:gd name="connsiteX18" fmla="*/ 1451644 w 1455401"/>
              <a:gd name="connsiteY18" fmla="*/ 1600137 h 1866625"/>
              <a:gd name="connsiteX19" fmla="*/ 727701 w 1455401"/>
              <a:gd name="connsiteY19" fmla="*/ 1866625 h 1866625"/>
              <a:gd name="connsiteX20" fmla="*/ 3758 w 1455401"/>
              <a:gd name="connsiteY20" fmla="*/ 1600137 h 1866625"/>
              <a:gd name="connsiteX21" fmla="*/ 1113 w 1455401"/>
              <a:gd name="connsiteY21" fmla="*/ 1578767 h 1866625"/>
              <a:gd name="connsiteX22" fmla="*/ 1 w 1455401"/>
              <a:gd name="connsiteY22" fmla="*/ 1578767 h 1866625"/>
              <a:gd name="connsiteX23" fmla="*/ 1 w 1455401"/>
              <a:gd name="connsiteY23" fmla="*/ 1569787 h 1866625"/>
              <a:gd name="connsiteX24" fmla="*/ 1 w 1455401"/>
              <a:gd name="connsiteY24" fmla="*/ 296841 h 1866625"/>
              <a:gd name="connsiteX25" fmla="*/ 0 w 1455401"/>
              <a:gd name="connsiteY25" fmla="*/ 296838 h 1866625"/>
              <a:gd name="connsiteX26" fmla="*/ 1 w 1455401"/>
              <a:gd name="connsiteY26" fmla="*/ 296835 h 1866625"/>
              <a:gd name="connsiteX27" fmla="*/ 3758 w 1455401"/>
              <a:gd name="connsiteY27" fmla="*/ 266488 h 1866625"/>
              <a:gd name="connsiteX28" fmla="*/ 727700 w 1455401"/>
              <a:gd name="connsiteY28"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569784 h 1866625"/>
              <a:gd name="connsiteX13" fmla="*/ 1455401 w 1455401"/>
              <a:gd name="connsiteY13" fmla="*/ 1569787 h 1866625"/>
              <a:gd name="connsiteX14" fmla="*/ 1455401 w 1455401"/>
              <a:gd name="connsiteY14" fmla="*/ 1569790 h 1866625"/>
              <a:gd name="connsiteX15" fmla="*/ 1455401 w 1455401"/>
              <a:gd name="connsiteY15" fmla="*/ 1578767 h 1866625"/>
              <a:gd name="connsiteX16" fmla="*/ 1454289 w 1455401"/>
              <a:gd name="connsiteY16" fmla="*/ 1578767 h 1866625"/>
              <a:gd name="connsiteX17" fmla="*/ 1451644 w 1455401"/>
              <a:gd name="connsiteY17" fmla="*/ 1600137 h 1866625"/>
              <a:gd name="connsiteX18" fmla="*/ 727701 w 1455401"/>
              <a:gd name="connsiteY18" fmla="*/ 1866625 h 1866625"/>
              <a:gd name="connsiteX19" fmla="*/ 3758 w 1455401"/>
              <a:gd name="connsiteY19" fmla="*/ 1600137 h 1866625"/>
              <a:gd name="connsiteX20" fmla="*/ 1113 w 1455401"/>
              <a:gd name="connsiteY20" fmla="*/ 1578767 h 1866625"/>
              <a:gd name="connsiteX21" fmla="*/ 1 w 1455401"/>
              <a:gd name="connsiteY21" fmla="*/ 1578767 h 1866625"/>
              <a:gd name="connsiteX22" fmla="*/ 1 w 1455401"/>
              <a:gd name="connsiteY22" fmla="*/ 1569787 h 1866625"/>
              <a:gd name="connsiteX23" fmla="*/ 1 w 1455401"/>
              <a:gd name="connsiteY23" fmla="*/ 296841 h 1866625"/>
              <a:gd name="connsiteX24" fmla="*/ 0 w 1455401"/>
              <a:gd name="connsiteY24" fmla="*/ 296838 h 1866625"/>
              <a:gd name="connsiteX25" fmla="*/ 1 w 1455401"/>
              <a:gd name="connsiteY25" fmla="*/ 296835 h 1866625"/>
              <a:gd name="connsiteX26" fmla="*/ 3758 w 1455401"/>
              <a:gd name="connsiteY26" fmla="*/ 266488 h 1866625"/>
              <a:gd name="connsiteX27" fmla="*/ 727700 w 1455401"/>
              <a:gd name="connsiteY2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55401 w 1455401"/>
              <a:gd name="connsiteY11" fmla="*/ 1569784 h 1866625"/>
              <a:gd name="connsiteX12" fmla="*/ 1455401 w 1455401"/>
              <a:gd name="connsiteY12" fmla="*/ 1569787 h 1866625"/>
              <a:gd name="connsiteX13" fmla="*/ 1455401 w 1455401"/>
              <a:gd name="connsiteY13" fmla="*/ 1569790 h 1866625"/>
              <a:gd name="connsiteX14" fmla="*/ 1455401 w 1455401"/>
              <a:gd name="connsiteY14" fmla="*/ 1578767 h 1866625"/>
              <a:gd name="connsiteX15" fmla="*/ 1454289 w 1455401"/>
              <a:gd name="connsiteY15" fmla="*/ 1578767 h 1866625"/>
              <a:gd name="connsiteX16" fmla="*/ 1451644 w 1455401"/>
              <a:gd name="connsiteY16" fmla="*/ 1600137 h 1866625"/>
              <a:gd name="connsiteX17" fmla="*/ 727701 w 1455401"/>
              <a:gd name="connsiteY17" fmla="*/ 1866625 h 1866625"/>
              <a:gd name="connsiteX18" fmla="*/ 3758 w 1455401"/>
              <a:gd name="connsiteY18" fmla="*/ 1600137 h 1866625"/>
              <a:gd name="connsiteX19" fmla="*/ 1113 w 1455401"/>
              <a:gd name="connsiteY19" fmla="*/ 1578767 h 1866625"/>
              <a:gd name="connsiteX20" fmla="*/ 1 w 1455401"/>
              <a:gd name="connsiteY20" fmla="*/ 1578767 h 1866625"/>
              <a:gd name="connsiteX21" fmla="*/ 1 w 1455401"/>
              <a:gd name="connsiteY21" fmla="*/ 1569787 h 1866625"/>
              <a:gd name="connsiteX22" fmla="*/ 1 w 1455401"/>
              <a:gd name="connsiteY22" fmla="*/ 296841 h 1866625"/>
              <a:gd name="connsiteX23" fmla="*/ 0 w 1455401"/>
              <a:gd name="connsiteY23" fmla="*/ 296838 h 1866625"/>
              <a:gd name="connsiteX24" fmla="*/ 1 w 1455401"/>
              <a:gd name="connsiteY24" fmla="*/ 296835 h 1866625"/>
              <a:gd name="connsiteX25" fmla="*/ 3758 w 1455401"/>
              <a:gd name="connsiteY25" fmla="*/ 266488 h 1866625"/>
              <a:gd name="connsiteX26" fmla="*/ 727700 w 1455401"/>
              <a:gd name="connsiteY2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569784 h 1866625"/>
              <a:gd name="connsiteX11" fmla="*/ 1455401 w 1455401"/>
              <a:gd name="connsiteY11" fmla="*/ 1569787 h 1866625"/>
              <a:gd name="connsiteX12" fmla="*/ 1455401 w 1455401"/>
              <a:gd name="connsiteY12" fmla="*/ 1569790 h 1866625"/>
              <a:gd name="connsiteX13" fmla="*/ 1455401 w 1455401"/>
              <a:gd name="connsiteY13" fmla="*/ 1578767 h 1866625"/>
              <a:gd name="connsiteX14" fmla="*/ 1454289 w 1455401"/>
              <a:gd name="connsiteY14" fmla="*/ 1578767 h 1866625"/>
              <a:gd name="connsiteX15" fmla="*/ 1451644 w 1455401"/>
              <a:gd name="connsiteY15" fmla="*/ 1600137 h 1866625"/>
              <a:gd name="connsiteX16" fmla="*/ 727701 w 1455401"/>
              <a:gd name="connsiteY16" fmla="*/ 1866625 h 1866625"/>
              <a:gd name="connsiteX17" fmla="*/ 3758 w 1455401"/>
              <a:gd name="connsiteY17" fmla="*/ 1600137 h 1866625"/>
              <a:gd name="connsiteX18" fmla="*/ 1113 w 1455401"/>
              <a:gd name="connsiteY18" fmla="*/ 1578767 h 1866625"/>
              <a:gd name="connsiteX19" fmla="*/ 1 w 1455401"/>
              <a:gd name="connsiteY19" fmla="*/ 1578767 h 1866625"/>
              <a:gd name="connsiteX20" fmla="*/ 1 w 1455401"/>
              <a:gd name="connsiteY20" fmla="*/ 1569787 h 1866625"/>
              <a:gd name="connsiteX21" fmla="*/ 1 w 1455401"/>
              <a:gd name="connsiteY21" fmla="*/ 296841 h 1866625"/>
              <a:gd name="connsiteX22" fmla="*/ 0 w 1455401"/>
              <a:gd name="connsiteY22" fmla="*/ 296838 h 1866625"/>
              <a:gd name="connsiteX23" fmla="*/ 1 w 1455401"/>
              <a:gd name="connsiteY23" fmla="*/ 296835 h 1866625"/>
              <a:gd name="connsiteX24" fmla="*/ 3758 w 1455401"/>
              <a:gd name="connsiteY24" fmla="*/ 266488 h 1866625"/>
              <a:gd name="connsiteX25" fmla="*/ 727700 w 1455401"/>
              <a:gd name="connsiteY25" fmla="*/ 0 h 1866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455401" h="1866625">
                <a:moveTo>
                  <a:pt x="727701" y="107085"/>
                </a:moveTo>
                <a:cubicBezTo>
                  <a:pt x="450294" y="107085"/>
                  <a:pt x="225411" y="173087"/>
                  <a:pt x="225411" y="254506"/>
                </a:cubicBezTo>
                <a:cubicBezTo>
                  <a:pt x="225411" y="335924"/>
                  <a:pt x="450294" y="401926"/>
                  <a:pt x="727701" y="401926"/>
                </a:cubicBezTo>
                <a:cubicBezTo>
                  <a:pt x="1005108" y="401926"/>
                  <a:pt x="1229991" y="335924"/>
                  <a:pt x="1229991" y="254506"/>
                </a:cubicBezTo>
                <a:cubicBezTo>
                  <a:pt x="1229991" y="173087"/>
                  <a:pt x="1005108" y="107085"/>
                  <a:pt x="727701" y="107085"/>
                </a:cubicBezTo>
                <a:close/>
                <a:moveTo>
                  <a:pt x="727700" y="0"/>
                </a:moveTo>
                <a:cubicBezTo>
                  <a:pt x="1104479" y="0"/>
                  <a:pt x="1414378" y="116806"/>
                  <a:pt x="1451644" y="266488"/>
                </a:cubicBezTo>
                <a:lnTo>
                  <a:pt x="1454289" y="287858"/>
                </a:lnTo>
                <a:lnTo>
                  <a:pt x="1455400" y="287858"/>
                </a:lnTo>
                <a:lnTo>
                  <a:pt x="1455400" y="296838"/>
                </a:lnTo>
                <a:cubicBezTo>
                  <a:pt x="1455400" y="510492"/>
                  <a:pt x="1455401" y="1357626"/>
                  <a:pt x="1455401" y="1569784"/>
                </a:cubicBezTo>
                <a:lnTo>
                  <a:pt x="1455401" y="1569787"/>
                </a:lnTo>
                <a:lnTo>
                  <a:pt x="1455401" y="1569790"/>
                </a:lnTo>
                <a:lnTo>
                  <a:pt x="1455401" y="1578767"/>
                </a:lnTo>
                <a:lnTo>
                  <a:pt x="1454289" y="1578767"/>
                </a:lnTo>
                <a:lnTo>
                  <a:pt x="1451644" y="1600137"/>
                </a:lnTo>
                <a:cubicBezTo>
                  <a:pt x="1414379" y="1749819"/>
                  <a:pt x="1104480" y="1866625"/>
                  <a:pt x="727701" y="1866625"/>
                </a:cubicBezTo>
                <a:cubicBezTo>
                  <a:pt x="350922" y="1866625"/>
                  <a:pt x="41024" y="1749819"/>
                  <a:pt x="3758" y="1600137"/>
                </a:cubicBezTo>
                <a:lnTo>
                  <a:pt x="1113" y="1578767"/>
                </a:lnTo>
                <a:lnTo>
                  <a:pt x="1" y="1578767"/>
                </a:lnTo>
                <a:lnTo>
                  <a:pt x="1" y="1569787"/>
                </a:lnTo>
                <a:lnTo>
                  <a:pt x="1" y="296841"/>
                </a:lnTo>
                <a:cubicBezTo>
                  <a:pt x="1" y="158359"/>
                  <a:pt x="0" y="296839"/>
                  <a:pt x="0" y="296838"/>
                </a:cubicBezTo>
                <a:cubicBezTo>
                  <a:pt x="0" y="296837"/>
                  <a:pt x="1" y="296836"/>
                  <a:pt x="1" y="296835"/>
                </a:cubicBezTo>
                <a:lnTo>
                  <a:pt x="3758" y="266488"/>
                </a:lnTo>
                <a:cubicBezTo>
                  <a:pt x="41023" y="116806"/>
                  <a:pt x="350921" y="0"/>
                  <a:pt x="727700" y="0"/>
                </a:cubicBezTo>
                <a:close/>
              </a:path>
            </a:pathLst>
          </a:custGeom>
          <a:solidFill>
            <a:srgbClr val="59B4D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err="1">
              <a:gradFill>
                <a:gsLst>
                  <a:gs pos="0">
                    <a:srgbClr val="FFFFFF"/>
                  </a:gs>
                  <a:gs pos="100000">
                    <a:srgbClr val="FFFFFF"/>
                  </a:gs>
                </a:gsLst>
                <a:lin ang="5400000" scaled="0"/>
              </a:gradFill>
              <a:ea typeface="Segoe UI" pitchFamily="34" charset="0"/>
              <a:cs typeface="Segoe UI" pitchFamily="34" charset="0"/>
            </a:endParaRPr>
          </a:p>
        </p:txBody>
      </p:sp>
      <p:sp>
        <p:nvSpPr>
          <p:cNvPr id="8" name="Oval 7"/>
          <p:cNvSpPr/>
          <p:nvPr/>
        </p:nvSpPr>
        <p:spPr>
          <a:xfrm>
            <a:off x="7094535" y="3945754"/>
            <a:ext cx="503310" cy="165749"/>
          </a:xfrm>
          <a:prstGeom prst="ellipse">
            <a:avLst/>
          </a:prstGeom>
          <a:solidFill>
            <a:srgbClr val="D7ED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sp>
        <p:nvSpPr>
          <p:cNvPr id="69" name="Freeform 1490"/>
          <p:cNvSpPr/>
          <p:nvPr/>
        </p:nvSpPr>
        <p:spPr bwMode="auto">
          <a:xfrm>
            <a:off x="6449970" y="5172095"/>
            <a:ext cx="437636" cy="561292"/>
          </a:xfrm>
          <a:custGeom>
            <a:avLst/>
            <a:gdLst>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143359 h 1866625"/>
              <a:gd name="connsiteX30" fmla="*/ 21049 w 1455401"/>
              <a:gd name="connsiteY30" fmla="*/ 1033051 h 1866625"/>
              <a:gd name="connsiteX31" fmla="*/ 15633 w 1455401"/>
              <a:gd name="connsiteY31" fmla="*/ 1030526 h 1866625"/>
              <a:gd name="connsiteX32" fmla="*/ 0 w 1455401"/>
              <a:gd name="connsiteY32" fmla="*/ 1017423 h 1866625"/>
              <a:gd name="connsiteX33" fmla="*/ 1 w 1455401"/>
              <a:gd name="connsiteY33" fmla="*/ 296841 h 1866625"/>
              <a:gd name="connsiteX34" fmla="*/ 0 w 1455401"/>
              <a:gd name="connsiteY34" fmla="*/ 296838 h 1866625"/>
              <a:gd name="connsiteX35" fmla="*/ 1 w 1455401"/>
              <a:gd name="connsiteY35" fmla="*/ 296835 h 1866625"/>
              <a:gd name="connsiteX36" fmla="*/ 3758 w 1455401"/>
              <a:gd name="connsiteY36" fmla="*/ 266488 h 1866625"/>
              <a:gd name="connsiteX37" fmla="*/ 727700 w 1455401"/>
              <a:gd name="connsiteY3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033051 h 1866625"/>
              <a:gd name="connsiteX30" fmla="*/ 15633 w 1455401"/>
              <a:gd name="connsiteY30" fmla="*/ 1030526 h 1866625"/>
              <a:gd name="connsiteX31" fmla="*/ 0 w 1455401"/>
              <a:gd name="connsiteY31" fmla="*/ 1017423 h 1866625"/>
              <a:gd name="connsiteX32" fmla="*/ 1 w 1455401"/>
              <a:gd name="connsiteY32" fmla="*/ 296841 h 1866625"/>
              <a:gd name="connsiteX33" fmla="*/ 0 w 1455401"/>
              <a:gd name="connsiteY33" fmla="*/ 296838 h 1866625"/>
              <a:gd name="connsiteX34" fmla="*/ 1 w 1455401"/>
              <a:gd name="connsiteY34" fmla="*/ 296835 h 1866625"/>
              <a:gd name="connsiteX35" fmla="*/ 3758 w 1455401"/>
              <a:gd name="connsiteY35" fmla="*/ 266488 h 1866625"/>
              <a:gd name="connsiteX36" fmla="*/ 727700 w 1455401"/>
              <a:gd name="connsiteY3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15633 w 1455401"/>
              <a:gd name="connsiteY29" fmla="*/ 1030526 h 1866625"/>
              <a:gd name="connsiteX30" fmla="*/ 0 w 1455401"/>
              <a:gd name="connsiteY30" fmla="*/ 1017423 h 1866625"/>
              <a:gd name="connsiteX31" fmla="*/ 1 w 1455401"/>
              <a:gd name="connsiteY31" fmla="*/ 296841 h 1866625"/>
              <a:gd name="connsiteX32" fmla="*/ 0 w 1455401"/>
              <a:gd name="connsiteY32" fmla="*/ 296838 h 1866625"/>
              <a:gd name="connsiteX33" fmla="*/ 1 w 1455401"/>
              <a:gd name="connsiteY33" fmla="*/ 296835 h 1866625"/>
              <a:gd name="connsiteX34" fmla="*/ 3758 w 1455401"/>
              <a:gd name="connsiteY34" fmla="*/ 266488 h 1866625"/>
              <a:gd name="connsiteX35" fmla="*/ 727700 w 1455401"/>
              <a:gd name="connsiteY35"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0 w 1455401"/>
              <a:gd name="connsiteY29" fmla="*/ 1017423 h 1866625"/>
              <a:gd name="connsiteX30" fmla="*/ 1 w 1455401"/>
              <a:gd name="connsiteY30" fmla="*/ 296841 h 1866625"/>
              <a:gd name="connsiteX31" fmla="*/ 0 w 1455401"/>
              <a:gd name="connsiteY31" fmla="*/ 296838 h 1866625"/>
              <a:gd name="connsiteX32" fmla="*/ 1 w 1455401"/>
              <a:gd name="connsiteY32" fmla="*/ 296835 h 1866625"/>
              <a:gd name="connsiteX33" fmla="*/ 3758 w 1455401"/>
              <a:gd name="connsiteY33" fmla="*/ 266488 h 1866625"/>
              <a:gd name="connsiteX34" fmla="*/ 727700 w 1455401"/>
              <a:gd name="connsiteY34"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0 w 1455401"/>
              <a:gd name="connsiteY28" fmla="*/ 1017423 h 1866625"/>
              <a:gd name="connsiteX29" fmla="*/ 1 w 1455401"/>
              <a:gd name="connsiteY29" fmla="*/ 296841 h 1866625"/>
              <a:gd name="connsiteX30" fmla="*/ 0 w 1455401"/>
              <a:gd name="connsiteY30" fmla="*/ 296838 h 1866625"/>
              <a:gd name="connsiteX31" fmla="*/ 1 w 1455401"/>
              <a:gd name="connsiteY31" fmla="*/ 296835 h 1866625"/>
              <a:gd name="connsiteX32" fmla="*/ 3758 w 1455401"/>
              <a:gd name="connsiteY32" fmla="*/ 266488 h 1866625"/>
              <a:gd name="connsiteX33" fmla="*/ 727700 w 1455401"/>
              <a:gd name="connsiteY33"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 w 1455401"/>
              <a:gd name="connsiteY28" fmla="*/ 296841 h 1866625"/>
              <a:gd name="connsiteX29" fmla="*/ 0 w 1455401"/>
              <a:gd name="connsiteY29" fmla="*/ 296838 h 1866625"/>
              <a:gd name="connsiteX30" fmla="*/ 1 w 1455401"/>
              <a:gd name="connsiteY30" fmla="*/ 296835 h 1866625"/>
              <a:gd name="connsiteX31" fmla="*/ 3758 w 1455401"/>
              <a:gd name="connsiteY31" fmla="*/ 266488 h 1866625"/>
              <a:gd name="connsiteX32" fmla="*/ 727700 w 1455401"/>
              <a:gd name="connsiteY32"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296841 h 1866625"/>
              <a:gd name="connsiteX28" fmla="*/ 0 w 1455401"/>
              <a:gd name="connsiteY28" fmla="*/ 296838 h 1866625"/>
              <a:gd name="connsiteX29" fmla="*/ 1 w 1455401"/>
              <a:gd name="connsiteY29" fmla="*/ 296835 h 1866625"/>
              <a:gd name="connsiteX30" fmla="*/ 3758 w 1455401"/>
              <a:gd name="connsiteY30" fmla="*/ 266488 h 1866625"/>
              <a:gd name="connsiteX31" fmla="*/ 727700 w 1455401"/>
              <a:gd name="connsiteY31"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143359 h 1866625"/>
              <a:gd name="connsiteX13" fmla="*/ 1439768 w 1455401"/>
              <a:gd name="connsiteY13" fmla="*/ 1140834 h 1866625"/>
              <a:gd name="connsiteX14" fmla="*/ 1455401 w 1455401"/>
              <a:gd name="connsiteY14" fmla="*/ 1127732 h 1866625"/>
              <a:gd name="connsiteX15" fmla="*/ 1455401 w 1455401"/>
              <a:gd name="connsiteY15" fmla="*/ 1569784 h 1866625"/>
              <a:gd name="connsiteX16" fmla="*/ 1455401 w 1455401"/>
              <a:gd name="connsiteY16" fmla="*/ 1569787 h 1866625"/>
              <a:gd name="connsiteX17" fmla="*/ 1455401 w 1455401"/>
              <a:gd name="connsiteY17" fmla="*/ 1569790 h 1866625"/>
              <a:gd name="connsiteX18" fmla="*/ 1455401 w 1455401"/>
              <a:gd name="connsiteY18" fmla="*/ 1578767 h 1866625"/>
              <a:gd name="connsiteX19" fmla="*/ 1454289 w 1455401"/>
              <a:gd name="connsiteY19" fmla="*/ 1578767 h 1866625"/>
              <a:gd name="connsiteX20" fmla="*/ 1451644 w 1455401"/>
              <a:gd name="connsiteY20" fmla="*/ 1600137 h 1866625"/>
              <a:gd name="connsiteX21" fmla="*/ 727701 w 1455401"/>
              <a:gd name="connsiteY21" fmla="*/ 1866625 h 1866625"/>
              <a:gd name="connsiteX22" fmla="*/ 3758 w 1455401"/>
              <a:gd name="connsiteY22" fmla="*/ 1600137 h 1866625"/>
              <a:gd name="connsiteX23" fmla="*/ 1113 w 1455401"/>
              <a:gd name="connsiteY23" fmla="*/ 1578767 h 1866625"/>
              <a:gd name="connsiteX24" fmla="*/ 1 w 1455401"/>
              <a:gd name="connsiteY24" fmla="*/ 1578767 h 1866625"/>
              <a:gd name="connsiteX25" fmla="*/ 1 w 1455401"/>
              <a:gd name="connsiteY25" fmla="*/ 1569787 h 1866625"/>
              <a:gd name="connsiteX26" fmla="*/ 1 w 1455401"/>
              <a:gd name="connsiteY26" fmla="*/ 296841 h 1866625"/>
              <a:gd name="connsiteX27" fmla="*/ 0 w 1455401"/>
              <a:gd name="connsiteY27" fmla="*/ 296838 h 1866625"/>
              <a:gd name="connsiteX28" fmla="*/ 1 w 1455401"/>
              <a:gd name="connsiteY28" fmla="*/ 296835 h 1866625"/>
              <a:gd name="connsiteX29" fmla="*/ 3758 w 1455401"/>
              <a:gd name="connsiteY29" fmla="*/ 266488 h 1866625"/>
              <a:gd name="connsiteX30" fmla="*/ 727700 w 1455401"/>
              <a:gd name="connsiteY30"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4352 w 1455401"/>
              <a:gd name="connsiteY11" fmla="*/ 1143359 h 1866625"/>
              <a:gd name="connsiteX12" fmla="*/ 1439768 w 1455401"/>
              <a:gd name="connsiteY12" fmla="*/ 1140834 h 1866625"/>
              <a:gd name="connsiteX13" fmla="*/ 1455401 w 1455401"/>
              <a:gd name="connsiteY13" fmla="*/ 1127732 h 1866625"/>
              <a:gd name="connsiteX14" fmla="*/ 1455401 w 1455401"/>
              <a:gd name="connsiteY14" fmla="*/ 1569784 h 1866625"/>
              <a:gd name="connsiteX15" fmla="*/ 1455401 w 1455401"/>
              <a:gd name="connsiteY15" fmla="*/ 1569787 h 1866625"/>
              <a:gd name="connsiteX16" fmla="*/ 1455401 w 1455401"/>
              <a:gd name="connsiteY16" fmla="*/ 1569790 h 1866625"/>
              <a:gd name="connsiteX17" fmla="*/ 1455401 w 1455401"/>
              <a:gd name="connsiteY17" fmla="*/ 1578767 h 1866625"/>
              <a:gd name="connsiteX18" fmla="*/ 1454289 w 1455401"/>
              <a:gd name="connsiteY18" fmla="*/ 1578767 h 1866625"/>
              <a:gd name="connsiteX19" fmla="*/ 1451644 w 1455401"/>
              <a:gd name="connsiteY19" fmla="*/ 1600137 h 1866625"/>
              <a:gd name="connsiteX20" fmla="*/ 727701 w 1455401"/>
              <a:gd name="connsiteY20" fmla="*/ 1866625 h 1866625"/>
              <a:gd name="connsiteX21" fmla="*/ 3758 w 1455401"/>
              <a:gd name="connsiteY21" fmla="*/ 1600137 h 1866625"/>
              <a:gd name="connsiteX22" fmla="*/ 1113 w 1455401"/>
              <a:gd name="connsiteY22" fmla="*/ 1578767 h 1866625"/>
              <a:gd name="connsiteX23" fmla="*/ 1 w 1455401"/>
              <a:gd name="connsiteY23" fmla="*/ 1578767 h 1866625"/>
              <a:gd name="connsiteX24" fmla="*/ 1 w 1455401"/>
              <a:gd name="connsiteY24" fmla="*/ 1569787 h 1866625"/>
              <a:gd name="connsiteX25" fmla="*/ 1 w 1455401"/>
              <a:gd name="connsiteY25" fmla="*/ 296841 h 1866625"/>
              <a:gd name="connsiteX26" fmla="*/ 0 w 1455401"/>
              <a:gd name="connsiteY26" fmla="*/ 296838 h 1866625"/>
              <a:gd name="connsiteX27" fmla="*/ 1 w 1455401"/>
              <a:gd name="connsiteY27" fmla="*/ 296835 h 1866625"/>
              <a:gd name="connsiteX28" fmla="*/ 3758 w 1455401"/>
              <a:gd name="connsiteY28" fmla="*/ 266488 h 1866625"/>
              <a:gd name="connsiteX29" fmla="*/ 727700 w 1455401"/>
              <a:gd name="connsiteY29"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127732 h 1866625"/>
              <a:gd name="connsiteX13" fmla="*/ 1455401 w 1455401"/>
              <a:gd name="connsiteY13" fmla="*/ 1569784 h 1866625"/>
              <a:gd name="connsiteX14" fmla="*/ 1455401 w 1455401"/>
              <a:gd name="connsiteY14" fmla="*/ 1569787 h 1866625"/>
              <a:gd name="connsiteX15" fmla="*/ 1455401 w 1455401"/>
              <a:gd name="connsiteY15" fmla="*/ 1569790 h 1866625"/>
              <a:gd name="connsiteX16" fmla="*/ 1455401 w 1455401"/>
              <a:gd name="connsiteY16" fmla="*/ 1578767 h 1866625"/>
              <a:gd name="connsiteX17" fmla="*/ 1454289 w 1455401"/>
              <a:gd name="connsiteY17" fmla="*/ 1578767 h 1866625"/>
              <a:gd name="connsiteX18" fmla="*/ 1451644 w 1455401"/>
              <a:gd name="connsiteY18" fmla="*/ 1600137 h 1866625"/>
              <a:gd name="connsiteX19" fmla="*/ 727701 w 1455401"/>
              <a:gd name="connsiteY19" fmla="*/ 1866625 h 1866625"/>
              <a:gd name="connsiteX20" fmla="*/ 3758 w 1455401"/>
              <a:gd name="connsiteY20" fmla="*/ 1600137 h 1866625"/>
              <a:gd name="connsiteX21" fmla="*/ 1113 w 1455401"/>
              <a:gd name="connsiteY21" fmla="*/ 1578767 h 1866625"/>
              <a:gd name="connsiteX22" fmla="*/ 1 w 1455401"/>
              <a:gd name="connsiteY22" fmla="*/ 1578767 h 1866625"/>
              <a:gd name="connsiteX23" fmla="*/ 1 w 1455401"/>
              <a:gd name="connsiteY23" fmla="*/ 1569787 h 1866625"/>
              <a:gd name="connsiteX24" fmla="*/ 1 w 1455401"/>
              <a:gd name="connsiteY24" fmla="*/ 296841 h 1866625"/>
              <a:gd name="connsiteX25" fmla="*/ 0 w 1455401"/>
              <a:gd name="connsiteY25" fmla="*/ 296838 h 1866625"/>
              <a:gd name="connsiteX26" fmla="*/ 1 w 1455401"/>
              <a:gd name="connsiteY26" fmla="*/ 296835 h 1866625"/>
              <a:gd name="connsiteX27" fmla="*/ 3758 w 1455401"/>
              <a:gd name="connsiteY27" fmla="*/ 266488 h 1866625"/>
              <a:gd name="connsiteX28" fmla="*/ 727700 w 1455401"/>
              <a:gd name="connsiteY28"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569784 h 1866625"/>
              <a:gd name="connsiteX13" fmla="*/ 1455401 w 1455401"/>
              <a:gd name="connsiteY13" fmla="*/ 1569787 h 1866625"/>
              <a:gd name="connsiteX14" fmla="*/ 1455401 w 1455401"/>
              <a:gd name="connsiteY14" fmla="*/ 1569790 h 1866625"/>
              <a:gd name="connsiteX15" fmla="*/ 1455401 w 1455401"/>
              <a:gd name="connsiteY15" fmla="*/ 1578767 h 1866625"/>
              <a:gd name="connsiteX16" fmla="*/ 1454289 w 1455401"/>
              <a:gd name="connsiteY16" fmla="*/ 1578767 h 1866625"/>
              <a:gd name="connsiteX17" fmla="*/ 1451644 w 1455401"/>
              <a:gd name="connsiteY17" fmla="*/ 1600137 h 1866625"/>
              <a:gd name="connsiteX18" fmla="*/ 727701 w 1455401"/>
              <a:gd name="connsiteY18" fmla="*/ 1866625 h 1866625"/>
              <a:gd name="connsiteX19" fmla="*/ 3758 w 1455401"/>
              <a:gd name="connsiteY19" fmla="*/ 1600137 h 1866625"/>
              <a:gd name="connsiteX20" fmla="*/ 1113 w 1455401"/>
              <a:gd name="connsiteY20" fmla="*/ 1578767 h 1866625"/>
              <a:gd name="connsiteX21" fmla="*/ 1 w 1455401"/>
              <a:gd name="connsiteY21" fmla="*/ 1578767 h 1866625"/>
              <a:gd name="connsiteX22" fmla="*/ 1 w 1455401"/>
              <a:gd name="connsiteY22" fmla="*/ 1569787 h 1866625"/>
              <a:gd name="connsiteX23" fmla="*/ 1 w 1455401"/>
              <a:gd name="connsiteY23" fmla="*/ 296841 h 1866625"/>
              <a:gd name="connsiteX24" fmla="*/ 0 w 1455401"/>
              <a:gd name="connsiteY24" fmla="*/ 296838 h 1866625"/>
              <a:gd name="connsiteX25" fmla="*/ 1 w 1455401"/>
              <a:gd name="connsiteY25" fmla="*/ 296835 h 1866625"/>
              <a:gd name="connsiteX26" fmla="*/ 3758 w 1455401"/>
              <a:gd name="connsiteY26" fmla="*/ 266488 h 1866625"/>
              <a:gd name="connsiteX27" fmla="*/ 727700 w 1455401"/>
              <a:gd name="connsiteY2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55401 w 1455401"/>
              <a:gd name="connsiteY11" fmla="*/ 1569784 h 1866625"/>
              <a:gd name="connsiteX12" fmla="*/ 1455401 w 1455401"/>
              <a:gd name="connsiteY12" fmla="*/ 1569787 h 1866625"/>
              <a:gd name="connsiteX13" fmla="*/ 1455401 w 1455401"/>
              <a:gd name="connsiteY13" fmla="*/ 1569790 h 1866625"/>
              <a:gd name="connsiteX14" fmla="*/ 1455401 w 1455401"/>
              <a:gd name="connsiteY14" fmla="*/ 1578767 h 1866625"/>
              <a:gd name="connsiteX15" fmla="*/ 1454289 w 1455401"/>
              <a:gd name="connsiteY15" fmla="*/ 1578767 h 1866625"/>
              <a:gd name="connsiteX16" fmla="*/ 1451644 w 1455401"/>
              <a:gd name="connsiteY16" fmla="*/ 1600137 h 1866625"/>
              <a:gd name="connsiteX17" fmla="*/ 727701 w 1455401"/>
              <a:gd name="connsiteY17" fmla="*/ 1866625 h 1866625"/>
              <a:gd name="connsiteX18" fmla="*/ 3758 w 1455401"/>
              <a:gd name="connsiteY18" fmla="*/ 1600137 h 1866625"/>
              <a:gd name="connsiteX19" fmla="*/ 1113 w 1455401"/>
              <a:gd name="connsiteY19" fmla="*/ 1578767 h 1866625"/>
              <a:gd name="connsiteX20" fmla="*/ 1 w 1455401"/>
              <a:gd name="connsiteY20" fmla="*/ 1578767 h 1866625"/>
              <a:gd name="connsiteX21" fmla="*/ 1 w 1455401"/>
              <a:gd name="connsiteY21" fmla="*/ 1569787 h 1866625"/>
              <a:gd name="connsiteX22" fmla="*/ 1 w 1455401"/>
              <a:gd name="connsiteY22" fmla="*/ 296841 h 1866625"/>
              <a:gd name="connsiteX23" fmla="*/ 0 w 1455401"/>
              <a:gd name="connsiteY23" fmla="*/ 296838 h 1866625"/>
              <a:gd name="connsiteX24" fmla="*/ 1 w 1455401"/>
              <a:gd name="connsiteY24" fmla="*/ 296835 h 1866625"/>
              <a:gd name="connsiteX25" fmla="*/ 3758 w 1455401"/>
              <a:gd name="connsiteY25" fmla="*/ 266488 h 1866625"/>
              <a:gd name="connsiteX26" fmla="*/ 727700 w 1455401"/>
              <a:gd name="connsiteY2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569784 h 1866625"/>
              <a:gd name="connsiteX11" fmla="*/ 1455401 w 1455401"/>
              <a:gd name="connsiteY11" fmla="*/ 1569787 h 1866625"/>
              <a:gd name="connsiteX12" fmla="*/ 1455401 w 1455401"/>
              <a:gd name="connsiteY12" fmla="*/ 1569790 h 1866625"/>
              <a:gd name="connsiteX13" fmla="*/ 1455401 w 1455401"/>
              <a:gd name="connsiteY13" fmla="*/ 1578767 h 1866625"/>
              <a:gd name="connsiteX14" fmla="*/ 1454289 w 1455401"/>
              <a:gd name="connsiteY14" fmla="*/ 1578767 h 1866625"/>
              <a:gd name="connsiteX15" fmla="*/ 1451644 w 1455401"/>
              <a:gd name="connsiteY15" fmla="*/ 1600137 h 1866625"/>
              <a:gd name="connsiteX16" fmla="*/ 727701 w 1455401"/>
              <a:gd name="connsiteY16" fmla="*/ 1866625 h 1866625"/>
              <a:gd name="connsiteX17" fmla="*/ 3758 w 1455401"/>
              <a:gd name="connsiteY17" fmla="*/ 1600137 h 1866625"/>
              <a:gd name="connsiteX18" fmla="*/ 1113 w 1455401"/>
              <a:gd name="connsiteY18" fmla="*/ 1578767 h 1866625"/>
              <a:gd name="connsiteX19" fmla="*/ 1 w 1455401"/>
              <a:gd name="connsiteY19" fmla="*/ 1578767 h 1866625"/>
              <a:gd name="connsiteX20" fmla="*/ 1 w 1455401"/>
              <a:gd name="connsiteY20" fmla="*/ 1569787 h 1866625"/>
              <a:gd name="connsiteX21" fmla="*/ 1 w 1455401"/>
              <a:gd name="connsiteY21" fmla="*/ 296841 h 1866625"/>
              <a:gd name="connsiteX22" fmla="*/ 0 w 1455401"/>
              <a:gd name="connsiteY22" fmla="*/ 296838 h 1866625"/>
              <a:gd name="connsiteX23" fmla="*/ 1 w 1455401"/>
              <a:gd name="connsiteY23" fmla="*/ 296835 h 1866625"/>
              <a:gd name="connsiteX24" fmla="*/ 3758 w 1455401"/>
              <a:gd name="connsiteY24" fmla="*/ 266488 h 1866625"/>
              <a:gd name="connsiteX25" fmla="*/ 727700 w 1455401"/>
              <a:gd name="connsiteY25" fmla="*/ 0 h 1866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455401" h="1866625">
                <a:moveTo>
                  <a:pt x="727701" y="107085"/>
                </a:moveTo>
                <a:cubicBezTo>
                  <a:pt x="450294" y="107085"/>
                  <a:pt x="225411" y="173087"/>
                  <a:pt x="225411" y="254506"/>
                </a:cubicBezTo>
                <a:cubicBezTo>
                  <a:pt x="225411" y="335924"/>
                  <a:pt x="450294" y="401926"/>
                  <a:pt x="727701" y="401926"/>
                </a:cubicBezTo>
                <a:cubicBezTo>
                  <a:pt x="1005108" y="401926"/>
                  <a:pt x="1229991" y="335924"/>
                  <a:pt x="1229991" y="254506"/>
                </a:cubicBezTo>
                <a:cubicBezTo>
                  <a:pt x="1229991" y="173087"/>
                  <a:pt x="1005108" y="107085"/>
                  <a:pt x="727701" y="107085"/>
                </a:cubicBezTo>
                <a:close/>
                <a:moveTo>
                  <a:pt x="727700" y="0"/>
                </a:moveTo>
                <a:cubicBezTo>
                  <a:pt x="1104479" y="0"/>
                  <a:pt x="1414378" y="116806"/>
                  <a:pt x="1451644" y="266488"/>
                </a:cubicBezTo>
                <a:lnTo>
                  <a:pt x="1454289" y="287858"/>
                </a:lnTo>
                <a:lnTo>
                  <a:pt x="1455400" y="287858"/>
                </a:lnTo>
                <a:lnTo>
                  <a:pt x="1455400" y="296838"/>
                </a:lnTo>
                <a:cubicBezTo>
                  <a:pt x="1455400" y="510492"/>
                  <a:pt x="1455401" y="1357626"/>
                  <a:pt x="1455401" y="1569784"/>
                </a:cubicBezTo>
                <a:lnTo>
                  <a:pt x="1455401" y="1569787"/>
                </a:lnTo>
                <a:lnTo>
                  <a:pt x="1455401" y="1569790"/>
                </a:lnTo>
                <a:lnTo>
                  <a:pt x="1455401" y="1578767"/>
                </a:lnTo>
                <a:lnTo>
                  <a:pt x="1454289" y="1578767"/>
                </a:lnTo>
                <a:lnTo>
                  <a:pt x="1451644" y="1600137"/>
                </a:lnTo>
                <a:cubicBezTo>
                  <a:pt x="1414379" y="1749819"/>
                  <a:pt x="1104480" y="1866625"/>
                  <a:pt x="727701" y="1866625"/>
                </a:cubicBezTo>
                <a:cubicBezTo>
                  <a:pt x="350922" y="1866625"/>
                  <a:pt x="41024" y="1749819"/>
                  <a:pt x="3758" y="1600137"/>
                </a:cubicBezTo>
                <a:lnTo>
                  <a:pt x="1113" y="1578767"/>
                </a:lnTo>
                <a:lnTo>
                  <a:pt x="1" y="1578767"/>
                </a:lnTo>
                <a:lnTo>
                  <a:pt x="1" y="1569787"/>
                </a:lnTo>
                <a:lnTo>
                  <a:pt x="1" y="296841"/>
                </a:lnTo>
                <a:cubicBezTo>
                  <a:pt x="1" y="158359"/>
                  <a:pt x="0" y="296839"/>
                  <a:pt x="0" y="296838"/>
                </a:cubicBezTo>
                <a:cubicBezTo>
                  <a:pt x="0" y="296837"/>
                  <a:pt x="1" y="296836"/>
                  <a:pt x="1" y="296835"/>
                </a:cubicBezTo>
                <a:lnTo>
                  <a:pt x="3758" y="266488"/>
                </a:lnTo>
                <a:cubicBezTo>
                  <a:pt x="41023" y="116806"/>
                  <a:pt x="350921" y="0"/>
                  <a:pt x="727700" y="0"/>
                </a:cubicBezTo>
                <a:close/>
              </a:path>
            </a:pathLst>
          </a:custGeom>
          <a:solidFill>
            <a:srgbClr val="59B4D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err="1">
              <a:gradFill>
                <a:gsLst>
                  <a:gs pos="0">
                    <a:srgbClr val="FFFFFF"/>
                  </a:gs>
                  <a:gs pos="100000">
                    <a:srgbClr val="FFFFFF"/>
                  </a:gs>
                </a:gsLst>
                <a:lin ang="5400000" scaled="0"/>
              </a:gradFill>
              <a:ea typeface="Segoe UI" pitchFamily="34" charset="0"/>
              <a:cs typeface="Segoe UI" pitchFamily="34" charset="0"/>
            </a:endParaRPr>
          </a:p>
        </p:txBody>
      </p:sp>
      <p:sp>
        <p:nvSpPr>
          <p:cNvPr id="70" name="Freeform 1490"/>
          <p:cNvSpPr/>
          <p:nvPr/>
        </p:nvSpPr>
        <p:spPr bwMode="auto">
          <a:xfrm>
            <a:off x="7013795" y="3901012"/>
            <a:ext cx="658050" cy="843986"/>
          </a:xfrm>
          <a:custGeom>
            <a:avLst/>
            <a:gdLst>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143359 h 1866625"/>
              <a:gd name="connsiteX30" fmla="*/ 21049 w 1455401"/>
              <a:gd name="connsiteY30" fmla="*/ 1033051 h 1866625"/>
              <a:gd name="connsiteX31" fmla="*/ 15633 w 1455401"/>
              <a:gd name="connsiteY31" fmla="*/ 1030526 h 1866625"/>
              <a:gd name="connsiteX32" fmla="*/ 0 w 1455401"/>
              <a:gd name="connsiteY32" fmla="*/ 1017423 h 1866625"/>
              <a:gd name="connsiteX33" fmla="*/ 1 w 1455401"/>
              <a:gd name="connsiteY33" fmla="*/ 296841 h 1866625"/>
              <a:gd name="connsiteX34" fmla="*/ 0 w 1455401"/>
              <a:gd name="connsiteY34" fmla="*/ 296838 h 1866625"/>
              <a:gd name="connsiteX35" fmla="*/ 1 w 1455401"/>
              <a:gd name="connsiteY35" fmla="*/ 296835 h 1866625"/>
              <a:gd name="connsiteX36" fmla="*/ 3758 w 1455401"/>
              <a:gd name="connsiteY36" fmla="*/ 266488 h 1866625"/>
              <a:gd name="connsiteX37" fmla="*/ 727700 w 1455401"/>
              <a:gd name="connsiteY3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033051 h 1866625"/>
              <a:gd name="connsiteX30" fmla="*/ 15633 w 1455401"/>
              <a:gd name="connsiteY30" fmla="*/ 1030526 h 1866625"/>
              <a:gd name="connsiteX31" fmla="*/ 0 w 1455401"/>
              <a:gd name="connsiteY31" fmla="*/ 1017423 h 1866625"/>
              <a:gd name="connsiteX32" fmla="*/ 1 w 1455401"/>
              <a:gd name="connsiteY32" fmla="*/ 296841 h 1866625"/>
              <a:gd name="connsiteX33" fmla="*/ 0 w 1455401"/>
              <a:gd name="connsiteY33" fmla="*/ 296838 h 1866625"/>
              <a:gd name="connsiteX34" fmla="*/ 1 w 1455401"/>
              <a:gd name="connsiteY34" fmla="*/ 296835 h 1866625"/>
              <a:gd name="connsiteX35" fmla="*/ 3758 w 1455401"/>
              <a:gd name="connsiteY35" fmla="*/ 266488 h 1866625"/>
              <a:gd name="connsiteX36" fmla="*/ 727700 w 1455401"/>
              <a:gd name="connsiteY3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15633 w 1455401"/>
              <a:gd name="connsiteY29" fmla="*/ 1030526 h 1866625"/>
              <a:gd name="connsiteX30" fmla="*/ 0 w 1455401"/>
              <a:gd name="connsiteY30" fmla="*/ 1017423 h 1866625"/>
              <a:gd name="connsiteX31" fmla="*/ 1 w 1455401"/>
              <a:gd name="connsiteY31" fmla="*/ 296841 h 1866625"/>
              <a:gd name="connsiteX32" fmla="*/ 0 w 1455401"/>
              <a:gd name="connsiteY32" fmla="*/ 296838 h 1866625"/>
              <a:gd name="connsiteX33" fmla="*/ 1 w 1455401"/>
              <a:gd name="connsiteY33" fmla="*/ 296835 h 1866625"/>
              <a:gd name="connsiteX34" fmla="*/ 3758 w 1455401"/>
              <a:gd name="connsiteY34" fmla="*/ 266488 h 1866625"/>
              <a:gd name="connsiteX35" fmla="*/ 727700 w 1455401"/>
              <a:gd name="connsiteY35"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0 w 1455401"/>
              <a:gd name="connsiteY29" fmla="*/ 1017423 h 1866625"/>
              <a:gd name="connsiteX30" fmla="*/ 1 w 1455401"/>
              <a:gd name="connsiteY30" fmla="*/ 296841 h 1866625"/>
              <a:gd name="connsiteX31" fmla="*/ 0 w 1455401"/>
              <a:gd name="connsiteY31" fmla="*/ 296838 h 1866625"/>
              <a:gd name="connsiteX32" fmla="*/ 1 w 1455401"/>
              <a:gd name="connsiteY32" fmla="*/ 296835 h 1866625"/>
              <a:gd name="connsiteX33" fmla="*/ 3758 w 1455401"/>
              <a:gd name="connsiteY33" fmla="*/ 266488 h 1866625"/>
              <a:gd name="connsiteX34" fmla="*/ 727700 w 1455401"/>
              <a:gd name="connsiteY34"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0 w 1455401"/>
              <a:gd name="connsiteY28" fmla="*/ 1017423 h 1866625"/>
              <a:gd name="connsiteX29" fmla="*/ 1 w 1455401"/>
              <a:gd name="connsiteY29" fmla="*/ 296841 h 1866625"/>
              <a:gd name="connsiteX30" fmla="*/ 0 w 1455401"/>
              <a:gd name="connsiteY30" fmla="*/ 296838 h 1866625"/>
              <a:gd name="connsiteX31" fmla="*/ 1 w 1455401"/>
              <a:gd name="connsiteY31" fmla="*/ 296835 h 1866625"/>
              <a:gd name="connsiteX32" fmla="*/ 3758 w 1455401"/>
              <a:gd name="connsiteY32" fmla="*/ 266488 h 1866625"/>
              <a:gd name="connsiteX33" fmla="*/ 727700 w 1455401"/>
              <a:gd name="connsiteY33"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 w 1455401"/>
              <a:gd name="connsiteY28" fmla="*/ 296841 h 1866625"/>
              <a:gd name="connsiteX29" fmla="*/ 0 w 1455401"/>
              <a:gd name="connsiteY29" fmla="*/ 296838 h 1866625"/>
              <a:gd name="connsiteX30" fmla="*/ 1 w 1455401"/>
              <a:gd name="connsiteY30" fmla="*/ 296835 h 1866625"/>
              <a:gd name="connsiteX31" fmla="*/ 3758 w 1455401"/>
              <a:gd name="connsiteY31" fmla="*/ 266488 h 1866625"/>
              <a:gd name="connsiteX32" fmla="*/ 727700 w 1455401"/>
              <a:gd name="connsiteY32"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296841 h 1866625"/>
              <a:gd name="connsiteX28" fmla="*/ 0 w 1455401"/>
              <a:gd name="connsiteY28" fmla="*/ 296838 h 1866625"/>
              <a:gd name="connsiteX29" fmla="*/ 1 w 1455401"/>
              <a:gd name="connsiteY29" fmla="*/ 296835 h 1866625"/>
              <a:gd name="connsiteX30" fmla="*/ 3758 w 1455401"/>
              <a:gd name="connsiteY30" fmla="*/ 266488 h 1866625"/>
              <a:gd name="connsiteX31" fmla="*/ 727700 w 1455401"/>
              <a:gd name="connsiteY31"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143359 h 1866625"/>
              <a:gd name="connsiteX13" fmla="*/ 1439768 w 1455401"/>
              <a:gd name="connsiteY13" fmla="*/ 1140834 h 1866625"/>
              <a:gd name="connsiteX14" fmla="*/ 1455401 w 1455401"/>
              <a:gd name="connsiteY14" fmla="*/ 1127732 h 1866625"/>
              <a:gd name="connsiteX15" fmla="*/ 1455401 w 1455401"/>
              <a:gd name="connsiteY15" fmla="*/ 1569784 h 1866625"/>
              <a:gd name="connsiteX16" fmla="*/ 1455401 w 1455401"/>
              <a:gd name="connsiteY16" fmla="*/ 1569787 h 1866625"/>
              <a:gd name="connsiteX17" fmla="*/ 1455401 w 1455401"/>
              <a:gd name="connsiteY17" fmla="*/ 1569790 h 1866625"/>
              <a:gd name="connsiteX18" fmla="*/ 1455401 w 1455401"/>
              <a:gd name="connsiteY18" fmla="*/ 1578767 h 1866625"/>
              <a:gd name="connsiteX19" fmla="*/ 1454289 w 1455401"/>
              <a:gd name="connsiteY19" fmla="*/ 1578767 h 1866625"/>
              <a:gd name="connsiteX20" fmla="*/ 1451644 w 1455401"/>
              <a:gd name="connsiteY20" fmla="*/ 1600137 h 1866625"/>
              <a:gd name="connsiteX21" fmla="*/ 727701 w 1455401"/>
              <a:gd name="connsiteY21" fmla="*/ 1866625 h 1866625"/>
              <a:gd name="connsiteX22" fmla="*/ 3758 w 1455401"/>
              <a:gd name="connsiteY22" fmla="*/ 1600137 h 1866625"/>
              <a:gd name="connsiteX23" fmla="*/ 1113 w 1455401"/>
              <a:gd name="connsiteY23" fmla="*/ 1578767 h 1866625"/>
              <a:gd name="connsiteX24" fmla="*/ 1 w 1455401"/>
              <a:gd name="connsiteY24" fmla="*/ 1578767 h 1866625"/>
              <a:gd name="connsiteX25" fmla="*/ 1 w 1455401"/>
              <a:gd name="connsiteY25" fmla="*/ 1569787 h 1866625"/>
              <a:gd name="connsiteX26" fmla="*/ 1 w 1455401"/>
              <a:gd name="connsiteY26" fmla="*/ 296841 h 1866625"/>
              <a:gd name="connsiteX27" fmla="*/ 0 w 1455401"/>
              <a:gd name="connsiteY27" fmla="*/ 296838 h 1866625"/>
              <a:gd name="connsiteX28" fmla="*/ 1 w 1455401"/>
              <a:gd name="connsiteY28" fmla="*/ 296835 h 1866625"/>
              <a:gd name="connsiteX29" fmla="*/ 3758 w 1455401"/>
              <a:gd name="connsiteY29" fmla="*/ 266488 h 1866625"/>
              <a:gd name="connsiteX30" fmla="*/ 727700 w 1455401"/>
              <a:gd name="connsiteY30"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4352 w 1455401"/>
              <a:gd name="connsiteY11" fmla="*/ 1143359 h 1866625"/>
              <a:gd name="connsiteX12" fmla="*/ 1439768 w 1455401"/>
              <a:gd name="connsiteY12" fmla="*/ 1140834 h 1866625"/>
              <a:gd name="connsiteX13" fmla="*/ 1455401 w 1455401"/>
              <a:gd name="connsiteY13" fmla="*/ 1127732 h 1866625"/>
              <a:gd name="connsiteX14" fmla="*/ 1455401 w 1455401"/>
              <a:gd name="connsiteY14" fmla="*/ 1569784 h 1866625"/>
              <a:gd name="connsiteX15" fmla="*/ 1455401 w 1455401"/>
              <a:gd name="connsiteY15" fmla="*/ 1569787 h 1866625"/>
              <a:gd name="connsiteX16" fmla="*/ 1455401 w 1455401"/>
              <a:gd name="connsiteY16" fmla="*/ 1569790 h 1866625"/>
              <a:gd name="connsiteX17" fmla="*/ 1455401 w 1455401"/>
              <a:gd name="connsiteY17" fmla="*/ 1578767 h 1866625"/>
              <a:gd name="connsiteX18" fmla="*/ 1454289 w 1455401"/>
              <a:gd name="connsiteY18" fmla="*/ 1578767 h 1866625"/>
              <a:gd name="connsiteX19" fmla="*/ 1451644 w 1455401"/>
              <a:gd name="connsiteY19" fmla="*/ 1600137 h 1866625"/>
              <a:gd name="connsiteX20" fmla="*/ 727701 w 1455401"/>
              <a:gd name="connsiteY20" fmla="*/ 1866625 h 1866625"/>
              <a:gd name="connsiteX21" fmla="*/ 3758 w 1455401"/>
              <a:gd name="connsiteY21" fmla="*/ 1600137 h 1866625"/>
              <a:gd name="connsiteX22" fmla="*/ 1113 w 1455401"/>
              <a:gd name="connsiteY22" fmla="*/ 1578767 h 1866625"/>
              <a:gd name="connsiteX23" fmla="*/ 1 w 1455401"/>
              <a:gd name="connsiteY23" fmla="*/ 1578767 h 1866625"/>
              <a:gd name="connsiteX24" fmla="*/ 1 w 1455401"/>
              <a:gd name="connsiteY24" fmla="*/ 1569787 h 1866625"/>
              <a:gd name="connsiteX25" fmla="*/ 1 w 1455401"/>
              <a:gd name="connsiteY25" fmla="*/ 296841 h 1866625"/>
              <a:gd name="connsiteX26" fmla="*/ 0 w 1455401"/>
              <a:gd name="connsiteY26" fmla="*/ 296838 h 1866625"/>
              <a:gd name="connsiteX27" fmla="*/ 1 w 1455401"/>
              <a:gd name="connsiteY27" fmla="*/ 296835 h 1866625"/>
              <a:gd name="connsiteX28" fmla="*/ 3758 w 1455401"/>
              <a:gd name="connsiteY28" fmla="*/ 266488 h 1866625"/>
              <a:gd name="connsiteX29" fmla="*/ 727700 w 1455401"/>
              <a:gd name="connsiteY29"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127732 h 1866625"/>
              <a:gd name="connsiteX13" fmla="*/ 1455401 w 1455401"/>
              <a:gd name="connsiteY13" fmla="*/ 1569784 h 1866625"/>
              <a:gd name="connsiteX14" fmla="*/ 1455401 w 1455401"/>
              <a:gd name="connsiteY14" fmla="*/ 1569787 h 1866625"/>
              <a:gd name="connsiteX15" fmla="*/ 1455401 w 1455401"/>
              <a:gd name="connsiteY15" fmla="*/ 1569790 h 1866625"/>
              <a:gd name="connsiteX16" fmla="*/ 1455401 w 1455401"/>
              <a:gd name="connsiteY16" fmla="*/ 1578767 h 1866625"/>
              <a:gd name="connsiteX17" fmla="*/ 1454289 w 1455401"/>
              <a:gd name="connsiteY17" fmla="*/ 1578767 h 1866625"/>
              <a:gd name="connsiteX18" fmla="*/ 1451644 w 1455401"/>
              <a:gd name="connsiteY18" fmla="*/ 1600137 h 1866625"/>
              <a:gd name="connsiteX19" fmla="*/ 727701 w 1455401"/>
              <a:gd name="connsiteY19" fmla="*/ 1866625 h 1866625"/>
              <a:gd name="connsiteX20" fmla="*/ 3758 w 1455401"/>
              <a:gd name="connsiteY20" fmla="*/ 1600137 h 1866625"/>
              <a:gd name="connsiteX21" fmla="*/ 1113 w 1455401"/>
              <a:gd name="connsiteY21" fmla="*/ 1578767 h 1866625"/>
              <a:gd name="connsiteX22" fmla="*/ 1 w 1455401"/>
              <a:gd name="connsiteY22" fmla="*/ 1578767 h 1866625"/>
              <a:gd name="connsiteX23" fmla="*/ 1 w 1455401"/>
              <a:gd name="connsiteY23" fmla="*/ 1569787 h 1866625"/>
              <a:gd name="connsiteX24" fmla="*/ 1 w 1455401"/>
              <a:gd name="connsiteY24" fmla="*/ 296841 h 1866625"/>
              <a:gd name="connsiteX25" fmla="*/ 0 w 1455401"/>
              <a:gd name="connsiteY25" fmla="*/ 296838 h 1866625"/>
              <a:gd name="connsiteX26" fmla="*/ 1 w 1455401"/>
              <a:gd name="connsiteY26" fmla="*/ 296835 h 1866625"/>
              <a:gd name="connsiteX27" fmla="*/ 3758 w 1455401"/>
              <a:gd name="connsiteY27" fmla="*/ 266488 h 1866625"/>
              <a:gd name="connsiteX28" fmla="*/ 727700 w 1455401"/>
              <a:gd name="connsiteY28"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569784 h 1866625"/>
              <a:gd name="connsiteX13" fmla="*/ 1455401 w 1455401"/>
              <a:gd name="connsiteY13" fmla="*/ 1569787 h 1866625"/>
              <a:gd name="connsiteX14" fmla="*/ 1455401 w 1455401"/>
              <a:gd name="connsiteY14" fmla="*/ 1569790 h 1866625"/>
              <a:gd name="connsiteX15" fmla="*/ 1455401 w 1455401"/>
              <a:gd name="connsiteY15" fmla="*/ 1578767 h 1866625"/>
              <a:gd name="connsiteX16" fmla="*/ 1454289 w 1455401"/>
              <a:gd name="connsiteY16" fmla="*/ 1578767 h 1866625"/>
              <a:gd name="connsiteX17" fmla="*/ 1451644 w 1455401"/>
              <a:gd name="connsiteY17" fmla="*/ 1600137 h 1866625"/>
              <a:gd name="connsiteX18" fmla="*/ 727701 w 1455401"/>
              <a:gd name="connsiteY18" fmla="*/ 1866625 h 1866625"/>
              <a:gd name="connsiteX19" fmla="*/ 3758 w 1455401"/>
              <a:gd name="connsiteY19" fmla="*/ 1600137 h 1866625"/>
              <a:gd name="connsiteX20" fmla="*/ 1113 w 1455401"/>
              <a:gd name="connsiteY20" fmla="*/ 1578767 h 1866625"/>
              <a:gd name="connsiteX21" fmla="*/ 1 w 1455401"/>
              <a:gd name="connsiteY21" fmla="*/ 1578767 h 1866625"/>
              <a:gd name="connsiteX22" fmla="*/ 1 w 1455401"/>
              <a:gd name="connsiteY22" fmla="*/ 1569787 h 1866625"/>
              <a:gd name="connsiteX23" fmla="*/ 1 w 1455401"/>
              <a:gd name="connsiteY23" fmla="*/ 296841 h 1866625"/>
              <a:gd name="connsiteX24" fmla="*/ 0 w 1455401"/>
              <a:gd name="connsiteY24" fmla="*/ 296838 h 1866625"/>
              <a:gd name="connsiteX25" fmla="*/ 1 w 1455401"/>
              <a:gd name="connsiteY25" fmla="*/ 296835 h 1866625"/>
              <a:gd name="connsiteX26" fmla="*/ 3758 w 1455401"/>
              <a:gd name="connsiteY26" fmla="*/ 266488 h 1866625"/>
              <a:gd name="connsiteX27" fmla="*/ 727700 w 1455401"/>
              <a:gd name="connsiteY2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55401 w 1455401"/>
              <a:gd name="connsiteY11" fmla="*/ 1569784 h 1866625"/>
              <a:gd name="connsiteX12" fmla="*/ 1455401 w 1455401"/>
              <a:gd name="connsiteY12" fmla="*/ 1569787 h 1866625"/>
              <a:gd name="connsiteX13" fmla="*/ 1455401 w 1455401"/>
              <a:gd name="connsiteY13" fmla="*/ 1569790 h 1866625"/>
              <a:gd name="connsiteX14" fmla="*/ 1455401 w 1455401"/>
              <a:gd name="connsiteY14" fmla="*/ 1578767 h 1866625"/>
              <a:gd name="connsiteX15" fmla="*/ 1454289 w 1455401"/>
              <a:gd name="connsiteY15" fmla="*/ 1578767 h 1866625"/>
              <a:gd name="connsiteX16" fmla="*/ 1451644 w 1455401"/>
              <a:gd name="connsiteY16" fmla="*/ 1600137 h 1866625"/>
              <a:gd name="connsiteX17" fmla="*/ 727701 w 1455401"/>
              <a:gd name="connsiteY17" fmla="*/ 1866625 h 1866625"/>
              <a:gd name="connsiteX18" fmla="*/ 3758 w 1455401"/>
              <a:gd name="connsiteY18" fmla="*/ 1600137 h 1866625"/>
              <a:gd name="connsiteX19" fmla="*/ 1113 w 1455401"/>
              <a:gd name="connsiteY19" fmla="*/ 1578767 h 1866625"/>
              <a:gd name="connsiteX20" fmla="*/ 1 w 1455401"/>
              <a:gd name="connsiteY20" fmla="*/ 1578767 h 1866625"/>
              <a:gd name="connsiteX21" fmla="*/ 1 w 1455401"/>
              <a:gd name="connsiteY21" fmla="*/ 1569787 h 1866625"/>
              <a:gd name="connsiteX22" fmla="*/ 1 w 1455401"/>
              <a:gd name="connsiteY22" fmla="*/ 296841 h 1866625"/>
              <a:gd name="connsiteX23" fmla="*/ 0 w 1455401"/>
              <a:gd name="connsiteY23" fmla="*/ 296838 h 1866625"/>
              <a:gd name="connsiteX24" fmla="*/ 1 w 1455401"/>
              <a:gd name="connsiteY24" fmla="*/ 296835 h 1866625"/>
              <a:gd name="connsiteX25" fmla="*/ 3758 w 1455401"/>
              <a:gd name="connsiteY25" fmla="*/ 266488 h 1866625"/>
              <a:gd name="connsiteX26" fmla="*/ 727700 w 1455401"/>
              <a:gd name="connsiteY2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569784 h 1866625"/>
              <a:gd name="connsiteX11" fmla="*/ 1455401 w 1455401"/>
              <a:gd name="connsiteY11" fmla="*/ 1569787 h 1866625"/>
              <a:gd name="connsiteX12" fmla="*/ 1455401 w 1455401"/>
              <a:gd name="connsiteY12" fmla="*/ 1569790 h 1866625"/>
              <a:gd name="connsiteX13" fmla="*/ 1455401 w 1455401"/>
              <a:gd name="connsiteY13" fmla="*/ 1578767 h 1866625"/>
              <a:gd name="connsiteX14" fmla="*/ 1454289 w 1455401"/>
              <a:gd name="connsiteY14" fmla="*/ 1578767 h 1866625"/>
              <a:gd name="connsiteX15" fmla="*/ 1451644 w 1455401"/>
              <a:gd name="connsiteY15" fmla="*/ 1600137 h 1866625"/>
              <a:gd name="connsiteX16" fmla="*/ 727701 w 1455401"/>
              <a:gd name="connsiteY16" fmla="*/ 1866625 h 1866625"/>
              <a:gd name="connsiteX17" fmla="*/ 3758 w 1455401"/>
              <a:gd name="connsiteY17" fmla="*/ 1600137 h 1866625"/>
              <a:gd name="connsiteX18" fmla="*/ 1113 w 1455401"/>
              <a:gd name="connsiteY18" fmla="*/ 1578767 h 1866625"/>
              <a:gd name="connsiteX19" fmla="*/ 1 w 1455401"/>
              <a:gd name="connsiteY19" fmla="*/ 1578767 h 1866625"/>
              <a:gd name="connsiteX20" fmla="*/ 1 w 1455401"/>
              <a:gd name="connsiteY20" fmla="*/ 1569787 h 1866625"/>
              <a:gd name="connsiteX21" fmla="*/ 1 w 1455401"/>
              <a:gd name="connsiteY21" fmla="*/ 296841 h 1866625"/>
              <a:gd name="connsiteX22" fmla="*/ 0 w 1455401"/>
              <a:gd name="connsiteY22" fmla="*/ 296838 h 1866625"/>
              <a:gd name="connsiteX23" fmla="*/ 1 w 1455401"/>
              <a:gd name="connsiteY23" fmla="*/ 296835 h 1866625"/>
              <a:gd name="connsiteX24" fmla="*/ 3758 w 1455401"/>
              <a:gd name="connsiteY24" fmla="*/ 266488 h 1866625"/>
              <a:gd name="connsiteX25" fmla="*/ 727700 w 1455401"/>
              <a:gd name="connsiteY25" fmla="*/ 0 h 1866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455401" h="1866625">
                <a:moveTo>
                  <a:pt x="727701" y="107085"/>
                </a:moveTo>
                <a:cubicBezTo>
                  <a:pt x="450294" y="107085"/>
                  <a:pt x="225411" y="173087"/>
                  <a:pt x="225411" y="254506"/>
                </a:cubicBezTo>
                <a:cubicBezTo>
                  <a:pt x="225411" y="335924"/>
                  <a:pt x="450294" y="401926"/>
                  <a:pt x="727701" y="401926"/>
                </a:cubicBezTo>
                <a:cubicBezTo>
                  <a:pt x="1005108" y="401926"/>
                  <a:pt x="1229991" y="335924"/>
                  <a:pt x="1229991" y="254506"/>
                </a:cubicBezTo>
                <a:cubicBezTo>
                  <a:pt x="1229991" y="173087"/>
                  <a:pt x="1005108" y="107085"/>
                  <a:pt x="727701" y="107085"/>
                </a:cubicBezTo>
                <a:close/>
                <a:moveTo>
                  <a:pt x="727700" y="0"/>
                </a:moveTo>
                <a:cubicBezTo>
                  <a:pt x="1104479" y="0"/>
                  <a:pt x="1414378" y="116806"/>
                  <a:pt x="1451644" y="266488"/>
                </a:cubicBezTo>
                <a:lnTo>
                  <a:pt x="1454289" y="287858"/>
                </a:lnTo>
                <a:lnTo>
                  <a:pt x="1455400" y="287858"/>
                </a:lnTo>
                <a:lnTo>
                  <a:pt x="1455400" y="296838"/>
                </a:lnTo>
                <a:cubicBezTo>
                  <a:pt x="1455400" y="510492"/>
                  <a:pt x="1455401" y="1357626"/>
                  <a:pt x="1455401" y="1569784"/>
                </a:cubicBezTo>
                <a:lnTo>
                  <a:pt x="1455401" y="1569787"/>
                </a:lnTo>
                <a:lnTo>
                  <a:pt x="1455401" y="1569790"/>
                </a:lnTo>
                <a:lnTo>
                  <a:pt x="1455401" y="1578767"/>
                </a:lnTo>
                <a:lnTo>
                  <a:pt x="1454289" y="1578767"/>
                </a:lnTo>
                <a:lnTo>
                  <a:pt x="1451644" y="1600137"/>
                </a:lnTo>
                <a:cubicBezTo>
                  <a:pt x="1414379" y="1749819"/>
                  <a:pt x="1104480" y="1866625"/>
                  <a:pt x="727701" y="1866625"/>
                </a:cubicBezTo>
                <a:cubicBezTo>
                  <a:pt x="350922" y="1866625"/>
                  <a:pt x="41024" y="1749819"/>
                  <a:pt x="3758" y="1600137"/>
                </a:cubicBezTo>
                <a:lnTo>
                  <a:pt x="1113" y="1578767"/>
                </a:lnTo>
                <a:lnTo>
                  <a:pt x="1" y="1578767"/>
                </a:lnTo>
                <a:lnTo>
                  <a:pt x="1" y="1569787"/>
                </a:lnTo>
                <a:lnTo>
                  <a:pt x="1" y="296841"/>
                </a:lnTo>
                <a:cubicBezTo>
                  <a:pt x="1" y="158359"/>
                  <a:pt x="0" y="296839"/>
                  <a:pt x="0" y="296838"/>
                </a:cubicBezTo>
                <a:cubicBezTo>
                  <a:pt x="0" y="296837"/>
                  <a:pt x="1" y="296836"/>
                  <a:pt x="1" y="296835"/>
                </a:cubicBezTo>
                <a:lnTo>
                  <a:pt x="3758" y="266488"/>
                </a:lnTo>
                <a:cubicBezTo>
                  <a:pt x="41023" y="116806"/>
                  <a:pt x="350921" y="0"/>
                  <a:pt x="727700" y="0"/>
                </a:cubicBezTo>
                <a:close/>
              </a:path>
            </a:pathLst>
          </a:custGeom>
          <a:solidFill>
            <a:srgbClr val="59B4D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err="1">
              <a:gradFill>
                <a:gsLst>
                  <a:gs pos="0">
                    <a:srgbClr val="FFFFFF"/>
                  </a:gs>
                  <a:gs pos="100000">
                    <a:srgbClr val="FFFFFF"/>
                  </a:gs>
                </a:gsLst>
                <a:lin ang="5400000" scaled="0"/>
              </a:gradFill>
              <a:ea typeface="Segoe UI" pitchFamily="34" charset="0"/>
              <a:cs typeface="Segoe UI" pitchFamily="34" charset="0"/>
            </a:endParaRPr>
          </a:p>
        </p:txBody>
      </p:sp>
      <p:sp>
        <p:nvSpPr>
          <p:cNvPr id="66" name="Freeform: Shape 82"/>
          <p:cNvSpPr/>
          <p:nvPr/>
        </p:nvSpPr>
        <p:spPr>
          <a:xfrm>
            <a:off x="7300503" y="2831700"/>
            <a:ext cx="742685" cy="392958"/>
          </a:xfrm>
          <a:custGeom>
            <a:avLst/>
            <a:gdLst>
              <a:gd name="connsiteX0" fmla="*/ 2109675 w 2202320"/>
              <a:gd name="connsiteY0" fmla="*/ 4552470 h 4684629"/>
              <a:gd name="connsiteX1" fmla="*/ 2055204 w 2202320"/>
              <a:gd name="connsiteY1" fmla="*/ 4595332 h 4684629"/>
              <a:gd name="connsiteX2" fmla="*/ 2110121 w 2202320"/>
              <a:gd name="connsiteY2" fmla="*/ 4637971 h 4684629"/>
              <a:gd name="connsiteX3" fmla="*/ 2139366 w 2202320"/>
              <a:gd name="connsiteY3" fmla="*/ 4625916 h 4684629"/>
              <a:gd name="connsiteX4" fmla="*/ 2150752 w 2202320"/>
              <a:gd name="connsiteY4" fmla="*/ 4595332 h 4684629"/>
              <a:gd name="connsiteX5" fmla="*/ 2139255 w 2202320"/>
              <a:gd name="connsiteY5" fmla="*/ 4564525 h 4684629"/>
              <a:gd name="connsiteX6" fmla="*/ 2109675 w 2202320"/>
              <a:gd name="connsiteY6" fmla="*/ 4552470 h 4684629"/>
              <a:gd name="connsiteX7" fmla="*/ 1953182 w 2202320"/>
              <a:gd name="connsiteY7" fmla="*/ 4550237 h 4684629"/>
              <a:gd name="connsiteX8" fmla="*/ 1923603 w 2202320"/>
              <a:gd name="connsiteY8" fmla="*/ 4562404 h 4684629"/>
              <a:gd name="connsiteX9" fmla="*/ 1912106 w 2202320"/>
              <a:gd name="connsiteY9" fmla="*/ 4593100 h 4684629"/>
              <a:gd name="connsiteX10" fmla="*/ 1923603 w 2202320"/>
              <a:gd name="connsiteY10" fmla="*/ 4623572 h 4684629"/>
              <a:gd name="connsiteX11" fmla="*/ 1953629 w 2202320"/>
              <a:gd name="connsiteY11" fmla="*/ 4635516 h 4684629"/>
              <a:gd name="connsiteX12" fmla="*/ 2008100 w 2202320"/>
              <a:gd name="connsiteY12" fmla="*/ 4593100 h 4684629"/>
              <a:gd name="connsiteX13" fmla="*/ 1953182 w 2202320"/>
              <a:gd name="connsiteY13" fmla="*/ 4550237 h 4684629"/>
              <a:gd name="connsiteX14" fmla="*/ 1946931 w 2202320"/>
              <a:gd name="connsiteY14" fmla="*/ 4504026 h 4684629"/>
              <a:gd name="connsiteX15" fmla="*/ 2031540 w 2202320"/>
              <a:gd name="connsiteY15" fmla="*/ 4560283 h 4684629"/>
              <a:gd name="connsiteX16" fmla="*/ 2116372 w 2202320"/>
              <a:gd name="connsiteY16" fmla="*/ 4506259 h 4684629"/>
              <a:gd name="connsiteX17" fmla="*/ 2178434 w 2202320"/>
              <a:gd name="connsiteY17" fmla="*/ 4531038 h 4684629"/>
              <a:gd name="connsiteX18" fmla="*/ 2202320 w 2202320"/>
              <a:gd name="connsiteY18" fmla="*/ 4595779 h 4684629"/>
              <a:gd name="connsiteX19" fmla="*/ 2177317 w 2202320"/>
              <a:gd name="connsiteY19" fmla="*/ 4658621 h 4684629"/>
              <a:gd name="connsiteX20" fmla="*/ 2115926 w 2202320"/>
              <a:gd name="connsiteY20" fmla="*/ 4684629 h 4684629"/>
              <a:gd name="connsiteX21" fmla="*/ 2031540 w 2202320"/>
              <a:gd name="connsiteY21" fmla="*/ 4628372 h 4684629"/>
              <a:gd name="connsiteX22" fmla="*/ 1946931 w 2202320"/>
              <a:gd name="connsiteY22" fmla="*/ 4682620 h 4684629"/>
              <a:gd name="connsiteX23" fmla="*/ 1884982 w 2202320"/>
              <a:gd name="connsiteY23" fmla="*/ 4657728 h 4684629"/>
              <a:gd name="connsiteX24" fmla="*/ 1860983 w 2202320"/>
              <a:gd name="connsiteY24" fmla="*/ 4592653 h 4684629"/>
              <a:gd name="connsiteX25" fmla="*/ 1885763 w 2202320"/>
              <a:gd name="connsiteY25" fmla="*/ 4529922 h 4684629"/>
              <a:gd name="connsiteX26" fmla="*/ 1946931 w 2202320"/>
              <a:gd name="connsiteY26" fmla="*/ 4504026 h 4684629"/>
              <a:gd name="connsiteX27" fmla="*/ 0 w 2202320"/>
              <a:gd name="connsiteY27" fmla="*/ 0 h 4684629"/>
              <a:gd name="connsiteX28" fmla="*/ 593271 w 2202320"/>
              <a:gd name="connsiteY28" fmla="*/ 1016455 h 4684629"/>
              <a:gd name="connsiteX29" fmla="*/ 0 w 2202320"/>
              <a:gd name="connsiteY29" fmla="*/ 0 h 4684629"/>
              <a:gd name="connsiteX0" fmla="*/ 248692 w 341337"/>
              <a:gd name="connsiteY0" fmla="*/ 48444 h 180603"/>
              <a:gd name="connsiteX1" fmla="*/ 194221 w 341337"/>
              <a:gd name="connsiteY1" fmla="*/ 91306 h 180603"/>
              <a:gd name="connsiteX2" fmla="*/ 249138 w 341337"/>
              <a:gd name="connsiteY2" fmla="*/ 133945 h 180603"/>
              <a:gd name="connsiteX3" fmla="*/ 278383 w 341337"/>
              <a:gd name="connsiteY3" fmla="*/ 121890 h 180603"/>
              <a:gd name="connsiteX4" fmla="*/ 289769 w 341337"/>
              <a:gd name="connsiteY4" fmla="*/ 91306 h 180603"/>
              <a:gd name="connsiteX5" fmla="*/ 278272 w 341337"/>
              <a:gd name="connsiteY5" fmla="*/ 60499 h 180603"/>
              <a:gd name="connsiteX6" fmla="*/ 248692 w 341337"/>
              <a:gd name="connsiteY6" fmla="*/ 48444 h 180603"/>
              <a:gd name="connsiteX7" fmla="*/ 92199 w 341337"/>
              <a:gd name="connsiteY7" fmla="*/ 46211 h 180603"/>
              <a:gd name="connsiteX8" fmla="*/ 62620 w 341337"/>
              <a:gd name="connsiteY8" fmla="*/ 58378 h 180603"/>
              <a:gd name="connsiteX9" fmla="*/ 51123 w 341337"/>
              <a:gd name="connsiteY9" fmla="*/ 89074 h 180603"/>
              <a:gd name="connsiteX10" fmla="*/ 62620 w 341337"/>
              <a:gd name="connsiteY10" fmla="*/ 119546 h 180603"/>
              <a:gd name="connsiteX11" fmla="*/ 92646 w 341337"/>
              <a:gd name="connsiteY11" fmla="*/ 131490 h 180603"/>
              <a:gd name="connsiteX12" fmla="*/ 147117 w 341337"/>
              <a:gd name="connsiteY12" fmla="*/ 89074 h 180603"/>
              <a:gd name="connsiteX13" fmla="*/ 92199 w 341337"/>
              <a:gd name="connsiteY13" fmla="*/ 46211 h 180603"/>
              <a:gd name="connsiteX14" fmla="*/ 85948 w 341337"/>
              <a:gd name="connsiteY14" fmla="*/ 0 h 180603"/>
              <a:gd name="connsiteX15" fmla="*/ 170557 w 341337"/>
              <a:gd name="connsiteY15" fmla="*/ 56257 h 180603"/>
              <a:gd name="connsiteX16" fmla="*/ 255389 w 341337"/>
              <a:gd name="connsiteY16" fmla="*/ 2233 h 180603"/>
              <a:gd name="connsiteX17" fmla="*/ 317451 w 341337"/>
              <a:gd name="connsiteY17" fmla="*/ 27012 h 180603"/>
              <a:gd name="connsiteX18" fmla="*/ 341337 w 341337"/>
              <a:gd name="connsiteY18" fmla="*/ 91753 h 180603"/>
              <a:gd name="connsiteX19" fmla="*/ 316334 w 341337"/>
              <a:gd name="connsiteY19" fmla="*/ 154595 h 180603"/>
              <a:gd name="connsiteX20" fmla="*/ 254943 w 341337"/>
              <a:gd name="connsiteY20" fmla="*/ 180603 h 180603"/>
              <a:gd name="connsiteX21" fmla="*/ 170557 w 341337"/>
              <a:gd name="connsiteY21" fmla="*/ 124346 h 180603"/>
              <a:gd name="connsiteX22" fmla="*/ 85948 w 341337"/>
              <a:gd name="connsiteY22" fmla="*/ 178594 h 180603"/>
              <a:gd name="connsiteX23" fmla="*/ 23999 w 341337"/>
              <a:gd name="connsiteY23" fmla="*/ 153702 h 180603"/>
              <a:gd name="connsiteX24" fmla="*/ 0 w 341337"/>
              <a:gd name="connsiteY24" fmla="*/ 88627 h 180603"/>
              <a:gd name="connsiteX25" fmla="*/ 24780 w 341337"/>
              <a:gd name="connsiteY25" fmla="*/ 25896 h 180603"/>
              <a:gd name="connsiteX26" fmla="*/ 85948 w 341337"/>
              <a:gd name="connsiteY26" fmla="*/ 0 h 1806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41337" h="180603">
                <a:moveTo>
                  <a:pt x="248692" y="48444"/>
                </a:moveTo>
                <a:cubicBezTo>
                  <a:pt x="228749" y="48444"/>
                  <a:pt x="210592" y="62731"/>
                  <a:pt x="194221" y="91306"/>
                </a:cubicBezTo>
                <a:cubicBezTo>
                  <a:pt x="210294" y="119732"/>
                  <a:pt x="228600" y="133945"/>
                  <a:pt x="249138" y="133945"/>
                </a:cubicBezTo>
                <a:cubicBezTo>
                  <a:pt x="261045" y="133945"/>
                  <a:pt x="270793" y="129927"/>
                  <a:pt x="278383" y="121890"/>
                </a:cubicBezTo>
                <a:cubicBezTo>
                  <a:pt x="285973" y="113854"/>
                  <a:pt x="289769" y="103659"/>
                  <a:pt x="289769" y="91306"/>
                </a:cubicBezTo>
                <a:cubicBezTo>
                  <a:pt x="289769" y="78805"/>
                  <a:pt x="285936" y="68536"/>
                  <a:pt x="278272" y="60499"/>
                </a:cubicBezTo>
                <a:cubicBezTo>
                  <a:pt x="270607" y="52462"/>
                  <a:pt x="260747" y="48444"/>
                  <a:pt x="248692" y="48444"/>
                </a:cubicBezTo>
                <a:close/>
                <a:moveTo>
                  <a:pt x="92199" y="46211"/>
                </a:moveTo>
                <a:cubicBezTo>
                  <a:pt x="80144" y="46211"/>
                  <a:pt x="70284" y="50267"/>
                  <a:pt x="62620" y="58378"/>
                </a:cubicBezTo>
                <a:cubicBezTo>
                  <a:pt x="54955" y="66489"/>
                  <a:pt x="51123" y="76721"/>
                  <a:pt x="51123" y="89074"/>
                </a:cubicBezTo>
                <a:cubicBezTo>
                  <a:pt x="51123" y="101427"/>
                  <a:pt x="54955" y="111584"/>
                  <a:pt x="62620" y="119546"/>
                </a:cubicBezTo>
                <a:cubicBezTo>
                  <a:pt x="70284" y="127509"/>
                  <a:pt x="80293" y="131490"/>
                  <a:pt x="92646" y="131490"/>
                </a:cubicBezTo>
                <a:cubicBezTo>
                  <a:pt x="112886" y="131490"/>
                  <a:pt x="131043" y="117351"/>
                  <a:pt x="147117" y="89074"/>
                </a:cubicBezTo>
                <a:cubicBezTo>
                  <a:pt x="131043" y="60499"/>
                  <a:pt x="112738" y="46211"/>
                  <a:pt x="92199" y="46211"/>
                </a:cubicBezTo>
                <a:close/>
                <a:moveTo>
                  <a:pt x="85948" y="0"/>
                </a:moveTo>
                <a:cubicBezTo>
                  <a:pt x="121072" y="0"/>
                  <a:pt x="149275" y="18753"/>
                  <a:pt x="170557" y="56257"/>
                </a:cubicBezTo>
                <a:cubicBezTo>
                  <a:pt x="193179" y="20241"/>
                  <a:pt x="221456" y="2233"/>
                  <a:pt x="255389" y="2233"/>
                </a:cubicBezTo>
                <a:cubicBezTo>
                  <a:pt x="280839" y="2233"/>
                  <a:pt x="301526" y="10493"/>
                  <a:pt x="317451" y="27012"/>
                </a:cubicBezTo>
                <a:cubicBezTo>
                  <a:pt x="333375" y="43532"/>
                  <a:pt x="341337" y="65112"/>
                  <a:pt x="341337" y="91753"/>
                </a:cubicBezTo>
                <a:cubicBezTo>
                  <a:pt x="341337" y="116309"/>
                  <a:pt x="333003" y="137257"/>
                  <a:pt x="316334" y="154595"/>
                </a:cubicBezTo>
                <a:cubicBezTo>
                  <a:pt x="299666" y="171934"/>
                  <a:pt x="279202" y="180603"/>
                  <a:pt x="254943" y="180603"/>
                </a:cubicBezTo>
                <a:cubicBezTo>
                  <a:pt x="220563" y="180603"/>
                  <a:pt x="192435" y="161851"/>
                  <a:pt x="170557" y="124346"/>
                </a:cubicBezTo>
                <a:cubicBezTo>
                  <a:pt x="147787" y="160511"/>
                  <a:pt x="119584" y="178594"/>
                  <a:pt x="85948" y="178594"/>
                </a:cubicBezTo>
                <a:cubicBezTo>
                  <a:pt x="60648" y="178594"/>
                  <a:pt x="39998" y="170297"/>
                  <a:pt x="23999" y="153702"/>
                </a:cubicBezTo>
                <a:cubicBezTo>
                  <a:pt x="8000" y="137108"/>
                  <a:pt x="0" y="115416"/>
                  <a:pt x="0" y="88627"/>
                </a:cubicBezTo>
                <a:cubicBezTo>
                  <a:pt x="0" y="64071"/>
                  <a:pt x="8260" y="43160"/>
                  <a:pt x="24780" y="25896"/>
                </a:cubicBezTo>
                <a:cubicBezTo>
                  <a:pt x="41300" y="8632"/>
                  <a:pt x="61689" y="0"/>
                  <a:pt x="85948"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sp>
        <p:nvSpPr>
          <p:cNvPr id="24" name="Freeform: Shape 83"/>
          <p:cNvSpPr/>
          <p:nvPr/>
        </p:nvSpPr>
        <p:spPr>
          <a:xfrm>
            <a:off x="6559317" y="4712661"/>
            <a:ext cx="4640224" cy="1731983"/>
          </a:xfrm>
          <a:custGeom>
            <a:avLst/>
            <a:gdLst>
              <a:gd name="connsiteX0" fmla="*/ 0 w 4763589"/>
              <a:gd name="connsiteY0" fmla="*/ 2403565 h 2504203"/>
              <a:gd name="connsiteX1" fmla="*/ 2669177 w 4763589"/>
              <a:gd name="connsiteY1" fmla="*/ 2220685 h 2504203"/>
              <a:gd name="connsiteX2" fmla="*/ 4763589 w 4763589"/>
              <a:gd name="connsiteY2" fmla="*/ 0 h 2504203"/>
              <a:gd name="connsiteX0" fmla="*/ 0 w 4763589"/>
              <a:gd name="connsiteY0" fmla="*/ 2403565 h 2403565"/>
              <a:gd name="connsiteX1" fmla="*/ 4763589 w 4763589"/>
              <a:gd name="connsiteY1" fmla="*/ 0 h 2403565"/>
              <a:gd name="connsiteX0" fmla="*/ 0 w 4763589"/>
              <a:gd name="connsiteY0" fmla="*/ 2403565 h 2403565"/>
              <a:gd name="connsiteX1" fmla="*/ 4763589 w 4763589"/>
              <a:gd name="connsiteY1" fmla="*/ 0 h 2403565"/>
              <a:gd name="connsiteX0" fmla="*/ 0 w 4763589"/>
              <a:gd name="connsiteY0" fmla="*/ 2403565 h 2403565"/>
              <a:gd name="connsiteX1" fmla="*/ 4763589 w 4763589"/>
              <a:gd name="connsiteY1" fmla="*/ 0 h 2403565"/>
              <a:gd name="connsiteX0" fmla="*/ 0 w 4763589"/>
              <a:gd name="connsiteY0" fmla="*/ 2403565 h 2414882"/>
              <a:gd name="connsiteX1" fmla="*/ 4763589 w 4763589"/>
              <a:gd name="connsiteY1" fmla="*/ 0 h 2414882"/>
              <a:gd name="connsiteX0" fmla="*/ 0 w 4763589"/>
              <a:gd name="connsiteY0" fmla="*/ 2403565 h 2403565"/>
              <a:gd name="connsiteX1" fmla="*/ 4763589 w 4763589"/>
              <a:gd name="connsiteY1" fmla="*/ 0 h 2403565"/>
              <a:gd name="connsiteX0" fmla="*/ 0 w 4763589"/>
              <a:gd name="connsiteY0" fmla="*/ 2403565 h 2403565"/>
              <a:gd name="connsiteX1" fmla="*/ 4763589 w 4763589"/>
              <a:gd name="connsiteY1" fmla="*/ 0 h 2403565"/>
              <a:gd name="connsiteX0" fmla="*/ 0 w 4763589"/>
              <a:gd name="connsiteY0" fmla="*/ 2403565 h 2403565"/>
              <a:gd name="connsiteX1" fmla="*/ 4763589 w 4763589"/>
              <a:gd name="connsiteY1" fmla="*/ 0 h 2403565"/>
            </a:gdLst>
            <a:ahLst/>
            <a:cxnLst>
              <a:cxn ang="0">
                <a:pos x="connsiteX0" y="connsiteY0"/>
              </a:cxn>
              <a:cxn ang="0">
                <a:pos x="connsiteX1" y="connsiteY1"/>
              </a:cxn>
            </a:cxnLst>
            <a:rect l="l" t="t" r="r" b="b"/>
            <a:pathLst>
              <a:path w="4763589" h="2403565">
                <a:moveTo>
                  <a:pt x="0" y="2403565"/>
                </a:moveTo>
                <a:cubicBezTo>
                  <a:pt x="1612078" y="2269470"/>
                  <a:pt x="3695453" y="1313760"/>
                  <a:pt x="4763589" y="0"/>
                </a:cubicBezTo>
              </a:path>
            </a:pathLst>
          </a:custGeom>
          <a:noFill/>
          <a:ln w="57150">
            <a:solidFill>
              <a:srgbClr val="B8D432"/>
            </a:solidFill>
            <a:prstDash val="sysDot"/>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sp>
        <p:nvSpPr>
          <p:cNvPr id="25" name="Freeform: Shape 82"/>
          <p:cNvSpPr/>
          <p:nvPr/>
        </p:nvSpPr>
        <p:spPr>
          <a:xfrm>
            <a:off x="11060617" y="4160409"/>
            <a:ext cx="742685" cy="392958"/>
          </a:xfrm>
          <a:custGeom>
            <a:avLst/>
            <a:gdLst>
              <a:gd name="connsiteX0" fmla="*/ 2109675 w 2202320"/>
              <a:gd name="connsiteY0" fmla="*/ 4552470 h 4684629"/>
              <a:gd name="connsiteX1" fmla="*/ 2055204 w 2202320"/>
              <a:gd name="connsiteY1" fmla="*/ 4595332 h 4684629"/>
              <a:gd name="connsiteX2" fmla="*/ 2110121 w 2202320"/>
              <a:gd name="connsiteY2" fmla="*/ 4637971 h 4684629"/>
              <a:gd name="connsiteX3" fmla="*/ 2139366 w 2202320"/>
              <a:gd name="connsiteY3" fmla="*/ 4625916 h 4684629"/>
              <a:gd name="connsiteX4" fmla="*/ 2150752 w 2202320"/>
              <a:gd name="connsiteY4" fmla="*/ 4595332 h 4684629"/>
              <a:gd name="connsiteX5" fmla="*/ 2139255 w 2202320"/>
              <a:gd name="connsiteY5" fmla="*/ 4564525 h 4684629"/>
              <a:gd name="connsiteX6" fmla="*/ 2109675 w 2202320"/>
              <a:gd name="connsiteY6" fmla="*/ 4552470 h 4684629"/>
              <a:gd name="connsiteX7" fmla="*/ 1953182 w 2202320"/>
              <a:gd name="connsiteY7" fmla="*/ 4550237 h 4684629"/>
              <a:gd name="connsiteX8" fmla="*/ 1923603 w 2202320"/>
              <a:gd name="connsiteY8" fmla="*/ 4562404 h 4684629"/>
              <a:gd name="connsiteX9" fmla="*/ 1912106 w 2202320"/>
              <a:gd name="connsiteY9" fmla="*/ 4593100 h 4684629"/>
              <a:gd name="connsiteX10" fmla="*/ 1923603 w 2202320"/>
              <a:gd name="connsiteY10" fmla="*/ 4623572 h 4684629"/>
              <a:gd name="connsiteX11" fmla="*/ 1953629 w 2202320"/>
              <a:gd name="connsiteY11" fmla="*/ 4635516 h 4684629"/>
              <a:gd name="connsiteX12" fmla="*/ 2008100 w 2202320"/>
              <a:gd name="connsiteY12" fmla="*/ 4593100 h 4684629"/>
              <a:gd name="connsiteX13" fmla="*/ 1953182 w 2202320"/>
              <a:gd name="connsiteY13" fmla="*/ 4550237 h 4684629"/>
              <a:gd name="connsiteX14" fmla="*/ 1946931 w 2202320"/>
              <a:gd name="connsiteY14" fmla="*/ 4504026 h 4684629"/>
              <a:gd name="connsiteX15" fmla="*/ 2031540 w 2202320"/>
              <a:gd name="connsiteY15" fmla="*/ 4560283 h 4684629"/>
              <a:gd name="connsiteX16" fmla="*/ 2116372 w 2202320"/>
              <a:gd name="connsiteY16" fmla="*/ 4506259 h 4684629"/>
              <a:gd name="connsiteX17" fmla="*/ 2178434 w 2202320"/>
              <a:gd name="connsiteY17" fmla="*/ 4531038 h 4684629"/>
              <a:gd name="connsiteX18" fmla="*/ 2202320 w 2202320"/>
              <a:gd name="connsiteY18" fmla="*/ 4595779 h 4684629"/>
              <a:gd name="connsiteX19" fmla="*/ 2177317 w 2202320"/>
              <a:gd name="connsiteY19" fmla="*/ 4658621 h 4684629"/>
              <a:gd name="connsiteX20" fmla="*/ 2115926 w 2202320"/>
              <a:gd name="connsiteY20" fmla="*/ 4684629 h 4684629"/>
              <a:gd name="connsiteX21" fmla="*/ 2031540 w 2202320"/>
              <a:gd name="connsiteY21" fmla="*/ 4628372 h 4684629"/>
              <a:gd name="connsiteX22" fmla="*/ 1946931 w 2202320"/>
              <a:gd name="connsiteY22" fmla="*/ 4682620 h 4684629"/>
              <a:gd name="connsiteX23" fmla="*/ 1884982 w 2202320"/>
              <a:gd name="connsiteY23" fmla="*/ 4657728 h 4684629"/>
              <a:gd name="connsiteX24" fmla="*/ 1860983 w 2202320"/>
              <a:gd name="connsiteY24" fmla="*/ 4592653 h 4684629"/>
              <a:gd name="connsiteX25" fmla="*/ 1885763 w 2202320"/>
              <a:gd name="connsiteY25" fmla="*/ 4529922 h 4684629"/>
              <a:gd name="connsiteX26" fmla="*/ 1946931 w 2202320"/>
              <a:gd name="connsiteY26" fmla="*/ 4504026 h 4684629"/>
              <a:gd name="connsiteX27" fmla="*/ 0 w 2202320"/>
              <a:gd name="connsiteY27" fmla="*/ 0 h 4684629"/>
              <a:gd name="connsiteX28" fmla="*/ 593271 w 2202320"/>
              <a:gd name="connsiteY28" fmla="*/ 1016455 h 4684629"/>
              <a:gd name="connsiteX29" fmla="*/ 0 w 2202320"/>
              <a:gd name="connsiteY29" fmla="*/ 0 h 4684629"/>
              <a:gd name="connsiteX0" fmla="*/ 248692 w 341337"/>
              <a:gd name="connsiteY0" fmla="*/ 48444 h 180603"/>
              <a:gd name="connsiteX1" fmla="*/ 194221 w 341337"/>
              <a:gd name="connsiteY1" fmla="*/ 91306 h 180603"/>
              <a:gd name="connsiteX2" fmla="*/ 249138 w 341337"/>
              <a:gd name="connsiteY2" fmla="*/ 133945 h 180603"/>
              <a:gd name="connsiteX3" fmla="*/ 278383 w 341337"/>
              <a:gd name="connsiteY3" fmla="*/ 121890 h 180603"/>
              <a:gd name="connsiteX4" fmla="*/ 289769 w 341337"/>
              <a:gd name="connsiteY4" fmla="*/ 91306 h 180603"/>
              <a:gd name="connsiteX5" fmla="*/ 278272 w 341337"/>
              <a:gd name="connsiteY5" fmla="*/ 60499 h 180603"/>
              <a:gd name="connsiteX6" fmla="*/ 248692 w 341337"/>
              <a:gd name="connsiteY6" fmla="*/ 48444 h 180603"/>
              <a:gd name="connsiteX7" fmla="*/ 92199 w 341337"/>
              <a:gd name="connsiteY7" fmla="*/ 46211 h 180603"/>
              <a:gd name="connsiteX8" fmla="*/ 62620 w 341337"/>
              <a:gd name="connsiteY8" fmla="*/ 58378 h 180603"/>
              <a:gd name="connsiteX9" fmla="*/ 51123 w 341337"/>
              <a:gd name="connsiteY9" fmla="*/ 89074 h 180603"/>
              <a:gd name="connsiteX10" fmla="*/ 62620 w 341337"/>
              <a:gd name="connsiteY10" fmla="*/ 119546 h 180603"/>
              <a:gd name="connsiteX11" fmla="*/ 92646 w 341337"/>
              <a:gd name="connsiteY11" fmla="*/ 131490 h 180603"/>
              <a:gd name="connsiteX12" fmla="*/ 147117 w 341337"/>
              <a:gd name="connsiteY12" fmla="*/ 89074 h 180603"/>
              <a:gd name="connsiteX13" fmla="*/ 92199 w 341337"/>
              <a:gd name="connsiteY13" fmla="*/ 46211 h 180603"/>
              <a:gd name="connsiteX14" fmla="*/ 85948 w 341337"/>
              <a:gd name="connsiteY14" fmla="*/ 0 h 180603"/>
              <a:gd name="connsiteX15" fmla="*/ 170557 w 341337"/>
              <a:gd name="connsiteY15" fmla="*/ 56257 h 180603"/>
              <a:gd name="connsiteX16" fmla="*/ 255389 w 341337"/>
              <a:gd name="connsiteY16" fmla="*/ 2233 h 180603"/>
              <a:gd name="connsiteX17" fmla="*/ 317451 w 341337"/>
              <a:gd name="connsiteY17" fmla="*/ 27012 h 180603"/>
              <a:gd name="connsiteX18" fmla="*/ 341337 w 341337"/>
              <a:gd name="connsiteY18" fmla="*/ 91753 h 180603"/>
              <a:gd name="connsiteX19" fmla="*/ 316334 w 341337"/>
              <a:gd name="connsiteY19" fmla="*/ 154595 h 180603"/>
              <a:gd name="connsiteX20" fmla="*/ 254943 w 341337"/>
              <a:gd name="connsiteY20" fmla="*/ 180603 h 180603"/>
              <a:gd name="connsiteX21" fmla="*/ 170557 w 341337"/>
              <a:gd name="connsiteY21" fmla="*/ 124346 h 180603"/>
              <a:gd name="connsiteX22" fmla="*/ 85948 w 341337"/>
              <a:gd name="connsiteY22" fmla="*/ 178594 h 180603"/>
              <a:gd name="connsiteX23" fmla="*/ 23999 w 341337"/>
              <a:gd name="connsiteY23" fmla="*/ 153702 h 180603"/>
              <a:gd name="connsiteX24" fmla="*/ 0 w 341337"/>
              <a:gd name="connsiteY24" fmla="*/ 88627 h 180603"/>
              <a:gd name="connsiteX25" fmla="*/ 24780 w 341337"/>
              <a:gd name="connsiteY25" fmla="*/ 25896 h 180603"/>
              <a:gd name="connsiteX26" fmla="*/ 85948 w 341337"/>
              <a:gd name="connsiteY26" fmla="*/ 0 h 1806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41337" h="180603">
                <a:moveTo>
                  <a:pt x="248692" y="48444"/>
                </a:moveTo>
                <a:cubicBezTo>
                  <a:pt x="228749" y="48444"/>
                  <a:pt x="210592" y="62731"/>
                  <a:pt x="194221" y="91306"/>
                </a:cubicBezTo>
                <a:cubicBezTo>
                  <a:pt x="210294" y="119732"/>
                  <a:pt x="228600" y="133945"/>
                  <a:pt x="249138" y="133945"/>
                </a:cubicBezTo>
                <a:cubicBezTo>
                  <a:pt x="261045" y="133945"/>
                  <a:pt x="270793" y="129927"/>
                  <a:pt x="278383" y="121890"/>
                </a:cubicBezTo>
                <a:cubicBezTo>
                  <a:pt x="285973" y="113854"/>
                  <a:pt x="289769" y="103659"/>
                  <a:pt x="289769" y="91306"/>
                </a:cubicBezTo>
                <a:cubicBezTo>
                  <a:pt x="289769" y="78805"/>
                  <a:pt x="285936" y="68536"/>
                  <a:pt x="278272" y="60499"/>
                </a:cubicBezTo>
                <a:cubicBezTo>
                  <a:pt x="270607" y="52462"/>
                  <a:pt x="260747" y="48444"/>
                  <a:pt x="248692" y="48444"/>
                </a:cubicBezTo>
                <a:close/>
                <a:moveTo>
                  <a:pt x="92199" y="46211"/>
                </a:moveTo>
                <a:cubicBezTo>
                  <a:pt x="80144" y="46211"/>
                  <a:pt x="70284" y="50267"/>
                  <a:pt x="62620" y="58378"/>
                </a:cubicBezTo>
                <a:cubicBezTo>
                  <a:pt x="54955" y="66489"/>
                  <a:pt x="51123" y="76721"/>
                  <a:pt x="51123" y="89074"/>
                </a:cubicBezTo>
                <a:cubicBezTo>
                  <a:pt x="51123" y="101427"/>
                  <a:pt x="54955" y="111584"/>
                  <a:pt x="62620" y="119546"/>
                </a:cubicBezTo>
                <a:cubicBezTo>
                  <a:pt x="70284" y="127509"/>
                  <a:pt x="80293" y="131490"/>
                  <a:pt x="92646" y="131490"/>
                </a:cubicBezTo>
                <a:cubicBezTo>
                  <a:pt x="112886" y="131490"/>
                  <a:pt x="131043" y="117351"/>
                  <a:pt x="147117" y="89074"/>
                </a:cubicBezTo>
                <a:cubicBezTo>
                  <a:pt x="131043" y="60499"/>
                  <a:pt x="112738" y="46211"/>
                  <a:pt x="92199" y="46211"/>
                </a:cubicBezTo>
                <a:close/>
                <a:moveTo>
                  <a:pt x="85948" y="0"/>
                </a:moveTo>
                <a:cubicBezTo>
                  <a:pt x="121072" y="0"/>
                  <a:pt x="149275" y="18753"/>
                  <a:pt x="170557" y="56257"/>
                </a:cubicBezTo>
                <a:cubicBezTo>
                  <a:pt x="193179" y="20241"/>
                  <a:pt x="221456" y="2233"/>
                  <a:pt x="255389" y="2233"/>
                </a:cubicBezTo>
                <a:cubicBezTo>
                  <a:pt x="280839" y="2233"/>
                  <a:pt x="301526" y="10493"/>
                  <a:pt x="317451" y="27012"/>
                </a:cubicBezTo>
                <a:cubicBezTo>
                  <a:pt x="333375" y="43532"/>
                  <a:pt x="341337" y="65112"/>
                  <a:pt x="341337" y="91753"/>
                </a:cubicBezTo>
                <a:cubicBezTo>
                  <a:pt x="341337" y="116309"/>
                  <a:pt x="333003" y="137257"/>
                  <a:pt x="316334" y="154595"/>
                </a:cubicBezTo>
                <a:cubicBezTo>
                  <a:pt x="299666" y="171934"/>
                  <a:pt x="279202" y="180603"/>
                  <a:pt x="254943" y="180603"/>
                </a:cubicBezTo>
                <a:cubicBezTo>
                  <a:pt x="220563" y="180603"/>
                  <a:pt x="192435" y="161851"/>
                  <a:pt x="170557" y="124346"/>
                </a:cubicBezTo>
                <a:cubicBezTo>
                  <a:pt x="147787" y="160511"/>
                  <a:pt x="119584" y="178594"/>
                  <a:pt x="85948" y="178594"/>
                </a:cubicBezTo>
                <a:cubicBezTo>
                  <a:pt x="60648" y="178594"/>
                  <a:pt x="39998" y="170297"/>
                  <a:pt x="23999" y="153702"/>
                </a:cubicBezTo>
                <a:cubicBezTo>
                  <a:pt x="8000" y="137108"/>
                  <a:pt x="0" y="115416"/>
                  <a:pt x="0" y="88627"/>
                </a:cubicBezTo>
                <a:cubicBezTo>
                  <a:pt x="0" y="64071"/>
                  <a:pt x="8260" y="43160"/>
                  <a:pt x="24780" y="25896"/>
                </a:cubicBezTo>
                <a:cubicBezTo>
                  <a:pt x="41300" y="8632"/>
                  <a:pt x="61689" y="0"/>
                  <a:pt x="85948"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grpSp>
        <p:nvGrpSpPr>
          <p:cNvPr id="10" name="Group 9"/>
          <p:cNvGrpSpPr/>
          <p:nvPr/>
        </p:nvGrpSpPr>
        <p:grpSpPr>
          <a:xfrm>
            <a:off x="6223668" y="6221561"/>
            <a:ext cx="560809" cy="560809"/>
            <a:chOff x="7716623" y="4879378"/>
            <a:chExt cx="914400" cy="914400"/>
          </a:xfrm>
        </p:grpSpPr>
        <p:sp>
          <p:nvSpPr>
            <p:cNvPr id="9" name="Rectangle 8"/>
            <p:cNvSpPr/>
            <p:nvPr/>
          </p:nvSpPr>
          <p:spPr>
            <a:xfrm>
              <a:off x="7815943" y="5032829"/>
              <a:ext cx="707571" cy="489858"/>
            </a:xfrm>
            <a:prstGeom prst="rect">
              <a:avLst/>
            </a:prstGeom>
            <a:solidFill>
              <a:srgbClr val="D7ED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grpSp>
          <p:nvGrpSpPr>
            <p:cNvPr id="7" name="Group 6"/>
            <p:cNvGrpSpPr/>
            <p:nvPr/>
          </p:nvGrpSpPr>
          <p:grpSpPr>
            <a:xfrm>
              <a:off x="7716623" y="4879378"/>
              <a:ext cx="914400" cy="914400"/>
              <a:chOff x="7522013" y="6858000"/>
              <a:chExt cx="914400" cy="914400"/>
            </a:xfrm>
          </p:grpSpPr>
          <p:pic>
            <p:nvPicPr>
              <p:cNvPr id="4" name="Graphic 3" descr="Monitor"/>
              <p:cNvPicPr>
                <a:picLocks noChangeAspect="1"/>
              </p:cNvPicPr>
              <p:nvPr/>
            </p:nvPicPr>
            <p:blipFill>
              <a:blip r:embed="rId3" cstate="hq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522013" y="6858000"/>
                <a:ext cx="914400" cy="914400"/>
              </a:xfrm>
              <a:prstGeom prst="rect">
                <a:avLst/>
              </a:prstGeom>
            </p:spPr>
          </p:pic>
          <p:pic>
            <p:nvPicPr>
              <p:cNvPr id="6" name="Graphic 5" descr="Repeat"/>
              <p:cNvPicPr>
                <a:picLocks noChangeAspect="1"/>
              </p:cNvPicPr>
              <p:nvPr/>
            </p:nvPicPr>
            <p:blipFill>
              <a:blip r:embed="rId5" cstate="hq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7800543" y="7078472"/>
                <a:ext cx="352541" cy="352541"/>
              </a:xfrm>
              <a:prstGeom prst="rect">
                <a:avLst/>
              </a:prstGeom>
            </p:spPr>
          </p:pic>
        </p:grpSp>
      </p:grpSp>
      <p:grpSp>
        <p:nvGrpSpPr>
          <p:cNvPr id="34" name="Group 33"/>
          <p:cNvGrpSpPr/>
          <p:nvPr/>
        </p:nvGrpSpPr>
        <p:grpSpPr>
          <a:xfrm>
            <a:off x="8098452" y="5794845"/>
            <a:ext cx="770747" cy="770747"/>
            <a:chOff x="7716623" y="4879378"/>
            <a:chExt cx="914400" cy="914400"/>
          </a:xfrm>
        </p:grpSpPr>
        <p:sp>
          <p:nvSpPr>
            <p:cNvPr id="35" name="Rectangle 34"/>
            <p:cNvSpPr/>
            <p:nvPr/>
          </p:nvSpPr>
          <p:spPr>
            <a:xfrm>
              <a:off x="7815943" y="5032829"/>
              <a:ext cx="707571" cy="489858"/>
            </a:xfrm>
            <a:prstGeom prst="rect">
              <a:avLst/>
            </a:prstGeom>
            <a:solidFill>
              <a:srgbClr val="D7ED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grpSp>
          <p:nvGrpSpPr>
            <p:cNvPr id="36" name="Group 35"/>
            <p:cNvGrpSpPr/>
            <p:nvPr/>
          </p:nvGrpSpPr>
          <p:grpSpPr>
            <a:xfrm>
              <a:off x="7716623" y="4879378"/>
              <a:ext cx="914400" cy="914400"/>
              <a:chOff x="7522013" y="6858000"/>
              <a:chExt cx="914400" cy="914400"/>
            </a:xfrm>
          </p:grpSpPr>
          <p:pic>
            <p:nvPicPr>
              <p:cNvPr id="37" name="Graphic 36" descr="Monitor"/>
              <p:cNvPicPr>
                <a:picLocks noChangeAspect="1"/>
              </p:cNvPicPr>
              <p:nvPr/>
            </p:nvPicPr>
            <p:blipFill>
              <a:blip r:embed="rId3" cstate="hq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522013" y="6858000"/>
                <a:ext cx="914400" cy="914400"/>
              </a:xfrm>
              <a:prstGeom prst="rect">
                <a:avLst/>
              </a:prstGeom>
            </p:spPr>
          </p:pic>
          <p:pic>
            <p:nvPicPr>
              <p:cNvPr id="38" name="Graphic 37" descr="Repeat"/>
              <p:cNvPicPr>
                <a:picLocks noChangeAspect="1"/>
              </p:cNvPicPr>
              <p:nvPr/>
            </p:nvPicPr>
            <p:blipFill>
              <a:blip r:embed="rId5" cstate="hq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7800543" y="7078472"/>
                <a:ext cx="352541" cy="352541"/>
              </a:xfrm>
              <a:prstGeom prst="rect">
                <a:avLst/>
              </a:prstGeom>
            </p:spPr>
          </p:pic>
        </p:grpSp>
      </p:grpSp>
      <p:grpSp>
        <p:nvGrpSpPr>
          <p:cNvPr id="39" name="Group 38"/>
          <p:cNvGrpSpPr/>
          <p:nvPr/>
        </p:nvGrpSpPr>
        <p:grpSpPr>
          <a:xfrm>
            <a:off x="9891438" y="4775267"/>
            <a:ext cx="1033788" cy="1033788"/>
            <a:chOff x="7716623" y="4879378"/>
            <a:chExt cx="914400" cy="914400"/>
          </a:xfrm>
        </p:grpSpPr>
        <p:sp>
          <p:nvSpPr>
            <p:cNvPr id="40" name="Rectangle 39"/>
            <p:cNvSpPr/>
            <p:nvPr/>
          </p:nvSpPr>
          <p:spPr>
            <a:xfrm>
              <a:off x="7815943" y="5032829"/>
              <a:ext cx="707571" cy="489858"/>
            </a:xfrm>
            <a:prstGeom prst="rect">
              <a:avLst/>
            </a:prstGeom>
            <a:solidFill>
              <a:srgbClr val="D7ED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grpSp>
          <p:nvGrpSpPr>
            <p:cNvPr id="41" name="Group 40"/>
            <p:cNvGrpSpPr/>
            <p:nvPr/>
          </p:nvGrpSpPr>
          <p:grpSpPr>
            <a:xfrm>
              <a:off x="7716623" y="4879378"/>
              <a:ext cx="914400" cy="914400"/>
              <a:chOff x="7522013" y="6858000"/>
              <a:chExt cx="914400" cy="914400"/>
            </a:xfrm>
          </p:grpSpPr>
          <p:pic>
            <p:nvPicPr>
              <p:cNvPr id="42" name="Graphic 41" descr="Monitor"/>
              <p:cNvPicPr>
                <a:picLocks noChangeAspect="1"/>
              </p:cNvPicPr>
              <p:nvPr/>
            </p:nvPicPr>
            <p:blipFill>
              <a:blip r:embed="rId3" cstate="hq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522013" y="6858000"/>
                <a:ext cx="914400" cy="914400"/>
              </a:xfrm>
              <a:prstGeom prst="rect">
                <a:avLst/>
              </a:prstGeom>
            </p:spPr>
          </p:pic>
          <p:pic>
            <p:nvPicPr>
              <p:cNvPr id="43" name="Graphic 42" descr="Repeat"/>
              <p:cNvPicPr>
                <a:picLocks noChangeAspect="1"/>
              </p:cNvPicPr>
              <p:nvPr/>
            </p:nvPicPr>
            <p:blipFill>
              <a:blip r:embed="rId5" cstate="hq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7800543" y="7078472"/>
                <a:ext cx="352541" cy="352541"/>
              </a:xfrm>
              <a:prstGeom prst="rect">
                <a:avLst/>
              </a:prstGeom>
            </p:spPr>
          </p:pic>
        </p:grpSp>
      </p:grpSp>
    </p:spTree>
    <p:extLst>
      <p:ext uri="{BB962C8B-B14F-4D97-AF65-F5344CB8AC3E}">
        <p14:creationId xmlns:p14="http://schemas.microsoft.com/office/powerpoint/2010/main" val="9235993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58">
                                            <p:txEl>
                                              <p:pRg st="0" end="0"/>
                                            </p:txEl>
                                          </p:spTgt>
                                        </p:tgtEl>
                                        <p:attrNameLst>
                                          <p:attrName>style.visibility</p:attrName>
                                        </p:attrNameLst>
                                      </p:cBhvr>
                                      <p:to>
                                        <p:strVal val="visible"/>
                                      </p:to>
                                    </p:set>
                                    <p:animEffect transition="in" filter="fade">
                                      <p:cBhvr>
                                        <p:cTn id="7" dur="500"/>
                                        <p:tgtEl>
                                          <p:spTgt spid="58">
                                            <p:txEl>
                                              <p:pRg st="0" end="0"/>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59"/>
                                        </p:tgtEl>
                                        <p:attrNameLst>
                                          <p:attrName>style.visibility</p:attrName>
                                        </p:attrNameLst>
                                      </p:cBhvr>
                                      <p:to>
                                        <p:strVal val="visible"/>
                                      </p:to>
                                    </p:set>
                                    <p:animEffect transition="in" filter="fade">
                                      <p:cBhvr>
                                        <p:cTn id="10" dur="500"/>
                                        <p:tgtEl>
                                          <p:spTgt spid="5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8" grpId="0" build="p"/>
    </p:bld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1" name="Rectangle 150"/>
          <p:cNvSpPr/>
          <p:nvPr/>
        </p:nvSpPr>
        <p:spPr>
          <a:xfrm>
            <a:off x="89" y="2024342"/>
            <a:ext cx="4934105" cy="4970183"/>
          </a:xfrm>
          <a:prstGeom prst="rect">
            <a:avLst/>
          </a:prstGeom>
          <a:solidFill>
            <a:srgbClr val="3999C6"/>
          </a:solidFill>
          <a:ln w="12700" cap="flat" cmpd="sng" algn="ctr">
            <a:noFill/>
            <a:prstDash val="solid"/>
            <a:miter lim="800000"/>
          </a:ln>
          <a:effectLst/>
        </p:spPr>
        <p:txBody>
          <a:bodyPr rtlCol="0" anchor="ctr"/>
          <a:lstStyle/>
          <a:p>
            <a:pPr algn="ctr" defTabSz="932597">
              <a:defRPr/>
            </a:pPr>
            <a:endParaRPr lang="en-US" sz="1836" kern="0">
              <a:solidFill>
                <a:srgbClr val="FFFFFF"/>
              </a:solidFill>
              <a:latin typeface="Calibri" panose="020F0502020204030204"/>
              <a:ea typeface=""/>
              <a:cs typeface=""/>
            </a:endParaRPr>
          </a:p>
        </p:txBody>
      </p:sp>
      <p:sp>
        <p:nvSpPr>
          <p:cNvPr id="11" name="Title 10"/>
          <p:cNvSpPr>
            <a:spLocks noGrp="1"/>
          </p:cNvSpPr>
          <p:nvPr>
            <p:ph type="title"/>
          </p:nvPr>
        </p:nvSpPr>
        <p:spPr/>
        <p:txBody>
          <a:bodyPr>
            <a:noAutofit/>
          </a:bodyPr>
          <a:lstStyle/>
          <a:p>
            <a:r>
              <a:rPr lang="en-US"/>
              <a:t>Introducing Azure Cosmos DB</a:t>
            </a:r>
            <a:br>
              <a:rPr lang="en-US"/>
            </a:br>
            <a:r>
              <a:rPr lang="en-US" sz="2448">
                <a:solidFill>
                  <a:schemeClr val="accent1"/>
                </a:solidFill>
              </a:rPr>
              <a:t>A globally distributed, massively scalable, multi-model database service</a:t>
            </a:r>
          </a:p>
        </p:txBody>
      </p:sp>
      <p:sp>
        <p:nvSpPr>
          <p:cNvPr id="3" name="Content Placeholder 2"/>
          <p:cNvSpPr>
            <a:spLocks noGrp="1"/>
          </p:cNvSpPr>
          <p:nvPr>
            <p:ph sz="half" idx="4294967295"/>
          </p:nvPr>
        </p:nvSpPr>
        <p:spPr>
          <a:xfrm>
            <a:off x="446892" y="2490181"/>
            <a:ext cx="2721713" cy="476479"/>
          </a:xfrm>
        </p:spPr>
        <p:txBody>
          <a:bodyPr wrap="square">
            <a:spAutoFit/>
          </a:bodyPr>
          <a:lstStyle/>
          <a:p>
            <a:pPr marL="0" indent="0">
              <a:buNone/>
            </a:pPr>
            <a:r>
              <a:rPr lang="en-US" sz="2040" b="1">
                <a:solidFill>
                  <a:srgbClr val="59B4D9"/>
                </a:solidFill>
                <a:latin typeface="Segoe UI" charset="0"/>
                <a:ea typeface="Segoe UI" charset="0"/>
                <a:cs typeface="Segoe UI" charset="0"/>
              </a:rPr>
              <a:t>Global distribution</a:t>
            </a:r>
          </a:p>
        </p:txBody>
      </p:sp>
      <p:grpSp>
        <p:nvGrpSpPr>
          <p:cNvPr id="323" name="Group 322"/>
          <p:cNvGrpSpPr/>
          <p:nvPr/>
        </p:nvGrpSpPr>
        <p:grpSpPr>
          <a:xfrm>
            <a:off x="-3919" y="2526364"/>
            <a:ext cx="450812" cy="305337"/>
            <a:chOff x="6082249" y="5559189"/>
            <a:chExt cx="564210" cy="382141"/>
          </a:xfrm>
          <a:solidFill>
            <a:schemeClr val="accent6"/>
          </a:solidFill>
        </p:grpSpPr>
        <p:sp>
          <p:nvSpPr>
            <p:cNvPr id="324" name="Isosceles Triangle 31"/>
            <p:cNvSpPr/>
            <p:nvPr/>
          </p:nvSpPr>
          <p:spPr bwMode="auto">
            <a:xfrm rot="5400000">
              <a:off x="6359855" y="5654725"/>
              <a:ext cx="382140" cy="191069"/>
            </a:xfrm>
            <a:prstGeom prst="triangle">
              <a:avLst>
                <a:gd name="adj" fmla="val 49896"/>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err="1">
                <a:gradFill>
                  <a:gsLst>
                    <a:gs pos="0">
                      <a:srgbClr val="FFFFFF"/>
                    </a:gs>
                    <a:gs pos="100000">
                      <a:srgbClr val="FFFFFF"/>
                    </a:gs>
                  </a:gsLst>
                  <a:lin ang="5400000" scaled="0"/>
                </a:gradFill>
                <a:ea typeface="Segoe UI" pitchFamily="34" charset="0"/>
                <a:cs typeface="Segoe UI" pitchFamily="34" charset="0"/>
              </a:endParaRPr>
            </a:p>
          </p:txBody>
        </p:sp>
        <p:sp>
          <p:nvSpPr>
            <p:cNvPr id="325" name="Rectangle 324"/>
            <p:cNvSpPr/>
            <p:nvPr/>
          </p:nvSpPr>
          <p:spPr bwMode="auto">
            <a:xfrm>
              <a:off x="6082249" y="5559189"/>
              <a:ext cx="373140" cy="382141"/>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err="1">
                <a:gradFill>
                  <a:gsLst>
                    <a:gs pos="0">
                      <a:srgbClr val="FFFFFF"/>
                    </a:gs>
                    <a:gs pos="100000">
                      <a:srgbClr val="FFFFFF"/>
                    </a:gs>
                  </a:gsLst>
                  <a:lin ang="5400000" scaled="0"/>
                </a:gradFill>
                <a:ea typeface="Segoe UI" pitchFamily="34" charset="0"/>
                <a:cs typeface="Segoe UI" pitchFamily="34" charset="0"/>
              </a:endParaRPr>
            </a:p>
          </p:txBody>
        </p:sp>
      </p:grpSp>
      <p:sp>
        <p:nvSpPr>
          <p:cNvPr id="184" name="Content Placeholder 2"/>
          <p:cNvSpPr txBox="1">
            <a:spLocks/>
          </p:cNvSpPr>
          <p:nvPr/>
        </p:nvSpPr>
        <p:spPr>
          <a:xfrm>
            <a:off x="446892" y="3218776"/>
            <a:ext cx="3395260" cy="382308"/>
          </a:xfrm>
          <a:prstGeom prst="rect">
            <a:avLst/>
          </a:prstGeom>
        </p:spPr>
        <p:txBody>
          <a:bodyPr vert="horz" wrap="square" lIns="93260" tIns="46630" rIns="93260" bIns="4663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40" b="1">
                <a:solidFill>
                  <a:srgbClr val="59B4D9"/>
                </a:solidFill>
                <a:latin typeface="Segoe UI" charset="0"/>
                <a:ea typeface="Segoe UI" charset="0"/>
                <a:cs typeface="Segoe UI" charset="0"/>
              </a:rPr>
              <a:t>Multi-model + multi API</a:t>
            </a:r>
          </a:p>
        </p:txBody>
      </p:sp>
      <p:grpSp>
        <p:nvGrpSpPr>
          <p:cNvPr id="185" name="Group 184"/>
          <p:cNvGrpSpPr/>
          <p:nvPr/>
        </p:nvGrpSpPr>
        <p:grpSpPr>
          <a:xfrm>
            <a:off x="-3919" y="3252560"/>
            <a:ext cx="450812" cy="305337"/>
            <a:chOff x="6082249" y="5559189"/>
            <a:chExt cx="564210" cy="382141"/>
          </a:xfrm>
          <a:solidFill>
            <a:schemeClr val="accent6"/>
          </a:solidFill>
        </p:grpSpPr>
        <p:sp>
          <p:nvSpPr>
            <p:cNvPr id="186" name="Isosceles Triangle 28"/>
            <p:cNvSpPr/>
            <p:nvPr/>
          </p:nvSpPr>
          <p:spPr bwMode="auto">
            <a:xfrm rot="5400000">
              <a:off x="6359855" y="5654725"/>
              <a:ext cx="382140" cy="191069"/>
            </a:xfrm>
            <a:prstGeom prst="triangle">
              <a:avLst>
                <a:gd name="adj" fmla="val 49896"/>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err="1">
                <a:gradFill>
                  <a:gsLst>
                    <a:gs pos="0">
                      <a:srgbClr val="FFFFFF"/>
                    </a:gs>
                    <a:gs pos="100000">
                      <a:srgbClr val="FFFFFF"/>
                    </a:gs>
                  </a:gsLst>
                  <a:lin ang="5400000" scaled="0"/>
                </a:gradFill>
                <a:ea typeface="Segoe UI" pitchFamily="34" charset="0"/>
                <a:cs typeface="Segoe UI" pitchFamily="34" charset="0"/>
              </a:endParaRPr>
            </a:p>
          </p:txBody>
        </p:sp>
        <p:sp>
          <p:nvSpPr>
            <p:cNvPr id="187" name="Rectangle 186"/>
            <p:cNvSpPr/>
            <p:nvPr/>
          </p:nvSpPr>
          <p:spPr bwMode="auto">
            <a:xfrm>
              <a:off x="6082249" y="5559189"/>
              <a:ext cx="373140" cy="382141"/>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err="1">
                <a:gradFill>
                  <a:gsLst>
                    <a:gs pos="0">
                      <a:srgbClr val="FFFFFF"/>
                    </a:gs>
                    <a:gs pos="100000">
                      <a:srgbClr val="FFFFFF"/>
                    </a:gs>
                  </a:gsLst>
                  <a:lin ang="5400000" scaled="0"/>
                </a:gradFill>
                <a:ea typeface="Segoe UI" pitchFamily="34" charset="0"/>
                <a:cs typeface="Segoe UI" pitchFamily="34" charset="0"/>
              </a:endParaRPr>
            </a:p>
          </p:txBody>
        </p:sp>
      </p:grpSp>
      <p:sp>
        <p:nvSpPr>
          <p:cNvPr id="58" name="Content Placeholder 2"/>
          <p:cNvSpPr txBox="1">
            <a:spLocks/>
          </p:cNvSpPr>
          <p:nvPr/>
        </p:nvSpPr>
        <p:spPr>
          <a:xfrm>
            <a:off x="446893" y="3945754"/>
            <a:ext cx="2418940" cy="382308"/>
          </a:xfrm>
          <a:prstGeom prst="rect">
            <a:avLst/>
          </a:prstGeom>
        </p:spPr>
        <p:txBody>
          <a:bodyPr vert="horz" wrap="square" lIns="93260" tIns="46630" rIns="93260" bIns="4663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40" b="1">
                <a:solidFill>
                  <a:srgbClr val="59B4D9"/>
                </a:solidFill>
                <a:latin typeface="Segoe UI" charset="0"/>
                <a:ea typeface="Segoe UI" charset="0"/>
                <a:cs typeface="Segoe UI" charset="0"/>
              </a:rPr>
              <a:t>Elastic scale-out</a:t>
            </a:r>
          </a:p>
        </p:txBody>
      </p:sp>
      <p:grpSp>
        <p:nvGrpSpPr>
          <p:cNvPr id="59" name="Group 58"/>
          <p:cNvGrpSpPr/>
          <p:nvPr/>
        </p:nvGrpSpPr>
        <p:grpSpPr>
          <a:xfrm>
            <a:off x="-3919" y="3978757"/>
            <a:ext cx="450812" cy="305337"/>
            <a:chOff x="6082249" y="5559189"/>
            <a:chExt cx="564210" cy="382141"/>
          </a:xfrm>
          <a:solidFill>
            <a:schemeClr val="accent6"/>
          </a:solidFill>
        </p:grpSpPr>
        <p:sp>
          <p:nvSpPr>
            <p:cNvPr id="60" name="Isosceles Triangle 25"/>
            <p:cNvSpPr/>
            <p:nvPr/>
          </p:nvSpPr>
          <p:spPr bwMode="auto">
            <a:xfrm rot="5400000">
              <a:off x="6359855" y="5654725"/>
              <a:ext cx="382140" cy="191069"/>
            </a:xfrm>
            <a:prstGeom prst="triangle">
              <a:avLst>
                <a:gd name="adj" fmla="val 49896"/>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err="1">
                <a:gradFill>
                  <a:gsLst>
                    <a:gs pos="0">
                      <a:srgbClr val="FFFFFF"/>
                    </a:gs>
                    <a:gs pos="100000">
                      <a:srgbClr val="FFFFFF"/>
                    </a:gs>
                  </a:gsLst>
                  <a:lin ang="5400000" scaled="0"/>
                </a:gradFill>
                <a:ea typeface="Segoe UI" pitchFamily="34" charset="0"/>
                <a:cs typeface="Segoe UI" pitchFamily="34" charset="0"/>
              </a:endParaRPr>
            </a:p>
          </p:txBody>
        </p:sp>
        <p:sp>
          <p:nvSpPr>
            <p:cNvPr id="61" name="Rectangle 60"/>
            <p:cNvSpPr/>
            <p:nvPr/>
          </p:nvSpPr>
          <p:spPr bwMode="auto">
            <a:xfrm>
              <a:off x="6082249" y="5559189"/>
              <a:ext cx="373140" cy="382141"/>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err="1">
                <a:gradFill>
                  <a:gsLst>
                    <a:gs pos="0">
                      <a:srgbClr val="FFFFFF"/>
                    </a:gs>
                    <a:gs pos="100000">
                      <a:srgbClr val="FFFFFF"/>
                    </a:gs>
                  </a:gsLst>
                  <a:lin ang="5400000" scaled="0"/>
                </a:gradFill>
                <a:ea typeface="Segoe UI" pitchFamily="34" charset="0"/>
                <a:cs typeface="Segoe UI" pitchFamily="34" charset="0"/>
              </a:endParaRPr>
            </a:p>
          </p:txBody>
        </p:sp>
      </p:grpSp>
      <p:sp>
        <p:nvSpPr>
          <p:cNvPr id="25" name="Content Placeholder 2"/>
          <p:cNvSpPr txBox="1">
            <a:spLocks/>
          </p:cNvSpPr>
          <p:nvPr/>
        </p:nvSpPr>
        <p:spPr>
          <a:xfrm>
            <a:off x="446893" y="4674351"/>
            <a:ext cx="3048771" cy="382308"/>
          </a:xfrm>
          <a:prstGeom prst="rect">
            <a:avLst/>
          </a:prstGeom>
        </p:spPr>
        <p:txBody>
          <a:bodyPr vert="horz" wrap="square" lIns="93260" tIns="46630" rIns="93260" bIns="4663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40" b="1">
                <a:solidFill>
                  <a:schemeClr val="bg1"/>
                </a:solidFill>
                <a:latin typeface="Segoe UI" charset="0"/>
                <a:ea typeface="Segoe UI" charset="0"/>
                <a:cs typeface="Segoe UI" charset="0"/>
              </a:rPr>
              <a:t>Choice of consistency</a:t>
            </a:r>
          </a:p>
        </p:txBody>
      </p:sp>
      <p:grpSp>
        <p:nvGrpSpPr>
          <p:cNvPr id="26" name="Group 25"/>
          <p:cNvGrpSpPr/>
          <p:nvPr/>
        </p:nvGrpSpPr>
        <p:grpSpPr>
          <a:xfrm>
            <a:off x="-3919" y="4704953"/>
            <a:ext cx="450812" cy="305337"/>
            <a:chOff x="6082249" y="5559189"/>
            <a:chExt cx="564210" cy="382141"/>
          </a:xfrm>
          <a:solidFill>
            <a:schemeClr val="accent2"/>
          </a:solidFill>
        </p:grpSpPr>
        <p:sp>
          <p:nvSpPr>
            <p:cNvPr id="27" name="Isosceles Triangle 22"/>
            <p:cNvSpPr/>
            <p:nvPr/>
          </p:nvSpPr>
          <p:spPr bwMode="auto">
            <a:xfrm rot="5400000">
              <a:off x="6359855" y="5654725"/>
              <a:ext cx="382140" cy="191069"/>
            </a:xfrm>
            <a:prstGeom prst="triangle">
              <a:avLst>
                <a:gd name="adj" fmla="val 49896"/>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err="1">
                <a:gradFill>
                  <a:gsLst>
                    <a:gs pos="0">
                      <a:srgbClr val="FFFFFF"/>
                    </a:gs>
                    <a:gs pos="100000">
                      <a:srgbClr val="FFFFFF"/>
                    </a:gs>
                  </a:gsLst>
                  <a:lin ang="5400000" scaled="0"/>
                </a:gradFill>
                <a:ea typeface="Segoe UI" pitchFamily="34" charset="0"/>
                <a:cs typeface="Segoe UI" pitchFamily="34" charset="0"/>
              </a:endParaRPr>
            </a:p>
          </p:txBody>
        </p:sp>
        <p:sp>
          <p:nvSpPr>
            <p:cNvPr id="28" name="Rectangle 27"/>
            <p:cNvSpPr/>
            <p:nvPr/>
          </p:nvSpPr>
          <p:spPr bwMode="auto">
            <a:xfrm>
              <a:off x="6082249" y="5559189"/>
              <a:ext cx="373140" cy="382141"/>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err="1">
                <a:gradFill>
                  <a:gsLst>
                    <a:gs pos="0">
                      <a:srgbClr val="FFFFFF"/>
                    </a:gs>
                    <a:gs pos="100000">
                      <a:srgbClr val="FFFFFF"/>
                    </a:gs>
                  </a:gsLst>
                  <a:lin ang="5400000" scaled="0"/>
                </a:gradFill>
                <a:ea typeface="Segoe UI" pitchFamily="34" charset="0"/>
                <a:cs typeface="Segoe UI" pitchFamily="34" charset="0"/>
              </a:endParaRPr>
            </a:p>
          </p:txBody>
        </p:sp>
      </p:grpSp>
      <p:sp>
        <p:nvSpPr>
          <p:cNvPr id="30" name="TextBox 29"/>
          <p:cNvSpPr txBox="1"/>
          <p:nvPr/>
        </p:nvSpPr>
        <p:spPr>
          <a:xfrm>
            <a:off x="5082247" y="2162889"/>
            <a:ext cx="6878070" cy="318286"/>
          </a:xfrm>
          <a:prstGeom prst="rect">
            <a:avLst/>
          </a:prstGeom>
          <a:noFill/>
        </p:spPr>
        <p:txBody>
          <a:bodyPr wrap="square" rtlCol="0">
            <a:spAutoFit/>
          </a:bodyPr>
          <a:lstStyle/>
          <a:p>
            <a:r>
              <a:rPr lang="en-US" sz="1428" b="1">
                <a:solidFill>
                  <a:schemeClr val="accent3"/>
                </a:solidFill>
                <a:latin typeface="Segoe UI Semibold" charset="0"/>
                <a:ea typeface="Segoe UI Semibold" charset="0"/>
                <a:cs typeface="Segoe UI Semibold" charset="0"/>
              </a:rPr>
              <a:t>Choose from five defined consistency levels for low latency and high availability</a:t>
            </a:r>
          </a:p>
        </p:txBody>
      </p:sp>
      <p:grpSp>
        <p:nvGrpSpPr>
          <p:cNvPr id="9" name="Group 8"/>
          <p:cNvGrpSpPr/>
          <p:nvPr/>
        </p:nvGrpSpPr>
        <p:grpSpPr>
          <a:xfrm>
            <a:off x="5742697" y="3596028"/>
            <a:ext cx="5949122" cy="1351338"/>
            <a:chOff x="5630520" y="3707335"/>
            <a:chExt cx="5833002" cy="1324961"/>
          </a:xfrm>
        </p:grpSpPr>
        <p:sp>
          <p:nvSpPr>
            <p:cNvPr id="32" name="Rectangle 31"/>
            <p:cNvSpPr/>
            <p:nvPr/>
          </p:nvSpPr>
          <p:spPr>
            <a:xfrm>
              <a:off x="5630521" y="3707335"/>
              <a:ext cx="618860" cy="618860"/>
            </a:xfrm>
            <a:prstGeom prst="rect">
              <a:avLst/>
            </a:prstGeom>
            <a:solidFill>
              <a:srgbClr val="3999C6"/>
            </a:solidFill>
            <a:ln w="19050" cap="flat" cmpd="sng" algn="ctr">
              <a:solidFill>
                <a:schemeClr val="bg1"/>
              </a:solidFill>
              <a:prstDash val="solid"/>
              <a:miter lim="800000"/>
            </a:ln>
            <a:effectLst/>
          </p:spPr>
          <p:txBody>
            <a:bodyPr rtlCol="0" anchor="ctr"/>
            <a:lstStyle/>
            <a:p>
              <a:pPr algn="ctr" defTabSz="932597">
                <a:defRPr/>
              </a:pPr>
              <a:endParaRPr lang="en-US" sz="1836" kern="0">
                <a:solidFill>
                  <a:srgbClr val="FFFFFF"/>
                </a:solidFill>
                <a:latin typeface="Calibri" panose="020F0502020204030204"/>
                <a:ea typeface=""/>
                <a:cs typeface=""/>
              </a:endParaRPr>
            </a:p>
          </p:txBody>
        </p:sp>
        <p:sp>
          <p:nvSpPr>
            <p:cNvPr id="33" name="Rectangle: Rounded Corners 94"/>
            <p:cNvSpPr/>
            <p:nvPr/>
          </p:nvSpPr>
          <p:spPr>
            <a:xfrm>
              <a:off x="6934056" y="3707335"/>
              <a:ext cx="618860" cy="618860"/>
            </a:xfrm>
            <a:prstGeom prst="roundRect">
              <a:avLst/>
            </a:prstGeom>
            <a:solidFill>
              <a:srgbClr val="3999C6">
                <a:alpha val="75000"/>
              </a:srgbClr>
            </a:solidFill>
            <a:ln w="19050" cap="flat" cmpd="sng" algn="ctr">
              <a:solidFill>
                <a:schemeClr val="bg1"/>
              </a:solidFill>
              <a:prstDash val="solid"/>
              <a:miter lim="800000"/>
            </a:ln>
            <a:effectLst/>
          </p:spPr>
          <p:txBody>
            <a:bodyPr rtlCol="0" anchor="ctr"/>
            <a:lstStyle/>
            <a:p>
              <a:pPr algn="ctr" defTabSz="932597">
                <a:defRPr/>
              </a:pPr>
              <a:endParaRPr lang="en-US" sz="1836" kern="0">
                <a:solidFill>
                  <a:srgbClr val="FFFFFF"/>
                </a:solidFill>
                <a:latin typeface="Calibri" panose="020F0502020204030204"/>
                <a:ea typeface=""/>
                <a:cs typeface=""/>
              </a:endParaRPr>
            </a:p>
          </p:txBody>
        </p:sp>
        <p:sp>
          <p:nvSpPr>
            <p:cNvPr id="34" name="Rectangle: Rounded Corners 95"/>
            <p:cNvSpPr/>
            <p:nvPr/>
          </p:nvSpPr>
          <p:spPr>
            <a:xfrm>
              <a:off x="8237591" y="3707335"/>
              <a:ext cx="618860" cy="618860"/>
            </a:xfrm>
            <a:prstGeom prst="roundRect">
              <a:avLst>
                <a:gd name="adj" fmla="val 32189"/>
              </a:avLst>
            </a:prstGeom>
            <a:solidFill>
              <a:srgbClr val="3999C6">
                <a:alpha val="50000"/>
              </a:srgbClr>
            </a:solidFill>
            <a:ln w="19050" cap="flat" cmpd="sng" algn="ctr">
              <a:solidFill>
                <a:schemeClr val="bg1"/>
              </a:solidFill>
              <a:prstDash val="solid"/>
              <a:miter lim="800000"/>
            </a:ln>
            <a:effectLst/>
          </p:spPr>
          <p:txBody>
            <a:bodyPr rtlCol="0" anchor="ctr"/>
            <a:lstStyle/>
            <a:p>
              <a:pPr algn="ctr" defTabSz="932597">
                <a:defRPr/>
              </a:pPr>
              <a:endParaRPr lang="en-US" sz="1836" kern="0">
                <a:solidFill>
                  <a:srgbClr val="FFFFFF"/>
                </a:solidFill>
                <a:latin typeface="Calibri" panose="020F0502020204030204"/>
                <a:ea typeface=""/>
                <a:cs typeface=""/>
              </a:endParaRPr>
            </a:p>
          </p:txBody>
        </p:sp>
        <p:sp>
          <p:nvSpPr>
            <p:cNvPr id="35" name="Rectangle: Rounded Corners 96"/>
            <p:cNvSpPr/>
            <p:nvPr/>
          </p:nvSpPr>
          <p:spPr>
            <a:xfrm>
              <a:off x="9541126" y="3707335"/>
              <a:ext cx="618860" cy="618860"/>
            </a:xfrm>
            <a:prstGeom prst="roundRect">
              <a:avLst>
                <a:gd name="adj" fmla="val 42704"/>
              </a:avLst>
            </a:prstGeom>
            <a:solidFill>
              <a:srgbClr val="3999C6">
                <a:alpha val="25000"/>
              </a:srgbClr>
            </a:solidFill>
            <a:ln w="19050" cap="flat" cmpd="sng" algn="ctr">
              <a:solidFill>
                <a:schemeClr val="bg1"/>
              </a:solidFill>
              <a:prstDash val="solid"/>
              <a:miter lim="800000"/>
            </a:ln>
            <a:effectLst/>
          </p:spPr>
          <p:txBody>
            <a:bodyPr rtlCol="0" anchor="ctr"/>
            <a:lstStyle/>
            <a:p>
              <a:pPr algn="ctr" defTabSz="932597">
                <a:defRPr/>
              </a:pPr>
              <a:endParaRPr lang="en-US" sz="1836" kern="0">
                <a:solidFill>
                  <a:srgbClr val="FFFFFF"/>
                </a:solidFill>
                <a:latin typeface="Calibri" panose="020F0502020204030204"/>
                <a:ea typeface=""/>
                <a:cs typeface=""/>
              </a:endParaRPr>
            </a:p>
          </p:txBody>
        </p:sp>
        <p:sp>
          <p:nvSpPr>
            <p:cNvPr id="36" name="Oval 35"/>
            <p:cNvSpPr/>
            <p:nvPr/>
          </p:nvSpPr>
          <p:spPr>
            <a:xfrm>
              <a:off x="10844662" y="3707335"/>
              <a:ext cx="618860" cy="618860"/>
            </a:xfrm>
            <a:prstGeom prst="ellipse">
              <a:avLst/>
            </a:prstGeom>
            <a:solidFill>
              <a:srgbClr val="D7EDF7"/>
            </a:solidFill>
            <a:ln w="19050" cap="flat" cmpd="sng" algn="ctr">
              <a:solidFill>
                <a:schemeClr val="bg1"/>
              </a:solidFill>
              <a:prstDash val="solid"/>
              <a:miter lim="800000"/>
            </a:ln>
            <a:effectLst/>
          </p:spPr>
          <p:txBody>
            <a:bodyPr rtlCol="0" anchor="ctr"/>
            <a:lstStyle/>
            <a:p>
              <a:pPr algn="ctr" defTabSz="932597">
                <a:defRPr/>
              </a:pPr>
              <a:endParaRPr lang="en-US" sz="1836" kern="0">
                <a:solidFill>
                  <a:srgbClr val="FFFFFF"/>
                </a:solidFill>
                <a:latin typeface="Calibri" panose="020F0502020204030204"/>
                <a:ea typeface=""/>
                <a:cs typeface=""/>
              </a:endParaRPr>
            </a:p>
          </p:txBody>
        </p:sp>
        <p:sp>
          <p:nvSpPr>
            <p:cNvPr id="37" name="TextBox 36"/>
            <p:cNvSpPr txBox="1"/>
            <p:nvPr/>
          </p:nvSpPr>
          <p:spPr>
            <a:xfrm>
              <a:off x="5711875" y="4376416"/>
              <a:ext cx="456151" cy="280718"/>
            </a:xfrm>
            <a:prstGeom prst="rect">
              <a:avLst/>
            </a:prstGeom>
            <a:noFill/>
          </p:spPr>
          <p:txBody>
            <a:bodyPr wrap="none" lIns="0" rIns="0" rtlCol="0">
              <a:spAutoFit/>
            </a:bodyPr>
            <a:lstStyle/>
            <a:p>
              <a:pPr algn="ctr"/>
              <a:r>
                <a:rPr lang="en-US" sz="1224">
                  <a:latin typeface="Segoe UI" charset="0"/>
                  <a:ea typeface="Segoe UI" charset="0"/>
                  <a:cs typeface="Segoe UI" charset="0"/>
                </a:rPr>
                <a:t>Strong</a:t>
              </a:r>
            </a:p>
          </p:txBody>
        </p:sp>
        <p:sp>
          <p:nvSpPr>
            <p:cNvPr id="38" name="TextBox 37"/>
            <p:cNvSpPr txBox="1"/>
            <p:nvPr/>
          </p:nvSpPr>
          <p:spPr>
            <a:xfrm>
              <a:off x="6605298" y="4371435"/>
              <a:ext cx="1276376" cy="280718"/>
            </a:xfrm>
            <a:prstGeom prst="rect">
              <a:avLst/>
            </a:prstGeom>
            <a:noFill/>
          </p:spPr>
          <p:txBody>
            <a:bodyPr wrap="none" lIns="0" rIns="0" rtlCol="0">
              <a:spAutoFit/>
            </a:bodyPr>
            <a:lstStyle/>
            <a:p>
              <a:pPr algn="ctr"/>
              <a:r>
                <a:rPr lang="en-US" sz="1224">
                  <a:latin typeface="Segoe UI" charset="0"/>
                  <a:ea typeface="Segoe UI" charset="0"/>
                  <a:cs typeface="Segoe UI" charset="0"/>
                </a:rPr>
                <a:t>Bounded-stateless</a:t>
              </a:r>
            </a:p>
          </p:txBody>
        </p:sp>
        <p:sp>
          <p:nvSpPr>
            <p:cNvPr id="39" name="TextBox 38"/>
            <p:cNvSpPr txBox="1"/>
            <p:nvPr/>
          </p:nvSpPr>
          <p:spPr>
            <a:xfrm>
              <a:off x="8288136" y="4360576"/>
              <a:ext cx="517770" cy="280718"/>
            </a:xfrm>
            <a:prstGeom prst="rect">
              <a:avLst/>
            </a:prstGeom>
            <a:noFill/>
          </p:spPr>
          <p:txBody>
            <a:bodyPr wrap="none" lIns="0" rIns="0" rtlCol="0">
              <a:spAutoFit/>
            </a:bodyPr>
            <a:lstStyle/>
            <a:p>
              <a:pPr algn="ctr"/>
              <a:r>
                <a:rPr lang="en-US" sz="1224">
                  <a:latin typeface="Segoe UI" charset="0"/>
                  <a:ea typeface="Segoe UI" charset="0"/>
                  <a:cs typeface="Segoe UI" charset="0"/>
                </a:rPr>
                <a:t>Session</a:t>
              </a:r>
            </a:p>
          </p:txBody>
        </p:sp>
        <p:sp>
          <p:nvSpPr>
            <p:cNvPr id="40" name="TextBox 39"/>
            <p:cNvSpPr txBox="1"/>
            <p:nvPr/>
          </p:nvSpPr>
          <p:spPr>
            <a:xfrm>
              <a:off x="9272705" y="4376319"/>
              <a:ext cx="1155702" cy="280718"/>
            </a:xfrm>
            <a:prstGeom prst="rect">
              <a:avLst/>
            </a:prstGeom>
            <a:noFill/>
          </p:spPr>
          <p:txBody>
            <a:bodyPr wrap="none" lIns="0" rIns="0" rtlCol="0">
              <a:spAutoFit/>
            </a:bodyPr>
            <a:lstStyle/>
            <a:p>
              <a:pPr algn="ctr"/>
              <a:r>
                <a:rPr lang="en-US" sz="1224">
                  <a:latin typeface="Segoe UI" charset="0"/>
                  <a:ea typeface="Segoe UI" charset="0"/>
                  <a:cs typeface="Segoe UI" charset="0"/>
                </a:rPr>
                <a:t>Consistent prefix</a:t>
              </a:r>
            </a:p>
          </p:txBody>
        </p:sp>
        <p:sp>
          <p:nvSpPr>
            <p:cNvPr id="41" name="TextBox 40"/>
            <p:cNvSpPr txBox="1"/>
            <p:nvPr/>
          </p:nvSpPr>
          <p:spPr>
            <a:xfrm>
              <a:off x="10861993" y="4371435"/>
              <a:ext cx="584199" cy="280718"/>
            </a:xfrm>
            <a:prstGeom prst="rect">
              <a:avLst/>
            </a:prstGeom>
            <a:noFill/>
          </p:spPr>
          <p:txBody>
            <a:bodyPr wrap="none" lIns="0" rIns="0" rtlCol="0">
              <a:spAutoFit/>
            </a:bodyPr>
            <a:lstStyle/>
            <a:p>
              <a:pPr algn="ctr"/>
              <a:r>
                <a:rPr lang="en-US" sz="1224">
                  <a:latin typeface="Segoe UI" charset="0"/>
                  <a:ea typeface="Segoe UI" charset="0"/>
                  <a:cs typeface="Segoe UI" charset="0"/>
                </a:rPr>
                <a:t>Eventual</a:t>
              </a:r>
            </a:p>
          </p:txBody>
        </p:sp>
        <p:grpSp>
          <p:nvGrpSpPr>
            <p:cNvPr id="7" name="Group 6"/>
            <p:cNvGrpSpPr/>
            <p:nvPr/>
          </p:nvGrpSpPr>
          <p:grpSpPr>
            <a:xfrm>
              <a:off x="5630520" y="4766228"/>
              <a:ext cx="5833002" cy="266068"/>
              <a:chOff x="5630520" y="4762806"/>
              <a:chExt cx="5833002" cy="266068"/>
            </a:xfrm>
          </p:grpSpPr>
          <p:sp>
            <p:nvSpPr>
              <p:cNvPr id="31" name="Rectangle 30"/>
              <p:cNvSpPr/>
              <p:nvPr/>
            </p:nvSpPr>
            <p:spPr>
              <a:xfrm rot="10800000" flipV="1">
                <a:off x="5630520" y="4869455"/>
                <a:ext cx="5833002" cy="52769"/>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sp>
            <p:nvSpPr>
              <p:cNvPr id="42" name="Rectangle: Rounded Corners 95"/>
              <p:cNvSpPr/>
              <p:nvPr/>
            </p:nvSpPr>
            <p:spPr>
              <a:xfrm>
                <a:off x="8413987" y="4762806"/>
                <a:ext cx="266068" cy="266068"/>
              </a:xfrm>
              <a:prstGeom prst="roundRect">
                <a:avLst>
                  <a:gd name="adj" fmla="val 32189"/>
                </a:avLst>
              </a:prstGeom>
              <a:solidFill>
                <a:schemeClr val="accent2"/>
              </a:solidFill>
              <a:ln w="19050" cap="flat" cmpd="sng" algn="ctr">
                <a:solidFill>
                  <a:schemeClr val="bg1"/>
                </a:solidFill>
                <a:prstDash val="solid"/>
                <a:miter lim="800000"/>
              </a:ln>
              <a:effectLst/>
            </p:spPr>
            <p:txBody>
              <a:bodyPr rtlCol="0" anchor="ctr"/>
              <a:lstStyle/>
              <a:p>
                <a:pPr algn="ctr" defTabSz="932597">
                  <a:defRPr/>
                </a:pPr>
                <a:endParaRPr lang="en-US" sz="1836" kern="0">
                  <a:solidFill>
                    <a:srgbClr val="FFFFFF"/>
                  </a:solidFill>
                  <a:latin typeface="Calibri" panose="020F0502020204030204"/>
                  <a:ea typeface=""/>
                  <a:cs typeface=""/>
                </a:endParaRPr>
              </a:p>
            </p:txBody>
          </p:sp>
        </p:grpSp>
      </p:grpSp>
    </p:spTree>
    <p:extLst>
      <p:ext uri="{BB962C8B-B14F-4D97-AF65-F5344CB8AC3E}">
        <p14:creationId xmlns:p14="http://schemas.microsoft.com/office/powerpoint/2010/main" val="20812658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5">
                                            <p:txEl>
                                              <p:pRg st="0" end="0"/>
                                            </p:txEl>
                                          </p:spTgt>
                                        </p:tgtEl>
                                        <p:attrNameLst>
                                          <p:attrName>style.visibility</p:attrName>
                                        </p:attrNameLst>
                                      </p:cBhvr>
                                      <p:to>
                                        <p:strVal val="visible"/>
                                      </p:to>
                                    </p:set>
                                    <p:animEffect transition="in" filter="fade">
                                      <p:cBhvr>
                                        <p:cTn id="7" dur="500"/>
                                        <p:tgtEl>
                                          <p:spTgt spid="25">
                                            <p:txEl>
                                              <p:pRg st="0" end="0"/>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26"/>
                                        </p:tgtEl>
                                        <p:attrNameLst>
                                          <p:attrName>style.visibility</p:attrName>
                                        </p:attrNameLst>
                                      </p:cBhvr>
                                      <p:to>
                                        <p:strVal val="visible"/>
                                      </p:to>
                                    </p:set>
                                    <p:animEffect transition="in" filter="fade">
                                      <p:cBhvr>
                                        <p:cTn id="10" dur="500"/>
                                        <p:tgtEl>
                                          <p:spTgt spid="2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5" grpId="0" build="p"/>
    </p:bld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Arrow: Pentagon 4"/>
          <p:cNvSpPr/>
          <p:nvPr/>
        </p:nvSpPr>
        <p:spPr>
          <a:xfrm flipH="1">
            <a:off x="9241217" y="4235406"/>
            <a:ext cx="2483027" cy="1102238"/>
          </a:xfrm>
          <a:prstGeom prst="homePlate">
            <a:avLst>
              <a:gd name="adj" fmla="val 43150"/>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sp>
        <p:nvSpPr>
          <p:cNvPr id="151" name="Rectangle 150"/>
          <p:cNvSpPr/>
          <p:nvPr/>
        </p:nvSpPr>
        <p:spPr>
          <a:xfrm>
            <a:off x="89" y="2024342"/>
            <a:ext cx="4934105" cy="4970183"/>
          </a:xfrm>
          <a:prstGeom prst="rect">
            <a:avLst/>
          </a:prstGeom>
          <a:solidFill>
            <a:srgbClr val="3999C6"/>
          </a:solidFill>
          <a:ln w="12700" cap="flat" cmpd="sng" algn="ctr">
            <a:noFill/>
            <a:prstDash val="solid"/>
            <a:miter lim="800000"/>
          </a:ln>
          <a:effectLst/>
        </p:spPr>
        <p:txBody>
          <a:bodyPr rtlCol="0" anchor="ctr"/>
          <a:lstStyle/>
          <a:p>
            <a:pPr algn="ctr" defTabSz="932597">
              <a:defRPr/>
            </a:pPr>
            <a:endParaRPr lang="en-US" sz="1836" kern="0">
              <a:solidFill>
                <a:srgbClr val="FFFFFF"/>
              </a:solidFill>
              <a:latin typeface="Calibri" panose="020F0502020204030204"/>
              <a:ea typeface=""/>
              <a:cs typeface=""/>
            </a:endParaRPr>
          </a:p>
        </p:txBody>
      </p:sp>
      <p:sp>
        <p:nvSpPr>
          <p:cNvPr id="11" name="Title 10"/>
          <p:cNvSpPr>
            <a:spLocks noGrp="1"/>
          </p:cNvSpPr>
          <p:nvPr>
            <p:ph type="title"/>
          </p:nvPr>
        </p:nvSpPr>
        <p:spPr/>
        <p:txBody>
          <a:bodyPr>
            <a:noAutofit/>
          </a:bodyPr>
          <a:lstStyle/>
          <a:p>
            <a:r>
              <a:rPr lang="en-US"/>
              <a:t>Introducing Azure Cosmos DB</a:t>
            </a:r>
            <a:br>
              <a:rPr lang="en-US"/>
            </a:br>
            <a:r>
              <a:rPr lang="en-US" sz="2448">
                <a:solidFill>
                  <a:schemeClr val="accent1"/>
                </a:solidFill>
              </a:rPr>
              <a:t>A globally distributed, massively scalable, multi-model database service</a:t>
            </a:r>
          </a:p>
        </p:txBody>
      </p:sp>
      <p:sp>
        <p:nvSpPr>
          <p:cNvPr id="3" name="Content Placeholder 2"/>
          <p:cNvSpPr>
            <a:spLocks noGrp="1"/>
          </p:cNvSpPr>
          <p:nvPr>
            <p:ph sz="half" idx="4294967295"/>
          </p:nvPr>
        </p:nvSpPr>
        <p:spPr>
          <a:xfrm>
            <a:off x="446892" y="2490181"/>
            <a:ext cx="2721713" cy="476479"/>
          </a:xfrm>
        </p:spPr>
        <p:txBody>
          <a:bodyPr wrap="square">
            <a:spAutoFit/>
          </a:bodyPr>
          <a:lstStyle/>
          <a:p>
            <a:pPr marL="0" indent="0">
              <a:buNone/>
            </a:pPr>
            <a:r>
              <a:rPr lang="en-US" sz="2040" b="1">
                <a:solidFill>
                  <a:srgbClr val="59B4D9"/>
                </a:solidFill>
                <a:latin typeface="Segoe UI" charset="0"/>
                <a:ea typeface="Segoe UI" charset="0"/>
                <a:cs typeface="Segoe UI" charset="0"/>
              </a:rPr>
              <a:t>Global distribution</a:t>
            </a:r>
          </a:p>
        </p:txBody>
      </p:sp>
      <p:grpSp>
        <p:nvGrpSpPr>
          <p:cNvPr id="323" name="Group 322"/>
          <p:cNvGrpSpPr/>
          <p:nvPr/>
        </p:nvGrpSpPr>
        <p:grpSpPr>
          <a:xfrm>
            <a:off x="-3919" y="2526364"/>
            <a:ext cx="450812" cy="305337"/>
            <a:chOff x="6082249" y="5559189"/>
            <a:chExt cx="564210" cy="382141"/>
          </a:xfrm>
          <a:solidFill>
            <a:schemeClr val="accent6"/>
          </a:solidFill>
        </p:grpSpPr>
        <p:sp>
          <p:nvSpPr>
            <p:cNvPr id="324" name="Isosceles Triangle 31"/>
            <p:cNvSpPr/>
            <p:nvPr/>
          </p:nvSpPr>
          <p:spPr bwMode="auto">
            <a:xfrm rot="5400000">
              <a:off x="6359855" y="5654725"/>
              <a:ext cx="382140" cy="191069"/>
            </a:xfrm>
            <a:prstGeom prst="triangle">
              <a:avLst>
                <a:gd name="adj" fmla="val 49896"/>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err="1">
                <a:gradFill>
                  <a:gsLst>
                    <a:gs pos="0">
                      <a:srgbClr val="FFFFFF"/>
                    </a:gs>
                    <a:gs pos="100000">
                      <a:srgbClr val="FFFFFF"/>
                    </a:gs>
                  </a:gsLst>
                  <a:lin ang="5400000" scaled="0"/>
                </a:gradFill>
                <a:ea typeface="Segoe UI" pitchFamily="34" charset="0"/>
                <a:cs typeface="Segoe UI" pitchFamily="34" charset="0"/>
              </a:endParaRPr>
            </a:p>
          </p:txBody>
        </p:sp>
        <p:sp>
          <p:nvSpPr>
            <p:cNvPr id="325" name="Rectangle 324"/>
            <p:cNvSpPr/>
            <p:nvPr/>
          </p:nvSpPr>
          <p:spPr bwMode="auto">
            <a:xfrm>
              <a:off x="6082249" y="5559189"/>
              <a:ext cx="373140" cy="382141"/>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err="1">
                <a:gradFill>
                  <a:gsLst>
                    <a:gs pos="0">
                      <a:srgbClr val="FFFFFF"/>
                    </a:gs>
                    <a:gs pos="100000">
                      <a:srgbClr val="FFFFFF"/>
                    </a:gs>
                  </a:gsLst>
                  <a:lin ang="5400000" scaled="0"/>
                </a:gradFill>
                <a:ea typeface="Segoe UI" pitchFamily="34" charset="0"/>
                <a:cs typeface="Segoe UI" pitchFamily="34" charset="0"/>
              </a:endParaRPr>
            </a:p>
          </p:txBody>
        </p:sp>
      </p:grpSp>
      <p:sp>
        <p:nvSpPr>
          <p:cNvPr id="184" name="Content Placeholder 2"/>
          <p:cNvSpPr txBox="1">
            <a:spLocks/>
          </p:cNvSpPr>
          <p:nvPr/>
        </p:nvSpPr>
        <p:spPr>
          <a:xfrm>
            <a:off x="446892" y="3218776"/>
            <a:ext cx="3395260" cy="382308"/>
          </a:xfrm>
          <a:prstGeom prst="rect">
            <a:avLst/>
          </a:prstGeom>
        </p:spPr>
        <p:txBody>
          <a:bodyPr vert="horz" wrap="square" lIns="93260" tIns="46630" rIns="93260" bIns="4663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40" b="1">
                <a:solidFill>
                  <a:srgbClr val="59B4D9"/>
                </a:solidFill>
                <a:latin typeface="Segoe UI" charset="0"/>
                <a:ea typeface="Segoe UI" charset="0"/>
                <a:cs typeface="Segoe UI" charset="0"/>
              </a:rPr>
              <a:t>Multi-model + multi API</a:t>
            </a:r>
          </a:p>
        </p:txBody>
      </p:sp>
      <p:grpSp>
        <p:nvGrpSpPr>
          <p:cNvPr id="185" name="Group 184"/>
          <p:cNvGrpSpPr/>
          <p:nvPr/>
        </p:nvGrpSpPr>
        <p:grpSpPr>
          <a:xfrm>
            <a:off x="-3919" y="3252560"/>
            <a:ext cx="450812" cy="305337"/>
            <a:chOff x="6082249" y="5559189"/>
            <a:chExt cx="564210" cy="382141"/>
          </a:xfrm>
          <a:solidFill>
            <a:schemeClr val="accent6"/>
          </a:solidFill>
        </p:grpSpPr>
        <p:sp>
          <p:nvSpPr>
            <p:cNvPr id="186" name="Isosceles Triangle 28"/>
            <p:cNvSpPr/>
            <p:nvPr/>
          </p:nvSpPr>
          <p:spPr bwMode="auto">
            <a:xfrm rot="5400000">
              <a:off x="6359855" y="5654725"/>
              <a:ext cx="382140" cy="191069"/>
            </a:xfrm>
            <a:prstGeom prst="triangle">
              <a:avLst>
                <a:gd name="adj" fmla="val 49896"/>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err="1">
                <a:gradFill>
                  <a:gsLst>
                    <a:gs pos="0">
                      <a:srgbClr val="FFFFFF"/>
                    </a:gs>
                    <a:gs pos="100000">
                      <a:srgbClr val="FFFFFF"/>
                    </a:gs>
                  </a:gsLst>
                  <a:lin ang="5400000" scaled="0"/>
                </a:gradFill>
                <a:ea typeface="Segoe UI" pitchFamily="34" charset="0"/>
                <a:cs typeface="Segoe UI" pitchFamily="34" charset="0"/>
              </a:endParaRPr>
            </a:p>
          </p:txBody>
        </p:sp>
        <p:sp>
          <p:nvSpPr>
            <p:cNvPr id="187" name="Rectangle 186"/>
            <p:cNvSpPr/>
            <p:nvPr/>
          </p:nvSpPr>
          <p:spPr bwMode="auto">
            <a:xfrm>
              <a:off x="6082249" y="5559189"/>
              <a:ext cx="373140" cy="382141"/>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err="1">
                <a:gradFill>
                  <a:gsLst>
                    <a:gs pos="0">
                      <a:srgbClr val="FFFFFF"/>
                    </a:gs>
                    <a:gs pos="100000">
                      <a:srgbClr val="FFFFFF"/>
                    </a:gs>
                  </a:gsLst>
                  <a:lin ang="5400000" scaled="0"/>
                </a:gradFill>
                <a:ea typeface="Segoe UI" pitchFamily="34" charset="0"/>
                <a:cs typeface="Segoe UI" pitchFamily="34" charset="0"/>
              </a:endParaRPr>
            </a:p>
          </p:txBody>
        </p:sp>
      </p:grpSp>
      <p:sp>
        <p:nvSpPr>
          <p:cNvPr id="58" name="Content Placeholder 2"/>
          <p:cNvSpPr txBox="1">
            <a:spLocks/>
          </p:cNvSpPr>
          <p:nvPr/>
        </p:nvSpPr>
        <p:spPr>
          <a:xfrm>
            <a:off x="446893" y="3945754"/>
            <a:ext cx="2418940" cy="382308"/>
          </a:xfrm>
          <a:prstGeom prst="rect">
            <a:avLst/>
          </a:prstGeom>
        </p:spPr>
        <p:txBody>
          <a:bodyPr vert="horz" wrap="square" lIns="93260" tIns="46630" rIns="93260" bIns="4663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40" b="1">
                <a:solidFill>
                  <a:srgbClr val="59B4D9"/>
                </a:solidFill>
                <a:latin typeface="Segoe UI" charset="0"/>
                <a:ea typeface="Segoe UI" charset="0"/>
                <a:cs typeface="Segoe UI" charset="0"/>
              </a:rPr>
              <a:t>Elastic scale-out</a:t>
            </a:r>
          </a:p>
        </p:txBody>
      </p:sp>
      <p:grpSp>
        <p:nvGrpSpPr>
          <p:cNvPr id="59" name="Group 58"/>
          <p:cNvGrpSpPr/>
          <p:nvPr/>
        </p:nvGrpSpPr>
        <p:grpSpPr>
          <a:xfrm>
            <a:off x="-3919" y="3978757"/>
            <a:ext cx="450812" cy="305337"/>
            <a:chOff x="6082249" y="5559189"/>
            <a:chExt cx="564210" cy="382141"/>
          </a:xfrm>
          <a:solidFill>
            <a:schemeClr val="accent6"/>
          </a:solidFill>
        </p:grpSpPr>
        <p:sp>
          <p:nvSpPr>
            <p:cNvPr id="60" name="Isosceles Triangle 25"/>
            <p:cNvSpPr/>
            <p:nvPr/>
          </p:nvSpPr>
          <p:spPr bwMode="auto">
            <a:xfrm rot="5400000">
              <a:off x="6359855" y="5654725"/>
              <a:ext cx="382140" cy="191069"/>
            </a:xfrm>
            <a:prstGeom prst="triangle">
              <a:avLst>
                <a:gd name="adj" fmla="val 49896"/>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err="1">
                <a:gradFill>
                  <a:gsLst>
                    <a:gs pos="0">
                      <a:srgbClr val="FFFFFF"/>
                    </a:gs>
                    <a:gs pos="100000">
                      <a:srgbClr val="FFFFFF"/>
                    </a:gs>
                  </a:gsLst>
                  <a:lin ang="5400000" scaled="0"/>
                </a:gradFill>
                <a:ea typeface="Segoe UI" pitchFamily="34" charset="0"/>
                <a:cs typeface="Segoe UI" pitchFamily="34" charset="0"/>
              </a:endParaRPr>
            </a:p>
          </p:txBody>
        </p:sp>
        <p:sp>
          <p:nvSpPr>
            <p:cNvPr id="61" name="Rectangle 60"/>
            <p:cNvSpPr/>
            <p:nvPr/>
          </p:nvSpPr>
          <p:spPr bwMode="auto">
            <a:xfrm>
              <a:off x="6082249" y="5559189"/>
              <a:ext cx="373140" cy="382141"/>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err="1">
                <a:gradFill>
                  <a:gsLst>
                    <a:gs pos="0">
                      <a:srgbClr val="FFFFFF"/>
                    </a:gs>
                    <a:gs pos="100000">
                      <a:srgbClr val="FFFFFF"/>
                    </a:gs>
                  </a:gsLst>
                  <a:lin ang="5400000" scaled="0"/>
                </a:gradFill>
                <a:ea typeface="Segoe UI" pitchFamily="34" charset="0"/>
                <a:cs typeface="Segoe UI" pitchFamily="34" charset="0"/>
              </a:endParaRPr>
            </a:p>
          </p:txBody>
        </p:sp>
      </p:grpSp>
      <p:sp>
        <p:nvSpPr>
          <p:cNvPr id="25" name="Content Placeholder 2"/>
          <p:cNvSpPr txBox="1">
            <a:spLocks/>
          </p:cNvSpPr>
          <p:nvPr/>
        </p:nvSpPr>
        <p:spPr>
          <a:xfrm>
            <a:off x="446893" y="4674351"/>
            <a:ext cx="3048771" cy="382308"/>
          </a:xfrm>
          <a:prstGeom prst="rect">
            <a:avLst/>
          </a:prstGeom>
        </p:spPr>
        <p:txBody>
          <a:bodyPr vert="horz" wrap="square" lIns="93260" tIns="46630" rIns="93260" bIns="4663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40" b="1">
                <a:solidFill>
                  <a:srgbClr val="59B4D9"/>
                </a:solidFill>
                <a:latin typeface="Segoe UI" charset="0"/>
                <a:ea typeface="Segoe UI" charset="0"/>
                <a:cs typeface="Segoe UI" charset="0"/>
              </a:rPr>
              <a:t>Choice of consistency</a:t>
            </a:r>
          </a:p>
        </p:txBody>
      </p:sp>
      <p:grpSp>
        <p:nvGrpSpPr>
          <p:cNvPr id="26" name="Group 25"/>
          <p:cNvGrpSpPr/>
          <p:nvPr/>
        </p:nvGrpSpPr>
        <p:grpSpPr>
          <a:xfrm>
            <a:off x="-3919" y="4704953"/>
            <a:ext cx="450812" cy="305337"/>
            <a:chOff x="6082249" y="5559189"/>
            <a:chExt cx="564210" cy="382141"/>
          </a:xfrm>
          <a:solidFill>
            <a:schemeClr val="accent6"/>
          </a:solidFill>
        </p:grpSpPr>
        <p:sp>
          <p:nvSpPr>
            <p:cNvPr id="27" name="Isosceles Triangle 22"/>
            <p:cNvSpPr/>
            <p:nvPr/>
          </p:nvSpPr>
          <p:spPr bwMode="auto">
            <a:xfrm rot="5400000">
              <a:off x="6359855" y="5654725"/>
              <a:ext cx="382140" cy="191069"/>
            </a:xfrm>
            <a:prstGeom prst="triangle">
              <a:avLst>
                <a:gd name="adj" fmla="val 49896"/>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err="1">
                <a:gradFill>
                  <a:gsLst>
                    <a:gs pos="0">
                      <a:srgbClr val="FFFFFF"/>
                    </a:gs>
                    <a:gs pos="100000">
                      <a:srgbClr val="FFFFFF"/>
                    </a:gs>
                  </a:gsLst>
                  <a:lin ang="5400000" scaled="0"/>
                </a:gradFill>
                <a:ea typeface="Segoe UI" pitchFamily="34" charset="0"/>
                <a:cs typeface="Segoe UI" pitchFamily="34" charset="0"/>
              </a:endParaRPr>
            </a:p>
          </p:txBody>
        </p:sp>
        <p:sp>
          <p:nvSpPr>
            <p:cNvPr id="28" name="Rectangle 27"/>
            <p:cNvSpPr/>
            <p:nvPr/>
          </p:nvSpPr>
          <p:spPr bwMode="auto">
            <a:xfrm>
              <a:off x="6082249" y="5559189"/>
              <a:ext cx="373140" cy="382141"/>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err="1">
                <a:gradFill>
                  <a:gsLst>
                    <a:gs pos="0">
                      <a:srgbClr val="FFFFFF"/>
                    </a:gs>
                    <a:gs pos="100000">
                      <a:srgbClr val="FFFFFF"/>
                    </a:gs>
                  </a:gsLst>
                  <a:lin ang="5400000" scaled="0"/>
                </a:gradFill>
                <a:ea typeface="Segoe UI" pitchFamily="34" charset="0"/>
                <a:cs typeface="Segoe UI" pitchFamily="34" charset="0"/>
              </a:endParaRPr>
            </a:p>
          </p:txBody>
        </p:sp>
      </p:grpSp>
      <p:sp>
        <p:nvSpPr>
          <p:cNvPr id="38" name="TextBox 37"/>
          <p:cNvSpPr txBox="1"/>
          <p:nvPr/>
        </p:nvSpPr>
        <p:spPr>
          <a:xfrm>
            <a:off x="5082246" y="2162889"/>
            <a:ext cx="5489476" cy="531812"/>
          </a:xfrm>
          <a:prstGeom prst="rect">
            <a:avLst/>
          </a:prstGeom>
          <a:noFill/>
        </p:spPr>
        <p:txBody>
          <a:bodyPr wrap="square" rtlCol="0">
            <a:spAutoFit/>
          </a:bodyPr>
          <a:lstStyle/>
          <a:p>
            <a:r>
              <a:rPr lang="en-US" sz="1428" b="1">
                <a:solidFill>
                  <a:schemeClr val="accent3"/>
                </a:solidFill>
                <a:latin typeface="Segoe UI Semibold" charset="0"/>
                <a:ea typeface="Segoe UI Semibold" charset="0"/>
                <a:cs typeface="Segoe UI Semibold" charset="0"/>
              </a:rPr>
              <a:t>Serve &lt;10 </a:t>
            </a:r>
            <a:r>
              <a:rPr lang="en-US" sz="1428" b="1" err="1">
                <a:solidFill>
                  <a:schemeClr val="accent3"/>
                </a:solidFill>
                <a:latin typeface="Segoe UI Semibold" charset="0"/>
                <a:ea typeface="Segoe UI Semibold" charset="0"/>
                <a:cs typeface="Segoe UI Semibold" charset="0"/>
              </a:rPr>
              <a:t>ms</a:t>
            </a:r>
            <a:r>
              <a:rPr lang="en-US" sz="1428" b="1">
                <a:solidFill>
                  <a:schemeClr val="accent3"/>
                </a:solidFill>
                <a:latin typeface="Segoe UI Semibold" charset="0"/>
                <a:ea typeface="Segoe UI Semibold" charset="0"/>
                <a:cs typeface="Segoe UI Semibold" charset="0"/>
              </a:rPr>
              <a:t> read and &lt;15 </a:t>
            </a:r>
            <a:r>
              <a:rPr lang="en-US" sz="1428" b="1" err="1">
                <a:solidFill>
                  <a:schemeClr val="accent3"/>
                </a:solidFill>
                <a:latin typeface="Segoe UI Semibold" charset="0"/>
                <a:ea typeface="Segoe UI Semibold" charset="0"/>
                <a:cs typeface="Segoe UI Semibold" charset="0"/>
              </a:rPr>
              <a:t>ms</a:t>
            </a:r>
            <a:r>
              <a:rPr lang="en-US" sz="1428" b="1">
                <a:solidFill>
                  <a:schemeClr val="accent3"/>
                </a:solidFill>
                <a:latin typeface="Segoe UI Semibold" charset="0"/>
                <a:ea typeface="Segoe UI Semibold" charset="0"/>
                <a:cs typeface="Segoe UI Semibold" charset="0"/>
              </a:rPr>
              <a:t> write requests at the 99</a:t>
            </a:r>
            <a:r>
              <a:rPr lang="en-US" sz="1428" b="1" baseline="30000">
                <a:solidFill>
                  <a:schemeClr val="accent3"/>
                </a:solidFill>
                <a:latin typeface="Segoe UI Semibold" charset="0"/>
                <a:ea typeface="Segoe UI Semibold" charset="0"/>
                <a:cs typeface="Segoe UI Semibold" charset="0"/>
              </a:rPr>
              <a:t>th</a:t>
            </a:r>
            <a:r>
              <a:rPr lang="en-US" sz="1428" b="1">
                <a:solidFill>
                  <a:schemeClr val="accent3"/>
                </a:solidFill>
                <a:latin typeface="Segoe UI Semibold" charset="0"/>
                <a:ea typeface="Segoe UI Semibold" charset="0"/>
                <a:cs typeface="Segoe UI Semibold" charset="0"/>
              </a:rPr>
              <a:t>  percentile from the nearest region while delivering data globally </a:t>
            </a:r>
          </a:p>
        </p:txBody>
      </p:sp>
      <p:sp>
        <p:nvSpPr>
          <p:cNvPr id="49" name="Content Placeholder 2"/>
          <p:cNvSpPr txBox="1">
            <a:spLocks/>
          </p:cNvSpPr>
          <p:nvPr/>
        </p:nvSpPr>
        <p:spPr>
          <a:xfrm>
            <a:off x="446893" y="5401327"/>
            <a:ext cx="4104427" cy="382308"/>
          </a:xfrm>
          <a:prstGeom prst="rect">
            <a:avLst/>
          </a:prstGeom>
        </p:spPr>
        <p:txBody>
          <a:bodyPr vert="horz" wrap="square" lIns="93260" tIns="46630" rIns="93260" bIns="4663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40" b="1">
                <a:solidFill>
                  <a:schemeClr val="bg1"/>
                </a:solidFill>
                <a:latin typeface="Segoe UI" charset="0"/>
                <a:ea typeface="Segoe UI" charset="0"/>
                <a:cs typeface="Segoe UI" charset="0"/>
              </a:rPr>
              <a:t>Guaranteed single-digit latency</a:t>
            </a:r>
          </a:p>
        </p:txBody>
      </p:sp>
      <p:grpSp>
        <p:nvGrpSpPr>
          <p:cNvPr id="50" name="Group 49"/>
          <p:cNvGrpSpPr/>
          <p:nvPr/>
        </p:nvGrpSpPr>
        <p:grpSpPr>
          <a:xfrm>
            <a:off x="-3919" y="5431150"/>
            <a:ext cx="450812" cy="305337"/>
            <a:chOff x="6082249" y="5559189"/>
            <a:chExt cx="564210" cy="382141"/>
          </a:xfrm>
          <a:solidFill>
            <a:schemeClr val="accent2"/>
          </a:solidFill>
        </p:grpSpPr>
        <p:sp>
          <p:nvSpPr>
            <p:cNvPr id="51" name="Isosceles Triangle 22"/>
            <p:cNvSpPr/>
            <p:nvPr/>
          </p:nvSpPr>
          <p:spPr bwMode="auto">
            <a:xfrm rot="5400000">
              <a:off x="6359855" y="5654725"/>
              <a:ext cx="382140" cy="191069"/>
            </a:xfrm>
            <a:prstGeom prst="triangle">
              <a:avLst>
                <a:gd name="adj" fmla="val 49896"/>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err="1">
                <a:gradFill>
                  <a:gsLst>
                    <a:gs pos="0">
                      <a:srgbClr val="FFFFFF"/>
                    </a:gs>
                    <a:gs pos="100000">
                      <a:srgbClr val="FFFFFF"/>
                    </a:gs>
                  </a:gsLst>
                  <a:lin ang="5400000" scaled="0"/>
                </a:gradFill>
                <a:ea typeface="Segoe UI" pitchFamily="34" charset="0"/>
                <a:cs typeface="Segoe UI" pitchFamily="34" charset="0"/>
              </a:endParaRPr>
            </a:p>
          </p:txBody>
        </p:sp>
        <p:sp>
          <p:nvSpPr>
            <p:cNvPr id="52" name="Rectangle 51"/>
            <p:cNvSpPr/>
            <p:nvPr/>
          </p:nvSpPr>
          <p:spPr bwMode="auto">
            <a:xfrm>
              <a:off x="6082249" y="5559189"/>
              <a:ext cx="373140" cy="382141"/>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4" name="Group 3"/>
          <p:cNvGrpSpPr/>
          <p:nvPr/>
        </p:nvGrpSpPr>
        <p:grpSpPr>
          <a:xfrm rot="900000">
            <a:off x="5645692" y="3092200"/>
            <a:ext cx="3514468" cy="3245757"/>
            <a:chOff x="6471353" y="3010667"/>
            <a:chExt cx="3470438" cy="3205092"/>
          </a:xfrm>
        </p:grpSpPr>
        <p:grpSp>
          <p:nvGrpSpPr>
            <p:cNvPr id="40" name="Group 39"/>
            <p:cNvGrpSpPr/>
            <p:nvPr/>
          </p:nvGrpSpPr>
          <p:grpSpPr>
            <a:xfrm rot="20700000">
              <a:off x="6799197" y="3105194"/>
              <a:ext cx="3029799" cy="3029796"/>
              <a:chOff x="6704138" y="2717800"/>
              <a:chExt cx="3987099" cy="3987098"/>
            </a:xfrm>
          </p:grpSpPr>
          <p:sp>
            <p:nvSpPr>
              <p:cNvPr id="47" name="Freeform: Shape 962"/>
              <p:cNvSpPr/>
              <p:nvPr/>
            </p:nvSpPr>
            <p:spPr>
              <a:xfrm>
                <a:off x="6704138" y="2717800"/>
                <a:ext cx="3987098" cy="3987098"/>
              </a:xfrm>
              <a:prstGeom prst="ellipse">
                <a:avLst/>
              </a:prstGeom>
              <a:solidFill>
                <a:srgbClr val="E8F6FA"/>
              </a:solidFill>
              <a:ln w="12700" cap="flat" cmpd="sng" algn="ctr">
                <a:noFill/>
                <a:prstDash val="solid"/>
                <a:miter lim="800000"/>
              </a:ln>
              <a:effectLst/>
            </p:spPr>
            <p:txBody>
              <a:bodyPr rtlCol="0" anchor="ctr"/>
              <a:lstStyle/>
              <a:p>
                <a:pPr algn="ctr" defTabSz="932597">
                  <a:defRPr/>
                </a:pPr>
                <a:endParaRPr lang="en-US" sz="1836" kern="0">
                  <a:solidFill>
                    <a:srgbClr val="FFFFFF"/>
                  </a:solidFill>
                  <a:latin typeface="Calibri" panose="020F0502020204030204"/>
                  <a:ea typeface=""/>
                  <a:cs typeface=""/>
                </a:endParaRPr>
              </a:p>
            </p:txBody>
          </p:sp>
          <p:sp>
            <p:nvSpPr>
              <p:cNvPr id="48" name="Freeform: Shape 117"/>
              <p:cNvSpPr>
                <a:spLocks/>
              </p:cNvSpPr>
              <p:nvPr/>
            </p:nvSpPr>
            <p:spPr bwMode="auto">
              <a:xfrm>
                <a:off x="6828864" y="2917371"/>
                <a:ext cx="3862373" cy="3682908"/>
              </a:xfrm>
              <a:custGeom>
                <a:avLst/>
                <a:gdLst>
                  <a:gd name="connsiteX0" fmla="*/ 1142662 w 3862373"/>
                  <a:gd name="connsiteY0" fmla="*/ 3605757 h 3682908"/>
                  <a:gd name="connsiteX1" fmla="*/ 1181749 w 3862373"/>
                  <a:gd name="connsiteY1" fmla="*/ 3644844 h 3682908"/>
                  <a:gd name="connsiteX2" fmla="*/ 1175073 w 3862373"/>
                  <a:gd name="connsiteY2" fmla="*/ 3660960 h 3682908"/>
                  <a:gd name="connsiteX3" fmla="*/ 1107191 w 3862373"/>
                  <a:gd name="connsiteY3" fmla="*/ 3636115 h 3682908"/>
                  <a:gd name="connsiteX4" fmla="*/ 1115023 w 3862373"/>
                  <a:gd name="connsiteY4" fmla="*/ 3617205 h 3682908"/>
                  <a:gd name="connsiteX5" fmla="*/ 1142662 w 3862373"/>
                  <a:gd name="connsiteY5" fmla="*/ 3605757 h 3682908"/>
                  <a:gd name="connsiteX6" fmla="*/ 1232571 w 3862373"/>
                  <a:gd name="connsiteY6" fmla="*/ 3605756 h 3682908"/>
                  <a:gd name="connsiteX7" fmla="*/ 1271658 w 3862373"/>
                  <a:gd name="connsiteY7" fmla="*/ 3644843 h 3682908"/>
                  <a:gd name="connsiteX8" fmla="*/ 1260210 w 3862373"/>
                  <a:gd name="connsiteY8" fmla="*/ 3672482 h 3682908"/>
                  <a:gd name="connsiteX9" fmla="*/ 1235039 w 3862373"/>
                  <a:gd name="connsiteY9" fmla="*/ 3682908 h 3682908"/>
                  <a:gd name="connsiteX10" fmla="*/ 1204643 w 3862373"/>
                  <a:gd name="connsiteY10" fmla="*/ 3671783 h 3682908"/>
                  <a:gd name="connsiteX11" fmla="*/ 1193484 w 3862373"/>
                  <a:gd name="connsiteY11" fmla="*/ 3644843 h 3682908"/>
                  <a:gd name="connsiteX12" fmla="*/ 1232571 w 3862373"/>
                  <a:gd name="connsiteY12" fmla="*/ 3605756 h 3682908"/>
                  <a:gd name="connsiteX13" fmla="*/ 1232571 w 3862373"/>
                  <a:gd name="connsiteY13" fmla="*/ 3520580 h 3682908"/>
                  <a:gd name="connsiteX14" fmla="*/ 1271658 w 3862373"/>
                  <a:gd name="connsiteY14" fmla="*/ 3559667 h 3682908"/>
                  <a:gd name="connsiteX15" fmla="*/ 1232571 w 3862373"/>
                  <a:gd name="connsiteY15" fmla="*/ 3598754 h 3682908"/>
                  <a:gd name="connsiteX16" fmla="*/ 1193484 w 3862373"/>
                  <a:gd name="connsiteY16" fmla="*/ 3559667 h 3682908"/>
                  <a:gd name="connsiteX17" fmla="*/ 1232571 w 3862373"/>
                  <a:gd name="connsiteY17" fmla="*/ 3520580 h 3682908"/>
                  <a:gd name="connsiteX18" fmla="*/ 1142662 w 3862373"/>
                  <a:gd name="connsiteY18" fmla="*/ 3520580 h 3682908"/>
                  <a:gd name="connsiteX19" fmla="*/ 1181749 w 3862373"/>
                  <a:gd name="connsiteY19" fmla="*/ 3559667 h 3682908"/>
                  <a:gd name="connsiteX20" fmla="*/ 1142662 w 3862373"/>
                  <a:gd name="connsiteY20" fmla="*/ 3598754 h 3682908"/>
                  <a:gd name="connsiteX21" fmla="*/ 1103575 w 3862373"/>
                  <a:gd name="connsiteY21" fmla="*/ 3559667 h 3682908"/>
                  <a:gd name="connsiteX22" fmla="*/ 1142662 w 3862373"/>
                  <a:gd name="connsiteY22" fmla="*/ 3520580 h 3682908"/>
                  <a:gd name="connsiteX23" fmla="*/ 1232572 w 3862373"/>
                  <a:gd name="connsiteY23" fmla="*/ 3435404 h 3682908"/>
                  <a:gd name="connsiteX24" fmla="*/ 1271659 w 3862373"/>
                  <a:gd name="connsiteY24" fmla="*/ 3474491 h 3682908"/>
                  <a:gd name="connsiteX25" fmla="*/ 1232572 w 3862373"/>
                  <a:gd name="connsiteY25" fmla="*/ 3513578 h 3682908"/>
                  <a:gd name="connsiteX26" fmla="*/ 1193485 w 3862373"/>
                  <a:gd name="connsiteY26" fmla="*/ 3474491 h 3682908"/>
                  <a:gd name="connsiteX27" fmla="*/ 1232572 w 3862373"/>
                  <a:gd name="connsiteY27" fmla="*/ 3435404 h 3682908"/>
                  <a:gd name="connsiteX28" fmla="*/ 1142662 w 3862373"/>
                  <a:gd name="connsiteY28" fmla="*/ 3435404 h 3682908"/>
                  <a:gd name="connsiteX29" fmla="*/ 1181749 w 3862373"/>
                  <a:gd name="connsiteY29" fmla="*/ 3474491 h 3682908"/>
                  <a:gd name="connsiteX30" fmla="*/ 1142662 w 3862373"/>
                  <a:gd name="connsiteY30" fmla="*/ 3513578 h 3682908"/>
                  <a:gd name="connsiteX31" fmla="*/ 1103575 w 3862373"/>
                  <a:gd name="connsiteY31" fmla="*/ 3474491 h 3682908"/>
                  <a:gd name="connsiteX32" fmla="*/ 1142662 w 3862373"/>
                  <a:gd name="connsiteY32" fmla="*/ 3435404 h 3682908"/>
                  <a:gd name="connsiteX33" fmla="*/ 1329578 w 3862373"/>
                  <a:gd name="connsiteY33" fmla="*/ 3347862 h 3682908"/>
                  <a:gd name="connsiteX34" fmla="*/ 1368665 w 3862373"/>
                  <a:gd name="connsiteY34" fmla="*/ 3386950 h 3682908"/>
                  <a:gd name="connsiteX35" fmla="*/ 1329578 w 3862373"/>
                  <a:gd name="connsiteY35" fmla="*/ 3426037 h 3682908"/>
                  <a:gd name="connsiteX36" fmla="*/ 1290490 w 3862373"/>
                  <a:gd name="connsiteY36" fmla="*/ 3386950 h 3682908"/>
                  <a:gd name="connsiteX37" fmla="*/ 1329578 w 3862373"/>
                  <a:gd name="connsiteY37" fmla="*/ 3347862 h 3682908"/>
                  <a:gd name="connsiteX38" fmla="*/ 1142664 w 3862373"/>
                  <a:gd name="connsiteY38" fmla="*/ 3347862 h 3682908"/>
                  <a:gd name="connsiteX39" fmla="*/ 1181751 w 3862373"/>
                  <a:gd name="connsiteY39" fmla="*/ 3386950 h 3682908"/>
                  <a:gd name="connsiteX40" fmla="*/ 1142664 w 3862373"/>
                  <a:gd name="connsiteY40" fmla="*/ 3426037 h 3682908"/>
                  <a:gd name="connsiteX41" fmla="*/ 1103576 w 3862373"/>
                  <a:gd name="connsiteY41" fmla="*/ 3386950 h 3682908"/>
                  <a:gd name="connsiteX42" fmla="*/ 1142664 w 3862373"/>
                  <a:gd name="connsiteY42" fmla="*/ 3347862 h 3682908"/>
                  <a:gd name="connsiteX43" fmla="*/ 1232572 w 3862373"/>
                  <a:gd name="connsiteY43" fmla="*/ 3347861 h 3682908"/>
                  <a:gd name="connsiteX44" fmla="*/ 1271660 w 3862373"/>
                  <a:gd name="connsiteY44" fmla="*/ 3386948 h 3682908"/>
                  <a:gd name="connsiteX45" fmla="*/ 1232572 w 3862373"/>
                  <a:gd name="connsiteY45" fmla="*/ 3426035 h 3682908"/>
                  <a:gd name="connsiteX46" fmla="*/ 1193485 w 3862373"/>
                  <a:gd name="connsiteY46" fmla="*/ 3386948 h 3682908"/>
                  <a:gd name="connsiteX47" fmla="*/ 1232572 w 3862373"/>
                  <a:gd name="connsiteY47" fmla="*/ 3347861 h 3682908"/>
                  <a:gd name="connsiteX48" fmla="*/ 2924263 w 3862373"/>
                  <a:gd name="connsiteY48" fmla="*/ 3265052 h 3682908"/>
                  <a:gd name="connsiteX49" fmla="*/ 2963349 w 3862373"/>
                  <a:gd name="connsiteY49" fmla="*/ 3304139 h 3682908"/>
                  <a:gd name="connsiteX50" fmla="*/ 2924263 w 3862373"/>
                  <a:gd name="connsiteY50" fmla="*/ 3343226 h 3682908"/>
                  <a:gd name="connsiteX51" fmla="*/ 2885175 w 3862373"/>
                  <a:gd name="connsiteY51" fmla="*/ 3304139 h 3682908"/>
                  <a:gd name="connsiteX52" fmla="*/ 2924263 w 3862373"/>
                  <a:gd name="connsiteY52" fmla="*/ 3265052 h 3682908"/>
                  <a:gd name="connsiteX53" fmla="*/ 1419487 w 3862373"/>
                  <a:gd name="connsiteY53" fmla="*/ 3265052 h 3682908"/>
                  <a:gd name="connsiteX54" fmla="*/ 1458574 w 3862373"/>
                  <a:gd name="connsiteY54" fmla="*/ 3304139 h 3682908"/>
                  <a:gd name="connsiteX55" fmla="*/ 1419487 w 3862373"/>
                  <a:gd name="connsiteY55" fmla="*/ 3343226 h 3682908"/>
                  <a:gd name="connsiteX56" fmla="*/ 1380399 w 3862373"/>
                  <a:gd name="connsiteY56" fmla="*/ 3304139 h 3682908"/>
                  <a:gd name="connsiteX57" fmla="*/ 1419487 w 3862373"/>
                  <a:gd name="connsiteY57" fmla="*/ 3265052 h 3682908"/>
                  <a:gd name="connsiteX58" fmla="*/ 1329578 w 3862373"/>
                  <a:gd name="connsiteY58" fmla="*/ 3265052 h 3682908"/>
                  <a:gd name="connsiteX59" fmla="*/ 1368666 w 3862373"/>
                  <a:gd name="connsiteY59" fmla="*/ 3304139 h 3682908"/>
                  <a:gd name="connsiteX60" fmla="*/ 1329578 w 3862373"/>
                  <a:gd name="connsiteY60" fmla="*/ 3343226 h 3682908"/>
                  <a:gd name="connsiteX61" fmla="*/ 1290491 w 3862373"/>
                  <a:gd name="connsiteY61" fmla="*/ 3304139 h 3682908"/>
                  <a:gd name="connsiteX62" fmla="*/ 1329578 w 3862373"/>
                  <a:gd name="connsiteY62" fmla="*/ 3265052 h 3682908"/>
                  <a:gd name="connsiteX63" fmla="*/ 1232574 w 3862373"/>
                  <a:gd name="connsiteY63" fmla="*/ 3265052 h 3682908"/>
                  <a:gd name="connsiteX64" fmla="*/ 1271661 w 3862373"/>
                  <a:gd name="connsiteY64" fmla="*/ 3304139 h 3682908"/>
                  <a:gd name="connsiteX65" fmla="*/ 1232574 w 3862373"/>
                  <a:gd name="connsiteY65" fmla="*/ 3343226 h 3682908"/>
                  <a:gd name="connsiteX66" fmla="*/ 1193487 w 3862373"/>
                  <a:gd name="connsiteY66" fmla="*/ 3304139 h 3682908"/>
                  <a:gd name="connsiteX67" fmla="*/ 1232574 w 3862373"/>
                  <a:gd name="connsiteY67" fmla="*/ 3265052 h 3682908"/>
                  <a:gd name="connsiteX68" fmla="*/ 1142665 w 3862373"/>
                  <a:gd name="connsiteY68" fmla="*/ 3265052 h 3682908"/>
                  <a:gd name="connsiteX69" fmla="*/ 1181752 w 3862373"/>
                  <a:gd name="connsiteY69" fmla="*/ 3304139 h 3682908"/>
                  <a:gd name="connsiteX70" fmla="*/ 1142665 w 3862373"/>
                  <a:gd name="connsiteY70" fmla="*/ 3343226 h 3682908"/>
                  <a:gd name="connsiteX71" fmla="*/ 1103578 w 3862373"/>
                  <a:gd name="connsiteY71" fmla="*/ 3304139 h 3682908"/>
                  <a:gd name="connsiteX72" fmla="*/ 1142665 w 3862373"/>
                  <a:gd name="connsiteY72" fmla="*/ 3265052 h 3682908"/>
                  <a:gd name="connsiteX73" fmla="*/ 3111177 w 3862373"/>
                  <a:gd name="connsiteY73" fmla="*/ 3177510 h 3682908"/>
                  <a:gd name="connsiteX74" fmla="*/ 3150264 w 3862373"/>
                  <a:gd name="connsiteY74" fmla="*/ 3216597 h 3682908"/>
                  <a:gd name="connsiteX75" fmla="*/ 3111177 w 3862373"/>
                  <a:gd name="connsiteY75" fmla="*/ 3255684 h 3682908"/>
                  <a:gd name="connsiteX76" fmla="*/ 3072089 w 3862373"/>
                  <a:gd name="connsiteY76" fmla="*/ 3216597 h 3682908"/>
                  <a:gd name="connsiteX77" fmla="*/ 3111177 w 3862373"/>
                  <a:gd name="connsiteY77" fmla="*/ 3177510 h 3682908"/>
                  <a:gd name="connsiteX78" fmla="*/ 3018903 w 3862373"/>
                  <a:gd name="connsiteY78" fmla="*/ 3177510 h 3682908"/>
                  <a:gd name="connsiteX79" fmla="*/ 3057989 w 3862373"/>
                  <a:gd name="connsiteY79" fmla="*/ 3216597 h 3682908"/>
                  <a:gd name="connsiteX80" fmla="*/ 3018903 w 3862373"/>
                  <a:gd name="connsiteY80" fmla="*/ 3255684 h 3682908"/>
                  <a:gd name="connsiteX81" fmla="*/ 2979815 w 3862373"/>
                  <a:gd name="connsiteY81" fmla="*/ 3216597 h 3682908"/>
                  <a:gd name="connsiteX82" fmla="*/ 3018903 w 3862373"/>
                  <a:gd name="connsiteY82" fmla="*/ 3177510 h 3682908"/>
                  <a:gd name="connsiteX83" fmla="*/ 1516493 w 3862373"/>
                  <a:gd name="connsiteY83" fmla="*/ 3177510 h 3682908"/>
                  <a:gd name="connsiteX84" fmla="*/ 1555581 w 3862373"/>
                  <a:gd name="connsiteY84" fmla="*/ 3216597 h 3682908"/>
                  <a:gd name="connsiteX85" fmla="*/ 1516493 w 3862373"/>
                  <a:gd name="connsiteY85" fmla="*/ 3255684 h 3682908"/>
                  <a:gd name="connsiteX86" fmla="*/ 1477406 w 3862373"/>
                  <a:gd name="connsiteY86" fmla="*/ 3216597 h 3682908"/>
                  <a:gd name="connsiteX87" fmla="*/ 1516493 w 3862373"/>
                  <a:gd name="connsiteY87" fmla="*/ 3177510 h 3682908"/>
                  <a:gd name="connsiteX88" fmla="*/ 1329579 w 3862373"/>
                  <a:gd name="connsiteY88" fmla="*/ 3177510 h 3682908"/>
                  <a:gd name="connsiteX89" fmla="*/ 1368667 w 3862373"/>
                  <a:gd name="connsiteY89" fmla="*/ 3216597 h 3682908"/>
                  <a:gd name="connsiteX90" fmla="*/ 1329579 w 3862373"/>
                  <a:gd name="connsiteY90" fmla="*/ 3255684 h 3682908"/>
                  <a:gd name="connsiteX91" fmla="*/ 1290493 w 3862373"/>
                  <a:gd name="connsiteY91" fmla="*/ 3216597 h 3682908"/>
                  <a:gd name="connsiteX92" fmla="*/ 1329579 w 3862373"/>
                  <a:gd name="connsiteY92" fmla="*/ 3177510 h 3682908"/>
                  <a:gd name="connsiteX93" fmla="*/ 1142666 w 3862373"/>
                  <a:gd name="connsiteY93" fmla="*/ 3177510 h 3682908"/>
                  <a:gd name="connsiteX94" fmla="*/ 1181753 w 3862373"/>
                  <a:gd name="connsiteY94" fmla="*/ 3216597 h 3682908"/>
                  <a:gd name="connsiteX95" fmla="*/ 1142666 w 3862373"/>
                  <a:gd name="connsiteY95" fmla="*/ 3255684 h 3682908"/>
                  <a:gd name="connsiteX96" fmla="*/ 1103578 w 3862373"/>
                  <a:gd name="connsiteY96" fmla="*/ 3216597 h 3682908"/>
                  <a:gd name="connsiteX97" fmla="*/ 1142666 w 3862373"/>
                  <a:gd name="connsiteY97" fmla="*/ 3177510 h 3682908"/>
                  <a:gd name="connsiteX98" fmla="*/ 2924263 w 3862373"/>
                  <a:gd name="connsiteY98" fmla="*/ 3177510 h 3682908"/>
                  <a:gd name="connsiteX99" fmla="*/ 2963349 w 3862373"/>
                  <a:gd name="connsiteY99" fmla="*/ 3216597 h 3682908"/>
                  <a:gd name="connsiteX100" fmla="*/ 2924263 w 3862373"/>
                  <a:gd name="connsiteY100" fmla="*/ 3255684 h 3682908"/>
                  <a:gd name="connsiteX101" fmla="*/ 2885175 w 3862373"/>
                  <a:gd name="connsiteY101" fmla="*/ 3216597 h 3682908"/>
                  <a:gd name="connsiteX102" fmla="*/ 2924263 w 3862373"/>
                  <a:gd name="connsiteY102" fmla="*/ 3177510 h 3682908"/>
                  <a:gd name="connsiteX103" fmla="*/ 1419488 w 3862373"/>
                  <a:gd name="connsiteY103" fmla="*/ 3177510 h 3682908"/>
                  <a:gd name="connsiteX104" fmla="*/ 1458575 w 3862373"/>
                  <a:gd name="connsiteY104" fmla="*/ 3216597 h 3682908"/>
                  <a:gd name="connsiteX105" fmla="*/ 1419488 w 3862373"/>
                  <a:gd name="connsiteY105" fmla="*/ 3255684 h 3682908"/>
                  <a:gd name="connsiteX106" fmla="*/ 1380401 w 3862373"/>
                  <a:gd name="connsiteY106" fmla="*/ 3216597 h 3682908"/>
                  <a:gd name="connsiteX107" fmla="*/ 1419488 w 3862373"/>
                  <a:gd name="connsiteY107" fmla="*/ 3177510 h 3682908"/>
                  <a:gd name="connsiteX108" fmla="*/ 1232575 w 3862373"/>
                  <a:gd name="connsiteY108" fmla="*/ 3177510 h 3682908"/>
                  <a:gd name="connsiteX109" fmla="*/ 1271661 w 3862373"/>
                  <a:gd name="connsiteY109" fmla="*/ 3216597 h 3682908"/>
                  <a:gd name="connsiteX110" fmla="*/ 1232575 w 3862373"/>
                  <a:gd name="connsiteY110" fmla="*/ 3255684 h 3682908"/>
                  <a:gd name="connsiteX111" fmla="*/ 1193488 w 3862373"/>
                  <a:gd name="connsiteY111" fmla="*/ 3216597 h 3682908"/>
                  <a:gd name="connsiteX112" fmla="*/ 1232575 w 3862373"/>
                  <a:gd name="connsiteY112" fmla="*/ 3177510 h 3682908"/>
                  <a:gd name="connsiteX113" fmla="*/ 3111177 w 3862373"/>
                  <a:gd name="connsiteY113" fmla="*/ 3092334 h 3682908"/>
                  <a:gd name="connsiteX114" fmla="*/ 3150264 w 3862373"/>
                  <a:gd name="connsiteY114" fmla="*/ 3131421 h 3682908"/>
                  <a:gd name="connsiteX115" fmla="*/ 3111177 w 3862373"/>
                  <a:gd name="connsiteY115" fmla="*/ 3170508 h 3682908"/>
                  <a:gd name="connsiteX116" fmla="*/ 3072089 w 3862373"/>
                  <a:gd name="connsiteY116" fmla="*/ 3131421 h 3682908"/>
                  <a:gd name="connsiteX117" fmla="*/ 3111177 w 3862373"/>
                  <a:gd name="connsiteY117" fmla="*/ 3092334 h 3682908"/>
                  <a:gd name="connsiteX118" fmla="*/ 3018903 w 3862373"/>
                  <a:gd name="connsiteY118" fmla="*/ 3092334 h 3682908"/>
                  <a:gd name="connsiteX119" fmla="*/ 3057989 w 3862373"/>
                  <a:gd name="connsiteY119" fmla="*/ 3131421 h 3682908"/>
                  <a:gd name="connsiteX120" fmla="*/ 3018903 w 3862373"/>
                  <a:gd name="connsiteY120" fmla="*/ 3170508 h 3682908"/>
                  <a:gd name="connsiteX121" fmla="*/ 2979815 w 3862373"/>
                  <a:gd name="connsiteY121" fmla="*/ 3131421 h 3682908"/>
                  <a:gd name="connsiteX122" fmla="*/ 3018903 w 3862373"/>
                  <a:gd name="connsiteY122" fmla="*/ 3092334 h 3682908"/>
                  <a:gd name="connsiteX123" fmla="*/ 2831988 w 3862373"/>
                  <a:gd name="connsiteY123" fmla="*/ 3092334 h 3682908"/>
                  <a:gd name="connsiteX124" fmla="*/ 2871075 w 3862373"/>
                  <a:gd name="connsiteY124" fmla="*/ 3131421 h 3682908"/>
                  <a:gd name="connsiteX125" fmla="*/ 2831988 w 3862373"/>
                  <a:gd name="connsiteY125" fmla="*/ 3170508 h 3682908"/>
                  <a:gd name="connsiteX126" fmla="*/ 2792901 w 3862373"/>
                  <a:gd name="connsiteY126" fmla="*/ 3131421 h 3682908"/>
                  <a:gd name="connsiteX127" fmla="*/ 2831988 w 3862373"/>
                  <a:gd name="connsiteY127" fmla="*/ 3092334 h 3682908"/>
                  <a:gd name="connsiteX128" fmla="*/ 1516495 w 3862373"/>
                  <a:gd name="connsiteY128" fmla="*/ 3092334 h 3682908"/>
                  <a:gd name="connsiteX129" fmla="*/ 1555583 w 3862373"/>
                  <a:gd name="connsiteY129" fmla="*/ 3131421 h 3682908"/>
                  <a:gd name="connsiteX130" fmla="*/ 1516495 w 3862373"/>
                  <a:gd name="connsiteY130" fmla="*/ 3170508 h 3682908"/>
                  <a:gd name="connsiteX131" fmla="*/ 1477407 w 3862373"/>
                  <a:gd name="connsiteY131" fmla="*/ 3131421 h 3682908"/>
                  <a:gd name="connsiteX132" fmla="*/ 1516495 w 3862373"/>
                  <a:gd name="connsiteY132" fmla="*/ 3092334 h 3682908"/>
                  <a:gd name="connsiteX133" fmla="*/ 1329581 w 3862373"/>
                  <a:gd name="connsiteY133" fmla="*/ 3092334 h 3682908"/>
                  <a:gd name="connsiteX134" fmla="*/ 1368669 w 3862373"/>
                  <a:gd name="connsiteY134" fmla="*/ 3131421 h 3682908"/>
                  <a:gd name="connsiteX135" fmla="*/ 1329581 w 3862373"/>
                  <a:gd name="connsiteY135" fmla="*/ 3170508 h 3682908"/>
                  <a:gd name="connsiteX136" fmla="*/ 1290494 w 3862373"/>
                  <a:gd name="connsiteY136" fmla="*/ 3131421 h 3682908"/>
                  <a:gd name="connsiteX137" fmla="*/ 1329581 w 3862373"/>
                  <a:gd name="connsiteY137" fmla="*/ 3092334 h 3682908"/>
                  <a:gd name="connsiteX138" fmla="*/ 1142668 w 3862373"/>
                  <a:gd name="connsiteY138" fmla="*/ 3092334 h 3682908"/>
                  <a:gd name="connsiteX139" fmla="*/ 1181756 w 3862373"/>
                  <a:gd name="connsiteY139" fmla="*/ 3131421 h 3682908"/>
                  <a:gd name="connsiteX140" fmla="*/ 1142668 w 3862373"/>
                  <a:gd name="connsiteY140" fmla="*/ 3170508 h 3682908"/>
                  <a:gd name="connsiteX141" fmla="*/ 1103581 w 3862373"/>
                  <a:gd name="connsiteY141" fmla="*/ 3131421 h 3682908"/>
                  <a:gd name="connsiteX142" fmla="*/ 1142668 w 3862373"/>
                  <a:gd name="connsiteY142" fmla="*/ 3092334 h 3682908"/>
                  <a:gd name="connsiteX143" fmla="*/ 2924263 w 3862373"/>
                  <a:gd name="connsiteY143" fmla="*/ 3092334 h 3682908"/>
                  <a:gd name="connsiteX144" fmla="*/ 2963349 w 3862373"/>
                  <a:gd name="connsiteY144" fmla="*/ 3131421 h 3682908"/>
                  <a:gd name="connsiteX145" fmla="*/ 2924263 w 3862373"/>
                  <a:gd name="connsiteY145" fmla="*/ 3170508 h 3682908"/>
                  <a:gd name="connsiteX146" fmla="*/ 2885175 w 3862373"/>
                  <a:gd name="connsiteY146" fmla="*/ 3131421 h 3682908"/>
                  <a:gd name="connsiteX147" fmla="*/ 2924263 w 3862373"/>
                  <a:gd name="connsiteY147" fmla="*/ 3092334 h 3682908"/>
                  <a:gd name="connsiteX148" fmla="*/ 1419490 w 3862373"/>
                  <a:gd name="connsiteY148" fmla="*/ 3092334 h 3682908"/>
                  <a:gd name="connsiteX149" fmla="*/ 1458576 w 3862373"/>
                  <a:gd name="connsiteY149" fmla="*/ 3131421 h 3682908"/>
                  <a:gd name="connsiteX150" fmla="*/ 1419490 w 3862373"/>
                  <a:gd name="connsiteY150" fmla="*/ 3170508 h 3682908"/>
                  <a:gd name="connsiteX151" fmla="*/ 1380402 w 3862373"/>
                  <a:gd name="connsiteY151" fmla="*/ 3131421 h 3682908"/>
                  <a:gd name="connsiteX152" fmla="*/ 1419490 w 3862373"/>
                  <a:gd name="connsiteY152" fmla="*/ 3092334 h 3682908"/>
                  <a:gd name="connsiteX153" fmla="*/ 1232576 w 3862373"/>
                  <a:gd name="connsiteY153" fmla="*/ 3092334 h 3682908"/>
                  <a:gd name="connsiteX154" fmla="*/ 1271664 w 3862373"/>
                  <a:gd name="connsiteY154" fmla="*/ 3131421 h 3682908"/>
                  <a:gd name="connsiteX155" fmla="*/ 1232576 w 3862373"/>
                  <a:gd name="connsiteY155" fmla="*/ 3170508 h 3682908"/>
                  <a:gd name="connsiteX156" fmla="*/ 1193489 w 3862373"/>
                  <a:gd name="connsiteY156" fmla="*/ 3131421 h 3682908"/>
                  <a:gd name="connsiteX157" fmla="*/ 1232576 w 3862373"/>
                  <a:gd name="connsiteY157" fmla="*/ 3092334 h 3682908"/>
                  <a:gd name="connsiteX158" fmla="*/ 3205817 w 3862373"/>
                  <a:gd name="connsiteY158" fmla="*/ 3007157 h 3682908"/>
                  <a:gd name="connsiteX159" fmla="*/ 3244904 w 3862373"/>
                  <a:gd name="connsiteY159" fmla="*/ 3046245 h 3682908"/>
                  <a:gd name="connsiteX160" fmla="*/ 3205817 w 3862373"/>
                  <a:gd name="connsiteY160" fmla="*/ 3085332 h 3682908"/>
                  <a:gd name="connsiteX161" fmla="*/ 3166729 w 3862373"/>
                  <a:gd name="connsiteY161" fmla="*/ 3046245 h 3682908"/>
                  <a:gd name="connsiteX162" fmla="*/ 3205817 w 3862373"/>
                  <a:gd name="connsiteY162" fmla="*/ 3007157 h 3682908"/>
                  <a:gd name="connsiteX163" fmla="*/ 3111177 w 3862373"/>
                  <a:gd name="connsiteY163" fmla="*/ 3007157 h 3682908"/>
                  <a:gd name="connsiteX164" fmla="*/ 3150264 w 3862373"/>
                  <a:gd name="connsiteY164" fmla="*/ 3046245 h 3682908"/>
                  <a:gd name="connsiteX165" fmla="*/ 3111177 w 3862373"/>
                  <a:gd name="connsiteY165" fmla="*/ 3085332 h 3682908"/>
                  <a:gd name="connsiteX166" fmla="*/ 3072089 w 3862373"/>
                  <a:gd name="connsiteY166" fmla="*/ 3046245 h 3682908"/>
                  <a:gd name="connsiteX167" fmla="*/ 3111177 w 3862373"/>
                  <a:gd name="connsiteY167" fmla="*/ 3007157 h 3682908"/>
                  <a:gd name="connsiteX168" fmla="*/ 3018903 w 3862373"/>
                  <a:gd name="connsiteY168" fmla="*/ 3007157 h 3682908"/>
                  <a:gd name="connsiteX169" fmla="*/ 3057989 w 3862373"/>
                  <a:gd name="connsiteY169" fmla="*/ 3046245 h 3682908"/>
                  <a:gd name="connsiteX170" fmla="*/ 3018903 w 3862373"/>
                  <a:gd name="connsiteY170" fmla="*/ 3085332 h 3682908"/>
                  <a:gd name="connsiteX171" fmla="*/ 2979815 w 3862373"/>
                  <a:gd name="connsiteY171" fmla="*/ 3046245 h 3682908"/>
                  <a:gd name="connsiteX172" fmla="*/ 3018903 w 3862373"/>
                  <a:gd name="connsiteY172" fmla="*/ 3007157 h 3682908"/>
                  <a:gd name="connsiteX173" fmla="*/ 2924263 w 3862373"/>
                  <a:gd name="connsiteY173" fmla="*/ 3007157 h 3682908"/>
                  <a:gd name="connsiteX174" fmla="*/ 2963349 w 3862373"/>
                  <a:gd name="connsiteY174" fmla="*/ 3046245 h 3682908"/>
                  <a:gd name="connsiteX175" fmla="*/ 2924263 w 3862373"/>
                  <a:gd name="connsiteY175" fmla="*/ 3085332 h 3682908"/>
                  <a:gd name="connsiteX176" fmla="*/ 2885175 w 3862373"/>
                  <a:gd name="connsiteY176" fmla="*/ 3046245 h 3682908"/>
                  <a:gd name="connsiteX177" fmla="*/ 2924263 w 3862373"/>
                  <a:gd name="connsiteY177" fmla="*/ 3007157 h 3682908"/>
                  <a:gd name="connsiteX178" fmla="*/ 2831988 w 3862373"/>
                  <a:gd name="connsiteY178" fmla="*/ 3007157 h 3682908"/>
                  <a:gd name="connsiteX179" fmla="*/ 2871075 w 3862373"/>
                  <a:gd name="connsiteY179" fmla="*/ 3046245 h 3682908"/>
                  <a:gd name="connsiteX180" fmla="*/ 2831988 w 3862373"/>
                  <a:gd name="connsiteY180" fmla="*/ 3085332 h 3682908"/>
                  <a:gd name="connsiteX181" fmla="*/ 2792901 w 3862373"/>
                  <a:gd name="connsiteY181" fmla="*/ 3046245 h 3682908"/>
                  <a:gd name="connsiteX182" fmla="*/ 2831988 w 3862373"/>
                  <a:gd name="connsiteY182" fmla="*/ 3007157 h 3682908"/>
                  <a:gd name="connsiteX183" fmla="*/ 1611133 w 3862373"/>
                  <a:gd name="connsiteY183" fmla="*/ 3007157 h 3682908"/>
                  <a:gd name="connsiteX184" fmla="*/ 1650221 w 3862373"/>
                  <a:gd name="connsiteY184" fmla="*/ 3046245 h 3682908"/>
                  <a:gd name="connsiteX185" fmla="*/ 1611133 w 3862373"/>
                  <a:gd name="connsiteY185" fmla="*/ 3085332 h 3682908"/>
                  <a:gd name="connsiteX186" fmla="*/ 1572051 w 3862373"/>
                  <a:gd name="connsiteY186" fmla="*/ 3046245 h 3682908"/>
                  <a:gd name="connsiteX187" fmla="*/ 1611133 w 3862373"/>
                  <a:gd name="connsiteY187" fmla="*/ 3007157 h 3682908"/>
                  <a:gd name="connsiteX188" fmla="*/ 1516497 w 3862373"/>
                  <a:gd name="connsiteY188" fmla="*/ 3007157 h 3682908"/>
                  <a:gd name="connsiteX189" fmla="*/ 1555584 w 3862373"/>
                  <a:gd name="connsiteY189" fmla="*/ 3046245 h 3682908"/>
                  <a:gd name="connsiteX190" fmla="*/ 1516497 w 3862373"/>
                  <a:gd name="connsiteY190" fmla="*/ 3085332 h 3682908"/>
                  <a:gd name="connsiteX191" fmla="*/ 1477409 w 3862373"/>
                  <a:gd name="connsiteY191" fmla="*/ 3046245 h 3682908"/>
                  <a:gd name="connsiteX192" fmla="*/ 1516497 w 3862373"/>
                  <a:gd name="connsiteY192" fmla="*/ 3007157 h 3682908"/>
                  <a:gd name="connsiteX193" fmla="*/ 1419492 w 3862373"/>
                  <a:gd name="connsiteY193" fmla="*/ 3007157 h 3682908"/>
                  <a:gd name="connsiteX194" fmla="*/ 1458579 w 3862373"/>
                  <a:gd name="connsiteY194" fmla="*/ 3046245 h 3682908"/>
                  <a:gd name="connsiteX195" fmla="*/ 1419492 w 3862373"/>
                  <a:gd name="connsiteY195" fmla="*/ 3085332 h 3682908"/>
                  <a:gd name="connsiteX196" fmla="*/ 1380404 w 3862373"/>
                  <a:gd name="connsiteY196" fmla="*/ 3046245 h 3682908"/>
                  <a:gd name="connsiteX197" fmla="*/ 1419492 w 3862373"/>
                  <a:gd name="connsiteY197" fmla="*/ 3007157 h 3682908"/>
                  <a:gd name="connsiteX198" fmla="*/ 1329583 w 3862373"/>
                  <a:gd name="connsiteY198" fmla="*/ 3007157 h 3682908"/>
                  <a:gd name="connsiteX199" fmla="*/ 1368670 w 3862373"/>
                  <a:gd name="connsiteY199" fmla="*/ 3046245 h 3682908"/>
                  <a:gd name="connsiteX200" fmla="*/ 1329583 w 3862373"/>
                  <a:gd name="connsiteY200" fmla="*/ 3085332 h 3682908"/>
                  <a:gd name="connsiteX201" fmla="*/ 1290496 w 3862373"/>
                  <a:gd name="connsiteY201" fmla="*/ 3046245 h 3682908"/>
                  <a:gd name="connsiteX202" fmla="*/ 1329583 w 3862373"/>
                  <a:gd name="connsiteY202" fmla="*/ 3007157 h 3682908"/>
                  <a:gd name="connsiteX203" fmla="*/ 1232579 w 3862373"/>
                  <a:gd name="connsiteY203" fmla="*/ 3007157 h 3682908"/>
                  <a:gd name="connsiteX204" fmla="*/ 1271666 w 3862373"/>
                  <a:gd name="connsiteY204" fmla="*/ 3046245 h 3682908"/>
                  <a:gd name="connsiteX205" fmla="*/ 1232579 w 3862373"/>
                  <a:gd name="connsiteY205" fmla="*/ 3085332 h 3682908"/>
                  <a:gd name="connsiteX206" fmla="*/ 1193493 w 3862373"/>
                  <a:gd name="connsiteY206" fmla="*/ 3046245 h 3682908"/>
                  <a:gd name="connsiteX207" fmla="*/ 1232579 w 3862373"/>
                  <a:gd name="connsiteY207" fmla="*/ 3007157 h 3682908"/>
                  <a:gd name="connsiteX208" fmla="*/ 1142670 w 3862373"/>
                  <a:gd name="connsiteY208" fmla="*/ 3007157 h 3682908"/>
                  <a:gd name="connsiteX209" fmla="*/ 1181758 w 3862373"/>
                  <a:gd name="connsiteY209" fmla="*/ 3046245 h 3682908"/>
                  <a:gd name="connsiteX210" fmla="*/ 1142670 w 3862373"/>
                  <a:gd name="connsiteY210" fmla="*/ 3085332 h 3682908"/>
                  <a:gd name="connsiteX211" fmla="*/ 1103582 w 3862373"/>
                  <a:gd name="connsiteY211" fmla="*/ 3046245 h 3682908"/>
                  <a:gd name="connsiteX212" fmla="*/ 1142670 w 3862373"/>
                  <a:gd name="connsiteY212" fmla="*/ 3007157 h 3682908"/>
                  <a:gd name="connsiteX213" fmla="*/ 3111177 w 3862373"/>
                  <a:gd name="connsiteY213" fmla="*/ 2919617 h 3682908"/>
                  <a:gd name="connsiteX214" fmla="*/ 3150264 w 3862373"/>
                  <a:gd name="connsiteY214" fmla="*/ 2958704 h 3682908"/>
                  <a:gd name="connsiteX215" fmla="*/ 3111177 w 3862373"/>
                  <a:gd name="connsiteY215" fmla="*/ 2997791 h 3682908"/>
                  <a:gd name="connsiteX216" fmla="*/ 3072089 w 3862373"/>
                  <a:gd name="connsiteY216" fmla="*/ 2958704 h 3682908"/>
                  <a:gd name="connsiteX217" fmla="*/ 3111177 w 3862373"/>
                  <a:gd name="connsiteY217" fmla="*/ 2919617 h 3682908"/>
                  <a:gd name="connsiteX218" fmla="*/ 3018902 w 3862373"/>
                  <a:gd name="connsiteY218" fmla="*/ 2919617 h 3682908"/>
                  <a:gd name="connsiteX219" fmla="*/ 3057989 w 3862373"/>
                  <a:gd name="connsiteY219" fmla="*/ 2958704 h 3682908"/>
                  <a:gd name="connsiteX220" fmla="*/ 3018902 w 3862373"/>
                  <a:gd name="connsiteY220" fmla="*/ 2997791 h 3682908"/>
                  <a:gd name="connsiteX221" fmla="*/ 2979815 w 3862373"/>
                  <a:gd name="connsiteY221" fmla="*/ 2958704 h 3682908"/>
                  <a:gd name="connsiteX222" fmla="*/ 3018902 w 3862373"/>
                  <a:gd name="connsiteY222" fmla="*/ 2919617 h 3682908"/>
                  <a:gd name="connsiteX223" fmla="*/ 2831988 w 3862373"/>
                  <a:gd name="connsiteY223" fmla="*/ 2919617 h 3682908"/>
                  <a:gd name="connsiteX224" fmla="*/ 2871075 w 3862373"/>
                  <a:gd name="connsiteY224" fmla="*/ 2958704 h 3682908"/>
                  <a:gd name="connsiteX225" fmla="*/ 2831988 w 3862373"/>
                  <a:gd name="connsiteY225" fmla="*/ 2997791 h 3682908"/>
                  <a:gd name="connsiteX226" fmla="*/ 2792901 w 3862373"/>
                  <a:gd name="connsiteY226" fmla="*/ 2958704 h 3682908"/>
                  <a:gd name="connsiteX227" fmla="*/ 2831988 w 3862373"/>
                  <a:gd name="connsiteY227" fmla="*/ 2919617 h 3682908"/>
                  <a:gd name="connsiteX228" fmla="*/ 1611133 w 3862373"/>
                  <a:gd name="connsiteY228" fmla="*/ 2919617 h 3682908"/>
                  <a:gd name="connsiteX229" fmla="*/ 1650221 w 3862373"/>
                  <a:gd name="connsiteY229" fmla="*/ 2958704 h 3682908"/>
                  <a:gd name="connsiteX230" fmla="*/ 1611133 w 3862373"/>
                  <a:gd name="connsiteY230" fmla="*/ 2997791 h 3682908"/>
                  <a:gd name="connsiteX231" fmla="*/ 1572053 w 3862373"/>
                  <a:gd name="connsiteY231" fmla="*/ 2958704 h 3682908"/>
                  <a:gd name="connsiteX232" fmla="*/ 1611133 w 3862373"/>
                  <a:gd name="connsiteY232" fmla="*/ 2919617 h 3682908"/>
                  <a:gd name="connsiteX233" fmla="*/ 1516498 w 3862373"/>
                  <a:gd name="connsiteY233" fmla="*/ 2919617 h 3682908"/>
                  <a:gd name="connsiteX234" fmla="*/ 1555586 w 3862373"/>
                  <a:gd name="connsiteY234" fmla="*/ 2958704 h 3682908"/>
                  <a:gd name="connsiteX235" fmla="*/ 1516498 w 3862373"/>
                  <a:gd name="connsiteY235" fmla="*/ 2997791 h 3682908"/>
                  <a:gd name="connsiteX236" fmla="*/ 1477411 w 3862373"/>
                  <a:gd name="connsiteY236" fmla="*/ 2958704 h 3682908"/>
                  <a:gd name="connsiteX237" fmla="*/ 1516498 w 3862373"/>
                  <a:gd name="connsiteY237" fmla="*/ 2919617 h 3682908"/>
                  <a:gd name="connsiteX238" fmla="*/ 1329585 w 3862373"/>
                  <a:gd name="connsiteY238" fmla="*/ 2919617 h 3682908"/>
                  <a:gd name="connsiteX239" fmla="*/ 1368672 w 3862373"/>
                  <a:gd name="connsiteY239" fmla="*/ 2958704 h 3682908"/>
                  <a:gd name="connsiteX240" fmla="*/ 1329585 w 3862373"/>
                  <a:gd name="connsiteY240" fmla="*/ 2997791 h 3682908"/>
                  <a:gd name="connsiteX241" fmla="*/ 1290499 w 3862373"/>
                  <a:gd name="connsiteY241" fmla="*/ 2958704 h 3682908"/>
                  <a:gd name="connsiteX242" fmla="*/ 1329585 w 3862373"/>
                  <a:gd name="connsiteY242" fmla="*/ 2919617 h 3682908"/>
                  <a:gd name="connsiteX243" fmla="*/ 3489737 w 3862373"/>
                  <a:gd name="connsiteY243" fmla="*/ 2919616 h 3682908"/>
                  <a:gd name="connsiteX244" fmla="*/ 3508003 w 3862373"/>
                  <a:gd name="connsiteY244" fmla="*/ 2927183 h 3682908"/>
                  <a:gd name="connsiteX245" fmla="*/ 3463371 w 3862373"/>
                  <a:gd name="connsiteY245" fmla="*/ 2986869 h 3682908"/>
                  <a:gd name="connsiteX246" fmla="*/ 3462097 w 3862373"/>
                  <a:gd name="connsiteY246" fmla="*/ 2986342 h 3682908"/>
                  <a:gd name="connsiteX247" fmla="*/ 3450649 w 3862373"/>
                  <a:gd name="connsiteY247" fmla="*/ 2958703 h 3682908"/>
                  <a:gd name="connsiteX248" fmla="*/ 3489737 w 3862373"/>
                  <a:gd name="connsiteY248" fmla="*/ 2919616 h 3682908"/>
                  <a:gd name="connsiteX249" fmla="*/ 3205817 w 3862373"/>
                  <a:gd name="connsiteY249" fmla="*/ 2919616 h 3682908"/>
                  <a:gd name="connsiteX250" fmla="*/ 3244904 w 3862373"/>
                  <a:gd name="connsiteY250" fmla="*/ 2958703 h 3682908"/>
                  <a:gd name="connsiteX251" fmla="*/ 3205817 w 3862373"/>
                  <a:gd name="connsiteY251" fmla="*/ 2997790 h 3682908"/>
                  <a:gd name="connsiteX252" fmla="*/ 3166729 w 3862373"/>
                  <a:gd name="connsiteY252" fmla="*/ 2958703 h 3682908"/>
                  <a:gd name="connsiteX253" fmla="*/ 3205817 w 3862373"/>
                  <a:gd name="connsiteY253" fmla="*/ 2919616 h 3682908"/>
                  <a:gd name="connsiteX254" fmla="*/ 2924263 w 3862373"/>
                  <a:gd name="connsiteY254" fmla="*/ 2919616 h 3682908"/>
                  <a:gd name="connsiteX255" fmla="*/ 2963349 w 3862373"/>
                  <a:gd name="connsiteY255" fmla="*/ 2958703 h 3682908"/>
                  <a:gd name="connsiteX256" fmla="*/ 2924263 w 3862373"/>
                  <a:gd name="connsiteY256" fmla="*/ 2997790 h 3682908"/>
                  <a:gd name="connsiteX257" fmla="*/ 2885175 w 3862373"/>
                  <a:gd name="connsiteY257" fmla="*/ 2958703 h 3682908"/>
                  <a:gd name="connsiteX258" fmla="*/ 2924263 w 3862373"/>
                  <a:gd name="connsiteY258" fmla="*/ 2919616 h 3682908"/>
                  <a:gd name="connsiteX259" fmla="*/ 1703408 w 3862373"/>
                  <a:gd name="connsiteY259" fmla="*/ 2919616 h 3682908"/>
                  <a:gd name="connsiteX260" fmla="*/ 1742495 w 3862373"/>
                  <a:gd name="connsiteY260" fmla="*/ 2958703 h 3682908"/>
                  <a:gd name="connsiteX261" fmla="*/ 1703408 w 3862373"/>
                  <a:gd name="connsiteY261" fmla="*/ 2997790 h 3682908"/>
                  <a:gd name="connsiteX262" fmla="*/ 1664321 w 3862373"/>
                  <a:gd name="connsiteY262" fmla="*/ 2958703 h 3682908"/>
                  <a:gd name="connsiteX263" fmla="*/ 1703408 w 3862373"/>
                  <a:gd name="connsiteY263" fmla="*/ 2919616 h 3682908"/>
                  <a:gd name="connsiteX264" fmla="*/ 1419494 w 3862373"/>
                  <a:gd name="connsiteY264" fmla="*/ 2919616 h 3682908"/>
                  <a:gd name="connsiteX265" fmla="*/ 1458581 w 3862373"/>
                  <a:gd name="connsiteY265" fmla="*/ 2958703 h 3682908"/>
                  <a:gd name="connsiteX266" fmla="*/ 1419494 w 3862373"/>
                  <a:gd name="connsiteY266" fmla="*/ 2997790 h 3682908"/>
                  <a:gd name="connsiteX267" fmla="*/ 1380407 w 3862373"/>
                  <a:gd name="connsiteY267" fmla="*/ 2958703 h 3682908"/>
                  <a:gd name="connsiteX268" fmla="*/ 1419494 w 3862373"/>
                  <a:gd name="connsiteY268" fmla="*/ 2919616 h 3682908"/>
                  <a:gd name="connsiteX269" fmla="*/ 1232582 w 3862373"/>
                  <a:gd name="connsiteY269" fmla="*/ 2919616 h 3682908"/>
                  <a:gd name="connsiteX270" fmla="*/ 1271667 w 3862373"/>
                  <a:gd name="connsiteY270" fmla="*/ 2958703 h 3682908"/>
                  <a:gd name="connsiteX271" fmla="*/ 1232582 w 3862373"/>
                  <a:gd name="connsiteY271" fmla="*/ 2997790 h 3682908"/>
                  <a:gd name="connsiteX272" fmla="*/ 1193494 w 3862373"/>
                  <a:gd name="connsiteY272" fmla="*/ 2958703 h 3682908"/>
                  <a:gd name="connsiteX273" fmla="*/ 1232582 w 3862373"/>
                  <a:gd name="connsiteY273" fmla="*/ 2919616 h 3682908"/>
                  <a:gd name="connsiteX274" fmla="*/ 3489737 w 3862373"/>
                  <a:gd name="connsiteY274" fmla="*/ 2832075 h 3682908"/>
                  <a:gd name="connsiteX275" fmla="*/ 3528823 w 3862373"/>
                  <a:gd name="connsiteY275" fmla="*/ 2871162 h 3682908"/>
                  <a:gd name="connsiteX276" fmla="*/ 3489737 w 3862373"/>
                  <a:gd name="connsiteY276" fmla="*/ 2910249 h 3682908"/>
                  <a:gd name="connsiteX277" fmla="*/ 3450649 w 3862373"/>
                  <a:gd name="connsiteY277" fmla="*/ 2871162 h 3682908"/>
                  <a:gd name="connsiteX278" fmla="*/ 3489737 w 3862373"/>
                  <a:gd name="connsiteY278" fmla="*/ 2832075 h 3682908"/>
                  <a:gd name="connsiteX279" fmla="*/ 3300457 w 3862373"/>
                  <a:gd name="connsiteY279" fmla="*/ 2832075 h 3682908"/>
                  <a:gd name="connsiteX280" fmla="*/ 3339544 w 3862373"/>
                  <a:gd name="connsiteY280" fmla="*/ 2871162 h 3682908"/>
                  <a:gd name="connsiteX281" fmla="*/ 3300457 w 3862373"/>
                  <a:gd name="connsiteY281" fmla="*/ 2910249 h 3682908"/>
                  <a:gd name="connsiteX282" fmla="*/ 3261369 w 3862373"/>
                  <a:gd name="connsiteY282" fmla="*/ 2871162 h 3682908"/>
                  <a:gd name="connsiteX283" fmla="*/ 3300457 w 3862373"/>
                  <a:gd name="connsiteY283" fmla="*/ 2832075 h 3682908"/>
                  <a:gd name="connsiteX284" fmla="*/ 3205817 w 3862373"/>
                  <a:gd name="connsiteY284" fmla="*/ 2832075 h 3682908"/>
                  <a:gd name="connsiteX285" fmla="*/ 3244904 w 3862373"/>
                  <a:gd name="connsiteY285" fmla="*/ 2871162 h 3682908"/>
                  <a:gd name="connsiteX286" fmla="*/ 3205817 w 3862373"/>
                  <a:gd name="connsiteY286" fmla="*/ 2910249 h 3682908"/>
                  <a:gd name="connsiteX287" fmla="*/ 3166729 w 3862373"/>
                  <a:gd name="connsiteY287" fmla="*/ 2871162 h 3682908"/>
                  <a:gd name="connsiteX288" fmla="*/ 3205817 w 3862373"/>
                  <a:gd name="connsiteY288" fmla="*/ 2832075 h 3682908"/>
                  <a:gd name="connsiteX289" fmla="*/ 3111177 w 3862373"/>
                  <a:gd name="connsiteY289" fmla="*/ 2832075 h 3682908"/>
                  <a:gd name="connsiteX290" fmla="*/ 3150264 w 3862373"/>
                  <a:gd name="connsiteY290" fmla="*/ 2871162 h 3682908"/>
                  <a:gd name="connsiteX291" fmla="*/ 3111177 w 3862373"/>
                  <a:gd name="connsiteY291" fmla="*/ 2910249 h 3682908"/>
                  <a:gd name="connsiteX292" fmla="*/ 3072089 w 3862373"/>
                  <a:gd name="connsiteY292" fmla="*/ 2871162 h 3682908"/>
                  <a:gd name="connsiteX293" fmla="*/ 3111177 w 3862373"/>
                  <a:gd name="connsiteY293" fmla="*/ 2832075 h 3682908"/>
                  <a:gd name="connsiteX294" fmla="*/ 3018902 w 3862373"/>
                  <a:gd name="connsiteY294" fmla="*/ 2832075 h 3682908"/>
                  <a:gd name="connsiteX295" fmla="*/ 3057989 w 3862373"/>
                  <a:gd name="connsiteY295" fmla="*/ 2871162 h 3682908"/>
                  <a:gd name="connsiteX296" fmla="*/ 3018902 w 3862373"/>
                  <a:gd name="connsiteY296" fmla="*/ 2910249 h 3682908"/>
                  <a:gd name="connsiteX297" fmla="*/ 2979815 w 3862373"/>
                  <a:gd name="connsiteY297" fmla="*/ 2871162 h 3682908"/>
                  <a:gd name="connsiteX298" fmla="*/ 3018902 w 3862373"/>
                  <a:gd name="connsiteY298" fmla="*/ 2832075 h 3682908"/>
                  <a:gd name="connsiteX299" fmla="*/ 2924263 w 3862373"/>
                  <a:gd name="connsiteY299" fmla="*/ 2832075 h 3682908"/>
                  <a:gd name="connsiteX300" fmla="*/ 2963349 w 3862373"/>
                  <a:gd name="connsiteY300" fmla="*/ 2871162 h 3682908"/>
                  <a:gd name="connsiteX301" fmla="*/ 2924263 w 3862373"/>
                  <a:gd name="connsiteY301" fmla="*/ 2910249 h 3682908"/>
                  <a:gd name="connsiteX302" fmla="*/ 2885175 w 3862373"/>
                  <a:gd name="connsiteY302" fmla="*/ 2871162 h 3682908"/>
                  <a:gd name="connsiteX303" fmla="*/ 2924263 w 3862373"/>
                  <a:gd name="connsiteY303" fmla="*/ 2832075 h 3682908"/>
                  <a:gd name="connsiteX304" fmla="*/ 2831988 w 3862373"/>
                  <a:gd name="connsiteY304" fmla="*/ 2832075 h 3682908"/>
                  <a:gd name="connsiteX305" fmla="*/ 2871075 w 3862373"/>
                  <a:gd name="connsiteY305" fmla="*/ 2871162 h 3682908"/>
                  <a:gd name="connsiteX306" fmla="*/ 2831988 w 3862373"/>
                  <a:gd name="connsiteY306" fmla="*/ 2910249 h 3682908"/>
                  <a:gd name="connsiteX307" fmla="*/ 2792901 w 3862373"/>
                  <a:gd name="connsiteY307" fmla="*/ 2871162 h 3682908"/>
                  <a:gd name="connsiteX308" fmla="*/ 2831988 w 3862373"/>
                  <a:gd name="connsiteY308" fmla="*/ 2832075 h 3682908"/>
                  <a:gd name="connsiteX309" fmla="*/ 1703409 w 3862373"/>
                  <a:gd name="connsiteY309" fmla="*/ 2832075 h 3682908"/>
                  <a:gd name="connsiteX310" fmla="*/ 1742495 w 3862373"/>
                  <a:gd name="connsiteY310" fmla="*/ 2871162 h 3682908"/>
                  <a:gd name="connsiteX311" fmla="*/ 1703409 w 3862373"/>
                  <a:gd name="connsiteY311" fmla="*/ 2910249 h 3682908"/>
                  <a:gd name="connsiteX312" fmla="*/ 1664321 w 3862373"/>
                  <a:gd name="connsiteY312" fmla="*/ 2871162 h 3682908"/>
                  <a:gd name="connsiteX313" fmla="*/ 1703409 w 3862373"/>
                  <a:gd name="connsiteY313" fmla="*/ 2832075 h 3682908"/>
                  <a:gd name="connsiteX314" fmla="*/ 1611133 w 3862373"/>
                  <a:gd name="connsiteY314" fmla="*/ 2832075 h 3682908"/>
                  <a:gd name="connsiteX315" fmla="*/ 1650221 w 3862373"/>
                  <a:gd name="connsiteY315" fmla="*/ 2871162 h 3682908"/>
                  <a:gd name="connsiteX316" fmla="*/ 1611133 w 3862373"/>
                  <a:gd name="connsiteY316" fmla="*/ 2910249 h 3682908"/>
                  <a:gd name="connsiteX317" fmla="*/ 1572054 w 3862373"/>
                  <a:gd name="connsiteY317" fmla="*/ 2871162 h 3682908"/>
                  <a:gd name="connsiteX318" fmla="*/ 1611133 w 3862373"/>
                  <a:gd name="connsiteY318" fmla="*/ 2832075 h 3682908"/>
                  <a:gd name="connsiteX319" fmla="*/ 1516501 w 3862373"/>
                  <a:gd name="connsiteY319" fmla="*/ 2832075 h 3682908"/>
                  <a:gd name="connsiteX320" fmla="*/ 1555588 w 3862373"/>
                  <a:gd name="connsiteY320" fmla="*/ 2871162 h 3682908"/>
                  <a:gd name="connsiteX321" fmla="*/ 1516501 w 3862373"/>
                  <a:gd name="connsiteY321" fmla="*/ 2910249 h 3682908"/>
                  <a:gd name="connsiteX322" fmla="*/ 1477413 w 3862373"/>
                  <a:gd name="connsiteY322" fmla="*/ 2871162 h 3682908"/>
                  <a:gd name="connsiteX323" fmla="*/ 1516501 w 3862373"/>
                  <a:gd name="connsiteY323" fmla="*/ 2832075 h 3682908"/>
                  <a:gd name="connsiteX324" fmla="*/ 1419496 w 3862373"/>
                  <a:gd name="connsiteY324" fmla="*/ 2832075 h 3682908"/>
                  <a:gd name="connsiteX325" fmla="*/ 1458583 w 3862373"/>
                  <a:gd name="connsiteY325" fmla="*/ 2871162 h 3682908"/>
                  <a:gd name="connsiteX326" fmla="*/ 1419496 w 3862373"/>
                  <a:gd name="connsiteY326" fmla="*/ 2910249 h 3682908"/>
                  <a:gd name="connsiteX327" fmla="*/ 1380408 w 3862373"/>
                  <a:gd name="connsiteY327" fmla="*/ 2871162 h 3682908"/>
                  <a:gd name="connsiteX328" fmla="*/ 1419496 w 3862373"/>
                  <a:gd name="connsiteY328" fmla="*/ 2832075 h 3682908"/>
                  <a:gd name="connsiteX329" fmla="*/ 1329587 w 3862373"/>
                  <a:gd name="connsiteY329" fmla="*/ 2832075 h 3682908"/>
                  <a:gd name="connsiteX330" fmla="*/ 1368674 w 3862373"/>
                  <a:gd name="connsiteY330" fmla="*/ 2871162 h 3682908"/>
                  <a:gd name="connsiteX331" fmla="*/ 1329587 w 3862373"/>
                  <a:gd name="connsiteY331" fmla="*/ 2910249 h 3682908"/>
                  <a:gd name="connsiteX332" fmla="*/ 1290500 w 3862373"/>
                  <a:gd name="connsiteY332" fmla="*/ 2871162 h 3682908"/>
                  <a:gd name="connsiteX333" fmla="*/ 1329587 w 3862373"/>
                  <a:gd name="connsiteY333" fmla="*/ 2832075 h 3682908"/>
                  <a:gd name="connsiteX334" fmla="*/ 1232583 w 3862373"/>
                  <a:gd name="connsiteY334" fmla="*/ 2832075 h 3682908"/>
                  <a:gd name="connsiteX335" fmla="*/ 1271669 w 3862373"/>
                  <a:gd name="connsiteY335" fmla="*/ 2871162 h 3682908"/>
                  <a:gd name="connsiteX336" fmla="*/ 1232583 w 3862373"/>
                  <a:gd name="connsiteY336" fmla="*/ 2910249 h 3682908"/>
                  <a:gd name="connsiteX337" fmla="*/ 1193496 w 3862373"/>
                  <a:gd name="connsiteY337" fmla="*/ 2871162 h 3682908"/>
                  <a:gd name="connsiteX338" fmla="*/ 1232583 w 3862373"/>
                  <a:gd name="connsiteY338" fmla="*/ 2832075 h 3682908"/>
                  <a:gd name="connsiteX339" fmla="*/ 3489737 w 3862373"/>
                  <a:gd name="connsiteY339" fmla="*/ 2742165 h 3682908"/>
                  <a:gd name="connsiteX340" fmla="*/ 3528823 w 3862373"/>
                  <a:gd name="connsiteY340" fmla="*/ 2781252 h 3682908"/>
                  <a:gd name="connsiteX341" fmla="*/ 3489737 w 3862373"/>
                  <a:gd name="connsiteY341" fmla="*/ 2820339 h 3682908"/>
                  <a:gd name="connsiteX342" fmla="*/ 3450649 w 3862373"/>
                  <a:gd name="connsiteY342" fmla="*/ 2781252 h 3682908"/>
                  <a:gd name="connsiteX343" fmla="*/ 3489737 w 3862373"/>
                  <a:gd name="connsiteY343" fmla="*/ 2742165 h 3682908"/>
                  <a:gd name="connsiteX344" fmla="*/ 3300457 w 3862373"/>
                  <a:gd name="connsiteY344" fmla="*/ 2664088 h 3682908"/>
                  <a:gd name="connsiteX345" fmla="*/ 3339544 w 3862373"/>
                  <a:gd name="connsiteY345" fmla="*/ 2703175 h 3682908"/>
                  <a:gd name="connsiteX346" fmla="*/ 3315671 w 3862373"/>
                  <a:gd name="connsiteY346" fmla="*/ 2739190 h 3682908"/>
                  <a:gd name="connsiteX347" fmla="*/ 3300696 w 3862373"/>
                  <a:gd name="connsiteY347" fmla="*/ 2742214 h 3682908"/>
                  <a:gd name="connsiteX348" fmla="*/ 3315671 w 3862373"/>
                  <a:gd name="connsiteY348" fmla="*/ 2745237 h 3682908"/>
                  <a:gd name="connsiteX349" fmla="*/ 3339544 w 3862373"/>
                  <a:gd name="connsiteY349" fmla="*/ 2781252 h 3682908"/>
                  <a:gd name="connsiteX350" fmla="*/ 3300457 w 3862373"/>
                  <a:gd name="connsiteY350" fmla="*/ 2820339 h 3682908"/>
                  <a:gd name="connsiteX351" fmla="*/ 3261369 w 3862373"/>
                  <a:gd name="connsiteY351" fmla="*/ 2781252 h 3682908"/>
                  <a:gd name="connsiteX352" fmla="*/ 3285242 w 3862373"/>
                  <a:gd name="connsiteY352" fmla="*/ 2745237 h 3682908"/>
                  <a:gd name="connsiteX353" fmla="*/ 3300217 w 3862373"/>
                  <a:gd name="connsiteY353" fmla="*/ 2742214 h 3682908"/>
                  <a:gd name="connsiteX354" fmla="*/ 3285242 w 3862373"/>
                  <a:gd name="connsiteY354" fmla="*/ 2739190 h 3682908"/>
                  <a:gd name="connsiteX355" fmla="*/ 3261369 w 3862373"/>
                  <a:gd name="connsiteY355" fmla="*/ 2703175 h 3682908"/>
                  <a:gd name="connsiteX356" fmla="*/ 3300457 w 3862373"/>
                  <a:gd name="connsiteY356" fmla="*/ 2664088 h 3682908"/>
                  <a:gd name="connsiteX357" fmla="*/ 3111177 w 3862373"/>
                  <a:gd name="connsiteY357" fmla="*/ 2664088 h 3682908"/>
                  <a:gd name="connsiteX358" fmla="*/ 3150264 w 3862373"/>
                  <a:gd name="connsiteY358" fmla="*/ 2703175 h 3682908"/>
                  <a:gd name="connsiteX359" fmla="*/ 3126391 w 3862373"/>
                  <a:gd name="connsiteY359" fmla="*/ 2739190 h 3682908"/>
                  <a:gd name="connsiteX360" fmla="*/ 3111417 w 3862373"/>
                  <a:gd name="connsiteY360" fmla="*/ 2742214 h 3682908"/>
                  <a:gd name="connsiteX361" fmla="*/ 3126391 w 3862373"/>
                  <a:gd name="connsiteY361" fmla="*/ 2745237 h 3682908"/>
                  <a:gd name="connsiteX362" fmla="*/ 3150264 w 3862373"/>
                  <a:gd name="connsiteY362" fmla="*/ 2781252 h 3682908"/>
                  <a:gd name="connsiteX363" fmla="*/ 3111177 w 3862373"/>
                  <a:gd name="connsiteY363" fmla="*/ 2820339 h 3682908"/>
                  <a:gd name="connsiteX364" fmla="*/ 3072089 w 3862373"/>
                  <a:gd name="connsiteY364" fmla="*/ 2781252 h 3682908"/>
                  <a:gd name="connsiteX365" fmla="*/ 3095962 w 3862373"/>
                  <a:gd name="connsiteY365" fmla="*/ 2745237 h 3682908"/>
                  <a:gd name="connsiteX366" fmla="*/ 3110937 w 3862373"/>
                  <a:gd name="connsiteY366" fmla="*/ 2742214 h 3682908"/>
                  <a:gd name="connsiteX367" fmla="*/ 3095962 w 3862373"/>
                  <a:gd name="connsiteY367" fmla="*/ 2739190 h 3682908"/>
                  <a:gd name="connsiteX368" fmla="*/ 3072089 w 3862373"/>
                  <a:gd name="connsiteY368" fmla="*/ 2703175 h 3682908"/>
                  <a:gd name="connsiteX369" fmla="*/ 3111177 w 3862373"/>
                  <a:gd name="connsiteY369" fmla="*/ 2664088 h 3682908"/>
                  <a:gd name="connsiteX370" fmla="*/ 3018902 w 3862373"/>
                  <a:gd name="connsiteY370" fmla="*/ 2664088 h 3682908"/>
                  <a:gd name="connsiteX371" fmla="*/ 3057989 w 3862373"/>
                  <a:gd name="connsiteY371" fmla="*/ 2703175 h 3682908"/>
                  <a:gd name="connsiteX372" fmla="*/ 3034117 w 3862373"/>
                  <a:gd name="connsiteY372" fmla="*/ 2739190 h 3682908"/>
                  <a:gd name="connsiteX373" fmla="*/ 3019142 w 3862373"/>
                  <a:gd name="connsiteY373" fmla="*/ 2742214 h 3682908"/>
                  <a:gd name="connsiteX374" fmla="*/ 3034117 w 3862373"/>
                  <a:gd name="connsiteY374" fmla="*/ 2745237 h 3682908"/>
                  <a:gd name="connsiteX375" fmla="*/ 3057989 w 3862373"/>
                  <a:gd name="connsiteY375" fmla="*/ 2781252 h 3682908"/>
                  <a:gd name="connsiteX376" fmla="*/ 3018902 w 3862373"/>
                  <a:gd name="connsiteY376" fmla="*/ 2820339 h 3682908"/>
                  <a:gd name="connsiteX377" fmla="*/ 2979815 w 3862373"/>
                  <a:gd name="connsiteY377" fmla="*/ 2781252 h 3682908"/>
                  <a:gd name="connsiteX378" fmla="*/ 3003687 w 3862373"/>
                  <a:gd name="connsiteY378" fmla="*/ 2745237 h 3682908"/>
                  <a:gd name="connsiteX379" fmla="*/ 3018663 w 3862373"/>
                  <a:gd name="connsiteY379" fmla="*/ 2742214 h 3682908"/>
                  <a:gd name="connsiteX380" fmla="*/ 3003687 w 3862373"/>
                  <a:gd name="connsiteY380" fmla="*/ 2739190 h 3682908"/>
                  <a:gd name="connsiteX381" fmla="*/ 2979815 w 3862373"/>
                  <a:gd name="connsiteY381" fmla="*/ 2703175 h 3682908"/>
                  <a:gd name="connsiteX382" fmla="*/ 3018902 w 3862373"/>
                  <a:gd name="connsiteY382" fmla="*/ 2664088 h 3682908"/>
                  <a:gd name="connsiteX383" fmla="*/ 2831988 w 3862373"/>
                  <a:gd name="connsiteY383" fmla="*/ 2664088 h 3682908"/>
                  <a:gd name="connsiteX384" fmla="*/ 2871075 w 3862373"/>
                  <a:gd name="connsiteY384" fmla="*/ 2703175 h 3682908"/>
                  <a:gd name="connsiteX385" fmla="*/ 2847202 w 3862373"/>
                  <a:gd name="connsiteY385" fmla="*/ 2739190 h 3682908"/>
                  <a:gd name="connsiteX386" fmla="*/ 2832228 w 3862373"/>
                  <a:gd name="connsiteY386" fmla="*/ 2742214 h 3682908"/>
                  <a:gd name="connsiteX387" fmla="*/ 2847202 w 3862373"/>
                  <a:gd name="connsiteY387" fmla="*/ 2745237 h 3682908"/>
                  <a:gd name="connsiteX388" fmla="*/ 2871075 w 3862373"/>
                  <a:gd name="connsiteY388" fmla="*/ 2781252 h 3682908"/>
                  <a:gd name="connsiteX389" fmla="*/ 2831988 w 3862373"/>
                  <a:gd name="connsiteY389" fmla="*/ 2820339 h 3682908"/>
                  <a:gd name="connsiteX390" fmla="*/ 2792901 w 3862373"/>
                  <a:gd name="connsiteY390" fmla="*/ 2781252 h 3682908"/>
                  <a:gd name="connsiteX391" fmla="*/ 2816773 w 3862373"/>
                  <a:gd name="connsiteY391" fmla="*/ 2745237 h 3682908"/>
                  <a:gd name="connsiteX392" fmla="*/ 2831748 w 3862373"/>
                  <a:gd name="connsiteY392" fmla="*/ 2742214 h 3682908"/>
                  <a:gd name="connsiteX393" fmla="*/ 2816773 w 3862373"/>
                  <a:gd name="connsiteY393" fmla="*/ 2739190 h 3682908"/>
                  <a:gd name="connsiteX394" fmla="*/ 2792901 w 3862373"/>
                  <a:gd name="connsiteY394" fmla="*/ 2703175 h 3682908"/>
                  <a:gd name="connsiteX395" fmla="*/ 2831988 w 3862373"/>
                  <a:gd name="connsiteY395" fmla="*/ 2664088 h 3682908"/>
                  <a:gd name="connsiteX396" fmla="*/ 1798047 w 3862373"/>
                  <a:gd name="connsiteY396" fmla="*/ 2664088 h 3682908"/>
                  <a:gd name="connsiteX397" fmla="*/ 1837135 w 3862373"/>
                  <a:gd name="connsiteY397" fmla="*/ 2703175 h 3682908"/>
                  <a:gd name="connsiteX398" fmla="*/ 1798047 w 3862373"/>
                  <a:gd name="connsiteY398" fmla="*/ 2742262 h 3682908"/>
                  <a:gd name="connsiteX399" fmla="*/ 1758959 w 3862373"/>
                  <a:gd name="connsiteY399" fmla="*/ 2703175 h 3682908"/>
                  <a:gd name="connsiteX400" fmla="*/ 1798047 w 3862373"/>
                  <a:gd name="connsiteY400" fmla="*/ 2664088 h 3682908"/>
                  <a:gd name="connsiteX401" fmla="*/ 1611133 w 3862373"/>
                  <a:gd name="connsiteY401" fmla="*/ 2664088 h 3682908"/>
                  <a:gd name="connsiteX402" fmla="*/ 1650221 w 3862373"/>
                  <a:gd name="connsiteY402" fmla="*/ 2703175 h 3682908"/>
                  <a:gd name="connsiteX403" fmla="*/ 1626349 w 3862373"/>
                  <a:gd name="connsiteY403" fmla="*/ 2739190 h 3682908"/>
                  <a:gd name="connsiteX404" fmla="*/ 1611371 w 3862373"/>
                  <a:gd name="connsiteY404" fmla="*/ 2742214 h 3682908"/>
                  <a:gd name="connsiteX405" fmla="*/ 1626347 w 3862373"/>
                  <a:gd name="connsiteY405" fmla="*/ 2745237 h 3682908"/>
                  <a:gd name="connsiteX406" fmla="*/ 1650221 w 3862373"/>
                  <a:gd name="connsiteY406" fmla="*/ 2781252 h 3682908"/>
                  <a:gd name="connsiteX407" fmla="*/ 1611133 w 3862373"/>
                  <a:gd name="connsiteY407" fmla="*/ 2820339 h 3682908"/>
                  <a:gd name="connsiteX408" fmla="*/ 1572057 w 3862373"/>
                  <a:gd name="connsiteY408" fmla="*/ 2781252 h 3682908"/>
                  <a:gd name="connsiteX409" fmla="*/ 1595929 w 3862373"/>
                  <a:gd name="connsiteY409" fmla="*/ 2745237 h 3682908"/>
                  <a:gd name="connsiteX410" fmla="*/ 1610892 w 3862373"/>
                  <a:gd name="connsiteY410" fmla="*/ 2742214 h 3682908"/>
                  <a:gd name="connsiteX411" fmla="*/ 1595930 w 3862373"/>
                  <a:gd name="connsiteY411" fmla="*/ 2739190 h 3682908"/>
                  <a:gd name="connsiteX412" fmla="*/ 1572058 w 3862373"/>
                  <a:gd name="connsiteY412" fmla="*/ 2703175 h 3682908"/>
                  <a:gd name="connsiteX413" fmla="*/ 1611133 w 3862373"/>
                  <a:gd name="connsiteY413" fmla="*/ 2664088 h 3682908"/>
                  <a:gd name="connsiteX414" fmla="*/ 1516504 w 3862373"/>
                  <a:gd name="connsiteY414" fmla="*/ 2664088 h 3682908"/>
                  <a:gd name="connsiteX415" fmla="*/ 1555592 w 3862373"/>
                  <a:gd name="connsiteY415" fmla="*/ 2703175 h 3682908"/>
                  <a:gd name="connsiteX416" fmla="*/ 1531719 w 3862373"/>
                  <a:gd name="connsiteY416" fmla="*/ 2739190 h 3682908"/>
                  <a:gd name="connsiteX417" fmla="*/ 1516743 w 3862373"/>
                  <a:gd name="connsiteY417" fmla="*/ 2742214 h 3682908"/>
                  <a:gd name="connsiteX418" fmla="*/ 1531717 w 3862373"/>
                  <a:gd name="connsiteY418" fmla="*/ 2745237 h 3682908"/>
                  <a:gd name="connsiteX419" fmla="*/ 1555589 w 3862373"/>
                  <a:gd name="connsiteY419" fmla="*/ 2781252 h 3682908"/>
                  <a:gd name="connsiteX420" fmla="*/ 1516503 w 3862373"/>
                  <a:gd name="connsiteY420" fmla="*/ 2820339 h 3682908"/>
                  <a:gd name="connsiteX421" fmla="*/ 1477414 w 3862373"/>
                  <a:gd name="connsiteY421" fmla="*/ 2781252 h 3682908"/>
                  <a:gd name="connsiteX422" fmla="*/ 1501288 w 3862373"/>
                  <a:gd name="connsiteY422" fmla="*/ 2745237 h 3682908"/>
                  <a:gd name="connsiteX423" fmla="*/ 1516264 w 3862373"/>
                  <a:gd name="connsiteY423" fmla="*/ 2742214 h 3682908"/>
                  <a:gd name="connsiteX424" fmla="*/ 1501289 w 3862373"/>
                  <a:gd name="connsiteY424" fmla="*/ 2739190 h 3682908"/>
                  <a:gd name="connsiteX425" fmla="*/ 1477416 w 3862373"/>
                  <a:gd name="connsiteY425" fmla="*/ 2703175 h 3682908"/>
                  <a:gd name="connsiteX426" fmla="*/ 1516504 w 3862373"/>
                  <a:gd name="connsiteY426" fmla="*/ 2664088 h 3682908"/>
                  <a:gd name="connsiteX427" fmla="*/ 1329588 w 3862373"/>
                  <a:gd name="connsiteY427" fmla="*/ 2664088 h 3682908"/>
                  <a:gd name="connsiteX428" fmla="*/ 1368676 w 3862373"/>
                  <a:gd name="connsiteY428" fmla="*/ 2703175 h 3682908"/>
                  <a:gd name="connsiteX429" fmla="*/ 1344802 w 3862373"/>
                  <a:gd name="connsiteY429" fmla="*/ 2739190 h 3682908"/>
                  <a:gd name="connsiteX430" fmla="*/ 1329828 w 3862373"/>
                  <a:gd name="connsiteY430" fmla="*/ 2742214 h 3682908"/>
                  <a:gd name="connsiteX431" fmla="*/ 1344802 w 3862373"/>
                  <a:gd name="connsiteY431" fmla="*/ 2745237 h 3682908"/>
                  <a:gd name="connsiteX432" fmla="*/ 1368676 w 3862373"/>
                  <a:gd name="connsiteY432" fmla="*/ 2781252 h 3682908"/>
                  <a:gd name="connsiteX433" fmla="*/ 1329588 w 3862373"/>
                  <a:gd name="connsiteY433" fmla="*/ 2820339 h 3682908"/>
                  <a:gd name="connsiteX434" fmla="*/ 1290502 w 3862373"/>
                  <a:gd name="connsiteY434" fmla="*/ 2781252 h 3682908"/>
                  <a:gd name="connsiteX435" fmla="*/ 1314375 w 3862373"/>
                  <a:gd name="connsiteY435" fmla="*/ 2745237 h 3682908"/>
                  <a:gd name="connsiteX436" fmla="*/ 1329349 w 3862373"/>
                  <a:gd name="connsiteY436" fmla="*/ 2742214 h 3682908"/>
                  <a:gd name="connsiteX437" fmla="*/ 1314375 w 3862373"/>
                  <a:gd name="connsiteY437" fmla="*/ 2739190 h 3682908"/>
                  <a:gd name="connsiteX438" fmla="*/ 1290503 w 3862373"/>
                  <a:gd name="connsiteY438" fmla="*/ 2703175 h 3682908"/>
                  <a:gd name="connsiteX439" fmla="*/ 1329588 w 3862373"/>
                  <a:gd name="connsiteY439" fmla="*/ 2664088 h 3682908"/>
                  <a:gd name="connsiteX440" fmla="*/ 1142676 w 3862373"/>
                  <a:gd name="connsiteY440" fmla="*/ 2664088 h 3682908"/>
                  <a:gd name="connsiteX441" fmla="*/ 1181763 w 3862373"/>
                  <a:gd name="connsiteY441" fmla="*/ 2703175 h 3682908"/>
                  <a:gd name="connsiteX442" fmla="*/ 1157890 w 3862373"/>
                  <a:gd name="connsiteY442" fmla="*/ 2739190 h 3682908"/>
                  <a:gd name="connsiteX443" fmla="*/ 1142916 w 3862373"/>
                  <a:gd name="connsiteY443" fmla="*/ 2742214 h 3682908"/>
                  <a:gd name="connsiteX444" fmla="*/ 1157891 w 3862373"/>
                  <a:gd name="connsiteY444" fmla="*/ 2745237 h 3682908"/>
                  <a:gd name="connsiteX445" fmla="*/ 1181764 w 3862373"/>
                  <a:gd name="connsiteY445" fmla="*/ 2781252 h 3682908"/>
                  <a:gd name="connsiteX446" fmla="*/ 1142676 w 3862373"/>
                  <a:gd name="connsiteY446" fmla="*/ 2820339 h 3682908"/>
                  <a:gd name="connsiteX447" fmla="*/ 1103587 w 3862373"/>
                  <a:gd name="connsiteY447" fmla="*/ 2781252 h 3682908"/>
                  <a:gd name="connsiteX448" fmla="*/ 1127461 w 3862373"/>
                  <a:gd name="connsiteY448" fmla="*/ 2745237 h 3682908"/>
                  <a:gd name="connsiteX449" fmla="*/ 1142436 w 3862373"/>
                  <a:gd name="connsiteY449" fmla="*/ 2742214 h 3682908"/>
                  <a:gd name="connsiteX450" fmla="*/ 1127460 w 3862373"/>
                  <a:gd name="connsiteY450" fmla="*/ 2739190 h 3682908"/>
                  <a:gd name="connsiteX451" fmla="*/ 1103585 w 3862373"/>
                  <a:gd name="connsiteY451" fmla="*/ 2703175 h 3682908"/>
                  <a:gd name="connsiteX452" fmla="*/ 1142676 w 3862373"/>
                  <a:gd name="connsiteY452" fmla="*/ 2664088 h 3682908"/>
                  <a:gd name="connsiteX453" fmla="*/ 3205817 w 3862373"/>
                  <a:gd name="connsiteY453" fmla="*/ 2664086 h 3682908"/>
                  <a:gd name="connsiteX454" fmla="*/ 3244904 w 3862373"/>
                  <a:gd name="connsiteY454" fmla="*/ 2703174 h 3682908"/>
                  <a:gd name="connsiteX455" fmla="*/ 3221031 w 3862373"/>
                  <a:gd name="connsiteY455" fmla="*/ 2739189 h 3682908"/>
                  <a:gd name="connsiteX456" fmla="*/ 3206053 w 3862373"/>
                  <a:gd name="connsiteY456" fmla="*/ 2742213 h 3682908"/>
                  <a:gd name="connsiteX457" fmla="*/ 3221031 w 3862373"/>
                  <a:gd name="connsiteY457" fmla="*/ 2745237 h 3682908"/>
                  <a:gd name="connsiteX458" fmla="*/ 3244904 w 3862373"/>
                  <a:gd name="connsiteY458" fmla="*/ 2781252 h 3682908"/>
                  <a:gd name="connsiteX459" fmla="*/ 3205817 w 3862373"/>
                  <a:gd name="connsiteY459" fmla="*/ 2820339 h 3682908"/>
                  <a:gd name="connsiteX460" fmla="*/ 3166729 w 3862373"/>
                  <a:gd name="connsiteY460" fmla="*/ 2781252 h 3682908"/>
                  <a:gd name="connsiteX461" fmla="*/ 3190602 w 3862373"/>
                  <a:gd name="connsiteY461" fmla="*/ 2745237 h 3682908"/>
                  <a:gd name="connsiteX462" fmla="*/ 3205580 w 3862373"/>
                  <a:gd name="connsiteY462" fmla="*/ 2742213 h 3682908"/>
                  <a:gd name="connsiteX463" fmla="*/ 3190602 w 3862373"/>
                  <a:gd name="connsiteY463" fmla="*/ 2739189 h 3682908"/>
                  <a:gd name="connsiteX464" fmla="*/ 3166729 w 3862373"/>
                  <a:gd name="connsiteY464" fmla="*/ 2703174 h 3682908"/>
                  <a:gd name="connsiteX465" fmla="*/ 3205817 w 3862373"/>
                  <a:gd name="connsiteY465" fmla="*/ 2664086 h 3682908"/>
                  <a:gd name="connsiteX466" fmla="*/ 2924263 w 3862373"/>
                  <a:gd name="connsiteY466" fmla="*/ 2664086 h 3682908"/>
                  <a:gd name="connsiteX467" fmla="*/ 2963349 w 3862373"/>
                  <a:gd name="connsiteY467" fmla="*/ 2703174 h 3682908"/>
                  <a:gd name="connsiteX468" fmla="*/ 2939477 w 3862373"/>
                  <a:gd name="connsiteY468" fmla="*/ 2739189 h 3682908"/>
                  <a:gd name="connsiteX469" fmla="*/ 2924499 w 3862373"/>
                  <a:gd name="connsiteY469" fmla="*/ 2742213 h 3682908"/>
                  <a:gd name="connsiteX470" fmla="*/ 2939477 w 3862373"/>
                  <a:gd name="connsiteY470" fmla="*/ 2745237 h 3682908"/>
                  <a:gd name="connsiteX471" fmla="*/ 2963349 w 3862373"/>
                  <a:gd name="connsiteY471" fmla="*/ 2781252 h 3682908"/>
                  <a:gd name="connsiteX472" fmla="*/ 2924263 w 3862373"/>
                  <a:gd name="connsiteY472" fmla="*/ 2820339 h 3682908"/>
                  <a:gd name="connsiteX473" fmla="*/ 2885175 w 3862373"/>
                  <a:gd name="connsiteY473" fmla="*/ 2781252 h 3682908"/>
                  <a:gd name="connsiteX474" fmla="*/ 2909048 w 3862373"/>
                  <a:gd name="connsiteY474" fmla="*/ 2745237 h 3682908"/>
                  <a:gd name="connsiteX475" fmla="*/ 2924026 w 3862373"/>
                  <a:gd name="connsiteY475" fmla="*/ 2742213 h 3682908"/>
                  <a:gd name="connsiteX476" fmla="*/ 2909048 w 3862373"/>
                  <a:gd name="connsiteY476" fmla="*/ 2739189 h 3682908"/>
                  <a:gd name="connsiteX477" fmla="*/ 2885175 w 3862373"/>
                  <a:gd name="connsiteY477" fmla="*/ 2703174 h 3682908"/>
                  <a:gd name="connsiteX478" fmla="*/ 2924263 w 3862373"/>
                  <a:gd name="connsiteY478" fmla="*/ 2664086 h 3682908"/>
                  <a:gd name="connsiteX479" fmla="*/ 1703410 w 3862373"/>
                  <a:gd name="connsiteY479" fmla="*/ 2664086 h 3682908"/>
                  <a:gd name="connsiteX480" fmla="*/ 1742497 w 3862373"/>
                  <a:gd name="connsiteY480" fmla="*/ 2703174 h 3682908"/>
                  <a:gd name="connsiteX481" fmla="*/ 1718624 w 3862373"/>
                  <a:gd name="connsiteY481" fmla="*/ 2739189 h 3682908"/>
                  <a:gd name="connsiteX482" fmla="*/ 1703646 w 3862373"/>
                  <a:gd name="connsiteY482" fmla="*/ 2742213 h 3682908"/>
                  <a:gd name="connsiteX483" fmla="*/ 1718624 w 3862373"/>
                  <a:gd name="connsiteY483" fmla="*/ 2745237 h 3682908"/>
                  <a:gd name="connsiteX484" fmla="*/ 1742495 w 3862373"/>
                  <a:gd name="connsiteY484" fmla="*/ 2781252 h 3682908"/>
                  <a:gd name="connsiteX485" fmla="*/ 1703409 w 3862373"/>
                  <a:gd name="connsiteY485" fmla="*/ 2820339 h 3682908"/>
                  <a:gd name="connsiteX486" fmla="*/ 1664323 w 3862373"/>
                  <a:gd name="connsiteY486" fmla="*/ 2781252 h 3682908"/>
                  <a:gd name="connsiteX487" fmla="*/ 1688193 w 3862373"/>
                  <a:gd name="connsiteY487" fmla="*/ 2745237 h 3682908"/>
                  <a:gd name="connsiteX488" fmla="*/ 1703173 w 3862373"/>
                  <a:gd name="connsiteY488" fmla="*/ 2742213 h 3682908"/>
                  <a:gd name="connsiteX489" fmla="*/ 1688194 w 3862373"/>
                  <a:gd name="connsiteY489" fmla="*/ 2739189 h 3682908"/>
                  <a:gd name="connsiteX490" fmla="*/ 1664323 w 3862373"/>
                  <a:gd name="connsiteY490" fmla="*/ 2703174 h 3682908"/>
                  <a:gd name="connsiteX491" fmla="*/ 1703410 w 3862373"/>
                  <a:gd name="connsiteY491" fmla="*/ 2664086 h 3682908"/>
                  <a:gd name="connsiteX492" fmla="*/ 1419499 w 3862373"/>
                  <a:gd name="connsiteY492" fmla="*/ 2664086 h 3682908"/>
                  <a:gd name="connsiteX493" fmla="*/ 1458586 w 3862373"/>
                  <a:gd name="connsiteY493" fmla="*/ 2703174 h 3682908"/>
                  <a:gd name="connsiteX494" fmla="*/ 1434713 w 3862373"/>
                  <a:gd name="connsiteY494" fmla="*/ 2739189 h 3682908"/>
                  <a:gd name="connsiteX495" fmla="*/ 1419735 w 3862373"/>
                  <a:gd name="connsiteY495" fmla="*/ 2742214 h 3682908"/>
                  <a:gd name="connsiteX496" fmla="*/ 1434712 w 3862373"/>
                  <a:gd name="connsiteY496" fmla="*/ 2745237 h 3682908"/>
                  <a:gd name="connsiteX497" fmla="*/ 1458584 w 3862373"/>
                  <a:gd name="connsiteY497" fmla="*/ 2781252 h 3682908"/>
                  <a:gd name="connsiteX498" fmla="*/ 1419497 w 3862373"/>
                  <a:gd name="connsiteY498" fmla="*/ 2820339 h 3682908"/>
                  <a:gd name="connsiteX499" fmla="*/ 1380409 w 3862373"/>
                  <a:gd name="connsiteY499" fmla="*/ 2781252 h 3682908"/>
                  <a:gd name="connsiteX500" fmla="*/ 1404282 w 3862373"/>
                  <a:gd name="connsiteY500" fmla="*/ 2745237 h 3682908"/>
                  <a:gd name="connsiteX501" fmla="*/ 1419262 w 3862373"/>
                  <a:gd name="connsiteY501" fmla="*/ 2742213 h 3682908"/>
                  <a:gd name="connsiteX502" fmla="*/ 1404283 w 3862373"/>
                  <a:gd name="connsiteY502" fmla="*/ 2739189 h 3682908"/>
                  <a:gd name="connsiteX503" fmla="*/ 1380411 w 3862373"/>
                  <a:gd name="connsiteY503" fmla="*/ 2703174 h 3682908"/>
                  <a:gd name="connsiteX504" fmla="*/ 1419499 w 3862373"/>
                  <a:gd name="connsiteY504" fmla="*/ 2664086 h 3682908"/>
                  <a:gd name="connsiteX505" fmla="*/ 1232585 w 3862373"/>
                  <a:gd name="connsiteY505" fmla="*/ 2664086 h 3682908"/>
                  <a:gd name="connsiteX506" fmla="*/ 1271670 w 3862373"/>
                  <a:gd name="connsiteY506" fmla="*/ 2703174 h 3682908"/>
                  <a:gd name="connsiteX507" fmla="*/ 1247799 w 3862373"/>
                  <a:gd name="connsiteY507" fmla="*/ 2739189 h 3682908"/>
                  <a:gd name="connsiteX508" fmla="*/ 1232822 w 3862373"/>
                  <a:gd name="connsiteY508" fmla="*/ 2742213 h 3682908"/>
                  <a:gd name="connsiteX509" fmla="*/ 1247798 w 3862373"/>
                  <a:gd name="connsiteY509" fmla="*/ 2745237 h 3682908"/>
                  <a:gd name="connsiteX510" fmla="*/ 1271670 w 3862373"/>
                  <a:gd name="connsiteY510" fmla="*/ 2781252 h 3682908"/>
                  <a:gd name="connsiteX511" fmla="*/ 1232585 w 3862373"/>
                  <a:gd name="connsiteY511" fmla="*/ 2820339 h 3682908"/>
                  <a:gd name="connsiteX512" fmla="*/ 1193499 w 3862373"/>
                  <a:gd name="connsiteY512" fmla="*/ 2781252 h 3682908"/>
                  <a:gd name="connsiteX513" fmla="*/ 1217369 w 3862373"/>
                  <a:gd name="connsiteY513" fmla="*/ 2745237 h 3682908"/>
                  <a:gd name="connsiteX514" fmla="*/ 1232349 w 3862373"/>
                  <a:gd name="connsiteY514" fmla="*/ 2742213 h 3682908"/>
                  <a:gd name="connsiteX515" fmla="*/ 1217369 w 3862373"/>
                  <a:gd name="connsiteY515" fmla="*/ 2739189 h 3682908"/>
                  <a:gd name="connsiteX516" fmla="*/ 1193499 w 3862373"/>
                  <a:gd name="connsiteY516" fmla="*/ 2703174 h 3682908"/>
                  <a:gd name="connsiteX517" fmla="*/ 1232585 w 3862373"/>
                  <a:gd name="connsiteY517" fmla="*/ 2664086 h 3682908"/>
                  <a:gd name="connsiteX518" fmla="*/ 1045666 w 3862373"/>
                  <a:gd name="connsiteY518" fmla="*/ 2664086 h 3682908"/>
                  <a:gd name="connsiteX519" fmla="*/ 1084754 w 3862373"/>
                  <a:gd name="connsiteY519" fmla="*/ 2703174 h 3682908"/>
                  <a:gd name="connsiteX520" fmla="*/ 1045666 w 3862373"/>
                  <a:gd name="connsiteY520" fmla="*/ 2742261 h 3682908"/>
                  <a:gd name="connsiteX521" fmla="*/ 1006580 w 3862373"/>
                  <a:gd name="connsiteY521" fmla="*/ 2703174 h 3682908"/>
                  <a:gd name="connsiteX522" fmla="*/ 1045666 w 3862373"/>
                  <a:gd name="connsiteY522" fmla="*/ 2664086 h 3682908"/>
                  <a:gd name="connsiteX523" fmla="*/ 3300455 w 3862373"/>
                  <a:gd name="connsiteY523" fmla="*/ 2578910 h 3682908"/>
                  <a:gd name="connsiteX524" fmla="*/ 3339543 w 3862373"/>
                  <a:gd name="connsiteY524" fmla="*/ 2617997 h 3682908"/>
                  <a:gd name="connsiteX525" fmla="*/ 3300455 w 3862373"/>
                  <a:gd name="connsiteY525" fmla="*/ 2657085 h 3682908"/>
                  <a:gd name="connsiteX526" fmla="*/ 3261368 w 3862373"/>
                  <a:gd name="connsiteY526" fmla="*/ 2617997 h 3682908"/>
                  <a:gd name="connsiteX527" fmla="*/ 3300455 w 3862373"/>
                  <a:gd name="connsiteY527" fmla="*/ 2578910 h 3682908"/>
                  <a:gd name="connsiteX528" fmla="*/ 3205815 w 3862373"/>
                  <a:gd name="connsiteY528" fmla="*/ 2578910 h 3682908"/>
                  <a:gd name="connsiteX529" fmla="*/ 3244903 w 3862373"/>
                  <a:gd name="connsiteY529" fmla="*/ 2617997 h 3682908"/>
                  <a:gd name="connsiteX530" fmla="*/ 3205815 w 3862373"/>
                  <a:gd name="connsiteY530" fmla="*/ 2657085 h 3682908"/>
                  <a:gd name="connsiteX531" fmla="*/ 3166728 w 3862373"/>
                  <a:gd name="connsiteY531" fmla="*/ 2617997 h 3682908"/>
                  <a:gd name="connsiteX532" fmla="*/ 3205815 w 3862373"/>
                  <a:gd name="connsiteY532" fmla="*/ 2578910 h 3682908"/>
                  <a:gd name="connsiteX533" fmla="*/ 3111175 w 3862373"/>
                  <a:gd name="connsiteY533" fmla="*/ 2578910 h 3682908"/>
                  <a:gd name="connsiteX534" fmla="*/ 3150262 w 3862373"/>
                  <a:gd name="connsiteY534" fmla="*/ 2617997 h 3682908"/>
                  <a:gd name="connsiteX535" fmla="*/ 3111175 w 3862373"/>
                  <a:gd name="connsiteY535" fmla="*/ 2657085 h 3682908"/>
                  <a:gd name="connsiteX536" fmla="*/ 3072088 w 3862373"/>
                  <a:gd name="connsiteY536" fmla="*/ 2617997 h 3682908"/>
                  <a:gd name="connsiteX537" fmla="*/ 3111175 w 3862373"/>
                  <a:gd name="connsiteY537" fmla="*/ 2578910 h 3682908"/>
                  <a:gd name="connsiteX538" fmla="*/ 3018901 w 3862373"/>
                  <a:gd name="connsiteY538" fmla="*/ 2578910 h 3682908"/>
                  <a:gd name="connsiteX539" fmla="*/ 3057988 w 3862373"/>
                  <a:gd name="connsiteY539" fmla="*/ 2617997 h 3682908"/>
                  <a:gd name="connsiteX540" fmla="*/ 3018901 w 3862373"/>
                  <a:gd name="connsiteY540" fmla="*/ 2657085 h 3682908"/>
                  <a:gd name="connsiteX541" fmla="*/ 2979813 w 3862373"/>
                  <a:gd name="connsiteY541" fmla="*/ 2617997 h 3682908"/>
                  <a:gd name="connsiteX542" fmla="*/ 3018901 w 3862373"/>
                  <a:gd name="connsiteY542" fmla="*/ 2578910 h 3682908"/>
                  <a:gd name="connsiteX543" fmla="*/ 2924262 w 3862373"/>
                  <a:gd name="connsiteY543" fmla="*/ 2578910 h 3682908"/>
                  <a:gd name="connsiteX544" fmla="*/ 2963349 w 3862373"/>
                  <a:gd name="connsiteY544" fmla="*/ 2617997 h 3682908"/>
                  <a:gd name="connsiteX545" fmla="*/ 2924262 w 3862373"/>
                  <a:gd name="connsiteY545" fmla="*/ 2657085 h 3682908"/>
                  <a:gd name="connsiteX546" fmla="*/ 2885175 w 3862373"/>
                  <a:gd name="connsiteY546" fmla="*/ 2617997 h 3682908"/>
                  <a:gd name="connsiteX547" fmla="*/ 2924262 w 3862373"/>
                  <a:gd name="connsiteY547" fmla="*/ 2578910 h 3682908"/>
                  <a:gd name="connsiteX548" fmla="*/ 2831987 w 3862373"/>
                  <a:gd name="connsiteY548" fmla="*/ 2578910 h 3682908"/>
                  <a:gd name="connsiteX549" fmla="*/ 2871074 w 3862373"/>
                  <a:gd name="connsiteY549" fmla="*/ 2617997 h 3682908"/>
                  <a:gd name="connsiteX550" fmla="*/ 2831987 w 3862373"/>
                  <a:gd name="connsiteY550" fmla="*/ 2657085 h 3682908"/>
                  <a:gd name="connsiteX551" fmla="*/ 2792900 w 3862373"/>
                  <a:gd name="connsiteY551" fmla="*/ 2617997 h 3682908"/>
                  <a:gd name="connsiteX552" fmla="*/ 2831987 w 3862373"/>
                  <a:gd name="connsiteY552" fmla="*/ 2578910 h 3682908"/>
                  <a:gd name="connsiteX553" fmla="*/ 1798047 w 3862373"/>
                  <a:gd name="connsiteY553" fmla="*/ 2578910 h 3682908"/>
                  <a:gd name="connsiteX554" fmla="*/ 1837133 w 3862373"/>
                  <a:gd name="connsiteY554" fmla="*/ 2617997 h 3682908"/>
                  <a:gd name="connsiteX555" fmla="*/ 1798047 w 3862373"/>
                  <a:gd name="connsiteY555" fmla="*/ 2657085 h 3682908"/>
                  <a:gd name="connsiteX556" fmla="*/ 1758959 w 3862373"/>
                  <a:gd name="connsiteY556" fmla="*/ 2617997 h 3682908"/>
                  <a:gd name="connsiteX557" fmla="*/ 1798047 w 3862373"/>
                  <a:gd name="connsiteY557" fmla="*/ 2578910 h 3682908"/>
                  <a:gd name="connsiteX558" fmla="*/ 1703409 w 3862373"/>
                  <a:gd name="connsiteY558" fmla="*/ 2578910 h 3682908"/>
                  <a:gd name="connsiteX559" fmla="*/ 1742497 w 3862373"/>
                  <a:gd name="connsiteY559" fmla="*/ 2617997 h 3682908"/>
                  <a:gd name="connsiteX560" fmla="*/ 1703409 w 3862373"/>
                  <a:gd name="connsiteY560" fmla="*/ 2657085 h 3682908"/>
                  <a:gd name="connsiteX561" fmla="*/ 1664323 w 3862373"/>
                  <a:gd name="connsiteY561" fmla="*/ 2617997 h 3682908"/>
                  <a:gd name="connsiteX562" fmla="*/ 1703409 w 3862373"/>
                  <a:gd name="connsiteY562" fmla="*/ 2578910 h 3682908"/>
                  <a:gd name="connsiteX563" fmla="*/ 1611131 w 3862373"/>
                  <a:gd name="connsiteY563" fmla="*/ 2578910 h 3682908"/>
                  <a:gd name="connsiteX564" fmla="*/ 1650221 w 3862373"/>
                  <a:gd name="connsiteY564" fmla="*/ 2617997 h 3682908"/>
                  <a:gd name="connsiteX565" fmla="*/ 1611131 w 3862373"/>
                  <a:gd name="connsiteY565" fmla="*/ 2657085 h 3682908"/>
                  <a:gd name="connsiteX566" fmla="*/ 1572058 w 3862373"/>
                  <a:gd name="connsiteY566" fmla="*/ 2617997 h 3682908"/>
                  <a:gd name="connsiteX567" fmla="*/ 1611131 w 3862373"/>
                  <a:gd name="connsiteY567" fmla="*/ 2578910 h 3682908"/>
                  <a:gd name="connsiteX568" fmla="*/ 1516504 w 3862373"/>
                  <a:gd name="connsiteY568" fmla="*/ 2578910 h 3682908"/>
                  <a:gd name="connsiteX569" fmla="*/ 1555592 w 3862373"/>
                  <a:gd name="connsiteY569" fmla="*/ 2617997 h 3682908"/>
                  <a:gd name="connsiteX570" fmla="*/ 1516504 w 3862373"/>
                  <a:gd name="connsiteY570" fmla="*/ 2657085 h 3682908"/>
                  <a:gd name="connsiteX571" fmla="*/ 1477417 w 3862373"/>
                  <a:gd name="connsiteY571" fmla="*/ 2617997 h 3682908"/>
                  <a:gd name="connsiteX572" fmla="*/ 1516504 w 3862373"/>
                  <a:gd name="connsiteY572" fmla="*/ 2578910 h 3682908"/>
                  <a:gd name="connsiteX573" fmla="*/ 1419499 w 3862373"/>
                  <a:gd name="connsiteY573" fmla="*/ 2578910 h 3682908"/>
                  <a:gd name="connsiteX574" fmla="*/ 1458586 w 3862373"/>
                  <a:gd name="connsiteY574" fmla="*/ 2617997 h 3682908"/>
                  <a:gd name="connsiteX575" fmla="*/ 1419499 w 3862373"/>
                  <a:gd name="connsiteY575" fmla="*/ 2657085 h 3682908"/>
                  <a:gd name="connsiteX576" fmla="*/ 1380410 w 3862373"/>
                  <a:gd name="connsiteY576" fmla="*/ 2617997 h 3682908"/>
                  <a:gd name="connsiteX577" fmla="*/ 1419499 w 3862373"/>
                  <a:gd name="connsiteY577" fmla="*/ 2578910 h 3682908"/>
                  <a:gd name="connsiteX578" fmla="*/ 1329590 w 3862373"/>
                  <a:gd name="connsiteY578" fmla="*/ 2578910 h 3682908"/>
                  <a:gd name="connsiteX579" fmla="*/ 1368677 w 3862373"/>
                  <a:gd name="connsiteY579" fmla="*/ 2617997 h 3682908"/>
                  <a:gd name="connsiteX580" fmla="*/ 1329590 w 3862373"/>
                  <a:gd name="connsiteY580" fmla="*/ 2657085 h 3682908"/>
                  <a:gd name="connsiteX581" fmla="*/ 1290504 w 3862373"/>
                  <a:gd name="connsiteY581" fmla="*/ 2617997 h 3682908"/>
                  <a:gd name="connsiteX582" fmla="*/ 1329590 w 3862373"/>
                  <a:gd name="connsiteY582" fmla="*/ 2578910 h 3682908"/>
                  <a:gd name="connsiteX583" fmla="*/ 1232588 w 3862373"/>
                  <a:gd name="connsiteY583" fmla="*/ 2578910 h 3682908"/>
                  <a:gd name="connsiteX584" fmla="*/ 1271672 w 3862373"/>
                  <a:gd name="connsiteY584" fmla="*/ 2617997 h 3682908"/>
                  <a:gd name="connsiteX585" fmla="*/ 1232588 w 3862373"/>
                  <a:gd name="connsiteY585" fmla="*/ 2657085 h 3682908"/>
                  <a:gd name="connsiteX586" fmla="*/ 1193502 w 3862373"/>
                  <a:gd name="connsiteY586" fmla="*/ 2617997 h 3682908"/>
                  <a:gd name="connsiteX587" fmla="*/ 1232588 w 3862373"/>
                  <a:gd name="connsiteY587" fmla="*/ 2578910 h 3682908"/>
                  <a:gd name="connsiteX588" fmla="*/ 1142677 w 3862373"/>
                  <a:gd name="connsiteY588" fmla="*/ 2578910 h 3682908"/>
                  <a:gd name="connsiteX589" fmla="*/ 1181764 w 3862373"/>
                  <a:gd name="connsiteY589" fmla="*/ 2617997 h 3682908"/>
                  <a:gd name="connsiteX590" fmla="*/ 1142677 w 3862373"/>
                  <a:gd name="connsiteY590" fmla="*/ 2657085 h 3682908"/>
                  <a:gd name="connsiteX591" fmla="*/ 1103588 w 3862373"/>
                  <a:gd name="connsiteY591" fmla="*/ 2617997 h 3682908"/>
                  <a:gd name="connsiteX592" fmla="*/ 1142677 w 3862373"/>
                  <a:gd name="connsiteY592" fmla="*/ 2578910 h 3682908"/>
                  <a:gd name="connsiteX593" fmla="*/ 1045667 w 3862373"/>
                  <a:gd name="connsiteY593" fmla="*/ 2578910 h 3682908"/>
                  <a:gd name="connsiteX594" fmla="*/ 1084755 w 3862373"/>
                  <a:gd name="connsiteY594" fmla="*/ 2617997 h 3682908"/>
                  <a:gd name="connsiteX595" fmla="*/ 1045667 w 3862373"/>
                  <a:gd name="connsiteY595" fmla="*/ 2657085 h 3682908"/>
                  <a:gd name="connsiteX596" fmla="*/ 1006581 w 3862373"/>
                  <a:gd name="connsiteY596" fmla="*/ 2617997 h 3682908"/>
                  <a:gd name="connsiteX597" fmla="*/ 1045667 w 3862373"/>
                  <a:gd name="connsiteY597" fmla="*/ 2578910 h 3682908"/>
                  <a:gd name="connsiteX598" fmla="*/ 3300455 w 3862373"/>
                  <a:gd name="connsiteY598" fmla="*/ 2486637 h 3682908"/>
                  <a:gd name="connsiteX599" fmla="*/ 3339543 w 3862373"/>
                  <a:gd name="connsiteY599" fmla="*/ 2525724 h 3682908"/>
                  <a:gd name="connsiteX600" fmla="*/ 3300455 w 3862373"/>
                  <a:gd name="connsiteY600" fmla="*/ 2564811 h 3682908"/>
                  <a:gd name="connsiteX601" fmla="*/ 3261368 w 3862373"/>
                  <a:gd name="connsiteY601" fmla="*/ 2525724 h 3682908"/>
                  <a:gd name="connsiteX602" fmla="*/ 3300455 w 3862373"/>
                  <a:gd name="connsiteY602" fmla="*/ 2486637 h 3682908"/>
                  <a:gd name="connsiteX603" fmla="*/ 3205815 w 3862373"/>
                  <a:gd name="connsiteY603" fmla="*/ 2486637 h 3682908"/>
                  <a:gd name="connsiteX604" fmla="*/ 3244903 w 3862373"/>
                  <a:gd name="connsiteY604" fmla="*/ 2525724 h 3682908"/>
                  <a:gd name="connsiteX605" fmla="*/ 3205815 w 3862373"/>
                  <a:gd name="connsiteY605" fmla="*/ 2564811 h 3682908"/>
                  <a:gd name="connsiteX606" fmla="*/ 3166728 w 3862373"/>
                  <a:gd name="connsiteY606" fmla="*/ 2525724 h 3682908"/>
                  <a:gd name="connsiteX607" fmla="*/ 3205815 w 3862373"/>
                  <a:gd name="connsiteY607" fmla="*/ 2486637 h 3682908"/>
                  <a:gd name="connsiteX608" fmla="*/ 3111175 w 3862373"/>
                  <a:gd name="connsiteY608" fmla="*/ 2486637 h 3682908"/>
                  <a:gd name="connsiteX609" fmla="*/ 3150262 w 3862373"/>
                  <a:gd name="connsiteY609" fmla="*/ 2525724 h 3682908"/>
                  <a:gd name="connsiteX610" fmla="*/ 3111175 w 3862373"/>
                  <a:gd name="connsiteY610" fmla="*/ 2564811 h 3682908"/>
                  <a:gd name="connsiteX611" fmla="*/ 3072088 w 3862373"/>
                  <a:gd name="connsiteY611" fmla="*/ 2525724 h 3682908"/>
                  <a:gd name="connsiteX612" fmla="*/ 3111175 w 3862373"/>
                  <a:gd name="connsiteY612" fmla="*/ 2486637 h 3682908"/>
                  <a:gd name="connsiteX613" fmla="*/ 3018901 w 3862373"/>
                  <a:gd name="connsiteY613" fmla="*/ 2486637 h 3682908"/>
                  <a:gd name="connsiteX614" fmla="*/ 3057988 w 3862373"/>
                  <a:gd name="connsiteY614" fmla="*/ 2525724 h 3682908"/>
                  <a:gd name="connsiteX615" fmla="*/ 3018901 w 3862373"/>
                  <a:gd name="connsiteY615" fmla="*/ 2564811 h 3682908"/>
                  <a:gd name="connsiteX616" fmla="*/ 2979813 w 3862373"/>
                  <a:gd name="connsiteY616" fmla="*/ 2525724 h 3682908"/>
                  <a:gd name="connsiteX617" fmla="*/ 3018901 w 3862373"/>
                  <a:gd name="connsiteY617" fmla="*/ 2486637 h 3682908"/>
                  <a:gd name="connsiteX618" fmla="*/ 2924262 w 3862373"/>
                  <a:gd name="connsiteY618" fmla="*/ 2486637 h 3682908"/>
                  <a:gd name="connsiteX619" fmla="*/ 2963349 w 3862373"/>
                  <a:gd name="connsiteY619" fmla="*/ 2525724 h 3682908"/>
                  <a:gd name="connsiteX620" fmla="*/ 2924262 w 3862373"/>
                  <a:gd name="connsiteY620" fmla="*/ 2564811 h 3682908"/>
                  <a:gd name="connsiteX621" fmla="*/ 2885175 w 3862373"/>
                  <a:gd name="connsiteY621" fmla="*/ 2525724 h 3682908"/>
                  <a:gd name="connsiteX622" fmla="*/ 2924262 w 3862373"/>
                  <a:gd name="connsiteY622" fmla="*/ 2486637 h 3682908"/>
                  <a:gd name="connsiteX623" fmla="*/ 2831987 w 3862373"/>
                  <a:gd name="connsiteY623" fmla="*/ 2486637 h 3682908"/>
                  <a:gd name="connsiteX624" fmla="*/ 2871074 w 3862373"/>
                  <a:gd name="connsiteY624" fmla="*/ 2525724 h 3682908"/>
                  <a:gd name="connsiteX625" fmla="*/ 2831987 w 3862373"/>
                  <a:gd name="connsiteY625" fmla="*/ 2564811 h 3682908"/>
                  <a:gd name="connsiteX626" fmla="*/ 2792900 w 3862373"/>
                  <a:gd name="connsiteY626" fmla="*/ 2525724 h 3682908"/>
                  <a:gd name="connsiteX627" fmla="*/ 2831987 w 3862373"/>
                  <a:gd name="connsiteY627" fmla="*/ 2486637 h 3682908"/>
                  <a:gd name="connsiteX628" fmla="*/ 1798047 w 3862373"/>
                  <a:gd name="connsiteY628" fmla="*/ 2486637 h 3682908"/>
                  <a:gd name="connsiteX629" fmla="*/ 1837133 w 3862373"/>
                  <a:gd name="connsiteY629" fmla="*/ 2525724 h 3682908"/>
                  <a:gd name="connsiteX630" fmla="*/ 1798047 w 3862373"/>
                  <a:gd name="connsiteY630" fmla="*/ 2564811 h 3682908"/>
                  <a:gd name="connsiteX631" fmla="*/ 1758962 w 3862373"/>
                  <a:gd name="connsiteY631" fmla="*/ 2525724 h 3682908"/>
                  <a:gd name="connsiteX632" fmla="*/ 1798047 w 3862373"/>
                  <a:gd name="connsiteY632" fmla="*/ 2486637 h 3682908"/>
                  <a:gd name="connsiteX633" fmla="*/ 1703410 w 3862373"/>
                  <a:gd name="connsiteY633" fmla="*/ 2486637 h 3682908"/>
                  <a:gd name="connsiteX634" fmla="*/ 1742497 w 3862373"/>
                  <a:gd name="connsiteY634" fmla="*/ 2525724 h 3682908"/>
                  <a:gd name="connsiteX635" fmla="*/ 1703410 w 3862373"/>
                  <a:gd name="connsiteY635" fmla="*/ 2564811 h 3682908"/>
                  <a:gd name="connsiteX636" fmla="*/ 1664323 w 3862373"/>
                  <a:gd name="connsiteY636" fmla="*/ 2525724 h 3682908"/>
                  <a:gd name="connsiteX637" fmla="*/ 1703410 w 3862373"/>
                  <a:gd name="connsiteY637" fmla="*/ 2486637 h 3682908"/>
                  <a:gd name="connsiteX638" fmla="*/ 1611133 w 3862373"/>
                  <a:gd name="connsiteY638" fmla="*/ 2486637 h 3682908"/>
                  <a:gd name="connsiteX639" fmla="*/ 1650221 w 3862373"/>
                  <a:gd name="connsiteY639" fmla="*/ 2525724 h 3682908"/>
                  <a:gd name="connsiteX640" fmla="*/ 1611133 w 3862373"/>
                  <a:gd name="connsiteY640" fmla="*/ 2564811 h 3682908"/>
                  <a:gd name="connsiteX641" fmla="*/ 1572059 w 3862373"/>
                  <a:gd name="connsiteY641" fmla="*/ 2525724 h 3682908"/>
                  <a:gd name="connsiteX642" fmla="*/ 1611133 w 3862373"/>
                  <a:gd name="connsiteY642" fmla="*/ 2486637 h 3682908"/>
                  <a:gd name="connsiteX643" fmla="*/ 1516507 w 3862373"/>
                  <a:gd name="connsiteY643" fmla="*/ 2486637 h 3682908"/>
                  <a:gd name="connsiteX644" fmla="*/ 1555594 w 3862373"/>
                  <a:gd name="connsiteY644" fmla="*/ 2525724 h 3682908"/>
                  <a:gd name="connsiteX645" fmla="*/ 1516507 w 3862373"/>
                  <a:gd name="connsiteY645" fmla="*/ 2564811 h 3682908"/>
                  <a:gd name="connsiteX646" fmla="*/ 1477419 w 3862373"/>
                  <a:gd name="connsiteY646" fmla="*/ 2525724 h 3682908"/>
                  <a:gd name="connsiteX647" fmla="*/ 1516507 w 3862373"/>
                  <a:gd name="connsiteY647" fmla="*/ 2486637 h 3682908"/>
                  <a:gd name="connsiteX648" fmla="*/ 1419502 w 3862373"/>
                  <a:gd name="connsiteY648" fmla="*/ 2486637 h 3682908"/>
                  <a:gd name="connsiteX649" fmla="*/ 1458588 w 3862373"/>
                  <a:gd name="connsiteY649" fmla="*/ 2525724 h 3682908"/>
                  <a:gd name="connsiteX650" fmla="*/ 1419502 w 3862373"/>
                  <a:gd name="connsiteY650" fmla="*/ 2564811 h 3682908"/>
                  <a:gd name="connsiteX651" fmla="*/ 1380412 w 3862373"/>
                  <a:gd name="connsiteY651" fmla="*/ 2525724 h 3682908"/>
                  <a:gd name="connsiteX652" fmla="*/ 1419502 w 3862373"/>
                  <a:gd name="connsiteY652" fmla="*/ 2486637 h 3682908"/>
                  <a:gd name="connsiteX653" fmla="*/ 1329592 w 3862373"/>
                  <a:gd name="connsiteY653" fmla="*/ 2486637 h 3682908"/>
                  <a:gd name="connsiteX654" fmla="*/ 1368679 w 3862373"/>
                  <a:gd name="connsiteY654" fmla="*/ 2525724 h 3682908"/>
                  <a:gd name="connsiteX655" fmla="*/ 1329592 w 3862373"/>
                  <a:gd name="connsiteY655" fmla="*/ 2564811 h 3682908"/>
                  <a:gd name="connsiteX656" fmla="*/ 1290506 w 3862373"/>
                  <a:gd name="connsiteY656" fmla="*/ 2525724 h 3682908"/>
                  <a:gd name="connsiteX657" fmla="*/ 1329592 w 3862373"/>
                  <a:gd name="connsiteY657" fmla="*/ 2486637 h 3682908"/>
                  <a:gd name="connsiteX658" fmla="*/ 1232589 w 3862373"/>
                  <a:gd name="connsiteY658" fmla="*/ 2486637 h 3682908"/>
                  <a:gd name="connsiteX659" fmla="*/ 1271673 w 3862373"/>
                  <a:gd name="connsiteY659" fmla="*/ 2525724 h 3682908"/>
                  <a:gd name="connsiteX660" fmla="*/ 1232589 w 3862373"/>
                  <a:gd name="connsiteY660" fmla="*/ 2564811 h 3682908"/>
                  <a:gd name="connsiteX661" fmla="*/ 1193504 w 3862373"/>
                  <a:gd name="connsiteY661" fmla="*/ 2525724 h 3682908"/>
                  <a:gd name="connsiteX662" fmla="*/ 1232589 w 3862373"/>
                  <a:gd name="connsiteY662" fmla="*/ 2486637 h 3682908"/>
                  <a:gd name="connsiteX663" fmla="*/ 1142679 w 3862373"/>
                  <a:gd name="connsiteY663" fmla="*/ 2486637 h 3682908"/>
                  <a:gd name="connsiteX664" fmla="*/ 1181766 w 3862373"/>
                  <a:gd name="connsiteY664" fmla="*/ 2525724 h 3682908"/>
                  <a:gd name="connsiteX665" fmla="*/ 1142679 w 3862373"/>
                  <a:gd name="connsiteY665" fmla="*/ 2564811 h 3682908"/>
                  <a:gd name="connsiteX666" fmla="*/ 1103589 w 3862373"/>
                  <a:gd name="connsiteY666" fmla="*/ 2525724 h 3682908"/>
                  <a:gd name="connsiteX667" fmla="*/ 1142679 w 3862373"/>
                  <a:gd name="connsiteY667" fmla="*/ 2486637 h 3682908"/>
                  <a:gd name="connsiteX668" fmla="*/ 1045669 w 3862373"/>
                  <a:gd name="connsiteY668" fmla="*/ 2486637 h 3682908"/>
                  <a:gd name="connsiteX669" fmla="*/ 1084757 w 3862373"/>
                  <a:gd name="connsiteY669" fmla="*/ 2525724 h 3682908"/>
                  <a:gd name="connsiteX670" fmla="*/ 1045669 w 3862373"/>
                  <a:gd name="connsiteY670" fmla="*/ 2564811 h 3682908"/>
                  <a:gd name="connsiteX671" fmla="*/ 1006583 w 3862373"/>
                  <a:gd name="connsiteY671" fmla="*/ 2525724 h 3682908"/>
                  <a:gd name="connsiteX672" fmla="*/ 1045669 w 3862373"/>
                  <a:gd name="connsiteY672" fmla="*/ 2486637 h 3682908"/>
                  <a:gd name="connsiteX673" fmla="*/ 951032 w 3862373"/>
                  <a:gd name="connsiteY673" fmla="*/ 2486637 h 3682908"/>
                  <a:gd name="connsiteX674" fmla="*/ 990118 w 3862373"/>
                  <a:gd name="connsiteY674" fmla="*/ 2525724 h 3682908"/>
                  <a:gd name="connsiteX675" fmla="*/ 951032 w 3862373"/>
                  <a:gd name="connsiteY675" fmla="*/ 2564811 h 3682908"/>
                  <a:gd name="connsiteX676" fmla="*/ 911947 w 3862373"/>
                  <a:gd name="connsiteY676" fmla="*/ 2525724 h 3682908"/>
                  <a:gd name="connsiteX677" fmla="*/ 951032 w 3862373"/>
                  <a:gd name="connsiteY677" fmla="*/ 2486637 h 3682908"/>
                  <a:gd name="connsiteX678" fmla="*/ 3392730 w 3862373"/>
                  <a:gd name="connsiteY678" fmla="*/ 2401461 h 3682908"/>
                  <a:gd name="connsiteX679" fmla="*/ 3431817 w 3862373"/>
                  <a:gd name="connsiteY679" fmla="*/ 2440548 h 3682908"/>
                  <a:gd name="connsiteX680" fmla="*/ 3392730 w 3862373"/>
                  <a:gd name="connsiteY680" fmla="*/ 2479635 h 3682908"/>
                  <a:gd name="connsiteX681" fmla="*/ 3353643 w 3862373"/>
                  <a:gd name="connsiteY681" fmla="*/ 2440548 h 3682908"/>
                  <a:gd name="connsiteX682" fmla="*/ 3392730 w 3862373"/>
                  <a:gd name="connsiteY682" fmla="*/ 2401461 h 3682908"/>
                  <a:gd name="connsiteX683" fmla="*/ 3300455 w 3862373"/>
                  <a:gd name="connsiteY683" fmla="*/ 2401461 h 3682908"/>
                  <a:gd name="connsiteX684" fmla="*/ 3339543 w 3862373"/>
                  <a:gd name="connsiteY684" fmla="*/ 2440548 h 3682908"/>
                  <a:gd name="connsiteX685" fmla="*/ 3300455 w 3862373"/>
                  <a:gd name="connsiteY685" fmla="*/ 2479635 h 3682908"/>
                  <a:gd name="connsiteX686" fmla="*/ 3261368 w 3862373"/>
                  <a:gd name="connsiteY686" fmla="*/ 2440548 h 3682908"/>
                  <a:gd name="connsiteX687" fmla="*/ 3300455 w 3862373"/>
                  <a:gd name="connsiteY687" fmla="*/ 2401461 h 3682908"/>
                  <a:gd name="connsiteX688" fmla="*/ 3205815 w 3862373"/>
                  <a:gd name="connsiteY688" fmla="*/ 2401461 h 3682908"/>
                  <a:gd name="connsiteX689" fmla="*/ 3244903 w 3862373"/>
                  <a:gd name="connsiteY689" fmla="*/ 2440548 h 3682908"/>
                  <a:gd name="connsiteX690" fmla="*/ 3205815 w 3862373"/>
                  <a:gd name="connsiteY690" fmla="*/ 2479635 h 3682908"/>
                  <a:gd name="connsiteX691" fmla="*/ 3166728 w 3862373"/>
                  <a:gd name="connsiteY691" fmla="*/ 2440548 h 3682908"/>
                  <a:gd name="connsiteX692" fmla="*/ 3205815 w 3862373"/>
                  <a:gd name="connsiteY692" fmla="*/ 2401461 h 3682908"/>
                  <a:gd name="connsiteX693" fmla="*/ 3111175 w 3862373"/>
                  <a:gd name="connsiteY693" fmla="*/ 2401461 h 3682908"/>
                  <a:gd name="connsiteX694" fmla="*/ 3150262 w 3862373"/>
                  <a:gd name="connsiteY694" fmla="*/ 2440548 h 3682908"/>
                  <a:gd name="connsiteX695" fmla="*/ 3111175 w 3862373"/>
                  <a:gd name="connsiteY695" fmla="*/ 2479635 h 3682908"/>
                  <a:gd name="connsiteX696" fmla="*/ 3072088 w 3862373"/>
                  <a:gd name="connsiteY696" fmla="*/ 2440548 h 3682908"/>
                  <a:gd name="connsiteX697" fmla="*/ 3111175 w 3862373"/>
                  <a:gd name="connsiteY697" fmla="*/ 2401461 h 3682908"/>
                  <a:gd name="connsiteX698" fmla="*/ 3018901 w 3862373"/>
                  <a:gd name="connsiteY698" fmla="*/ 2401461 h 3682908"/>
                  <a:gd name="connsiteX699" fmla="*/ 3057988 w 3862373"/>
                  <a:gd name="connsiteY699" fmla="*/ 2440548 h 3682908"/>
                  <a:gd name="connsiteX700" fmla="*/ 3018901 w 3862373"/>
                  <a:gd name="connsiteY700" fmla="*/ 2479635 h 3682908"/>
                  <a:gd name="connsiteX701" fmla="*/ 2979813 w 3862373"/>
                  <a:gd name="connsiteY701" fmla="*/ 2440548 h 3682908"/>
                  <a:gd name="connsiteX702" fmla="*/ 3018901 w 3862373"/>
                  <a:gd name="connsiteY702" fmla="*/ 2401461 h 3682908"/>
                  <a:gd name="connsiteX703" fmla="*/ 2924262 w 3862373"/>
                  <a:gd name="connsiteY703" fmla="*/ 2401461 h 3682908"/>
                  <a:gd name="connsiteX704" fmla="*/ 2963349 w 3862373"/>
                  <a:gd name="connsiteY704" fmla="*/ 2440548 h 3682908"/>
                  <a:gd name="connsiteX705" fmla="*/ 2924262 w 3862373"/>
                  <a:gd name="connsiteY705" fmla="*/ 2479635 h 3682908"/>
                  <a:gd name="connsiteX706" fmla="*/ 2885175 w 3862373"/>
                  <a:gd name="connsiteY706" fmla="*/ 2440548 h 3682908"/>
                  <a:gd name="connsiteX707" fmla="*/ 2924262 w 3862373"/>
                  <a:gd name="connsiteY707" fmla="*/ 2401461 h 3682908"/>
                  <a:gd name="connsiteX708" fmla="*/ 2831987 w 3862373"/>
                  <a:gd name="connsiteY708" fmla="*/ 2401461 h 3682908"/>
                  <a:gd name="connsiteX709" fmla="*/ 2871074 w 3862373"/>
                  <a:gd name="connsiteY709" fmla="*/ 2440548 h 3682908"/>
                  <a:gd name="connsiteX710" fmla="*/ 2831987 w 3862373"/>
                  <a:gd name="connsiteY710" fmla="*/ 2479635 h 3682908"/>
                  <a:gd name="connsiteX711" fmla="*/ 2792900 w 3862373"/>
                  <a:gd name="connsiteY711" fmla="*/ 2440548 h 3682908"/>
                  <a:gd name="connsiteX712" fmla="*/ 2831987 w 3862373"/>
                  <a:gd name="connsiteY712" fmla="*/ 2401461 h 3682908"/>
                  <a:gd name="connsiteX713" fmla="*/ 2737353 w 3862373"/>
                  <a:gd name="connsiteY713" fmla="*/ 2401461 h 3682908"/>
                  <a:gd name="connsiteX714" fmla="*/ 2776434 w 3862373"/>
                  <a:gd name="connsiteY714" fmla="*/ 2440548 h 3682908"/>
                  <a:gd name="connsiteX715" fmla="*/ 2737353 w 3862373"/>
                  <a:gd name="connsiteY715" fmla="*/ 2479635 h 3682908"/>
                  <a:gd name="connsiteX716" fmla="*/ 2698263 w 3862373"/>
                  <a:gd name="connsiteY716" fmla="*/ 2440548 h 3682908"/>
                  <a:gd name="connsiteX717" fmla="*/ 2737353 w 3862373"/>
                  <a:gd name="connsiteY717" fmla="*/ 2401461 h 3682908"/>
                  <a:gd name="connsiteX718" fmla="*/ 1611133 w 3862373"/>
                  <a:gd name="connsiteY718" fmla="*/ 2401461 h 3682908"/>
                  <a:gd name="connsiteX719" fmla="*/ 1650223 w 3862373"/>
                  <a:gd name="connsiteY719" fmla="*/ 2440548 h 3682908"/>
                  <a:gd name="connsiteX720" fmla="*/ 1611133 w 3862373"/>
                  <a:gd name="connsiteY720" fmla="*/ 2479635 h 3682908"/>
                  <a:gd name="connsiteX721" fmla="*/ 1572061 w 3862373"/>
                  <a:gd name="connsiteY721" fmla="*/ 2440548 h 3682908"/>
                  <a:gd name="connsiteX722" fmla="*/ 1611133 w 3862373"/>
                  <a:gd name="connsiteY722" fmla="*/ 2401461 h 3682908"/>
                  <a:gd name="connsiteX723" fmla="*/ 1516509 w 3862373"/>
                  <a:gd name="connsiteY723" fmla="*/ 2401461 h 3682908"/>
                  <a:gd name="connsiteX724" fmla="*/ 1555596 w 3862373"/>
                  <a:gd name="connsiteY724" fmla="*/ 2440548 h 3682908"/>
                  <a:gd name="connsiteX725" fmla="*/ 1516509 w 3862373"/>
                  <a:gd name="connsiteY725" fmla="*/ 2479635 h 3682908"/>
                  <a:gd name="connsiteX726" fmla="*/ 1477421 w 3862373"/>
                  <a:gd name="connsiteY726" fmla="*/ 2440548 h 3682908"/>
                  <a:gd name="connsiteX727" fmla="*/ 1516509 w 3862373"/>
                  <a:gd name="connsiteY727" fmla="*/ 2401461 h 3682908"/>
                  <a:gd name="connsiteX728" fmla="*/ 1419503 w 3862373"/>
                  <a:gd name="connsiteY728" fmla="*/ 2401461 h 3682908"/>
                  <a:gd name="connsiteX729" fmla="*/ 1458589 w 3862373"/>
                  <a:gd name="connsiteY729" fmla="*/ 2440548 h 3682908"/>
                  <a:gd name="connsiteX730" fmla="*/ 1419503 w 3862373"/>
                  <a:gd name="connsiteY730" fmla="*/ 2479635 h 3682908"/>
                  <a:gd name="connsiteX731" fmla="*/ 1380413 w 3862373"/>
                  <a:gd name="connsiteY731" fmla="*/ 2440548 h 3682908"/>
                  <a:gd name="connsiteX732" fmla="*/ 1419503 w 3862373"/>
                  <a:gd name="connsiteY732" fmla="*/ 2401461 h 3682908"/>
                  <a:gd name="connsiteX733" fmla="*/ 1329593 w 3862373"/>
                  <a:gd name="connsiteY733" fmla="*/ 2401461 h 3682908"/>
                  <a:gd name="connsiteX734" fmla="*/ 1368682 w 3862373"/>
                  <a:gd name="connsiteY734" fmla="*/ 2440548 h 3682908"/>
                  <a:gd name="connsiteX735" fmla="*/ 1329593 w 3862373"/>
                  <a:gd name="connsiteY735" fmla="*/ 2479635 h 3682908"/>
                  <a:gd name="connsiteX736" fmla="*/ 1290509 w 3862373"/>
                  <a:gd name="connsiteY736" fmla="*/ 2440548 h 3682908"/>
                  <a:gd name="connsiteX737" fmla="*/ 1329593 w 3862373"/>
                  <a:gd name="connsiteY737" fmla="*/ 2401461 h 3682908"/>
                  <a:gd name="connsiteX738" fmla="*/ 1232592 w 3862373"/>
                  <a:gd name="connsiteY738" fmla="*/ 2401461 h 3682908"/>
                  <a:gd name="connsiteX739" fmla="*/ 1271676 w 3862373"/>
                  <a:gd name="connsiteY739" fmla="*/ 2440548 h 3682908"/>
                  <a:gd name="connsiteX740" fmla="*/ 1232592 w 3862373"/>
                  <a:gd name="connsiteY740" fmla="*/ 2479635 h 3682908"/>
                  <a:gd name="connsiteX741" fmla="*/ 1193507 w 3862373"/>
                  <a:gd name="connsiteY741" fmla="*/ 2440548 h 3682908"/>
                  <a:gd name="connsiteX742" fmla="*/ 1232592 w 3862373"/>
                  <a:gd name="connsiteY742" fmla="*/ 2401461 h 3682908"/>
                  <a:gd name="connsiteX743" fmla="*/ 1142682 w 3862373"/>
                  <a:gd name="connsiteY743" fmla="*/ 2401461 h 3682908"/>
                  <a:gd name="connsiteX744" fmla="*/ 1181770 w 3862373"/>
                  <a:gd name="connsiteY744" fmla="*/ 2440548 h 3682908"/>
                  <a:gd name="connsiteX745" fmla="*/ 1142682 w 3862373"/>
                  <a:gd name="connsiteY745" fmla="*/ 2479635 h 3682908"/>
                  <a:gd name="connsiteX746" fmla="*/ 1103591 w 3862373"/>
                  <a:gd name="connsiteY746" fmla="*/ 2440548 h 3682908"/>
                  <a:gd name="connsiteX747" fmla="*/ 1142682 w 3862373"/>
                  <a:gd name="connsiteY747" fmla="*/ 2401461 h 3682908"/>
                  <a:gd name="connsiteX748" fmla="*/ 1045671 w 3862373"/>
                  <a:gd name="connsiteY748" fmla="*/ 2401461 h 3682908"/>
                  <a:gd name="connsiteX749" fmla="*/ 1084758 w 3862373"/>
                  <a:gd name="connsiteY749" fmla="*/ 2440548 h 3682908"/>
                  <a:gd name="connsiteX750" fmla="*/ 1045671 w 3862373"/>
                  <a:gd name="connsiteY750" fmla="*/ 2479635 h 3682908"/>
                  <a:gd name="connsiteX751" fmla="*/ 1006585 w 3862373"/>
                  <a:gd name="connsiteY751" fmla="*/ 2440548 h 3682908"/>
                  <a:gd name="connsiteX752" fmla="*/ 1045671 w 3862373"/>
                  <a:gd name="connsiteY752" fmla="*/ 2401461 h 3682908"/>
                  <a:gd name="connsiteX753" fmla="*/ 951035 w 3862373"/>
                  <a:gd name="connsiteY753" fmla="*/ 2401461 h 3682908"/>
                  <a:gd name="connsiteX754" fmla="*/ 990120 w 3862373"/>
                  <a:gd name="connsiteY754" fmla="*/ 2440548 h 3682908"/>
                  <a:gd name="connsiteX755" fmla="*/ 951035 w 3862373"/>
                  <a:gd name="connsiteY755" fmla="*/ 2479635 h 3682908"/>
                  <a:gd name="connsiteX756" fmla="*/ 911949 w 3862373"/>
                  <a:gd name="connsiteY756" fmla="*/ 2440548 h 3682908"/>
                  <a:gd name="connsiteX757" fmla="*/ 951035 w 3862373"/>
                  <a:gd name="connsiteY757" fmla="*/ 2401461 h 3682908"/>
                  <a:gd name="connsiteX758" fmla="*/ 3300457 w 3862373"/>
                  <a:gd name="connsiteY758" fmla="*/ 2318653 h 3682908"/>
                  <a:gd name="connsiteX759" fmla="*/ 3339544 w 3862373"/>
                  <a:gd name="connsiteY759" fmla="*/ 2357740 h 3682908"/>
                  <a:gd name="connsiteX760" fmla="*/ 3300457 w 3862373"/>
                  <a:gd name="connsiteY760" fmla="*/ 2396827 h 3682908"/>
                  <a:gd name="connsiteX761" fmla="*/ 3261369 w 3862373"/>
                  <a:gd name="connsiteY761" fmla="*/ 2357740 h 3682908"/>
                  <a:gd name="connsiteX762" fmla="*/ 3300457 w 3862373"/>
                  <a:gd name="connsiteY762" fmla="*/ 2318653 h 3682908"/>
                  <a:gd name="connsiteX763" fmla="*/ 3205817 w 3862373"/>
                  <a:gd name="connsiteY763" fmla="*/ 2318653 h 3682908"/>
                  <a:gd name="connsiteX764" fmla="*/ 3244904 w 3862373"/>
                  <a:gd name="connsiteY764" fmla="*/ 2357740 h 3682908"/>
                  <a:gd name="connsiteX765" fmla="*/ 3205817 w 3862373"/>
                  <a:gd name="connsiteY765" fmla="*/ 2396827 h 3682908"/>
                  <a:gd name="connsiteX766" fmla="*/ 3166729 w 3862373"/>
                  <a:gd name="connsiteY766" fmla="*/ 2357740 h 3682908"/>
                  <a:gd name="connsiteX767" fmla="*/ 3205817 w 3862373"/>
                  <a:gd name="connsiteY767" fmla="*/ 2318653 h 3682908"/>
                  <a:gd name="connsiteX768" fmla="*/ 3111177 w 3862373"/>
                  <a:gd name="connsiteY768" fmla="*/ 2318653 h 3682908"/>
                  <a:gd name="connsiteX769" fmla="*/ 3150264 w 3862373"/>
                  <a:gd name="connsiteY769" fmla="*/ 2357740 h 3682908"/>
                  <a:gd name="connsiteX770" fmla="*/ 3111177 w 3862373"/>
                  <a:gd name="connsiteY770" fmla="*/ 2396827 h 3682908"/>
                  <a:gd name="connsiteX771" fmla="*/ 3072089 w 3862373"/>
                  <a:gd name="connsiteY771" fmla="*/ 2357740 h 3682908"/>
                  <a:gd name="connsiteX772" fmla="*/ 3111177 w 3862373"/>
                  <a:gd name="connsiteY772" fmla="*/ 2318653 h 3682908"/>
                  <a:gd name="connsiteX773" fmla="*/ 3018902 w 3862373"/>
                  <a:gd name="connsiteY773" fmla="*/ 2318653 h 3682908"/>
                  <a:gd name="connsiteX774" fmla="*/ 3057989 w 3862373"/>
                  <a:gd name="connsiteY774" fmla="*/ 2357740 h 3682908"/>
                  <a:gd name="connsiteX775" fmla="*/ 3018902 w 3862373"/>
                  <a:gd name="connsiteY775" fmla="*/ 2396827 h 3682908"/>
                  <a:gd name="connsiteX776" fmla="*/ 2979815 w 3862373"/>
                  <a:gd name="connsiteY776" fmla="*/ 2357740 h 3682908"/>
                  <a:gd name="connsiteX777" fmla="*/ 3018902 w 3862373"/>
                  <a:gd name="connsiteY777" fmla="*/ 2318653 h 3682908"/>
                  <a:gd name="connsiteX778" fmla="*/ 2924263 w 3862373"/>
                  <a:gd name="connsiteY778" fmla="*/ 2318653 h 3682908"/>
                  <a:gd name="connsiteX779" fmla="*/ 2963349 w 3862373"/>
                  <a:gd name="connsiteY779" fmla="*/ 2357740 h 3682908"/>
                  <a:gd name="connsiteX780" fmla="*/ 2924263 w 3862373"/>
                  <a:gd name="connsiteY780" fmla="*/ 2396827 h 3682908"/>
                  <a:gd name="connsiteX781" fmla="*/ 2885175 w 3862373"/>
                  <a:gd name="connsiteY781" fmla="*/ 2357740 h 3682908"/>
                  <a:gd name="connsiteX782" fmla="*/ 2924263 w 3862373"/>
                  <a:gd name="connsiteY782" fmla="*/ 2318653 h 3682908"/>
                  <a:gd name="connsiteX783" fmla="*/ 2831988 w 3862373"/>
                  <a:gd name="connsiteY783" fmla="*/ 2318653 h 3682908"/>
                  <a:gd name="connsiteX784" fmla="*/ 2871075 w 3862373"/>
                  <a:gd name="connsiteY784" fmla="*/ 2357740 h 3682908"/>
                  <a:gd name="connsiteX785" fmla="*/ 2831988 w 3862373"/>
                  <a:gd name="connsiteY785" fmla="*/ 2396827 h 3682908"/>
                  <a:gd name="connsiteX786" fmla="*/ 2792901 w 3862373"/>
                  <a:gd name="connsiteY786" fmla="*/ 2357740 h 3682908"/>
                  <a:gd name="connsiteX787" fmla="*/ 2831988 w 3862373"/>
                  <a:gd name="connsiteY787" fmla="*/ 2318653 h 3682908"/>
                  <a:gd name="connsiteX788" fmla="*/ 2737354 w 3862373"/>
                  <a:gd name="connsiteY788" fmla="*/ 2318653 h 3682908"/>
                  <a:gd name="connsiteX789" fmla="*/ 2776435 w 3862373"/>
                  <a:gd name="connsiteY789" fmla="*/ 2357740 h 3682908"/>
                  <a:gd name="connsiteX790" fmla="*/ 2737354 w 3862373"/>
                  <a:gd name="connsiteY790" fmla="*/ 2396827 h 3682908"/>
                  <a:gd name="connsiteX791" fmla="*/ 2698264 w 3862373"/>
                  <a:gd name="connsiteY791" fmla="*/ 2357740 h 3682908"/>
                  <a:gd name="connsiteX792" fmla="*/ 2737354 w 3862373"/>
                  <a:gd name="connsiteY792" fmla="*/ 2318653 h 3682908"/>
                  <a:gd name="connsiteX793" fmla="*/ 1516512 w 3862373"/>
                  <a:gd name="connsiteY793" fmla="*/ 2318653 h 3682908"/>
                  <a:gd name="connsiteX794" fmla="*/ 1555598 w 3862373"/>
                  <a:gd name="connsiteY794" fmla="*/ 2357740 h 3682908"/>
                  <a:gd name="connsiteX795" fmla="*/ 1516512 w 3862373"/>
                  <a:gd name="connsiteY795" fmla="*/ 2396827 h 3682908"/>
                  <a:gd name="connsiteX796" fmla="*/ 1477423 w 3862373"/>
                  <a:gd name="connsiteY796" fmla="*/ 2357740 h 3682908"/>
                  <a:gd name="connsiteX797" fmla="*/ 1516512 w 3862373"/>
                  <a:gd name="connsiteY797" fmla="*/ 2318653 h 3682908"/>
                  <a:gd name="connsiteX798" fmla="*/ 1419506 w 3862373"/>
                  <a:gd name="connsiteY798" fmla="*/ 2318653 h 3682908"/>
                  <a:gd name="connsiteX799" fmla="*/ 1458594 w 3862373"/>
                  <a:gd name="connsiteY799" fmla="*/ 2357740 h 3682908"/>
                  <a:gd name="connsiteX800" fmla="*/ 1419506 w 3862373"/>
                  <a:gd name="connsiteY800" fmla="*/ 2396827 h 3682908"/>
                  <a:gd name="connsiteX801" fmla="*/ 1380417 w 3862373"/>
                  <a:gd name="connsiteY801" fmla="*/ 2357740 h 3682908"/>
                  <a:gd name="connsiteX802" fmla="*/ 1419506 w 3862373"/>
                  <a:gd name="connsiteY802" fmla="*/ 2318653 h 3682908"/>
                  <a:gd name="connsiteX803" fmla="*/ 1329595 w 3862373"/>
                  <a:gd name="connsiteY803" fmla="*/ 2318653 h 3682908"/>
                  <a:gd name="connsiteX804" fmla="*/ 1368683 w 3862373"/>
                  <a:gd name="connsiteY804" fmla="*/ 2357740 h 3682908"/>
                  <a:gd name="connsiteX805" fmla="*/ 1329595 w 3862373"/>
                  <a:gd name="connsiteY805" fmla="*/ 2396827 h 3682908"/>
                  <a:gd name="connsiteX806" fmla="*/ 1290510 w 3862373"/>
                  <a:gd name="connsiteY806" fmla="*/ 2357740 h 3682908"/>
                  <a:gd name="connsiteX807" fmla="*/ 1329595 w 3862373"/>
                  <a:gd name="connsiteY807" fmla="*/ 2318653 h 3682908"/>
                  <a:gd name="connsiteX808" fmla="*/ 1232594 w 3862373"/>
                  <a:gd name="connsiteY808" fmla="*/ 2318653 h 3682908"/>
                  <a:gd name="connsiteX809" fmla="*/ 1271677 w 3862373"/>
                  <a:gd name="connsiteY809" fmla="*/ 2357740 h 3682908"/>
                  <a:gd name="connsiteX810" fmla="*/ 1232594 w 3862373"/>
                  <a:gd name="connsiteY810" fmla="*/ 2396827 h 3682908"/>
                  <a:gd name="connsiteX811" fmla="*/ 1193507 w 3862373"/>
                  <a:gd name="connsiteY811" fmla="*/ 2357740 h 3682908"/>
                  <a:gd name="connsiteX812" fmla="*/ 1232594 w 3862373"/>
                  <a:gd name="connsiteY812" fmla="*/ 2318653 h 3682908"/>
                  <a:gd name="connsiteX813" fmla="*/ 1142684 w 3862373"/>
                  <a:gd name="connsiteY813" fmla="*/ 2318653 h 3682908"/>
                  <a:gd name="connsiteX814" fmla="*/ 1181772 w 3862373"/>
                  <a:gd name="connsiteY814" fmla="*/ 2357740 h 3682908"/>
                  <a:gd name="connsiteX815" fmla="*/ 1142684 w 3862373"/>
                  <a:gd name="connsiteY815" fmla="*/ 2396827 h 3682908"/>
                  <a:gd name="connsiteX816" fmla="*/ 1103594 w 3862373"/>
                  <a:gd name="connsiteY816" fmla="*/ 2357740 h 3682908"/>
                  <a:gd name="connsiteX817" fmla="*/ 1142684 w 3862373"/>
                  <a:gd name="connsiteY817" fmla="*/ 2318653 h 3682908"/>
                  <a:gd name="connsiteX818" fmla="*/ 1045673 w 3862373"/>
                  <a:gd name="connsiteY818" fmla="*/ 2318653 h 3682908"/>
                  <a:gd name="connsiteX819" fmla="*/ 1084760 w 3862373"/>
                  <a:gd name="connsiteY819" fmla="*/ 2357740 h 3682908"/>
                  <a:gd name="connsiteX820" fmla="*/ 1045673 w 3862373"/>
                  <a:gd name="connsiteY820" fmla="*/ 2396827 h 3682908"/>
                  <a:gd name="connsiteX821" fmla="*/ 1006587 w 3862373"/>
                  <a:gd name="connsiteY821" fmla="*/ 2357740 h 3682908"/>
                  <a:gd name="connsiteX822" fmla="*/ 1045673 w 3862373"/>
                  <a:gd name="connsiteY822" fmla="*/ 2318653 h 3682908"/>
                  <a:gd name="connsiteX823" fmla="*/ 3489735 w 3862373"/>
                  <a:gd name="connsiteY823" fmla="*/ 2318651 h 3682908"/>
                  <a:gd name="connsiteX824" fmla="*/ 3528823 w 3862373"/>
                  <a:gd name="connsiteY824" fmla="*/ 2357738 h 3682908"/>
                  <a:gd name="connsiteX825" fmla="*/ 3489735 w 3862373"/>
                  <a:gd name="connsiteY825" fmla="*/ 2396825 h 3682908"/>
                  <a:gd name="connsiteX826" fmla="*/ 3450649 w 3862373"/>
                  <a:gd name="connsiteY826" fmla="*/ 2357738 h 3682908"/>
                  <a:gd name="connsiteX827" fmla="*/ 3489735 w 3862373"/>
                  <a:gd name="connsiteY827" fmla="*/ 2318651 h 3682908"/>
                  <a:gd name="connsiteX828" fmla="*/ 3392730 w 3862373"/>
                  <a:gd name="connsiteY828" fmla="*/ 2318651 h 3682908"/>
                  <a:gd name="connsiteX829" fmla="*/ 3431817 w 3862373"/>
                  <a:gd name="connsiteY829" fmla="*/ 2357738 h 3682908"/>
                  <a:gd name="connsiteX830" fmla="*/ 3392730 w 3862373"/>
                  <a:gd name="connsiteY830" fmla="*/ 2396825 h 3682908"/>
                  <a:gd name="connsiteX831" fmla="*/ 3353643 w 3862373"/>
                  <a:gd name="connsiteY831" fmla="*/ 2357738 h 3682908"/>
                  <a:gd name="connsiteX832" fmla="*/ 3392730 w 3862373"/>
                  <a:gd name="connsiteY832" fmla="*/ 2318651 h 3682908"/>
                  <a:gd name="connsiteX833" fmla="*/ 3489737 w 3862373"/>
                  <a:gd name="connsiteY833" fmla="*/ 2233477 h 3682908"/>
                  <a:gd name="connsiteX834" fmla="*/ 3528823 w 3862373"/>
                  <a:gd name="connsiteY834" fmla="*/ 2272564 h 3682908"/>
                  <a:gd name="connsiteX835" fmla="*/ 3489737 w 3862373"/>
                  <a:gd name="connsiteY835" fmla="*/ 2311651 h 3682908"/>
                  <a:gd name="connsiteX836" fmla="*/ 3450649 w 3862373"/>
                  <a:gd name="connsiteY836" fmla="*/ 2272564 h 3682908"/>
                  <a:gd name="connsiteX837" fmla="*/ 3489737 w 3862373"/>
                  <a:gd name="connsiteY837" fmla="*/ 2233477 h 3682908"/>
                  <a:gd name="connsiteX838" fmla="*/ 3392731 w 3862373"/>
                  <a:gd name="connsiteY838" fmla="*/ 2233477 h 3682908"/>
                  <a:gd name="connsiteX839" fmla="*/ 3431819 w 3862373"/>
                  <a:gd name="connsiteY839" fmla="*/ 2272564 h 3682908"/>
                  <a:gd name="connsiteX840" fmla="*/ 3392731 w 3862373"/>
                  <a:gd name="connsiteY840" fmla="*/ 2311651 h 3682908"/>
                  <a:gd name="connsiteX841" fmla="*/ 3353644 w 3862373"/>
                  <a:gd name="connsiteY841" fmla="*/ 2272564 h 3682908"/>
                  <a:gd name="connsiteX842" fmla="*/ 3392731 w 3862373"/>
                  <a:gd name="connsiteY842" fmla="*/ 2233477 h 3682908"/>
                  <a:gd name="connsiteX843" fmla="*/ 3300457 w 3862373"/>
                  <a:gd name="connsiteY843" fmla="*/ 2233477 h 3682908"/>
                  <a:gd name="connsiteX844" fmla="*/ 3339544 w 3862373"/>
                  <a:gd name="connsiteY844" fmla="*/ 2272564 h 3682908"/>
                  <a:gd name="connsiteX845" fmla="*/ 3300457 w 3862373"/>
                  <a:gd name="connsiteY845" fmla="*/ 2311651 h 3682908"/>
                  <a:gd name="connsiteX846" fmla="*/ 3261369 w 3862373"/>
                  <a:gd name="connsiteY846" fmla="*/ 2272564 h 3682908"/>
                  <a:gd name="connsiteX847" fmla="*/ 3300457 w 3862373"/>
                  <a:gd name="connsiteY847" fmla="*/ 2233477 h 3682908"/>
                  <a:gd name="connsiteX848" fmla="*/ 3205817 w 3862373"/>
                  <a:gd name="connsiteY848" fmla="*/ 2233477 h 3682908"/>
                  <a:gd name="connsiteX849" fmla="*/ 3244904 w 3862373"/>
                  <a:gd name="connsiteY849" fmla="*/ 2272564 h 3682908"/>
                  <a:gd name="connsiteX850" fmla="*/ 3205817 w 3862373"/>
                  <a:gd name="connsiteY850" fmla="*/ 2311651 h 3682908"/>
                  <a:gd name="connsiteX851" fmla="*/ 3166729 w 3862373"/>
                  <a:gd name="connsiteY851" fmla="*/ 2272564 h 3682908"/>
                  <a:gd name="connsiteX852" fmla="*/ 3205817 w 3862373"/>
                  <a:gd name="connsiteY852" fmla="*/ 2233477 h 3682908"/>
                  <a:gd name="connsiteX853" fmla="*/ 3111177 w 3862373"/>
                  <a:gd name="connsiteY853" fmla="*/ 2233477 h 3682908"/>
                  <a:gd name="connsiteX854" fmla="*/ 3150264 w 3862373"/>
                  <a:gd name="connsiteY854" fmla="*/ 2272564 h 3682908"/>
                  <a:gd name="connsiteX855" fmla="*/ 3111177 w 3862373"/>
                  <a:gd name="connsiteY855" fmla="*/ 2311651 h 3682908"/>
                  <a:gd name="connsiteX856" fmla="*/ 3072089 w 3862373"/>
                  <a:gd name="connsiteY856" fmla="*/ 2272564 h 3682908"/>
                  <a:gd name="connsiteX857" fmla="*/ 3111177 w 3862373"/>
                  <a:gd name="connsiteY857" fmla="*/ 2233477 h 3682908"/>
                  <a:gd name="connsiteX858" fmla="*/ 3018902 w 3862373"/>
                  <a:gd name="connsiteY858" fmla="*/ 2233477 h 3682908"/>
                  <a:gd name="connsiteX859" fmla="*/ 3057989 w 3862373"/>
                  <a:gd name="connsiteY859" fmla="*/ 2272564 h 3682908"/>
                  <a:gd name="connsiteX860" fmla="*/ 3018902 w 3862373"/>
                  <a:gd name="connsiteY860" fmla="*/ 2311651 h 3682908"/>
                  <a:gd name="connsiteX861" fmla="*/ 2979815 w 3862373"/>
                  <a:gd name="connsiteY861" fmla="*/ 2272564 h 3682908"/>
                  <a:gd name="connsiteX862" fmla="*/ 3018902 w 3862373"/>
                  <a:gd name="connsiteY862" fmla="*/ 2233477 h 3682908"/>
                  <a:gd name="connsiteX863" fmla="*/ 2924263 w 3862373"/>
                  <a:gd name="connsiteY863" fmla="*/ 2233477 h 3682908"/>
                  <a:gd name="connsiteX864" fmla="*/ 2963349 w 3862373"/>
                  <a:gd name="connsiteY864" fmla="*/ 2272564 h 3682908"/>
                  <a:gd name="connsiteX865" fmla="*/ 2924263 w 3862373"/>
                  <a:gd name="connsiteY865" fmla="*/ 2311651 h 3682908"/>
                  <a:gd name="connsiteX866" fmla="*/ 2885175 w 3862373"/>
                  <a:gd name="connsiteY866" fmla="*/ 2272564 h 3682908"/>
                  <a:gd name="connsiteX867" fmla="*/ 2924263 w 3862373"/>
                  <a:gd name="connsiteY867" fmla="*/ 2233477 h 3682908"/>
                  <a:gd name="connsiteX868" fmla="*/ 2831988 w 3862373"/>
                  <a:gd name="connsiteY868" fmla="*/ 2233477 h 3682908"/>
                  <a:gd name="connsiteX869" fmla="*/ 2871075 w 3862373"/>
                  <a:gd name="connsiteY869" fmla="*/ 2272564 h 3682908"/>
                  <a:gd name="connsiteX870" fmla="*/ 2831988 w 3862373"/>
                  <a:gd name="connsiteY870" fmla="*/ 2311651 h 3682908"/>
                  <a:gd name="connsiteX871" fmla="*/ 2792901 w 3862373"/>
                  <a:gd name="connsiteY871" fmla="*/ 2272564 h 3682908"/>
                  <a:gd name="connsiteX872" fmla="*/ 2831988 w 3862373"/>
                  <a:gd name="connsiteY872" fmla="*/ 2233477 h 3682908"/>
                  <a:gd name="connsiteX873" fmla="*/ 2737354 w 3862373"/>
                  <a:gd name="connsiteY873" fmla="*/ 2233477 h 3682908"/>
                  <a:gd name="connsiteX874" fmla="*/ 2776435 w 3862373"/>
                  <a:gd name="connsiteY874" fmla="*/ 2272564 h 3682908"/>
                  <a:gd name="connsiteX875" fmla="*/ 2737354 w 3862373"/>
                  <a:gd name="connsiteY875" fmla="*/ 2311651 h 3682908"/>
                  <a:gd name="connsiteX876" fmla="*/ 2698264 w 3862373"/>
                  <a:gd name="connsiteY876" fmla="*/ 2272564 h 3682908"/>
                  <a:gd name="connsiteX877" fmla="*/ 2737354 w 3862373"/>
                  <a:gd name="connsiteY877" fmla="*/ 2233477 h 3682908"/>
                  <a:gd name="connsiteX878" fmla="*/ 2645073 w 3862373"/>
                  <a:gd name="connsiteY878" fmla="*/ 2233477 h 3682908"/>
                  <a:gd name="connsiteX879" fmla="*/ 2684163 w 3862373"/>
                  <a:gd name="connsiteY879" fmla="*/ 2272564 h 3682908"/>
                  <a:gd name="connsiteX880" fmla="*/ 2645073 w 3862373"/>
                  <a:gd name="connsiteY880" fmla="*/ 2311651 h 3682908"/>
                  <a:gd name="connsiteX881" fmla="*/ 2605987 w 3862373"/>
                  <a:gd name="connsiteY881" fmla="*/ 2272564 h 3682908"/>
                  <a:gd name="connsiteX882" fmla="*/ 2645073 w 3862373"/>
                  <a:gd name="connsiteY882" fmla="*/ 2233477 h 3682908"/>
                  <a:gd name="connsiteX883" fmla="*/ 2550435 w 3862373"/>
                  <a:gd name="connsiteY883" fmla="*/ 2233477 h 3682908"/>
                  <a:gd name="connsiteX884" fmla="*/ 2589521 w 3862373"/>
                  <a:gd name="connsiteY884" fmla="*/ 2272564 h 3682908"/>
                  <a:gd name="connsiteX885" fmla="*/ 2550435 w 3862373"/>
                  <a:gd name="connsiteY885" fmla="*/ 2311651 h 3682908"/>
                  <a:gd name="connsiteX886" fmla="*/ 2511349 w 3862373"/>
                  <a:gd name="connsiteY886" fmla="*/ 2272564 h 3682908"/>
                  <a:gd name="connsiteX887" fmla="*/ 2550435 w 3862373"/>
                  <a:gd name="connsiteY887" fmla="*/ 2233477 h 3682908"/>
                  <a:gd name="connsiteX888" fmla="*/ 2458164 w 3862373"/>
                  <a:gd name="connsiteY888" fmla="*/ 2233477 h 3682908"/>
                  <a:gd name="connsiteX889" fmla="*/ 2497250 w 3862373"/>
                  <a:gd name="connsiteY889" fmla="*/ 2272564 h 3682908"/>
                  <a:gd name="connsiteX890" fmla="*/ 2458164 w 3862373"/>
                  <a:gd name="connsiteY890" fmla="*/ 2311651 h 3682908"/>
                  <a:gd name="connsiteX891" fmla="*/ 2419078 w 3862373"/>
                  <a:gd name="connsiteY891" fmla="*/ 2272564 h 3682908"/>
                  <a:gd name="connsiteX892" fmla="*/ 2458164 w 3862373"/>
                  <a:gd name="connsiteY892" fmla="*/ 2233477 h 3682908"/>
                  <a:gd name="connsiteX893" fmla="*/ 2363524 w 3862373"/>
                  <a:gd name="connsiteY893" fmla="*/ 2233477 h 3682908"/>
                  <a:gd name="connsiteX894" fmla="*/ 2402611 w 3862373"/>
                  <a:gd name="connsiteY894" fmla="*/ 2272564 h 3682908"/>
                  <a:gd name="connsiteX895" fmla="*/ 2363524 w 3862373"/>
                  <a:gd name="connsiteY895" fmla="*/ 2311651 h 3682908"/>
                  <a:gd name="connsiteX896" fmla="*/ 2324437 w 3862373"/>
                  <a:gd name="connsiteY896" fmla="*/ 2272564 h 3682908"/>
                  <a:gd name="connsiteX897" fmla="*/ 2363524 w 3862373"/>
                  <a:gd name="connsiteY897" fmla="*/ 2233477 h 3682908"/>
                  <a:gd name="connsiteX898" fmla="*/ 1329597 w 3862373"/>
                  <a:gd name="connsiteY898" fmla="*/ 2233477 h 3682908"/>
                  <a:gd name="connsiteX899" fmla="*/ 1368685 w 3862373"/>
                  <a:gd name="connsiteY899" fmla="*/ 2272564 h 3682908"/>
                  <a:gd name="connsiteX900" fmla="*/ 1329597 w 3862373"/>
                  <a:gd name="connsiteY900" fmla="*/ 2311651 h 3682908"/>
                  <a:gd name="connsiteX901" fmla="*/ 1290512 w 3862373"/>
                  <a:gd name="connsiteY901" fmla="*/ 2272564 h 3682908"/>
                  <a:gd name="connsiteX902" fmla="*/ 1329597 w 3862373"/>
                  <a:gd name="connsiteY902" fmla="*/ 2233477 h 3682908"/>
                  <a:gd name="connsiteX903" fmla="*/ 1232596 w 3862373"/>
                  <a:gd name="connsiteY903" fmla="*/ 2233477 h 3682908"/>
                  <a:gd name="connsiteX904" fmla="*/ 1271678 w 3862373"/>
                  <a:gd name="connsiteY904" fmla="*/ 2272564 h 3682908"/>
                  <a:gd name="connsiteX905" fmla="*/ 1232596 w 3862373"/>
                  <a:gd name="connsiteY905" fmla="*/ 2311651 h 3682908"/>
                  <a:gd name="connsiteX906" fmla="*/ 1193508 w 3862373"/>
                  <a:gd name="connsiteY906" fmla="*/ 2272564 h 3682908"/>
                  <a:gd name="connsiteX907" fmla="*/ 1232596 w 3862373"/>
                  <a:gd name="connsiteY907" fmla="*/ 2233477 h 3682908"/>
                  <a:gd name="connsiteX908" fmla="*/ 1142686 w 3862373"/>
                  <a:gd name="connsiteY908" fmla="*/ 2233477 h 3682908"/>
                  <a:gd name="connsiteX909" fmla="*/ 1181776 w 3862373"/>
                  <a:gd name="connsiteY909" fmla="*/ 2272564 h 3682908"/>
                  <a:gd name="connsiteX910" fmla="*/ 1142686 w 3862373"/>
                  <a:gd name="connsiteY910" fmla="*/ 2311651 h 3682908"/>
                  <a:gd name="connsiteX911" fmla="*/ 1103596 w 3862373"/>
                  <a:gd name="connsiteY911" fmla="*/ 2272564 h 3682908"/>
                  <a:gd name="connsiteX912" fmla="*/ 1142686 w 3862373"/>
                  <a:gd name="connsiteY912" fmla="*/ 2233477 h 3682908"/>
                  <a:gd name="connsiteX913" fmla="*/ 1045675 w 3862373"/>
                  <a:gd name="connsiteY913" fmla="*/ 2233477 h 3682908"/>
                  <a:gd name="connsiteX914" fmla="*/ 1084762 w 3862373"/>
                  <a:gd name="connsiteY914" fmla="*/ 2272564 h 3682908"/>
                  <a:gd name="connsiteX915" fmla="*/ 1045675 w 3862373"/>
                  <a:gd name="connsiteY915" fmla="*/ 2311651 h 3682908"/>
                  <a:gd name="connsiteX916" fmla="*/ 1006589 w 3862373"/>
                  <a:gd name="connsiteY916" fmla="*/ 2272564 h 3682908"/>
                  <a:gd name="connsiteX917" fmla="*/ 1045675 w 3862373"/>
                  <a:gd name="connsiteY917" fmla="*/ 2233477 h 3682908"/>
                  <a:gd name="connsiteX918" fmla="*/ 3584377 w 3862373"/>
                  <a:gd name="connsiteY918" fmla="*/ 2145935 h 3682908"/>
                  <a:gd name="connsiteX919" fmla="*/ 3623463 w 3862373"/>
                  <a:gd name="connsiteY919" fmla="*/ 2185022 h 3682908"/>
                  <a:gd name="connsiteX920" fmla="*/ 3584377 w 3862373"/>
                  <a:gd name="connsiteY920" fmla="*/ 2224109 h 3682908"/>
                  <a:gd name="connsiteX921" fmla="*/ 3545289 w 3862373"/>
                  <a:gd name="connsiteY921" fmla="*/ 2185022 h 3682908"/>
                  <a:gd name="connsiteX922" fmla="*/ 3584377 w 3862373"/>
                  <a:gd name="connsiteY922" fmla="*/ 2145935 h 3682908"/>
                  <a:gd name="connsiteX923" fmla="*/ 3489737 w 3862373"/>
                  <a:gd name="connsiteY923" fmla="*/ 2145935 h 3682908"/>
                  <a:gd name="connsiteX924" fmla="*/ 3528823 w 3862373"/>
                  <a:gd name="connsiteY924" fmla="*/ 2185022 h 3682908"/>
                  <a:gd name="connsiteX925" fmla="*/ 3489737 w 3862373"/>
                  <a:gd name="connsiteY925" fmla="*/ 2224109 h 3682908"/>
                  <a:gd name="connsiteX926" fmla="*/ 3450649 w 3862373"/>
                  <a:gd name="connsiteY926" fmla="*/ 2185022 h 3682908"/>
                  <a:gd name="connsiteX927" fmla="*/ 3489737 w 3862373"/>
                  <a:gd name="connsiteY927" fmla="*/ 2145935 h 3682908"/>
                  <a:gd name="connsiteX928" fmla="*/ 3392731 w 3862373"/>
                  <a:gd name="connsiteY928" fmla="*/ 2145935 h 3682908"/>
                  <a:gd name="connsiteX929" fmla="*/ 3431819 w 3862373"/>
                  <a:gd name="connsiteY929" fmla="*/ 2185022 h 3682908"/>
                  <a:gd name="connsiteX930" fmla="*/ 3392731 w 3862373"/>
                  <a:gd name="connsiteY930" fmla="*/ 2224109 h 3682908"/>
                  <a:gd name="connsiteX931" fmla="*/ 3353644 w 3862373"/>
                  <a:gd name="connsiteY931" fmla="*/ 2185022 h 3682908"/>
                  <a:gd name="connsiteX932" fmla="*/ 3392731 w 3862373"/>
                  <a:gd name="connsiteY932" fmla="*/ 2145935 h 3682908"/>
                  <a:gd name="connsiteX933" fmla="*/ 3300457 w 3862373"/>
                  <a:gd name="connsiteY933" fmla="*/ 2145935 h 3682908"/>
                  <a:gd name="connsiteX934" fmla="*/ 3339544 w 3862373"/>
                  <a:gd name="connsiteY934" fmla="*/ 2185022 h 3682908"/>
                  <a:gd name="connsiteX935" fmla="*/ 3300457 w 3862373"/>
                  <a:gd name="connsiteY935" fmla="*/ 2224109 h 3682908"/>
                  <a:gd name="connsiteX936" fmla="*/ 3261369 w 3862373"/>
                  <a:gd name="connsiteY936" fmla="*/ 2185022 h 3682908"/>
                  <a:gd name="connsiteX937" fmla="*/ 3300457 w 3862373"/>
                  <a:gd name="connsiteY937" fmla="*/ 2145935 h 3682908"/>
                  <a:gd name="connsiteX938" fmla="*/ 3205817 w 3862373"/>
                  <a:gd name="connsiteY938" fmla="*/ 2145935 h 3682908"/>
                  <a:gd name="connsiteX939" fmla="*/ 3244904 w 3862373"/>
                  <a:gd name="connsiteY939" fmla="*/ 2185022 h 3682908"/>
                  <a:gd name="connsiteX940" fmla="*/ 3205817 w 3862373"/>
                  <a:gd name="connsiteY940" fmla="*/ 2224109 h 3682908"/>
                  <a:gd name="connsiteX941" fmla="*/ 3166729 w 3862373"/>
                  <a:gd name="connsiteY941" fmla="*/ 2185022 h 3682908"/>
                  <a:gd name="connsiteX942" fmla="*/ 3205817 w 3862373"/>
                  <a:gd name="connsiteY942" fmla="*/ 2145935 h 3682908"/>
                  <a:gd name="connsiteX943" fmla="*/ 3111177 w 3862373"/>
                  <a:gd name="connsiteY943" fmla="*/ 2145935 h 3682908"/>
                  <a:gd name="connsiteX944" fmla="*/ 3150264 w 3862373"/>
                  <a:gd name="connsiteY944" fmla="*/ 2185022 h 3682908"/>
                  <a:gd name="connsiteX945" fmla="*/ 3111177 w 3862373"/>
                  <a:gd name="connsiteY945" fmla="*/ 2224109 h 3682908"/>
                  <a:gd name="connsiteX946" fmla="*/ 3072089 w 3862373"/>
                  <a:gd name="connsiteY946" fmla="*/ 2185022 h 3682908"/>
                  <a:gd name="connsiteX947" fmla="*/ 3111177 w 3862373"/>
                  <a:gd name="connsiteY947" fmla="*/ 2145935 h 3682908"/>
                  <a:gd name="connsiteX948" fmla="*/ 3018902 w 3862373"/>
                  <a:gd name="connsiteY948" fmla="*/ 2145935 h 3682908"/>
                  <a:gd name="connsiteX949" fmla="*/ 3057989 w 3862373"/>
                  <a:gd name="connsiteY949" fmla="*/ 2185022 h 3682908"/>
                  <a:gd name="connsiteX950" fmla="*/ 3018902 w 3862373"/>
                  <a:gd name="connsiteY950" fmla="*/ 2224109 h 3682908"/>
                  <a:gd name="connsiteX951" fmla="*/ 2979815 w 3862373"/>
                  <a:gd name="connsiteY951" fmla="*/ 2185022 h 3682908"/>
                  <a:gd name="connsiteX952" fmla="*/ 3018902 w 3862373"/>
                  <a:gd name="connsiteY952" fmla="*/ 2145935 h 3682908"/>
                  <a:gd name="connsiteX953" fmla="*/ 2924263 w 3862373"/>
                  <a:gd name="connsiteY953" fmla="*/ 2145935 h 3682908"/>
                  <a:gd name="connsiteX954" fmla="*/ 2963349 w 3862373"/>
                  <a:gd name="connsiteY954" fmla="*/ 2185022 h 3682908"/>
                  <a:gd name="connsiteX955" fmla="*/ 2924263 w 3862373"/>
                  <a:gd name="connsiteY955" fmla="*/ 2224109 h 3682908"/>
                  <a:gd name="connsiteX956" fmla="*/ 2885175 w 3862373"/>
                  <a:gd name="connsiteY956" fmla="*/ 2185022 h 3682908"/>
                  <a:gd name="connsiteX957" fmla="*/ 2924263 w 3862373"/>
                  <a:gd name="connsiteY957" fmla="*/ 2145935 h 3682908"/>
                  <a:gd name="connsiteX958" fmla="*/ 2831988 w 3862373"/>
                  <a:gd name="connsiteY958" fmla="*/ 2145935 h 3682908"/>
                  <a:gd name="connsiteX959" fmla="*/ 2871075 w 3862373"/>
                  <a:gd name="connsiteY959" fmla="*/ 2185022 h 3682908"/>
                  <a:gd name="connsiteX960" fmla="*/ 2831988 w 3862373"/>
                  <a:gd name="connsiteY960" fmla="*/ 2224109 h 3682908"/>
                  <a:gd name="connsiteX961" fmla="*/ 2792901 w 3862373"/>
                  <a:gd name="connsiteY961" fmla="*/ 2185022 h 3682908"/>
                  <a:gd name="connsiteX962" fmla="*/ 2831988 w 3862373"/>
                  <a:gd name="connsiteY962" fmla="*/ 2145935 h 3682908"/>
                  <a:gd name="connsiteX963" fmla="*/ 2737355 w 3862373"/>
                  <a:gd name="connsiteY963" fmla="*/ 2145935 h 3682908"/>
                  <a:gd name="connsiteX964" fmla="*/ 2776435 w 3862373"/>
                  <a:gd name="connsiteY964" fmla="*/ 2185022 h 3682908"/>
                  <a:gd name="connsiteX965" fmla="*/ 2737355 w 3862373"/>
                  <a:gd name="connsiteY965" fmla="*/ 2224109 h 3682908"/>
                  <a:gd name="connsiteX966" fmla="*/ 2698264 w 3862373"/>
                  <a:gd name="connsiteY966" fmla="*/ 2185022 h 3682908"/>
                  <a:gd name="connsiteX967" fmla="*/ 2737355 w 3862373"/>
                  <a:gd name="connsiteY967" fmla="*/ 2145935 h 3682908"/>
                  <a:gd name="connsiteX968" fmla="*/ 2645073 w 3862373"/>
                  <a:gd name="connsiteY968" fmla="*/ 2145935 h 3682908"/>
                  <a:gd name="connsiteX969" fmla="*/ 2684163 w 3862373"/>
                  <a:gd name="connsiteY969" fmla="*/ 2185022 h 3682908"/>
                  <a:gd name="connsiteX970" fmla="*/ 2645073 w 3862373"/>
                  <a:gd name="connsiteY970" fmla="*/ 2224109 h 3682908"/>
                  <a:gd name="connsiteX971" fmla="*/ 2605987 w 3862373"/>
                  <a:gd name="connsiteY971" fmla="*/ 2185022 h 3682908"/>
                  <a:gd name="connsiteX972" fmla="*/ 2645073 w 3862373"/>
                  <a:gd name="connsiteY972" fmla="*/ 2145935 h 3682908"/>
                  <a:gd name="connsiteX973" fmla="*/ 2550435 w 3862373"/>
                  <a:gd name="connsiteY973" fmla="*/ 2145935 h 3682908"/>
                  <a:gd name="connsiteX974" fmla="*/ 2589521 w 3862373"/>
                  <a:gd name="connsiteY974" fmla="*/ 2185022 h 3682908"/>
                  <a:gd name="connsiteX975" fmla="*/ 2550435 w 3862373"/>
                  <a:gd name="connsiteY975" fmla="*/ 2224109 h 3682908"/>
                  <a:gd name="connsiteX976" fmla="*/ 2511350 w 3862373"/>
                  <a:gd name="connsiteY976" fmla="*/ 2185022 h 3682908"/>
                  <a:gd name="connsiteX977" fmla="*/ 2550435 w 3862373"/>
                  <a:gd name="connsiteY977" fmla="*/ 2145935 h 3682908"/>
                  <a:gd name="connsiteX978" fmla="*/ 2458164 w 3862373"/>
                  <a:gd name="connsiteY978" fmla="*/ 2145935 h 3682908"/>
                  <a:gd name="connsiteX979" fmla="*/ 2497250 w 3862373"/>
                  <a:gd name="connsiteY979" fmla="*/ 2185022 h 3682908"/>
                  <a:gd name="connsiteX980" fmla="*/ 2458164 w 3862373"/>
                  <a:gd name="connsiteY980" fmla="*/ 2224109 h 3682908"/>
                  <a:gd name="connsiteX981" fmla="*/ 2419078 w 3862373"/>
                  <a:gd name="connsiteY981" fmla="*/ 2185022 h 3682908"/>
                  <a:gd name="connsiteX982" fmla="*/ 2458164 w 3862373"/>
                  <a:gd name="connsiteY982" fmla="*/ 2145935 h 3682908"/>
                  <a:gd name="connsiteX983" fmla="*/ 2363524 w 3862373"/>
                  <a:gd name="connsiteY983" fmla="*/ 2145935 h 3682908"/>
                  <a:gd name="connsiteX984" fmla="*/ 2402611 w 3862373"/>
                  <a:gd name="connsiteY984" fmla="*/ 2185022 h 3682908"/>
                  <a:gd name="connsiteX985" fmla="*/ 2363524 w 3862373"/>
                  <a:gd name="connsiteY985" fmla="*/ 2224109 h 3682908"/>
                  <a:gd name="connsiteX986" fmla="*/ 2324437 w 3862373"/>
                  <a:gd name="connsiteY986" fmla="*/ 2185022 h 3682908"/>
                  <a:gd name="connsiteX987" fmla="*/ 2363524 w 3862373"/>
                  <a:gd name="connsiteY987" fmla="*/ 2145935 h 3682908"/>
                  <a:gd name="connsiteX988" fmla="*/ 2266521 w 3862373"/>
                  <a:gd name="connsiteY988" fmla="*/ 2145935 h 3682908"/>
                  <a:gd name="connsiteX989" fmla="*/ 2305606 w 3862373"/>
                  <a:gd name="connsiteY989" fmla="*/ 2185022 h 3682908"/>
                  <a:gd name="connsiteX990" fmla="*/ 2266521 w 3862373"/>
                  <a:gd name="connsiteY990" fmla="*/ 2224109 h 3682908"/>
                  <a:gd name="connsiteX991" fmla="*/ 2227432 w 3862373"/>
                  <a:gd name="connsiteY991" fmla="*/ 2185022 h 3682908"/>
                  <a:gd name="connsiteX992" fmla="*/ 2266521 w 3862373"/>
                  <a:gd name="connsiteY992" fmla="*/ 2145935 h 3682908"/>
                  <a:gd name="connsiteX993" fmla="*/ 1232598 w 3862373"/>
                  <a:gd name="connsiteY993" fmla="*/ 2145935 h 3682908"/>
                  <a:gd name="connsiteX994" fmla="*/ 1271681 w 3862373"/>
                  <a:gd name="connsiteY994" fmla="*/ 2185022 h 3682908"/>
                  <a:gd name="connsiteX995" fmla="*/ 1232598 w 3862373"/>
                  <a:gd name="connsiteY995" fmla="*/ 2224109 h 3682908"/>
                  <a:gd name="connsiteX996" fmla="*/ 1193510 w 3862373"/>
                  <a:gd name="connsiteY996" fmla="*/ 2185022 h 3682908"/>
                  <a:gd name="connsiteX997" fmla="*/ 1232598 w 3862373"/>
                  <a:gd name="connsiteY997" fmla="*/ 2145935 h 3682908"/>
                  <a:gd name="connsiteX998" fmla="*/ 1142689 w 3862373"/>
                  <a:gd name="connsiteY998" fmla="*/ 2145935 h 3682908"/>
                  <a:gd name="connsiteX999" fmla="*/ 1181778 w 3862373"/>
                  <a:gd name="connsiteY999" fmla="*/ 2185022 h 3682908"/>
                  <a:gd name="connsiteX1000" fmla="*/ 1142689 w 3862373"/>
                  <a:gd name="connsiteY1000" fmla="*/ 2224109 h 3682908"/>
                  <a:gd name="connsiteX1001" fmla="*/ 1103598 w 3862373"/>
                  <a:gd name="connsiteY1001" fmla="*/ 2185022 h 3682908"/>
                  <a:gd name="connsiteX1002" fmla="*/ 1142689 w 3862373"/>
                  <a:gd name="connsiteY1002" fmla="*/ 2145935 h 3682908"/>
                  <a:gd name="connsiteX1003" fmla="*/ 1045676 w 3862373"/>
                  <a:gd name="connsiteY1003" fmla="*/ 2145935 h 3682908"/>
                  <a:gd name="connsiteX1004" fmla="*/ 1084764 w 3862373"/>
                  <a:gd name="connsiteY1004" fmla="*/ 2185022 h 3682908"/>
                  <a:gd name="connsiteX1005" fmla="*/ 1045676 w 3862373"/>
                  <a:gd name="connsiteY1005" fmla="*/ 2224109 h 3682908"/>
                  <a:gd name="connsiteX1006" fmla="*/ 1006591 w 3862373"/>
                  <a:gd name="connsiteY1006" fmla="*/ 2185022 h 3682908"/>
                  <a:gd name="connsiteX1007" fmla="*/ 1045676 w 3862373"/>
                  <a:gd name="connsiteY1007" fmla="*/ 2145935 h 3682908"/>
                  <a:gd name="connsiteX1008" fmla="*/ 951041 w 3862373"/>
                  <a:gd name="connsiteY1008" fmla="*/ 2145935 h 3682908"/>
                  <a:gd name="connsiteX1009" fmla="*/ 990126 w 3862373"/>
                  <a:gd name="connsiteY1009" fmla="*/ 2185022 h 3682908"/>
                  <a:gd name="connsiteX1010" fmla="*/ 951041 w 3862373"/>
                  <a:gd name="connsiteY1010" fmla="*/ 2224109 h 3682908"/>
                  <a:gd name="connsiteX1011" fmla="*/ 911956 w 3862373"/>
                  <a:gd name="connsiteY1011" fmla="*/ 2185022 h 3682908"/>
                  <a:gd name="connsiteX1012" fmla="*/ 951041 w 3862373"/>
                  <a:gd name="connsiteY1012" fmla="*/ 2145935 h 3682908"/>
                  <a:gd name="connsiteX1013" fmla="*/ 856406 w 3862373"/>
                  <a:gd name="connsiteY1013" fmla="*/ 2145935 h 3682908"/>
                  <a:gd name="connsiteX1014" fmla="*/ 895491 w 3862373"/>
                  <a:gd name="connsiteY1014" fmla="*/ 2185022 h 3682908"/>
                  <a:gd name="connsiteX1015" fmla="*/ 856406 w 3862373"/>
                  <a:gd name="connsiteY1015" fmla="*/ 2224109 h 3682908"/>
                  <a:gd name="connsiteX1016" fmla="*/ 817321 w 3862373"/>
                  <a:gd name="connsiteY1016" fmla="*/ 2185022 h 3682908"/>
                  <a:gd name="connsiteX1017" fmla="*/ 856406 w 3862373"/>
                  <a:gd name="connsiteY1017" fmla="*/ 2145935 h 3682908"/>
                  <a:gd name="connsiteX1018" fmla="*/ 3300457 w 3862373"/>
                  <a:gd name="connsiteY1018" fmla="*/ 2056027 h 3682908"/>
                  <a:gd name="connsiteX1019" fmla="*/ 3339544 w 3862373"/>
                  <a:gd name="connsiteY1019" fmla="*/ 2095114 h 3682908"/>
                  <a:gd name="connsiteX1020" fmla="*/ 3300457 w 3862373"/>
                  <a:gd name="connsiteY1020" fmla="*/ 2134201 h 3682908"/>
                  <a:gd name="connsiteX1021" fmla="*/ 3261369 w 3862373"/>
                  <a:gd name="connsiteY1021" fmla="*/ 2095114 h 3682908"/>
                  <a:gd name="connsiteX1022" fmla="*/ 3300457 w 3862373"/>
                  <a:gd name="connsiteY1022" fmla="*/ 2056027 h 3682908"/>
                  <a:gd name="connsiteX1023" fmla="*/ 3205817 w 3862373"/>
                  <a:gd name="connsiteY1023" fmla="*/ 2056027 h 3682908"/>
                  <a:gd name="connsiteX1024" fmla="*/ 3244904 w 3862373"/>
                  <a:gd name="connsiteY1024" fmla="*/ 2095114 h 3682908"/>
                  <a:gd name="connsiteX1025" fmla="*/ 3205817 w 3862373"/>
                  <a:gd name="connsiteY1025" fmla="*/ 2134201 h 3682908"/>
                  <a:gd name="connsiteX1026" fmla="*/ 3166729 w 3862373"/>
                  <a:gd name="connsiteY1026" fmla="*/ 2095114 h 3682908"/>
                  <a:gd name="connsiteX1027" fmla="*/ 3205817 w 3862373"/>
                  <a:gd name="connsiteY1027" fmla="*/ 2056027 h 3682908"/>
                  <a:gd name="connsiteX1028" fmla="*/ 3111177 w 3862373"/>
                  <a:gd name="connsiteY1028" fmla="*/ 2056027 h 3682908"/>
                  <a:gd name="connsiteX1029" fmla="*/ 3150264 w 3862373"/>
                  <a:gd name="connsiteY1029" fmla="*/ 2095114 h 3682908"/>
                  <a:gd name="connsiteX1030" fmla="*/ 3111177 w 3862373"/>
                  <a:gd name="connsiteY1030" fmla="*/ 2134201 h 3682908"/>
                  <a:gd name="connsiteX1031" fmla="*/ 3072089 w 3862373"/>
                  <a:gd name="connsiteY1031" fmla="*/ 2095114 h 3682908"/>
                  <a:gd name="connsiteX1032" fmla="*/ 3111177 w 3862373"/>
                  <a:gd name="connsiteY1032" fmla="*/ 2056027 h 3682908"/>
                  <a:gd name="connsiteX1033" fmla="*/ 3018902 w 3862373"/>
                  <a:gd name="connsiteY1033" fmla="*/ 2056027 h 3682908"/>
                  <a:gd name="connsiteX1034" fmla="*/ 3057989 w 3862373"/>
                  <a:gd name="connsiteY1034" fmla="*/ 2095114 h 3682908"/>
                  <a:gd name="connsiteX1035" fmla="*/ 3018902 w 3862373"/>
                  <a:gd name="connsiteY1035" fmla="*/ 2134201 h 3682908"/>
                  <a:gd name="connsiteX1036" fmla="*/ 2979815 w 3862373"/>
                  <a:gd name="connsiteY1036" fmla="*/ 2095114 h 3682908"/>
                  <a:gd name="connsiteX1037" fmla="*/ 3018902 w 3862373"/>
                  <a:gd name="connsiteY1037" fmla="*/ 2056027 h 3682908"/>
                  <a:gd name="connsiteX1038" fmla="*/ 2924263 w 3862373"/>
                  <a:gd name="connsiteY1038" fmla="*/ 2056027 h 3682908"/>
                  <a:gd name="connsiteX1039" fmla="*/ 2963349 w 3862373"/>
                  <a:gd name="connsiteY1039" fmla="*/ 2095114 h 3682908"/>
                  <a:gd name="connsiteX1040" fmla="*/ 2924263 w 3862373"/>
                  <a:gd name="connsiteY1040" fmla="*/ 2134201 h 3682908"/>
                  <a:gd name="connsiteX1041" fmla="*/ 2885175 w 3862373"/>
                  <a:gd name="connsiteY1041" fmla="*/ 2095114 h 3682908"/>
                  <a:gd name="connsiteX1042" fmla="*/ 2924263 w 3862373"/>
                  <a:gd name="connsiteY1042" fmla="*/ 2056027 h 3682908"/>
                  <a:gd name="connsiteX1043" fmla="*/ 2831987 w 3862373"/>
                  <a:gd name="connsiteY1043" fmla="*/ 2056026 h 3682908"/>
                  <a:gd name="connsiteX1044" fmla="*/ 2871074 w 3862373"/>
                  <a:gd name="connsiteY1044" fmla="*/ 2095113 h 3682908"/>
                  <a:gd name="connsiteX1045" fmla="*/ 2831987 w 3862373"/>
                  <a:gd name="connsiteY1045" fmla="*/ 2134200 h 3682908"/>
                  <a:gd name="connsiteX1046" fmla="*/ 2792900 w 3862373"/>
                  <a:gd name="connsiteY1046" fmla="*/ 2095113 h 3682908"/>
                  <a:gd name="connsiteX1047" fmla="*/ 2831987 w 3862373"/>
                  <a:gd name="connsiteY1047" fmla="*/ 2056026 h 3682908"/>
                  <a:gd name="connsiteX1048" fmla="*/ 2737355 w 3862373"/>
                  <a:gd name="connsiteY1048" fmla="*/ 2056026 h 3682908"/>
                  <a:gd name="connsiteX1049" fmla="*/ 2776434 w 3862373"/>
                  <a:gd name="connsiteY1049" fmla="*/ 2095113 h 3682908"/>
                  <a:gd name="connsiteX1050" fmla="*/ 2737355 w 3862373"/>
                  <a:gd name="connsiteY1050" fmla="*/ 2134200 h 3682908"/>
                  <a:gd name="connsiteX1051" fmla="*/ 2698264 w 3862373"/>
                  <a:gd name="connsiteY1051" fmla="*/ 2095113 h 3682908"/>
                  <a:gd name="connsiteX1052" fmla="*/ 2737355 w 3862373"/>
                  <a:gd name="connsiteY1052" fmla="*/ 2056026 h 3682908"/>
                  <a:gd name="connsiteX1053" fmla="*/ 2645073 w 3862373"/>
                  <a:gd name="connsiteY1053" fmla="*/ 2056026 h 3682908"/>
                  <a:gd name="connsiteX1054" fmla="*/ 2684163 w 3862373"/>
                  <a:gd name="connsiteY1054" fmla="*/ 2095113 h 3682908"/>
                  <a:gd name="connsiteX1055" fmla="*/ 2645073 w 3862373"/>
                  <a:gd name="connsiteY1055" fmla="*/ 2134200 h 3682908"/>
                  <a:gd name="connsiteX1056" fmla="*/ 2605987 w 3862373"/>
                  <a:gd name="connsiteY1056" fmla="*/ 2095113 h 3682908"/>
                  <a:gd name="connsiteX1057" fmla="*/ 2645073 w 3862373"/>
                  <a:gd name="connsiteY1057" fmla="*/ 2056026 h 3682908"/>
                  <a:gd name="connsiteX1058" fmla="*/ 2550435 w 3862373"/>
                  <a:gd name="connsiteY1058" fmla="*/ 2056026 h 3682908"/>
                  <a:gd name="connsiteX1059" fmla="*/ 2589522 w 3862373"/>
                  <a:gd name="connsiteY1059" fmla="*/ 2095113 h 3682908"/>
                  <a:gd name="connsiteX1060" fmla="*/ 2550435 w 3862373"/>
                  <a:gd name="connsiteY1060" fmla="*/ 2134200 h 3682908"/>
                  <a:gd name="connsiteX1061" fmla="*/ 2511350 w 3862373"/>
                  <a:gd name="connsiteY1061" fmla="*/ 2095113 h 3682908"/>
                  <a:gd name="connsiteX1062" fmla="*/ 2550435 w 3862373"/>
                  <a:gd name="connsiteY1062" fmla="*/ 2056026 h 3682908"/>
                  <a:gd name="connsiteX1063" fmla="*/ 2458164 w 3862373"/>
                  <a:gd name="connsiteY1063" fmla="*/ 2056026 h 3682908"/>
                  <a:gd name="connsiteX1064" fmla="*/ 2497250 w 3862373"/>
                  <a:gd name="connsiteY1064" fmla="*/ 2095113 h 3682908"/>
                  <a:gd name="connsiteX1065" fmla="*/ 2458164 w 3862373"/>
                  <a:gd name="connsiteY1065" fmla="*/ 2134200 h 3682908"/>
                  <a:gd name="connsiteX1066" fmla="*/ 2419078 w 3862373"/>
                  <a:gd name="connsiteY1066" fmla="*/ 2095113 h 3682908"/>
                  <a:gd name="connsiteX1067" fmla="*/ 2458164 w 3862373"/>
                  <a:gd name="connsiteY1067" fmla="*/ 2056026 h 3682908"/>
                  <a:gd name="connsiteX1068" fmla="*/ 2363524 w 3862373"/>
                  <a:gd name="connsiteY1068" fmla="*/ 2056026 h 3682908"/>
                  <a:gd name="connsiteX1069" fmla="*/ 2402609 w 3862373"/>
                  <a:gd name="connsiteY1069" fmla="*/ 2095113 h 3682908"/>
                  <a:gd name="connsiteX1070" fmla="*/ 2363524 w 3862373"/>
                  <a:gd name="connsiteY1070" fmla="*/ 2134200 h 3682908"/>
                  <a:gd name="connsiteX1071" fmla="*/ 2324437 w 3862373"/>
                  <a:gd name="connsiteY1071" fmla="*/ 2095113 h 3682908"/>
                  <a:gd name="connsiteX1072" fmla="*/ 2363524 w 3862373"/>
                  <a:gd name="connsiteY1072" fmla="*/ 2056026 h 3682908"/>
                  <a:gd name="connsiteX1073" fmla="*/ 2266520 w 3862373"/>
                  <a:gd name="connsiteY1073" fmla="*/ 2056026 h 3682908"/>
                  <a:gd name="connsiteX1074" fmla="*/ 2305606 w 3862373"/>
                  <a:gd name="connsiteY1074" fmla="*/ 2095113 h 3682908"/>
                  <a:gd name="connsiteX1075" fmla="*/ 2266520 w 3862373"/>
                  <a:gd name="connsiteY1075" fmla="*/ 2134200 h 3682908"/>
                  <a:gd name="connsiteX1076" fmla="*/ 2227431 w 3862373"/>
                  <a:gd name="connsiteY1076" fmla="*/ 2095113 h 3682908"/>
                  <a:gd name="connsiteX1077" fmla="*/ 2266520 w 3862373"/>
                  <a:gd name="connsiteY1077" fmla="*/ 2056026 h 3682908"/>
                  <a:gd name="connsiteX1078" fmla="*/ 856407 w 3862373"/>
                  <a:gd name="connsiteY1078" fmla="*/ 2056026 h 3682908"/>
                  <a:gd name="connsiteX1079" fmla="*/ 895492 w 3862373"/>
                  <a:gd name="connsiteY1079" fmla="*/ 2095113 h 3682908"/>
                  <a:gd name="connsiteX1080" fmla="*/ 856407 w 3862373"/>
                  <a:gd name="connsiteY1080" fmla="*/ 2134200 h 3682908"/>
                  <a:gd name="connsiteX1081" fmla="*/ 817323 w 3862373"/>
                  <a:gd name="connsiteY1081" fmla="*/ 2095113 h 3682908"/>
                  <a:gd name="connsiteX1082" fmla="*/ 856407 w 3862373"/>
                  <a:gd name="connsiteY1082" fmla="*/ 2056026 h 3682908"/>
                  <a:gd name="connsiteX1083" fmla="*/ 764138 w 3862373"/>
                  <a:gd name="connsiteY1083" fmla="*/ 2056026 h 3682908"/>
                  <a:gd name="connsiteX1084" fmla="*/ 803223 w 3862373"/>
                  <a:gd name="connsiteY1084" fmla="*/ 2095113 h 3682908"/>
                  <a:gd name="connsiteX1085" fmla="*/ 764138 w 3862373"/>
                  <a:gd name="connsiteY1085" fmla="*/ 2134200 h 3682908"/>
                  <a:gd name="connsiteX1086" fmla="*/ 725053 w 3862373"/>
                  <a:gd name="connsiteY1086" fmla="*/ 2095113 h 3682908"/>
                  <a:gd name="connsiteX1087" fmla="*/ 764138 w 3862373"/>
                  <a:gd name="connsiteY1087" fmla="*/ 2056026 h 3682908"/>
                  <a:gd name="connsiteX1088" fmla="*/ 3584377 w 3862373"/>
                  <a:gd name="connsiteY1088" fmla="*/ 1973215 h 3682908"/>
                  <a:gd name="connsiteX1089" fmla="*/ 3623463 w 3862373"/>
                  <a:gd name="connsiteY1089" fmla="*/ 2012302 h 3682908"/>
                  <a:gd name="connsiteX1090" fmla="*/ 3584377 w 3862373"/>
                  <a:gd name="connsiteY1090" fmla="*/ 2051389 h 3682908"/>
                  <a:gd name="connsiteX1091" fmla="*/ 3545289 w 3862373"/>
                  <a:gd name="connsiteY1091" fmla="*/ 2012302 h 3682908"/>
                  <a:gd name="connsiteX1092" fmla="*/ 3584377 w 3862373"/>
                  <a:gd name="connsiteY1092" fmla="*/ 1973215 h 3682908"/>
                  <a:gd name="connsiteX1093" fmla="*/ 3489737 w 3862373"/>
                  <a:gd name="connsiteY1093" fmla="*/ 1973215 h 3682908"/>
                  <a:gd name="connsiteX1094" fmla="*/ 3528823 w 3862373"/>
                  <a:gd name="connsiteY1094" fmla="*/ 2012302 h 3682908"/>
                  <a:gd name="connsiteX1095" fmla="*/ 3489737 w 3862373"/>
                  <a:gd name="connsiteY1095" fmla="*/ 2051389 h 3682908"/>
                  <a:gd name="connsiteX1096" fmla="*/ 3450649 w 3862373"/>
                  <a:gd name="connsiteY1096" fmla="*/ 2012302 h 3682908"/>
                  <a:gd name="connsiteX1097" fmla="*/ 3489737 w 3862373"/>
                  <a:gd name="connsiteY1097" fmla="*/ 1973215 h 3682908"/>
                  <a:gd name="connsiteX1098" fmla="*/ 3392731 w 3862373"/>
                  <a:gd name="connsiteY1098" fmla="*/ 1973215 h 3682908"/>
                  <a:gd name="connsiteX1099" fmla="*/ 3431819 w 3862373"/>
                  <a:gd name="connsiteY1099" fmla="*/ 2012302 h 3682908"/>
                  <a:gd name="connsiteX1100" fmla="*/ 3392731 w 3862373"/>
                  <a:gd name="connsiteY1100" fmla="*/ 2051389 h 3682908"/>
                  <a:gd name="connsiteX1101" fmla="*/ 3353644 w 3862373"/>
                  <a:gd name="connsiteY1101" fmla="*/ 2012302 h 3682908"/>
                  <a:gd name="connsiteX1102" fmla="*/ 3392731 w 3862373"/>
                  <a:gd name="connsiteY1102" fmla="*/ 1973215 h 3682908"/>
                  <a:gd name="connsiteX1103" fmla="*/ 3205815 w 3862373"/>
                  <a:gd name="connsiteY1103" fmla="*/ 1973215 h 3682908"/>
                  <a:gd name="connsiteX1104" fmla="*/ 3244903 w 3862373"/>
                  <a:gd name="connsiteY1104" fmla="*/ 2012302 h 3682908"/>
                  <a:gd name="connsiteX1105" fmla="*/ 3205815 w 3862373"/>
                  <a:gd name="connsiteY1105" fmla="*/ 2051389 h 3682908"/>
                  <a:gd name="connsiteX1106" fmla="*/ 3166728 w 3862373"/>
                  <a:gd name="connsiteY1106" fmla="*/ 2012302 h 3682908"/>
                  <a:gd name="connsiteX1107" fmla="*/ 3205815 w 3862373"/>
                  <a:gd name="connsiteY1107" fmla="*/ 1973215 h 3682908"/>
                  <a:gd name="connsiteX1108" fmla="*/ 3111175 w 3862373"/>
                  <a:gd name="connsiteY1108" fmla="*/ 1973215 h 3682908"/>
                  <a:gd name="connsiteX1109" fmla="*/ 3150263 w 3862373"/>
                  <a:gd name="connsiteY1109" fmla="*/ 2012302 h 3682908"/>
                  <a:gd name="connsiteX1110" fmla="*/ 3111175 w 3862373"/>
                  <a:gd name="connsiteY1110" fmla="*/ 2051389 h 3682908"/>
                  <a:gd name="connsiteX1111" fmla="*/ 3072088 w 3862373"/>
                  <a:gd name="connsiteY1111" fmla="*/ 2012302 h 3682908"/>
                  <a:gd name="connsiteX1112" fmla="*/ 3111175 w 3862373"/>
                  <a:gd name="connsiteY1112" fmla="*/ 1973215 h 3682908"/>
                  <a:gd name="connsiteX1113" fmla="*/ 3018902 w 3862373"/>
                  <a:gd name="connsiteY1113" fmla="*/ 1973215 h 3682908"/>
                  <a:gd name="connsiteX1114" fmla="*/ 3057989 w 3862373"/>
                  <a:gd name="connsiteY1114" fmla="*/ 2012302 h 3682908"/>
                  <a:gd name="connsiteX1115" fmla="*/ 3018902 w 3862373"/>
                  <a:gd name="connsiteY1115" fmla="*/ 2051389 h 3682908"/>
                  <a:gd name="connsiteX1116" fmla="*/ 2979815 w 3862373"/>
                  <a:gd name="connsiteY1116" fmla="*/ 2012302 h 3682908"/>
                  <a:gd name="connsiteX1117" fmla="*/ 3018902 w 3862373"/>
                  <a:gd name="connsiteY1117" fmla="*/ 1973215 h 3682908"/>
                  <a:gd name="connsiteX1118" fmla="*/ 2924263 w 3862373"/>
                  <a:gd name="connsiteY1118" fmla="*/ 1973215 h 3682908"/>
                  <a:gd name="connsiteX1119" fmla="*/ 2963349 w 3862373"/>
                  <a:gd name="connsiteY1119" fmla="*/ 2012302 h 3682908"/>
                  <a:gd name="connsiteX1120" fmla="*/ 2924263 w 3862373"/>
                  <a:gd name="connsiteY1120" fmla="*/ 2051389 h 3682908"/>
                  <a:gd name="connsiteX1121" fmla="*/ 2885175 w 3862373"/>
                  <a:gd name="connsiteY1121" fmla="*/ 2012302 h 3682908"/>
                  <a:gd name="connsiteX1122" fmla="*/ 2924263 w 3862373"/>
                  <a:gd name="connsiteY1122" fmla="*/ 1973215 h 3682908"/>
                  <a:gd name="connsiteX1123" fmla="*/ 2831987 w 3862373"/>
                  <a:gd name="connsiteY1123" fmla="*/ 1973215 h 3682908"/>
                  <a:gd name="connsiteX1124" fmla="*/ 2871074 w 3862373"/>
                  <a:gd name="connsiteY1124" fmla="*/ 2012302 h 3682908"/>
                  <a:gd name="connsiteX1125" fmla="*/ 2831987 w 3862373"/>
                  <a:gd name="connsiteY1125" fmla="*/ 2051389 h 3682908"/>
                  <a:gd name="connsiteX1126" fmla="*/ 2792900 w 3862373"/>
                  <a:gd name="connsiteY1126" fmla="*/ 2012302 h 3682908"/>
                  <a:gd name="connsiteX1127" fmla="*/ 2831987 w 3862373"/>
                  <a:gd name="connsiteY1127" fmla="*/ 1973215 h 3682908"/>
                  <a:gd name="connsiteX1128" fmla="*/ 2737356 w 3862373"/>
                  <a:gd name="connsiteY1128" fmla="*/ 1973215 h 3682908"/>
                  <a:gd name="connsiteX1129" fmla="*/ 2776434 w 3862373"/>
                  <a:gd name="connsiteY1129" fmla="*/ 2012302 h 3682908"/>
                  <a:gd name="connsiteX1130" fmla="*/ 2737356 w 3862373"/>
                  <a:gd name="connsiteY1130" fmla="*/ 2051389 h 3682908"/>
                  <a:gd name="connsiteX1131" fmla="*/ 2698264 w 3862373"/>
                  <a:gd name="connsiteY1131" fmla="*/ 2012302 h 3682908"/>
                  <a:gd name="connsiteX1132" fmla="*/ 2737356 w 3862373"/>
                  <a:gd name="connsiteY1132" fmla="*/ 1973215 h 3682908"/>
                  <a:gd name="connsiteX1133" fmla="*/ 2645073 w 3862373"/>
                  <a:gd name="connsiteY1133" fmla="*/ 1973215 h 3682908"/>
                  <a:gd name="connsiteX1134" fmla="*/ 2684163 w 3862373"/>
                  <a:gd name="connsiteY1134" fmla="*/ 2012302 h 3682908"/>
                  <a:gd name="connsiteX1135" fmla="*/ 2645073 w 3862373"/>
                  <a:gd name="connsiteY1135" fmla="*/ 2051389 h 3682908"/>
                  <a:gd name="connsiteX1136" fmla="*/ 2605987 w 3862373"/>
                  <a:gd name="connsiteY1136" fmla="*/ 2012302 h 3682908"/>
                  <a:gd name="connsiteX1137" fmla="*/ 2645073 w 3862373"/>
                  <a:gd name="connsiteY1137" fmla="*/ 1973215 h 3682908"/>
                  <a:gd name="connsiteX1138" fmla="*/ 2550435 w 3862373"/>
                  <a:gd name="connsiteY1138" fmla="*/ 1973215 h 3682908"/>
                  <a:gd name="connsiteX1139" fmla="*/ 2589522 w 3862373"/>
                  <a:gd name="connsiteY1139" fmla="*/ 2012302 h 3682908"/>
                  <a:gd name="connsiteX1140" fmla="*/ 2550435 w 3862373"/>
                  <a:gd name="connsiteY1140" fmla="*/ 2051389 h 3682908"/>
                  <a:gd name="connsiteX1141" fmla="*/ 2511351 w 3862373"/>
                  <a:gd name="connsiteY1141" fmla="*/ 2012302 h 3682908"/>
                  <a:gd name="connsiteX1142" fmla="*/ 2550435 w 3862373"/>
                  <a:gd name="connsiteY1142" fmla="*/ 1973215 h 3682908"/>
                  <a:gd name="connsiteX1143" fmla="*/ 2458164 w 3862373"/>
                  <a:gd name="connsiteY1143" fmla="*/ 1973215 h 3682908"/>
                  <a:gd name="connsiteX1144" fmla="*/ 2497250 w 3862373"/>
                  <a:gd name="connsiteY1144" fmla="*/ 2012302 h 3682908"/>
                  <a:gd name="connsiteX1145" fmla="*/ 2458164 w 3862373"/>
                  <a:gd name="connsiteY1145" fmla="*/ 2051389 h 3682908"/>
                  <a:gd name="connsiteX1146" fmla="*/ 2419078 w 3862373"/>
                  <a:gd name="connsiteY1146" fmla="*/ 2012302 h 3682908"/>
                  <a:gd name="connsiteX1147" fmla="*/ 2458164 w 3862373"/>
                  <a:gd name="connsiteY1147" fmla="*/ 1973215 h 3682908"/>
                  <a:gd name="connsiteX1148" fmla="*/ 2363524 w 3862373"/>
                  <a:gd name="connsiteY1148" fmla="*/ 1973215 h 3682908"/>
                  <a:gd name="connsiteX1149" fmla="*/ 2402609 w 3862373"/>
                  <a:gd name="connsiteY1149" fmla="*/ 2012302 h 3682908"/>
                  <a:gd name="connsiteX1150" fmla="*/ 2363524 w 3862373"/>
                  <a:gd name="connsiteY1150" fmla="*/ 2051389 h 3682908"/>
                  <a:gd name="connsiteX1151" fmla="*/ 2324437 w 3862373"/>
                  <a:gd name="connsiteY1151" fmla="*/ 2012302 h 3682908"/>
                  <a:gd name="connsiteX1152" fmla="*/ 2363524 w 3862373"/>
                  <a:gd name="connsiteY1152" fmla="*/ 1973215 h 3682908"/>
                  <a:gd name="connsiteX1153" fmla="*/ 2266521 w 3862373"/>
                  <a:gd name="connsiteY1153" fmla="*/ 1973215 h 3682908"/>
                  <a:gd name="connsiteX1154" fmla="*/ 2305606 w 3862373"/>
                  <a:gd name="connsiteY1154" fmla="*/ 2012302 h 3682908"/>
                  <a:gd name="connsiteX1155" fmla="*/ 2266521 w 3862373"/>
                  <a:gd name="connsiteY1155" fmla="*/ 2051389 h 3682908"/>
                  <a:gd name="connsiteX1156" fmla="*/ 2227431 w 3862373"/>
                  <a:gd name="connsiteY1156" fmla="*/ 2012302 h 3682908"/>
                  <a:gd name="connsiteX1157" fmla="*/ 2266521 w 3862373"/>
                  <a:gd name="connsiteY1157" fmla="*/ 1973215 h 3682908"/>
                  <a:gd name="connsiteX1158" fmla="*/ 1142694 w 3862373"/>
                  <a:gd name="connsiteY1158" fmla="*/ 1973215 h 3682908"/>
                  <a:gd name="connsiteX1159" fmla="*/ 1181781 w 3862373"/>
                  <a:gd name="connsiteY1159" fmla="*/ 2012302 h 3682908"/>
                  <a:gd name="connsiteX1160" fmla="*/ 1142694 w 3862373"/>
                  <a:gd name="connsiteY1160" fmla="*/ 2051389 h 3682908"/>
                  <a:gd name="connsiteX1161" fmla="*/ 1103602 w 3862373"/>
                  <a:gd name="connsiteY1161" fmla="*/ 2012302 h 3682908"/>
                  <a:gd name="connsiteX1162" fmla="*/ 1142694 w 3862373"/>
                  <a:gd name="connsiteY1162" fmla="*/ 1973215 h 3682908"/>
                  <a:gd name="connsiteX1163" fmla="*/ 764140 w 3862373"/>
                  <a:gd name="connsiteY1163" fmla="*/ 1973215 h 3682908"/>
                  <a:gd name="connsiteX1164" fmla="*/ 803226 w 3862373"/>
                  <a:gd name="connsiteY1164" fmla="*/ 2012302 h 3682908"/>
                  <a:gd name="connsiteX1165" fmla="*/ 764140 w 3862373"/>
                  <a:gd name="connsiteY1165" fmla="*/ 2051389 h 3682908"/>
                  <a:gd name="connsiteX1166" fmla="*/ 725056 w 3862373"/>
                  <a:gd name="connsiteY1166" fmla="*/ 2012302 h 3682908"/>
                  <a:gd name="connsiteX1167" fmla="*/ 764140 w 3862373"/>
                  <a:gd name="connsiteY1167" fmla="*/ 1973215 h 3682908"/>
                  <a:gd name="connsiteX1168" fmla="*/ 669495 w 3862373"/>
                  <a:gd name="connsiteY1168" fmla="*/ 1973215 h 3682908"/>
                  <a:gd name="connsiteX1169" fmla="*/ 708592 w 3862373"/>
                  <a:gd name="connsiteY1169" fmla="*/ 2012302 h 3682908"/>
                  <a:gd name="connsiteX1170" fmla="*/ 669495 w 3862373"/>
                  <a:gd name="connsiteY1170" fmla="*/ 2051389 h 3682908"/>
                  <a:gd name="connsiteX1171" fmla="*/ 630416 w 3862373"/>
                  <a:gd name="connsiteY1171" fmla="*/ 2012302 h 3682908"/>
                  <a:gd name="connsiteX1172" fmla="*/ 669495 w 3862373"/>
                  <a:gd name="connsiteY1172" fmla="*/ 1973215 h 3682908"/>
                  <a:gd name="connsiteX1173" fmla="*/ 577223 w 3862373"/>
                  <a:gd name="connsiteY1173" fmla="*/ 1973215 h 3682908"/>
                  <a:gd name="connsiteX1174" fmla="*/ 616315 w 3862373"/>
                  <a:gd name="connsiteY1174" fmla="*/ 2012302 h 3682908"/>
                  <a:gd name="connsiteX1175" fmla="*/ 577223 w 3862373"/>
                  <a:gd name="connsiteY1175" fmla="*/ 2051389 h 3682908"/>
                  <a:gd name="connsiteX1176" fmla="*/ 538132 w 3862373"/>
                  <a:gd name="connsiteY1176" fmla="*/ 2012302 h 3682908"/>
                  <a:gd name="connsiteX1177" fmla="*/ 577223 w 3862373"/>
                  <a:gd name="connsiteY1177" fmla="*/ 1973215 h 3682908"/>
                  <a:gd name="connsiteX1178" fmla="*/ 484944 w 3862373"/>
                  <a:gd name="connsiteY1178" fmla="*/ 1973215 h 3682908"/>
                  <a:gd name="connsiteX1179" fmla="*/ 524029 w 3862373"/>
                  <a:gd name="connsiteY1179" fmla="*/ 2012302 h 3682908"/>
                  <a:gd name="connsiteX1180" fmla="*/ 484944 w 3862373"/>
                  <a:gd name="connsiteY1180" fmla="*/ 2051389 h 3682908"/>
                  <a:gd name="connsiteX1181" fmla="*/ 445862 w 3862373"/>
                  <a:gd name="connsiteY1181" fmla="*/ 2012302 h 3682908"/>
                  <a:gd name="connsiteX1182" fmla="*/ 484944 w 3862373"/>
                  <a:gd name="connsiteY1182" fmla="*/ 1973215 h 3682908"/>
                  <a:gd name="connsiteX1183" fmla="*/ 3679017 w 3862373"/>
                  <a:gd name="connsiteY1183" fmla="*/ 1892773 h 3682908"/>
                  <a:gd name="connsiteX1184" fmla="*/ 3718103 w 3862373"/>
                  <a:gd name="connsiteY1184" fmla="*/ 1931860 h 3682908"/>
                  <a:gd name="connsiteX1185" fmla="*/ 3679017 w 3862373"/>
                  <a:gd name="connsiteY1185" fmla="*/ 1970947 h 3682908"/>
                  <a:gd name="connsiteX1186" fmla="*/ 3639929 w 3862373"/>
                  <a:gd name="connsiteY1186" fmla="*/ 1931860 h 3682908"/>
                  <a:gd name="connsiteX1187" fmla="*/ 3679017 w 3862373"/>
                  <a:gd name="connsiteY1187" fmla="*/ 1892773 h 3682908"/>
                  <a:gd name="connsiteX1188" fmla="*/ 3584377 w 3862373"/>
                  <a:gd name="connsiteY1188" fmla="*/ 1892773 h 3682908"/>
                  <a:gd name="connsiteX1189" fmla="*/ 3623463 w 3862373"/>
                  <a:gd name="connsiteY1189" fmla="*/ 1931860 h 3682908"/>
                  <a:gd name="connsiteX1190" fmla="*/ 3584377 w 3862373"/>
                  <a:gd name="connsiteY1190" fmla="*/ 1970947 h 3682908"/>
                  <a:gd name="connsiteX1191" fmla="*/ 3545289 w 3862373"/>
                  <a:gd name="connsiteY1191" fmla="*/ 1931860 h 3682908"/>
                  <a:gd name="connsiteX1192" fmla="*/ 3584377 w 3862373"/>
                  <a:gd name="connsiteY1192" fmla="*/ 1892773 h 3682908"/>
                  <a:gd name="connsiteX1193" fmla="*/ 3489737 w 3862373"/>
                  <a:gd name="connsiteY1193" fmla="*/ 1892773 h 3682908"/>
                  <a:gd name="connsiteX1194" fmla="*/ 3528823 w 3862373"/>
                  <a:gd name="connsiteY1194" fmla="*/ 1931860 h 3682908"/>
                  <a:gd name="connsiteX1195" fmla="*/ 3489737 w 3862373"/>
                  <a:gd name="connsiteY1195" fmla="*/ 1970947 h 3682908"/>
                  <a:gd name="connsiteX1196" fmla="*/ 3450649 w 3862373"/>
                  <a:gd name="connsiteY1196" fmla="*/ 1931860 h 3682908"/>
                  <a:gd name="connsiteX1197" fmla="*/ 3489737 w 3862373"/>
                  <a:gd name="connsiteY1197" fmla="*/ 1892773 h 3682908"/>
                  <a:gd name="connsiteX1198" fmla="*/ 3392731 w 3862373"/>
                  <a:gd name="connsiteY1198" fmla="*/ 1892773 h 3682908"/>
                  <a:gd name="connsiteX1199" fmla="*/ 3431819 w 3862373"/>
                  <a:gd name="connsiteY1199" fmla="*/ 1931860 h 3682908"/>
                  <a:gd name="connsiteX1200" fmla="*/ 3392731 w 3862373"/>
                  <a:gd name="connsiteY1200" fmla="*/ 1970947 h 3682908"/>
                  <a:gd name="connsiteX1201" fmla="*/ 3353644 w 3862373"/>
                  <a:gd name="connsiteY1201" fmla="*/ 1931860 h 3682908"/>
                  <a:gd name="connsiteX1202" fmla="*/ 3392731 w 3862373"/>
                  <a:gd name="connsiteY1202" fmla="*/ 1892773 h 3682908"/>
                  <a:gd name="connsiteX1203" fmla="*/ 3205815 w 3862373"/>
                  <a:gd name="connsiteY1203" fmla="*/ 1892773 h 3682908"/>
                  <a:gd name="connsiteX1204" fmla="*/ 3244903 w 3862373"/>
                  <a:gd name="connsiteY1204" fmla="*/ 1931860 h 3682908"/>
                  <a:gd name="connsiteX1205" fmla="*/ 3205815 w 3862373"/>
                  <a:gd name="connsiteY1205" fmla="*/ 1970947 h 3682908"/>
                  <a:gd name="connsiteX1206" fmla="*/ 3166728 w 3862373"/>
                  <a:gd name="connsiteY1206" fmla="*/ 1931860 h 3682908"/>
                  <a:gd name="connsiteX1207" fmla="*/ 3205815 w 3862373"/>
                  <a:gd name="connsiteY1207" fmla="*/ 1892773 h 3682908"/>
                  <a:gd name="connsiteX1208" fmla="*/ 3111175 w 3862373"/>
                  <a:gd name="connsiteY1208" fmla="*/ 1892773 h 3682908"/>
                  <a:gd name="connsiteX1209" fmla="*/ 3150263 w 3862373"/>
                  <a:gd name="connsiteY1209" fmla="*/ 1931860 h 3682908"/>
                  <a:gd name="connsiteX1210" fmla="*/ 3111175 w 3862373"/>
                  <a:gd name="connsiteY1210" fmla="*/ 1970947 h 3682908"/>
                  <a:gd name="connsiteX1211" fmla="*/ 3072088 w 3862373"/>
                  <a:gd name="connsiteY1211" fmla="*/ 1931860 h 3682908"/>
                  <a:gd name="connsiteX1212" fmla="*/ 3111175 w 3862373"/>
                  <a:gd name="connsiteY1212" fmla="*/ 1892773 h 3682908"/>
                  <a:gd name="connsiteX1213" fmla="*/ 3018902 w 3862373"/>
                  <a:gd name="connsiteY1213" fmla="*/ 1892773 h 3682908"/>
                  <a:gd name="connsiteX1214" fmla="*/ 3057989 w 3862373"/>
                  <a:gd name="connsiteY1214" fmla="*/ 1931860 h 3682908"/>
                  <a:gd name="connsiteX1215" fmla="*/ 3018902 w 3862373"/>
                  <a:gd name="connsiteY1215" fmla="*/ 1970947 h 3682908"/>
                  <a:gd name="connsiteX1216" fmla="*/ 2979815 w 3862373"/>
                  <a:gd name="connsiteY1216" fmla="*/ 1931860 h 3682908"/>
                  <a:gd name="connsiteX1217" fmla="*/ 3018902 w 3862373"/>
                  <a:gd name="connsiteY1217" fmla="*/ 1892773 h 3682908"/>
                  <a:gd name="connsiteX1218" fmla="*/ 2924263 w 3862373"/>
                  <a:gd name="connsiteY1218" fmla="*/ 1892773 h 3682908"/>
                  <a:gd name="connsiteX1219" fmla="*/ 2963349 w 3862373"/>
                  <a:gd name="connsiteY1219" fmla="*/ 1931860 h 3682908"/>
                  <a:gd name="connsiteX1220" fmla="*/ 2924263 w 3862373"/>
                  <a:gd name="connsiteY1220" fmla="*/ 1970947 h 3682908"/>
                  <a:gd name="connsiteX1221" fmla="*/ 2885175 w 3862373"/>
                  <a:gd name="connsiteY1221" fmla="*/ 1931860 h 3682908"/>
                  <a:gd name="connsiteX1222" fmla="*/ 2924263 w 3862373"/>
                  <a:gd name="connsiteY1222" fmla="*/ 1892773 h 3682908"/>
                  <a:gd name="connsiteX1223" fmla="*/ 2831987 w 3862373"/>
                  <a:gd name="connsiteY1223" fmla="*/ 1892773 h 3682908"/>
                  <a:gd name="connsiteX1224" fmla="*/ 2871074 w 3862373"/>
                  <a:gd name="connsiteY1224" fmla="*/ 1931860 h 3682908"/>
                  <a:gd name="connsiteX1225" fmla="*/ 2831987 w 3862373"/>
                  <a:gd name="connsiteY1225" fmla="*/ 1970947 h 3682908"/>
                  <a:gd name="connsiteX1226" fmla="*/ 2792900 w 3862373"/>
                  <a:gd name="connsiteY1226" fmla="*/ 1931860 h 3682908"/>
                  <a:gd name="connsiteX1227" fmla="*/ 2831987 w 3862373"/>
                  <a:gd name="connsiteY1227" fmla="*/ 1892773 h 3682908"/>
                  <a:gd name="connsiteX1228" fmla="*/ 2737356 w 3862373"/>
                  <a:gd name="connsiteY1228" fmla="*/ 1892773 h 3682908"/>
                  <a:gd name="connsiteX1229" fmla="*/ 2776434 w 3862373"/>
                  <a:gd name="connsiteY1229" fmla="*/ 1931860 h 3682908"/>
                  <a:gd name="connsiteX1230" fmla="*/ 2737356 w 3862373"/>
                  <a:gd name="connsiteY1230" fmla="*/ 1970947 h 3682908"/>
                  <a:gd name="connsiteX1231" fmla="*/ 2698265 w 3862373"/>
                  <a:gd name="connsiteY1231" fmla="*/ 1931860 h 3682908"/>
                  <a:gd name="connsiteX1232" fmla="*/ 2737356 w 3862373"/>
                  <a:gd name="connsiteY1232" fmla="*/ 1892773 h 3682908"/>
                  <a:gd name="connsiteX1233" fmla="*/ 2645073 w 3862373"/>
                  <a:gd name="connsiteY1233" fmla="*/ 1892773 h 3682908"/>
                  <a:gd name="connsiteX1234" fmla="*/ 2684163 w 3862373"/>
                  <a:gd name="connsiteY1234" fmla="*/ 1931860 h 3682908"/>
                  <a:gd name="connsiteX1235" fmla="*/ 2645073 w 3862373"/>
                  <a:gd name="connsiteY1235" fmla="*/ 1970947 h 3682908"/>
                  <a:gd name="connsiteX1236" fmla="*/ 2605987 w 3862373"/>
                  <a:gd name="connsiteY1236" fmla="*/ 1931860 h 3682908"/>
                  <a:gd name="connsiteX1237" fmla="*/ 2645073 w 3862373"/>
                  <a:gd name="connsiteY1237" fmla="*/ 1892773 h 3682908"/>
                  <a:gd name="connsiteX1238" fmla="*/ 2550436 w 3862373"/>
                  <a:gd name="connsiteY1238" fmla="*/ 1892773 h 3682908"/>
                  <a:gd name="connsiteX1239" fmla="*/ 2589522 w 3862373"/>
                  <a:gd name="connsiteY1239" fmla="*/ 1931860 h 3682908"/>
                  <a:gd name="connsiteX1240" fmla="*/ 2550436 w 3862373"/>
                  <a:gd name="connsiteY1240" fmla="*/ 1970947 h 3682908"/>
                  <a:gd name="connsiteX1241" fmla="*/ 2511351 w 3862373"/>
                  <a:gd name="connsiteY1241" fmla="*/ 1931860 h 3682908"/>
                  <a:gd name="connsiteX1242" fmla="*/ 2550436 w 3862373"/>
                  <a:gd name="connsiteY1242" fmla="*/ 1892773 h 3682908"/>
                  <a:gd name="connsiteX1243" fmla="*/ 2458164 w 3862373"/>
                  <a:gd name="connsiteY1243" fmla="*/ 1892773 h 3682908"/>
                  <a:gd name="connsiteX1244" fmla="*/ 2497251 w 3862373"/>
                  <a:gd name="connsiteY1244" fmla="*/ 1931860 h 3682908"/>
                  <a:gd name="connsiteX1245" fmla="*/ 2458164 w 3862373"/>
                  <a:gd name="connsiteY1245" fmla="*/ 1970947 h 3682908"/>
                  <a:gd name="connsiteX1246" fmla="*/ 2419078 w 3862373"/>
                  <a:gd name="connsiteY1246" fmla="*/ 1931860 h 3682908"/>
                  <a:gd name="connsiteX1247" fmla="*/ 2458164 w 3862373"/>
                  <a:gd name="connsiteY1247" fmla="*/ 1892773 h 3682908"/>
                  <a:gd name="connsiteX1248" fmla="*/ 2363524 w 3862373"/>
                  <a:gd name="connsiteY1248" fmla="*/ 1892773 h 3682908"/>
                  <a:gd name="connsiteX1249" fmla="*/ 2402611 w 3862373"/>
                  <a:gd name="connsiteY1249" fmla="*/ 1931860 h 3682908"/>
                  <a:gd name="connsiteX1250" fmla="*/ 2363524 w 3862373"/>
                  <a:gd name="connsiteY1250" fmla="*/ 1970947 h 3682908"/>
                  <a:gd name="connsiteX1251" fmla="*/ 2324437 w 3862373"/>
                  <a:gd name="connsiteY1251" fmla="*/ 1931860 h 3682908"/>
                  <a:gd name="connsiteX1252" fmla="*/ 2363524 w 3862373"/>
                  <a:gd name="connsiteY1252" fmla="*/ 1892773 h 3682908"/>
                  <a:gd name="connsiteX1253" fmla="*/ 2266521 w 3862373"/>
                  <a:gd name="connsiteY1253" fmla="*/ 1892773 h 3682908"/>
                  <a:gd name="connsiteX1254" fmla="*/ 2305606 w 3862373"/>
                  <a:gd name="connsiteY1254" fmla="*/ 1931860 h 3682908"/>
                  <a:gd name="connsiteX1255" fmla="*/ 2266521 w 3862373"/>
                  <a:gd name="connsiteY1255" fmla="*/ 1970947 h 3682908"/>
                  <a:gd name="connsiteX1256" fmla="*/ 2227432 w 3862373"/>
                  <a:gd name="connsiteY1256" fmla="*/ 1931860 h 3682908"/>
                  <a:gd name="connsiteX1257" fmla="*/ 2266521 w 3862373"/>
                  <a:gd name="connsiteY1257" fmla="*/ 1892773 h 3682908"/>
                  <a:gd name="connsiteX1258" fmla="*/ 951048 w 3862373"/>
                  <a:gd name="connsiteY1258" fmla="*/ 1892773 h 3682908"/>
                  <a:gd name="connsiteX1259" fmla="*/ 990133 w 3862373"/>
                  <a:gd name="connsiteY1259" fmla="*/ 1931860 h 3682908"/>
                  <a:gd name="connsiteX1260" fmla="*/ 951048 w 3862373"/>
                  <a:gd name="connsiteY1260" fmla="*/ 1970947 h 3682908"/>
                  <a:gd name="connsiteX1261" fmla="*/ 911963 w 3862373"/>
                  <a:gd name="connsiteY1261" fmla="*/ 1931860 h 3682908"/>
                  <a:gd name="connsiteX1262" fmla="*/ 951048 w 3862373"/>
                  <a:gd name="connsiteY1262" fmla="*/ 1892773 h 3682908"/>
                  <a:gd name="connsiteX1263" fmla="*/ 764144 w 3862373"/>
                  <a:gd name="connsiteY1263" fmla="*/ 1892773 h 3682908"/>
                  <a:gd name="connsiteX1264" fmla="*/ 803230 w 3862373"/>
                  <a:gd name="connsiteY1264" fmla="*/ 1931860 h 3682908"/>
                  <a:gd name="connsiteX1265" fmla="*/ 764144 w 3862373"/>
                  <a:gd name="connsiteY1265" fmla="*/ 1970947 h 3682908"/>
                  <a:gd name="connsiteX1266" fmla="*/ 725059 w 3862373"/>
                  <a:gd name="connsiteY1266" fmla="*/ 1931860 h 3682908"/>
                  <a:gd name="connsiteX1267" fmla="*/ 764144 w 3862373"/>
                  <a:gd name="connsiteY1267" fmla="*/ 1892773 h 3682908"/>
                  <a:gd name="connsiteX1268" fmla="*/ 577226 w 3862373"/>
                  <a:gd name="connsiteY1268" fmla="*/ 1892773 h 3682908"/>
                  <a:gd name="connsiteX1269" fmla="*/ 616318 w 3862373"/>
                  <a:gd name="connsiteY1269" fmla="*/ 1931860 h 3682908"/>
                  <a:gd name="connsiteX1270" fmla="*/ 577226 w 3862373"/>
                  <a:gd name="connsiteY1270" fmla="*/ 1970947 h 3682908"/>
                  <a:gd name="connsiteX1271" fmla="*/ 538134 w 3862373"/>
                  <a:gd name="connsiteY1271" fmla="*/ 1931860 h 3682908"/>
                  <a:gd name="connsiteX1272" fmla="*/ 577226 w 3862373"/>
                  <a:gd name="connsiteY1272" fmla="*/ 1892773 h 3682908"/>
                  <a:gd name="connsiteX1273" fmla="*/ 484945 w 3862373"/>
                  <a:gd name="connsiteY1273" fmla="*/ 1892773 h 3682908"/>
                  <a:gd name="connsiteX1274" fmla="*/ 524032 w 3862373"/>
                  <a:gd name="connsiteY1274" fmla="*/ 1931860 h 3682908"/>
                  <a:gd name="connsiteX1275" fmla="*/ 484945 w 3862373"/>
                  <a:gd name="connsiteY1275" fmla="*/ 1970947 h 3682908"/>
                  <a:gd name="connsiteX1276" fmla="*/ 445867 w 3862373"/>
                  <a:gd name="connsiteY1276" fmla="*/ 1931860 h 3682908"/>
                  <a:gd name="connsiteX1277" fmla="*/ 484945 w 3862373"/>
                  <a:gd name="connsiteY1277" fmla="*/ 1892773 h 3682908"/>
                  <a:gd name="connsiteX1278" fmla="*/ 3861717 w 3862373"/>
                  <a:gd name="connsiteY1278" fmla="*/ 1806975 h 3682908"/>
                  <a:gd name="connsiteX1279" fmla="*/ 3858023 w 3862373"/>
                  <a:gd name="connsiteY1279" fmla="*/ 1880127 h 3682908"/>
                  <a:gd name="connsiteX1280" fmla="*/ 3838294 w 3862373"/>
                  <a:gd name="connsiteY1280" fmla="*/ 1871955 h 3682908"/>
                  <a:gd name="connsiteX1281" fmla="*/ 3826845 w 3862373"/>
                  <a:gd name="connsiteY1281" fmla="*/ 1844316 h 3682908"/>
                  <a:gd name="connsiteX1282" fmla="*/ 3838294 w 3862373"/>
                  <a:gd name="connsiteY1282" fmla="*/ 1816677 h 3682908"/>
                  <a:gd name="connsiteX1283" fmla="*/ 3679017 w 3862373"/>
                  <a:gd name="connsiteY1283" fmla="*/ 1805229 h 3682908"/>
                  <a:gd name="connsiteX1284" fmla="*/ 3718103 w 3862373"/>
                  <a:gd name="connsiteY1284" fmla="*/ 1844316 h 3682908"/>
                  <a:gd name="connsiteX1285" fmla="*/ 3679017 w 3862373"/>
                  <a:gd name="connsiteY1285" fmla="*/ 1883404 h 3682908"/>
                  <a:gd name="connsiteX1286" fmla="*/ 3639929 w 3862373"/>
                  <a:gd name="connsiteY1286" fmla="*/ 1844316 h 3682908"/>
                  <a:gd name="connsiteX1287" fmla="*/ 3679017 w 3862373"/>
                  <a:gd name="connsiteY1287" fmla="*/ 1805229 h 3682908"/>
                  <a:gd name="connsiteX1288" fmla="*/ 3300457 w 3862373"/>
                  <a:gd name="connsiteY1288" fmla="*/ 1805229 h 3682908"/>
                  <a:gd name="connsiteX1289" fmla="*/ 3339544 w 3862373"/>
                  <a:gd name="connsiteY1289" fmla="*/ 1844316 h 3682908"/>
                  <a:gd name="connsiteX1290" fmla="*/ 3300457 w 3862373"/>
                  <a:gd name="connsiteY1290" fmla="*/ 1883404 h 3682908"/>
                  <a:gd name="connsiteX1291" fmla="*/ 3261369 w 3862373"/>
                  <a:gd name="connsiteY1291" fmla="*/ 1844316 h 3682908"/>
                  <a:gd name="connsiteX1292" fmla="*/ 3300457 w 3862373"/>
                  <a:gd name="connsiteY1292" fmla="*/ 1805229 h 3682908"/>
                  <a:gd name="connsiteX1293" fmla="*/ 3111175 w 3862373"/>
                  <a:gd name="connsiteY1293" fmla="*/ 1805229 h 3682908"/>
                  <a:gd name="connsiteX1294" fmla="*/ 3150263 w 3862373"/>
                  <a:gd name="connsiteY1294" fmla="*/ 1844316 h 3682908"/>
                  <a:gd name="connsiteX1295" fmla="*/ 3111175 w 3862373"/>
                  <a:gd name="connsiteY1295" fmla="*/ 1883404 h 3682908"/>
                  <a:gd name="connsiteX1296" fmla="*/ 3072088 w 3862373"/>
                  <a:gd name="connsiteY1296" fmla="*/ 1844316 h 3682908"/>
                  <a:gd name="connsiteX1297" fmla="*/ 3111175 w 3862373"/>
                  <a:gd name="connsiteY1297" fmla="*/ 1805229 h 3682908"/>
                  <a:gd name="connsiteX1298" fmla="*/ 3018902 w 3862373"/>
                  <a:gd name="connsiteY1298" fmla="*/ 1805229 h 3682908"/>
                  <a:gd name="connsiteX1299" fmla="*/ 3057989 w 3862373"/>
                  <a:gd name="connsiteY1299" fmla="*/ 1844316 h 3682908"/>
                  <a:gd name="connsiteX1300" fmla="*/ 3018902 w 3862373"/>
                  <a:gd name="connsiteY1300" fmla="*/ 1883404 h 3682908"/>
                  <a:gd name="connsiteX1301" fmla="*/ 2979815 w 3862373"/>
                  <a:gd name="connsiteY1301" fmla="*/ 1844316 h 3682908"/>
                  <a:gd name="connsiteX1302" fmla="*/ 3018902 w 3862373"/>
                  <a:gd name="connsiteY1302" fmla="*/ 1805229 h 3682908"/>
                  <a:gd name="connsiteX1303" fmla="*/ 2831988 w 3862373"/>
                  <a:gd name="connsiteY1303" fmla="*/ 1805229 h 3682908"/>
                  <a:gd name="connsiteX1304" fmla="*/ 2871075 w 3862373"/>
                  <a:gd name="connsiteY1304" fmla="*/ 1844316 h 3682908"/>
                  <a:gd name="connsiteX1305" fmla="*/ 2831988 w 3862373"/>
                  <a:gd name="connsiteY1305" fmla="*/ 1883404 h 3682908"/>
                  <a:gd name="connsiteX1306" fmla="*/ 2792901 w 3862373"/>
                  <a:gd name="connsiteY1306" fmla="*/ 1844316 h 3682908"/>
                  <a:gd name="connsiteX1307" fmla="*/ 2831988 w 3862373"/>
                  <a:gd name="connsiteY1307" fmla="*/ 1805229 h 3682908"/>
                  <a:gd name="connsiteX1308" fmla="*/ 2737358 w 3862373"/>
                  <a:gd name="connsiteY1308" fmla="*/ 1805229 h 3682908"/>
                  <a:gd name="connsiteX1309" fmla="*/ 2776434 w 3862373"/>
                  <a:gd name="connsiteY1309" fmla="*/ 1844316 h 3682908"/>
                  <a:gd name="connsiteX1310" fmla="*/ 2737358 w 3862373"/>
                  <a:gd name="connsiteY1310" fmla="*/ 1883404 h 3682908"/>
                  <a:gd name="connsiteX1311" fmla="*/ 2698265 w 3862373"/>
                  <a:gd name="connsiteY1311" fmla="*/ 1844316 h 3682908"/>
                  <a:gd name="connsiteX1312" fmla="*/ 2737358 w 3862373"/>
                  <a:gd name="connsiteY1312" fmla="*/ 1805229 h 3682908"/>
                  <a:gd name="connsiteX1313" fmla="*/ 2645073 w 3862373"/>
                  <a:gd name="connsiteY1313" fmla="*/ 1805229 h 3682908"/>
                  <a:gd name="connsiteX1314" fmla="*/ 2684163 w 3862373"/>
                  <a:gd name="connsiteY1314" fmla="*/ 1844316 h 3682908"/>
                  <a:gd name="connsiteX1315" fmla="*/ 2645073 w 3862373"/>
                  <a:gd name="connsiteY1315" fmla="*/ 1883404 h 3682908"/>
                  <a:gd name="connsiteX1316" fmla="*/ 2605987 w 3862373"/>
                  <a:gd name="connsiteY1316" fmla="*/ 1844316 h 3682908"/>
                  <a:gd name="connsiteX1317" fmla="*/ 2645073 w 3862373"/>
                  <a:gd name="connsiteY1317" fmla="*/ 1805229 h 3682908"/>
                  <a:gd name="connsiteX1318" fmla="*/ 2550436 w 3862373"/>
                  <a:gd name="connsiteY1318" fmla="*/ 1805229 h 3682908"/>
                  <a:gd name="connsiteX1319" fmla="*/ 2589522 w 3862373"/>
                  <a:gd name="connsiteY1319" fmla="*/ 1844316 h 3682908"/>
                  <a:gd name="connsiteX1320" fmla="*/ 2550436 w 3862373"/>
                  <a:gd name="connsiteY1320" fmla="*/ 1883404 h 3682908"/>
                  <a:gd name="connsiteX1321" fmla="*/ 2511352 w 3862373"/>
                  <a:gd name="connsiteY1321" fmla="*/ 1844316 h 3682908"/>
                  <a:gd name="connsiteX1322" fmla="*/ 2550436 w 3862373"/>
                  <a:gd name="connsiteY1322" fmla="*/ 1805229 h 3682908"/>
                  <a:gd name="connsiteX1323" fmla="*/ 2363525 w 3862373"/>
                  <a:gd name="connsiteY1323" fmla="*/ 1805229 h 3682908"/>
                  <a:gd name="connsiteX1324" fmla="*/ 2402611 w 3862373"/>
                  <a:gd name="connsiteY1324" fmla="*/ 1844316 h 3682908"/>
                  <a:gd name="connsiteX1325" fmla="*/ 2363525 w 3862373"/>
                  <a:gd name="connsiteY1325" fmla="*/ 1883404 h 3682908"/>
                  <a:gd name="connsiteX1326" fmla="*/ 2324438 w 3862373"/>
                  <a:gd name="connsiteY1326" fmla="*/ 1844316 h 3682908"/>
                  <a:gd name="connsiteX1327" fmla="*/ 2363525 w 3862373"/>
                  <a:gd name="connsiteY1327" fmla="*/ 1805229 h 3682908"/>
                  <a:gd name="connsiteX1328" fmla="*/ 3771293 w 3862373"/>
                  <a:gd name="connsiteY1328" fmla="*/ 1805229 h 3682908"/>
                  <a:gd name="connsiteX1329" fmla="*/ 3810379 w 3862373"/>
                  <a:gd name="connsiteY1329" fmla="*/ 1844316 h 3682908"/>
                  <a:gd name="connsiteX1330" fmla="*/ 3771293 w 3862373"/>
                  <a:gd name="connsiteY1330" fmla="*/ 1883403 h 3682908"/>
                  <a:gd name="connsiteX1331" fmla="*/ 3732205 w 3862373"/>
                  <a:gd name="connsiteY1331" fmla="*/ 1844316 h 3682908"/>
                  <a:gd name="connsiteX1332" fmla="*/ 3771293 w 3862373"/>
                  <a:gd name="connsiteY1332" fmla="*/ 1805229 h 3682908"/>
                  <a:gd name="connsiteX1333" fmla="*/ 3584377 w 3862373"/>
                  <a:gd name="connsiteY1333" fmla="*/ 1805229 h 3682908"/>
                  <a:gd name="connsiteX1334" fmla="*/ 3623463 w 3862373"/>
                  <a:gd name="connsiteY1334" fmla="*/ 1844316 h 3682908"/>
                  <a:gd name="connsiteX1335" fmla="*/ 3584377 w 3862373"/>
                  <a:gd name="connsiteY1335" fmla="*/ 1883403 h 3682908"/>
                  <a:gd name="connsiteX1336" fmla="*/ 3545289 w 3862373"/>
                  <a:gd name="connsiteY1336" fmla="*/ 1844316 h 3682908"/>
                  <a:gd name="connsiteX1337" fmla="*/ 3584377 w 3862373"/>
                  <a:gd name="connsiteY1337" fmla="*/ 1805229 h 3682908"/>
                  <a:gd name="connsiteX1338" fmla="*/ 3489737 w 3862373"/>
                  <a:gd name="connsiteY1338" fmla="*/ 1805229 h 3682908"/>
                  <a:gd name="connsiteX1339" fmla="*/ 3528823 w 3862373"/>
                  <a:gd name="connsiteY1339" fmla="*/ 1844316 h 3682908"/>
                  <a:gd name="connsiteX1340" fmla="*/ 3489737 w 3862373"/>
                  <a:gd name="connsiteY1340" fmla="*/ 1883403 h 3682908"/>
                  <a:gd name="connsiteX1341" fmla="*/ 3450649 w 3862373"/>
                  <a:gd name="connsiteY1341" fmla="*/ 1844316 h 3682908"/>
                  <a:gd name="connsiteX1342" fmla="*/ 3489737 w 3862373"/>
                  <a:gd name="connsiteY1342" fmla="*/ 1805229 h 3682908"/>
                  <a:gd name="connsiteX1343" fmla="*/ 3392731 w 3862373"/>
                  <a:gd name="connsiteY1343" fmla="*/ 1805229 h 3682908"/>
                  <a:gd name="connsiteX1344" fmla="*/ 3431819 w 3862373"/>
                  <a:gd name="connsiteY1344" fmla="*/ 1844316 h 3682908"/>
                  <a:gd name="connsiteX1345" fmla="*/ 3392731 w 3862373"/>
                  <a:gd name="connsiteY1345" fmla="*/ 1883403 h 3682908"/>
                  <a:gd name="connsiteX1346" fmla="*/ 3353644 w 3862373"/>
                  <a:gd name="connsiteY1346" fmla="*/ 1844316 h 3682908"/>
                  <a:gd name="connsiteX1347" fmla="*/ 3392731 w 3862373"/>
                  <a:gd name="connsiteY1347" fmla="*/ 1805229 h 3682908"/>
                  <a:gd name="connsiteX1348" fmla="*/ 3205817 w 3862373"/>
                  <a:gd name="connsiteY1348" fmla="*/ 1805229 h 3682908"/>
                  <a:gd name="connsiteX1349" fmla="*/ 3244904 w 3862373"/>
                  <a:gd name="connsiteY1349" fmla="*/ 1844316 h 3682908"/>
                  <a:gd name="connsiteX1350" fmla="*/ 3205817 w 3862373"/>
                  <a:gd name="connsiteY1350" fmla="*/ 1883403 h 3682908"/>
                  <a:gd name="connsiteX1351" fmla="*/ 3166729 w 3862373"/>
                  <a:gd name="connsiteY1351" fmla="*/ 1844316 h 3682908"/>
                  <a:gd name="connsiteX1352" fmla="*/ 3205817 w 3862373"/>
                  <a:gd name="connsiteY1352" fmla="*/ 1805229 h 3682908"/>
                  <a:gd name="connsiteX1353" fmla="*/ 2924263 w 3862373"/>
                  <a:gd name="connsiteY1353" fmla="*/ 1805229 h 3682908"/>
                  <a:gd name="connsiteX1354" fmla="*/ 2963349 w 3862373"/>
                  <a:gd name="connsiteY1354" fmla="*/ 1844316 h 3682908"/>
                  <a:gd name="connsiteX1355" fmla="*/ 2924263 w 3862373"/>
                  <a:gd name="connsiteY1355" fmla="*/ 1883403 h 3682908"/>
                  <a:gd name="connsiteX1356" fmla="*/ 2885175 w 3862373"/>
                  <a:gd name="connsiteY1356" fmla="*/ 1844316 h 3682908"/>
                  <a:gd name="connsiteX1357" fmla="*/ 2924263 w 3862373"/>
                  <a:gd name="connsiteY1357" fmla="*/ 1805229 h 3682908"/>
                  <a:gd name="connsiteX1358" fmla="*/ 2458164 w 3862373"/>
                  <a:gd name="connsiteY1358" fmla="*/ 1805229 h 3682908"/>
                  <a:gd name="connsiteX1359" fmla="*/ 2497252 w 3862373"/>
                  <a:gd name="connsiteY1359" fmla="*/ 1844316 h 3682908"/>
                  <a:gd name="connsiteX1360" fmla="*/ 2458164 w 3862373"/>
                  <a:gd name="connsiteY1360" fmla="*/ 1883403 h 3682908"/>
                  <a:gd name="connsiteX1361" fmla="*/ 2419079 w 3862373"/>
                  <a:gd name="connsiteY1361" fmla="*/ 1844316 h 3682908"/>
                  <a:gd name="connsiteX1362" fmla="*/ 2458164 w 3862373"/>
                  <a:gd name="connsiteY1362" fmla="*/ 1805229 h 3682908"/>
                  <a:gd name="connsiteX1363" fmla="*/ 2266523 w 3862373"/>
                  <a:gd name="connsiteY1363" fmla="*/ 1805229 h 3682908"/>
                  <a:gd name="connsiteX1364" fmla="*/ 2305609 w 3862373"/>
                  <a:gd name="connsiteY1364" fmla="*/ 1844316 h 3682908"/>
                  <a:gd name="connsiteX1365" fmla="*/ 2266523 w 3862373"/>
                  <a:gd name="connsiteY1365" fmla="*/ 1883403 h 3682908"/>
                  <a:gd name="connsiteX1366" fmla="*/ 2227433 w 3862373"/>
                  <a:gd name="connsiteY1366" fmla="*/ 1844316 h 3682908"/>
                  <a:gd name="connsiteX1367" fmla="*/ 2266523 w 3862373"/>
                  <a:gd name="connsiteY1367" fmla="*/ 1805229 h 3682908"/>
                  <a:gd name="connsiteX1368" fmla="*/ 577230 w 3862373"/>
                  <a:gd name="connsiteY1368" fmla="*/ 1805229 h 3682908"/>
                  <a:gd name="connsiteX1369" fmla="*/ 616322 w 3862373"/>
                  <a:gd name="connsiteY1369" fmla="*/ 1844316 h 3682908"/>
                  <a:gd name="connsiteX1370" fmla="*/ 577230 w 3862373"/>
                  <a:gd name="connsiteY1370" fmla="*/ 1883403 h 3682908"/>
                  <a:gd name="connsiteX1371" fmla="*/ 538137 w 3862373"/>
                  <a:gd name="connsiteY1371" fmla="*/ 1844316 h 3682908"/>
                  <a:gd name="connsiteX1372" fmla="*/ 577230 w 3862373"/>
                  <a:gd name="connsiteY1372" fmla="*/ 1805229 h 3682908"/>
                  <a:gd name="connsiteX1373" fmla="*/ 484947 w 3862373"/>
                  <a:gd name="connsiteY1373" fmla="*/ 1805229 h 3682908"/>
                  <a:gd name="connsiteX1374" fmla="*/ 524035 w 3862373"/>
                  <a:gd name="connsiteY1374" fmla="*/ 1844316 h 3682908"/>
                  <a:gd name="connsiteX1375" fmla="*/ 484947 w 3862373"/>
                  <a:gd name="connsiteY1375" fmla="*/ 1883403 h 3682908"/>
                  <a:gd name="connsiteX1376" fmla="*/ 445867 w 3862373"/>
                  <a:gd name="connsiteY1376" fmla="*/ 1844316 h 3682908"/>
                  <a:gd name="connsiteX1377" fmla="*/ 484947 w 3862373"/>
                  <a:gd name="connsiteY1377" fmla="*/ 1805229 h 3682908"/>
                  <a:gd name="connsiteX1378" fmla="*/ 390307 w 3862373"/>
                  <a:gd name="connsiteY1378" fmla="*/ 1805229 h 3682908"/>
                  <a:gd name="connsiteX1379" fmla="*/ 429399 w 3862373"/>
                  <a:gd name="connsiteY1379" fmla="*/ 1844316 h 3682908"/>
                  <a:gd name="connsiteX1380" fmla="*/ 390307 w 3862373"/>
                  <a:gd name="connsiteY1380" fmla="*/ 1883403 h 3682908"/>
                  <a:gd name="connsiteX1381" fmla="*/ 351227 w 3862373"/>
                  <a:gd name="connsiteY1381" fmla="*/ 1844316 h 3682908"/>
                  <a:gd name="connsiteX1382" fmla="*/ 390307 w 3862373"/>
                  <a:gd name="connsiteY1382" fmla="*/ 1805229 h 3682908"/>
                  <a:gd name="connsiteX1383" fmla="*/ 3858672 w 3862373"/>
                  <a:gd name="connsiteY1383" fmla="*/ 1720694 h 3682908"/>
                  <a:gd name="connsiteX1384" fmla="*/ 3862373 w 3862373"/>
                  <a:gd name="connsiteY1384" fmla="*/ 1793978 h 3682908"/>
                  <a:gd name="connsiteX1385" fmla="*/ 3862353 w 3862373"/>
                  <a:gd name="connsiteY1385" fmla="*/ 1794377 h 3682908"/>
                  <a:gd name="connsiteX1386" fmla="*/ 3838294 w 3862373"/>
                  <a:gd name="connsiteY1386" fmla="*/ 1784412 h 3682908"/>
                  <a:gd name="connsiteX1387" fmla="*/ 3826845 w 3862373"/>
                  <a:gd name="connsiteY1387" fmla="*/ 1756774 h 3682908"/>
                  <a:gd name="connsiteX1388" fmla="*/ 3838294 w 3862373"/>
                  <a:gd name="connsiteY1388" fmla="*/ 1729135 h 3682908"/>
                  <a:gd name="connsiteX1389" fmla="*/ 3771293 w 3862373"/>
                  <a:gd name="connsiteY1389" fmla="*/ 1717686 h 3682908"/>
                  <a:gd name="connsiteX1390" fmla="*/ 3810379 w 3862373"/>
                  <a:gd name="connsiteY1390" fmla="*/ 1756774 h 3682908"/>
                  <a:gd name="connsiteX1391" fmla="*/ 3771293 w 3862373"/>
                  <a:gd name="connsiteY1391" fmla="*/ 1795860 h 3682908"/>
                  <a:gd name="connsiteX1392" fmla="*/ 3732205 w 3862373"/>
                  <a:gd name="connsiteY1392" fmla="*/ 1756774 h 3682908"/>
                  <a:gd name="connsiteX1393" fmla="*/ 3771293 w 3862373"/>
                  <a:gd name="connsiteY1393" fmla="*/ 1717686 h 3682908"/>
                  <a:gd name="connsiteX1394" fmla="*/ 3679017 w 3862373"/>
                  <a:gd name="connsiteY1394" fmla="*/ 1717686 h 3682908"/>
                  <a:gd name="connsiteX1395" fmla="*/ 3718103 w 3862373"/>
                  <a:gd name="connsiteY1395" fmla="*/ 1756774 h 3682908"/>
                  <a:gd name="connsiteX1396" fmla="*/ 3679017 w 3862373"/>
                  <a:gd name="connsiteY1396" fmla="*/ 1795860 h 3682908"/>
                  <a:gd name="connsiteX1397" fmla="*/ 3639929 w 3862373"/>
                  <a:gd name="connsiteY1397" fmla="*/ 1756774 h 3682908"/>
                  <a:gd name="connsiteX1398" fmla="*/ 3679017 w 3862373"/>
                  <a:gd name="connsiteY1398" fmla="*/ 1717686 h 3682908"/>
                  <a:gd name="connsiteX1399" fmla="*/ 3584377 w 3862373"/>
                  <a:gd name="connsiteY1399" fmla="*/ 1717686 h 3682908"/>
                  <a:gd name="connsiteX1400" fmla="*/ 3623463 w 3862373"/>
                  <a:gd name="connsiteY1400" fmla="*/ 1756774 h 3682908"/>
                  <a:gd name="connsiteX1401" fmla="*/ 3584377 w 3862373"/>
                  <a:gd name="connsiteY1401" fmla="*/ 1795860 h 3682908"/>
                  <a:gd name="connsiteX1402" fmla="*/ 3545289 w 3862373"/>
                  <a:gd name="connsiteY1402" fmla="*/ 1756774 h 3682908"/>
                  <a:gd name="connsiteX1403" fmla="*/ 3584377 w 3862373"/>
                  <a:gd name="connsiteY1403" fmla="*/ 1717686 h 3682908"/>
                  <a:gd name="connsiteX1404" fmla="*/ 3489737 w 3862373"/>
                  <a:gd name="connsiteY1404" fmla="*/ 1717686 h 3682908"/>
                  <a:gd name="connsiteX1405" fmla="*/ 3528823 w 3862373"/>
                  <a:gd name="connsiteY1405" fmla="*/ 1756774 h 3682908"/>
                  <a:gd name="connsiteX1406" fmla="*/ 3489737 w 3862373"/>
                  <a:gd name="connsiteY1406" fmla="*/ 1795860 h 3682908"/>
                  <a:gd name="connsiteX1407" fmla="*/ 3450649 w 3862373"/>
                  <a:gd name="connsiteY1407" fmla="*/ 1756774 h 3682908"/>
                  <a:gd name="connsiteX1408" fmla="*/ 3489737 w 3862373"/>
                  <a:gd name="connsiteY1408" fmla="*/ 1717686 h 3682908"/>
                  <a:gd name="connsiteX1409" fmla="*/ 3392731 w 3862373"/>
                  <a:gd name="connsiteY1409" fmla="*/ 1717686 h 3682908"/>
                  <a:gd name="connsiteX1410" fmla="*/ 3431819 w 3862373"/>
                  <a:gd name="connsiteY1410" fmla="*/ 1756774 h 3682908"/>
                  <a:gd name="connsiteX1411" fmla="*/ 3392731 w 3862373"/>
                  <a:gd name="connsiteY1411" fmla="*/ 1795860 h 3682908"/>
                  <a:gd name="connsiteX1412" fmla="*/ 3353644 w 3862373"/>
                  <a:gd name="connsiteY1412" fmla="*/ 1756774 h 3682908"/>
                  <a:gd name="connsiteX1413" fmla="*/ 3392731 w 3862373"/>
                  <a:gd name="connsiteY1413" fmla="*/ 1717686 h 3682908"/>
                  <a:gd name="connsiteX1414" fmla="*/ 3300457 w 3862373"/>
                  <a:gd name="connsiteY1414" fmla="*/ 1717686 h 3682908"/>
                  <a:gd name="connsiteX1415" fmla="*/ 3339544 w 3862373"/>
                  <a:gd name="connsiteY1415" fmla="*/ 1756774 h 3682908"/>
                  <a:gd name="connsiteX1416" fmla="*/ 3300457 w 3862373"/>
                  <a:gd name="connsiteY1416" fmla="*/ 1795860 h 3682908"/>
                  <a:gd name="connsiteX1417" fmla="*/ 3261369 w 3862373"/>
                  <a:gd name="connsiteY1417" fmla="*/ 1756774 h 3682908"/>
                  <a:gd name="connsiteX1418" fmla="*/ 3300457 w 3862373"/>
                  <a:gd name="connsiteY1418" fmla="*/ 1717686 h 3682908"/>
                  <a:gd name="connsiteX1419" fmla="*/ 3205817 w 3862373"/>
                  <a:gd name="connsiteY1419" fmla="*/ 1717686 h 3682908"/>
                  <a:gd name="connsiteX1420" fmla="*/ 3244904 w 3862373"/>
                  <a:gd name="connsiteY1420" fmla="*/ 1756774 h 3682908"/>
                  <a:gd name="connsiteX1421" fmla="*/ 3205817 w 3862373"/>
                  <a:gd name="connsiteY1421" fmla="*/ 1795860 h 3682908"/>
                  <a:gd name="connsiteX1422" fmla="*/ 3166729 w 3862373"/>
                  <a:gd name="connsiteY1422" fmla="*/ 1756774 h 3682908"/>
                  <a:gd name="connsiteX1423" fmla="*/ 3205817 w 3862373"/>
                  <a:gd name="connsiteY1423" fmla="*/ 1717686 h 3682908"/>
                  <a:gd name="connsiteX1424" fmla="*/ 3111175 w 3862373"/>
                  <a:gd name="connsiteY1424" fmla="*/ 1717686 h 3682908"/>
                  <a:gd name="connsiteX1425" fmla="*/ 3150263 w 3862373"/>
                  <a:gd name="connsiteY1425" fmla="*/ 1756774 h 3682908"/>
                  <a:gd name="connsiteX1426" fmla="*/ 3111175 w 3862373"/>
                  <a:gd name="connsiteY1426" fmla="*/ 1795860 h 3682908"/>
                  <a:gd name="connsiteX1427" fmla="*/ 3072088 w 3862373"/>
                  <a:gd name="connsiteY1427" fmla="*/ 1756774 h 3682908"/>
                  <a:gd name="connsiteX1428" fmla="*/ 3111175 w 3862373"/>
                  <a:gd name="connsiteY1428" fmla="*/ 1717686 h 3682908"/>
                  <a:gd name="connsiteX1429" fmla="*/ 3018902 w 3862373"/>
                  <a:gd name="connsiteY1429" fmla="*/ 1717686 h 3682908"/>
                  <a:gd name="connsiteX1430" fmla="*/ 3057989 w 3862373"/>
                  <a:gd name="connsiteY1430" fmla="*/ 1756774 h 3682908"/>
                  <a:gd name="connsiteX1431" fmla="*/ 3018902 w 3862373"/>
                  <a:gd name="connsiteY1431" fmla="*/ 1795860 h 3682908"/>
                  <a:gd name="connsiteX1432" fmla="*/ 2979815 w 3862373"/>
                  <a:gd name="connsiteY1432" fmla="*/ 1756774 h 3682908"/>
                  <a:gd name="connsiteX1433" fmla="*/ 3018902 w 3862373"/>
                  <a:gd name="connsiteY1433" fmla="*/ 1717686 h 3682908"/>
                  <a:gd name="connsiteX1434" fmla="*/ 2924263 w 3862373"/>
                  <a:gd name="connsiteY1434" fmla="*/ 1717686 h 3682908"/>
                  <a:gd name="connsiteX1435" fmla="*/ 2963349 w 3862373"/>
                  <a:gd name="connsiteY1435" fmla="*/ 1756774 h 3682908"/>
                  <a:gd name="connsiteX1436" fmla="*/ 2924263 w 3862373"/>
                  <a:gd name="connsiteY1436" fmla="*/ 1795860 h 3682908"/>
                  <a:gd name="connsiteX1437" fmla="*/ 2885175 w 3862373"/>
                  <a:gd name="connsiteY1437" fmla="*/ 1756774 h 3682908"/>
                  <a:gd name="connsiteX1438" fmla="*/ 2924263 w 3862373"/>
                  <a:gd name="connsiteY1438" fmla="*/ 1717686 h 3682908"/>
                  <a:gd name="connsiteX1439" fmla="*/ 2831988 w 3862373"/>
                  <a:gd name="connsiteY1439" fmla="*/ 1717686 h 3682908"/>
                  <a:gd name="connsiteX1440" fmla="*/ 2871075 w 3862373"/>
                  <a:gd name="connsiteY1440" fmla="*/ 1756774 h 3682908"/>
                  <a:gd name="connsiteX1441" fmla="*/ 2831988 w 3862373"/>
                  <a:gd name="connsiteY1441" fmla="*/ 1795860 h 3682908"/>
                  <a:gd name="connsiteX1442" fmla="*/ 2792901 w 3862373"/>
                  <a:gd name="connsiteY1442" fmla="*/ 1756774 h 3682908"/>
                  <a:gd name="connsiteX1443" fmla="*/ 2831988 w 3862373"/>
                  <a:gd name="connsiteY1443" fmla="*/ 1717686 h 3682908"/>
                  <a:gd name="connsiteX1444" fmla="*/ 2737359 w 3862373"/>
                  <a:gd name="connsiteY1444" fmla="*/ 1717686 h 3682908"/>
                  <a:gd name="connsiteX1445" fmla="*/ 2776434 w 3862373"/>
                  <a:gd name="connsiteY1445" fmla="*/ 1756774 h 3682908"/>
                  <a:gd name="connsiteX1446" fmla="*/ 2737359 w 3862373"/>
                  <a:gd name="connsiteY1446" fmla="*/ 1795860 h 3682908"/>
                  <a:gd name="connsiteX1447" fmla="*/ 2698265 w 3862373"/>
                  <a:gd name="connsiteY1447" fmla="*/ 1756774 h 3682908"/>
                  <a:gd name="connsiteX1448" fmla="*/ 2737359 w 3862373"/>
                  <a:gd name="connsiteY1448" fmla="*/ 1717686 h 3682908"/>
                  <a:gd name="connsiteX1449" fmla="*/ 2645073 w 3862373"/>
                  <a:gd name="connsiteY1449" fmla="*/ 1717686 h 3682908"/>
                  <a:gd name="connsiteX1450" fmla="*/ 2684164 w 3862373"/>
                  <a:gd name="connsiteY1450" fmla="*/ 1756774 h 3682908"/>
                  <a:gd name="connsiteX1451" fmla="*/ 2645073 w 3862373"/>
                  <a:gd name="connsiteY1451" fmla="*/ 1795860 h 3682908"/>
                  <a:gd name="connsiteX1452" fmla="*/ 2605987 w 3862373"/>
                  <a:gd name="connsiteY1452" fmla="*/ 1756774 h 3682908"/>
                  <a:gd name="connsiteX1453" fmla="*/ 2645073 w 3862373"/>
                  <a:gd name="connsiteY1453" fmla="*/ 1717686 h 3682908"/>
                  <a:gd name="connsiteX1454" fmla="*/ 2550436 w 3862373"/>
                  <a:gd name="connsiteY1454" fmla="*/ 1717686 h 3682908"/>
                  <a:gd name="connsiteX1455" fmla="*/ 2589522 w 3862373"/>
                  <a:gd name="connsiteY1455" fmla="*/ 1756774 h 3682908"/>
                  <a:gd name="connsiteX1456" fmla="*/ 2550436 w 3862373"/>
                  <a:gd name="connsiteY1456" fmla="*/ 1795860 h 3682908"/>
                  <a:gd name="connsiteX1457" fmla="*/ 2511353 w 3862373"/>
                  <a:gd name="connsiteY1457" fmla="*/ 1756774 h 3682908"/>
                  <a:gd name="connsiteX1458" fmla="*/ 2550436 w 3862373"/>
                  <a:gd name="connsiteY1458" fmla="*/ 1717686 h 3682908"/>
                  <a:gd name="connsiteX1459" fmla="*/ 2458164 w 3862373"/>
                  <a:gd name="connsiteY1459" fmla="*/ 1717686 h 3682908"/>
                  <a:gd name="connsiteX1460" fmla="*/ 2497252 w 3862373"/>
                  <a:gd name="connsiteY1460" fmla="*/ 1756774 h 3682908"/>
                  <a:gd name="connsiteX1461" fmla="*/ 2458164 w 3862373"/>
                  <a:gd name="connsiteY1461" fmla="*/ 1795860 h 3682908"/>
                  <a:gd name="connsiteX1462" fmla="*/ 2419080 w 3862373"/>
                  <a:gd name="connsiteY1462" fmla="*/ 1756774 h 3682908"/>
                  <a:gd name="connsiteX1463" fmla="*/ 2458164 w 3862373"/>
                  <a:gd name="connsiteY1463" fmla="*/ 1717686 h 3682908"/>
                  <a:gd name="connsiteX1464" fmla="*/ 2363525 w 3862373"/>
                  <a:gd name="connsiteY1464" fmla="*/ 1717686 h 3682908"/>
                  <a:gd name="connsiteX1465" fmla="*/ 2402611 w 3862373"/>
                  <a:gd name="connsiteY1465" fmla="*/ 1756774 h 3682908"/>
                  <a:gd name="connsiteX1466" fmla="*/ 2363525 w 3862373"/>
                  <a:gd name="connsiteY1466" fmla="*/ 1795860 h 3682908"/>
                  <a:gd name="connsiteX1467" fmla="*/ 2324438 w 3862373"/>
                  <a:gd name="connsiteY1467" fmla="*/ 1756774 h 3682908"/>
                  <a:gd name="connsiteX1468" fmla="*/ 2363525 w 3862373"/>
                  <a:gd name="connsiteY1468" fmla="*/ 1717686 h 3682908"/>
                  <a:gd name="connsiteX1469" fmla="*/ 951054 w 3862373"/>
                  <a:gd name="connsiteY1469" fmla="*/ 1717686 h 3682908"/>
                  <a:gd name="connsiteX1470" fmla="*/ 990138 w 3862373"/>
                  <a:gd name="connsiteY1470" fmla="*/ 1756774 h 3682908"/>
                  <a:gd name="connsiteX1471" fmla="*/ 951054 w 3862373"/>
                  <a:gd name="connsiteY1471" fmla="*/ 1795860 h 3682908"/>
                  <a:gd name="connsiteX1472" fmla="*/ 911970 w 3862373"/>
                  <a:gd name="connsiteY1472" fmla="*/ 1756774 h 3682908"/>
                  <a:gd name="connsiteX1473" fmla="*/ 951054 w 3862373"/>
                  <a:gd name="connsiteY1473" fmla="*/ 1717686 h 3682908"/>
                  <a:gd name="connsiteX1474" fmla="*/ 577233 w 3862373"/>
                  <a:gd name="connsiteY1474" fmla="*/ 1717686 h 3682908"/>
                  <a:gd name="connsiteX1475" fmla="*/ 616327 w 3862373"/>
                  <a:gd name="connsiteY1475" fmla="*/ 1756774 h 3682908"/>
                  <a:gd name="connsiteX1476" fmla="*/ 577233 w 3862373"/>
                  <a:gd name="connsiteY1476" fmla="*/ 1795860 h 3682908"/>
                  <a:gd name="connsiteX1477" fmla="*/ 538140 w 3862373"/>
                  <a:gd name="connsiteY1477" fmla="*/ 1756774 h 3682908"/>
                  <a:gd name="connsiteX1478" fmla="*/ 577233 w 3862373"/>
                  <a:gd name="connsiteY1478" fmla="*/ 1717686 h 3682908"/>
                  <a:gd name="connsiteX1479" fmla="*/ 484950 w 3862373"/>
                  <a:gd name="connsiteY1479" fmla="*/ 1717686 h 3682908"/>
                  <a:gd name="connsiteX1480" fmla="*/ 524038 w 3862373"/>
                  <a:gd name="connsiteY1480" fmla="*/ 1756774 h 3682908"/>
                  <a:gd name="connsiteX1481" fmla="*/ 484950 w 3862373"/>
                  <a:gd name="connsiteY1481" fmla="*/ 1795860 h 3682908"/>
                  <a:gd name="connsiteX1482" fmla="*/ 445871 w 3862373"/>
                  <a:gd name="connsiteY1482" fmla="*/ 1756774 h 3682908"/>
                  <a:gd name="connsiteX1483" fmla="*/ 484950 w 3862373"/>
                  <a:gd name="connsiteY1483" fmla="*/ 1717686 h 3682908"/>
                  <a:gd name="connsiteX1484" fmla="*/ 390308 w 3862373"/>
                  <a:gd name="connsiteY1484" fmla="*/ 1717686 h 3682908"/>
                  <a:gd name="connsiteX1485" fmla="*/ 429402 w 3862373"/>
                  <a:gd name="connsiteY1485" fmla="*/ 1756774 h 3682908"/>
                  <a:gd name="connsiteX1486" fmla="*/ 390308 w 3862373"/>
                  <a:gd name="connsiteY1486" fmla="*/ 1795860 h 3682908"/>
                  <a:gd name="connsiteX1487" fmla="*/ 351231 w 3862373"/>
                  <a:gd name="connsiteY1487" fmla="*/ 1756774 h 3682908"/>
                  <a:gd name="connsiteX1488" fmla="*/ 390308 w 3862373"/>
                  <a:gd name="connsiteY1488" fmla="*/ 1717686 h 3682908"/>
                  <a:gd name="connsiteX1489" fmla="*/ 298037 w 3862373"/>
                  <a:gd name="connsiteY1489" fmla="*/ 1717686 h 3682908"/>
                  <a:gd name="connsiteX1490" fmla="*/ 337130 w 3862373"/>
                  <a:gd name="connsiteY1490" fmla="*/ 1756774 h 3682908"/>
                  <a:gd name="connsiteX1491" fmla="*/ 298037 w 3862373"/>
                  <a:gd name="connsiteY1491" fmla="*/ 1795860 h 3682908"/>
                  <a:gd name="connsiteX1492" fmla="*/ 258948 w 3862373"/>
                  <a:gd name="connsiteY1492" fmla="*/ 1756774 h 3682908"/>
                  <a:gd name="connsiteX1493" fmla="*/ 298037 w 3862373"/>
                  <a:gd name="connsiteY1493" fmla="*/ 1717686 h 3682908"/>
                  <a:gd name="connsiteX1494" fmla="*/ 3854460 w 3862373"/>
                  <a:gd name="connsiteY1494" fmla="*/ 1637264 h 3682908"/>
                  <a:gd name="connsiteX1495" fmla="*/ 3858001 w 3862373"/>
                  <a:gd name="connsiteY1495" fmla="*/ 1707402 h 3682908"/>
                  <a:gd name="connsiteX1496" fmla="*/ 3838292 w 3862373"/>
                  <a:gd name="connsiteY1496" fmla="*/ 1699238 h 3682908"/>
                  <a:gd name="connsiteX1497" fmla="*/ 3826844 w 3862373"/>
                  <a:gd name="connsiteY1497" fmla="*/ 1671599 h 3682908"/>
                  <a:gd name="connsiteX1498" fmla="*/ 3838292 w 3862373"/>
                  <a:gd name="connsiteY1498" fmla="*/ 1643961 h 3682908"/>
                  <a:gd name="connsiteX1499" fmla="*/ 3771291 w 3862373"/>
                  <a:gd name="connsiteY1499" fmla="*/ 1632512 h 3682908"/>
                  <a:gd name="connsiteX1500" fmla="*/ 3810379 w 3862373"/>
                  <a:gd name="connsiteY1500" fmla="*/ 1671599 h 3682908"/>
                  <a:gd name="connsiteX1501" fmla="*/ 3771291 w 3862373"/>
                  <a:gd name="connsiteY1501" fmla="*/ 1710687 h 3682908"/>
                  <a:gd name="connsiteX1502" fmla="*/ 3732204 w 3862373"/>
                  <a:gd name="connsiteY1502" fmla="*/ 1671599 h 3682908"/>
                  <a:gd name="connsiteX1503" fmla="*/ 3771291 w 3862373"/>
                  <a:gd name="connsiteY1503" fmla="*/ 1632512 h 3682908"/>
                  <a:gd name="connsiteX1504" fmla="*/ 3584377 w 3862373"/>
                  <a:gd name="connsiteY1504" fmla="*/ 1632512 h 3682908"/>
                  <a:gd name="connsiteX1505" fmla="*/ 3623463 w 3862373"/>
                  <a:gd name="connsiteY1505" fmla="*/ 1671599 h 3682908"/>
                  <a:gd name="connsiteX1506" fmla="*/ 3584377 w 3862373"/>
                  <a:gd name="connsiteY1506" fmla="*/ 1710687 h 3682908"/>
                  <a:gd name="connsiteX1507" fmla="*/ 3545289 w 3862373"/>
                  <a:gd name="connsiteY1507" fmla="*/ 1671599 h 3682908"/>
                  <a:gd name="connsiteX1508" fmla="*/ 3584377 w 3862373"/>
                  <a:gd name="connsiteY1508" fmla="*/ 1632512 h 3682908"/>
                  <a:gd name="connsiteX1509" fmla="*/ 3489737 w 3862373"/>
                  <a:gd name="connsiteY1509" fmla="*/ 1632512 h 3682908"/>
                  <a:gd name="connsiteX1510" fmla="*/ 3528823 w 3862373"/>
                  <a:gd name="connsiteY1510" fmla="*/ 1671599 h 3682908"/>
                  <a:gd name="connsiteX1511" fmla="*/ 3489737 w 3862373"/>
                  <a:gd name="connsiteY1511" fmla="*/ 1710687 h 3682908"/>
                  <a:gd name="connsiteX1512" fmla="*/ 3450649 w 3862373"/>
                  <a:gd name="connsiteY1512" fmla="*/ 1671599 h 3682908"/>
                  <a:gd name="connsiteX1513" fmla="*/ 3489737 w 3862373"/>
                  <a:gd name="connsiteY1513" fmla="*/ 1632512 h 3682908"/>
                  <a:gd name="connsiteX1514" fmla="*/ 3392731 w 3862373"/>
                  <a:gd name="connsiteY1514" fmla="*/ 1632512 h 3682908"/>
                  <a:gd name="connsiteX1515" fmla="*/ 3431819 w 3862373"/>
                  <a:gd name="connsiteY1515" fmla="*/ 1671599 h 3682908"/>
                  <a:gd name="connsiteX1516" fmla="*/ 3392731 w 3862373"/>
                  <a:gd name="connsiteY1516" fmla="*/ 1710687 h 3682908"/>
                  <a:gd name="connsiteX1517" fmla="*/ 3353644 w 3862373"/>
                  <a:gd name="connsiteY1517" fmla="*/ 1671599 h 3682908"/>
                  <a:gd name="connsiteX1518" fmla="*/ 3392731 w 3862373"/>
                  <a:gd name="connsiteY1518" fmla="*/ 1632512 h 3682908"/>
                  <a:gd name="connsiteX1519" fmla="*/ 2924263 w 3862373"/>
                  <a:gd name="connsiteY1519" fmla="*/ 1632512 h 3682908"/>
                  <a:gd name="connsiteX1520" fmla="*/ 2963349 w 3862373"/>
                  <a:gd name="connsiteY1520" fmla="*/ 1671599 h 3682908"/>
                  <a:gd name="connsiteX1521" fmla="*/ 2924263 w 3862373"/>
                  <a:gd name="connsiteY1521" fmla="*/ 1710687 h 3682908"/>
                  <a:gd name="connsiteX1522" fmla="*/ 2885175 w 3862373"/>
                  <a:gd name="connsiteY1522" fmla="*/ 1671599 h 3682908"/>
                  <a:gd name="connsiteX1523" fmla="*/ 2924263 w 3862373"/>
                  <a:gd name="connsiteY1523" fmla="*/ 1632512 h 3682908"/>
                  <a:gd name="connsiteX1524" fmla="*/ 2458164 w 3862373"/>
                  <a:gd name="connsiteY1524" fmla="*/ 1632512 h 3682908"/>
                  <a:gd name="connsiteX1525" fmla="*/ 2497252 w 3862373"/>
                  <a:gd name="connsiteY1525" fmla="*/ 1671599 h 3682908"/>
                  <a:gd name="connsiteX1526" fmla="*/ 2458164 w 3862373"/>
                  <a:gd name="connsiteY1526" fmla="*/ 1710687 h 3682908"/>
                  <a:gd name="connsiteX1527" fmla="*/ 2419080 w 3862373"/>
                  <a:gd name="connsiteY1527" fmla="*/ 1671599 h 3682908"/>
                  <a:gd name="connsiteX1528" fmla="*/ 2458164 w 3862373"/>
                  <a:gd name="connsiteY1528" fmla="*/ 1632512 h 3682908"/>
                  <a:gd name="connsiteX1529" fmla="*/ 951057 w 3862373"/>
                  <a:gd name="connsiteY1529" fmla="*/ 1632512 h 3682908"/>
                  <a:gd name="connsiteX1530" fmla="*/ 990141 w 3862373"/>
                  <a:gd name="connsiteY1530" fmla="*/ 1671599 h 3682908"/>
                  <a:gd name="connsiteX1531" fmla="*/ 951057 w 3862373"/>
                  <a:gd name="connsiteY1531" fmla="*/ 1710687 h 3682908"/>
                  <a:gd name="connsiteX1532" fmla="*/ 911973 w 3862373"/>
                  <a:gd name="connsiteY1532" fmla="*/ 1671599 h 3682908"/>
                  <a:gd name="connsiteX1533" fmla="*/ 951057 w 3862373"/>
                  <a:gd name="connsiteY1533" fmla="*/ 1632512 h 3682908"/>
                  <a:gd name="connsiteX1534" fmla="*/ 856425 w 3862373"/>
                  <a:gd name="connsiteY1534" fmla="*/ 1632512 h 3682908"/>
                  <a:gd name="connsiteX1535" fmla="*/ 895509 w 3862373"/>
                  <a:gd name="connsiteY1535" fmla="*/ 1671599 h 3682908"/>
                  <a:gd name="connsiteX1536" fmla="*/ 856425 w 3862373"/>
                  <a:gd name="connsiteY1536" fmla="*/ 1710687 h 3682908"/>
                  <a:gd name="connsiteX1537" fmla="*/ 817341 w 3862373"/>
                  <a:gd name="connsiteY1537" fmla="*/ 1671599 h 3682908"/>
                  <a:gd name="connsiteX1538" fmla="*/ 856425 w 3862373"/>
                  <a:gd name="connsiteY1538" fmla="*/ 1632512 h 3682908"/>
                  <a:gd name="connsiteX1539" fmla="*/ 669521 w 3862373"/>
                  <a:gd name="connsiteY1539" fmla="*/ 1632512 h 3682908"/>
                  <a:gd name="connsiteX1540" fmla="*/ 708609 w 3862373"/>
                  <a:gd name="connsiteY1540" fmla="*/ 1671599 h 3682908"/>
                  <a:gd name="connsiteX1541" fmla="*/ 669521 w 3862373"/>
                  <a:gd name="connsiteY1541" fmla="*/ 1710687 h 3682908"/>
                  <a:gd name="connsiteX1542" fmla="*/ 630433 w 3862373"/>
                  <a:gd name="connsiteY1542" fmla="*/ 1671599 h 3682908"/>
                  <a:gd name="connsiteX1543" fmla="*/ 669521 w 3862373"/>
                  <a:gd name="connsiteY1543" fmla="*/ 1632512 h 3682908"/>
                  <a:gd name="connsiteX1544" fmla="*/ 577237 w 3862373"/>
                  <a:gd name="connsiteY1544" fmla="*/ 1632512 h 3682908"/>
                  <a:gd name="connsiteX1545" fmla="*/ 616330 w 3862373"/>
                  <a:gd name="connsiteY1545" fmla="*/ 1671599 h 3682908"/>
                  <a:gd name="connsiteX1546" fmla="*/ 577237 w 3862373"/>
                  <a:gd name="connsiteY1546" fmla="*/ 1710687 h 3682908"/>
                  <a:gd name="connsiteX1547" fmla="*/ 538144 w 3862373"/>
                  <a:gd name="connsiteY1547" fmla="*/ 1671599 h 3682908"/>
                  <a:gd name="connsiteX1548" fmla="*/ 577237 w 3862373"/>
                  <a:gd name="connsiteY1548" fmla="*/ 1632512 h 3682908"/>
                  <a:gd name="connsiteX1549" fmla="*/ 484957 w 3862373"/>
                  <a:gd name="connsiteY1549" fmla="*/ 1632512 h 3682908"/>
                  <a:gd name="connsiteX1550" fmla="*/ 524042 w 3862373"/>
                  <a:gd name="connsiteY1550" fmla="*/ 1671599 h 3682908"/>
                  <a:gd name="connsiteX1551" fmla="*/ 484957 w 3862373"/>
                  <a:gd name="connsiteY1551" fmla="*/ 1710687 h 3682908"/>
                  <a:gd name="connsiteX1552" fmla="*/ 445875 w 3862373"/>
                  <a:gd name="connsiteY1552" fmla="*/ 1671599 h 3682908"/>
                  <a:gd name="connsiteX1553" fmla="*/ 484957 w 3862373"/>
                  <a:gd name="connsiteY1553" fmla="*/ 1632512 h 3682908"/>
                  <a:gd name="connsiteX1554" fmla="*/ 390314 w 3862373"/>
                  <a:gd name="connsiteY1554" fmla="*/ 1632512 h 3682908"/>
                  <a:gd name="connsiteX1555" fmla="*/ 429406 w 3862373"/>
                  <a:gd name="connsiteY1555" fmla="*/ 1671599 h 3682908"/>
                  <a:gd name="connsiteX1556" fmla="*/ 390314 w 3862373"/>
                  <a:gd name="connsiteY1556" fmla="*/ 1710687 h 3682908"/>
                  <a:gd name="connsiteX1557" fmla="*/ 351235 w 3862373"/>
                  <a:gd name="connsiteY1557" fmla="*/ 1671599 h 3682908"/>
                  <a:gd name="connsiteX1558" fmla="*/ 390314 w 3862373"/>
                  <a:gd name="connsiteY1558" fmla="*/ 1632512 h 3682908"/>
                  <a:gd name="connsiteX1559" fmla="*/ 298040 w 3862373"/>
                  <a:gd name="connsiteY1559" fmla="*/ 1632512 h 3682908"/>
                  <a:gd name="connsiteX1560" fmla="*/ 337133 w 3862373"/>
                  <a:gd name="connsiteY1560" fmla="*/ 1671599 h 3682908"/>
                  <a:gd name="connsiteX1561" fmla="*/ 298040 w 3862373"/>
                  <a:gd name="connsiteY1561" fmla="*/ 1710687 h 3682908"/>
                  <a:gd name="connsiteX1562" fmla="*/ 258951 w 3862373"/>
                  <a:gd name="connsiteY1562" fmla="*/ 1671599 h 3682908"/>
                  <a:gd name="connsiteX1563" fmla="*/ 298040 w 3862373"/>
                  <a:gd name="connsiteY1563" fmla="*/ 1632512 h 3682908"/>
                  <a:gd name="connsiteX1564" fmla="*/ 3679017 w 3862373"/>
                  <a:gd name="connsiteY1564" fmla="*/ 1632512 h 3682908"/>
                  <a:gd name="connsiteX1565" fmla="*/ 3718103 w 3862373"/>
                  <a:gd name="connsiteY1565" fmla="*/ 1671598 h 3682908"/>
                  <a:gd name="connsiteX1566" fmla="*/ 3679017 w 3862373"/>
                  <a:gd name="connsiteY1566" fmla="*/ 1710685 h 3682908"/>
                  <a:gd name="connsiteX1567" fmla="*/ 3639929 w 3862373"/>
                  <a:gd name="connsiteY1567" fmla="*/ 1671598 h 3682908"/>
                  <a:gd name="connsiteX1568" fmla="*/ 3679017 w 3862373"/>
                  <a:gd name="connsiteY1568" fmla="*/ 1632512 h 3682908"/>
                  <a:gd name="connsiteX1569" fmla="*/ 3300455 w 3862373"/>
                  <a:gd name="connsiteY1569" fmla="*/ 1632512 h 3682908"/>
                  <a:gd name="connsiteX1570" fmla="*/ 3339543 w 3862373"/>
                  <a:gd name="connsiteY1570" fmla="*/ 1671598 h 3682908"/>
                  <a:gd name="connsiteX1571" fmla="*/ 3300455 w 3862373"/>
                  <a:gd name="connsiteY1571" fmla="*/ 1710685 h 3682908"/>
                  <a:gd name="connsiteX1572" fmla="*/ 3261368 w 3862373"/>
                  <a:gd name="connsiteY1572" fmla="*/ 1671598 h 3682908"/>
                  <a:gd name="connsiteX1573" fmla="*/ 3300455 w 3862373"/>
                  <a:gd name="connsiteY1573" fmla="*/ 1632512 h 3682908"/>
                  <a:gd name="connsiteX1574" fmla="*/ 3111175 w 3862373"/>
                  <a:gd name="connsiteY1574" fmla="*/ 1632512 h 3682908"/>
                  <a:gd name="connsiteX1575" fmla="*/ 3150263 w 3862373"/>
                  <a:gd name="connsiteY1575" fmla="*/ 1671598 h 3682908"/>
                  <a:gd name="connsiteX1576" fmla="*/ 3111175 w 3862373"/>
                  <a:gd name="connsiteY1576" fmla="*/ 1710685 h 3682908"/>
                  <a:gd name="connsiteX1577" fmla="*/ 3072088 w 3862373"/>
                  <a:gd name="connsiteY1577" fmla="*/ 1671598 h 3682908"/>
                  <a:gd name="connsiteX1578" fmla="*/ 3111175 w 3862373"/>
                  <a:gd name="connsiteY1578" fmla="*/ 1632512 h 3682908"/>
                  <a:gd name="connsiteX1579" fmla="*/ 3018902 w 3862373"/>
                  <a:gd name="connsiteY1579" fmla="*/ 1632512 h 3682908"/>
                  <a:gd name="connsiteX1580" fmla="*/ 3057989 w 3862373"/>
                  <a:gd name="connsiteY1580" fmla="*/ 1671598 h 3682908"/>
                  <a:gd name="connsiteX1581" fmla="*/ 3018902 w 3862373"/>
                  <a:gd name="connsiteY1581" fmla="*/ 1710685 h 3682908"/>
                  <a:gd name="connsiteX1582" fmla="*/ 2979815 w 3862373"/>
                  <a:gd name="connsiteY1582" fmla="*/ 1671598 h 3682908"/>
                  <a:gd name="connsiteX1583" fmla="*/ 3018902 w 3862373"/>
                  <a:gd name="connsiteY1583" fmla="*/ 1632512 h 3682908"/>
                  <a:gd name="connsiteX1584" fmla="*/ 2831987 w 3862373"/>
                  <a:gd name="connsiteY1584" fmla="*/ 1632512 h 3682908"/>
                  <a:gd name="connsiteX1585" fmla="*/ 2871074 w 3862373"/>
                  <a:gd name="connsiteY1585" fmla="*/ 1671598 h 3682908"/>
                  <a:gd name="connsiteX1586" fmla="*/ 2831987 w 3862373"/>
                  <a:gd name="connsiteY1586" fmla="*/ 1710685 h 3682908"/>
                  <a:gd name="connsiteX1587" fmla="*/ 2792900 w 3862373"/>
                  <a:gd name="connsiteY1587" fmla="*/ 1671598 h 3682908"/>
                  <a:gd name="connsiteX1588" fmla="*/ 2831987 w 3862373"/>
                  <a:gd name="connsiteY1588" fmla="*/ 1632512 h 3682908"/>
                  <a:gd name="connsiteX1589" fmla="*/ 2737359 w 3862373"/>
                  <a:gd name="connsiteY1589" fmla="*/ 1632512 h 3682908"/>
                  <a:gd name="connsiteX1590" fmla="*/ 2776434 w 3862373"/>
                  <a:gd name="connsiteY1590" fmla="*/ 1671598 h 3682908"/>
                  <a:gd name="connsiteX1591" fmla="*/ 2737359 w 3862373"/>
                  <a:gd name="connsiteY1591" fmla="*/ 1710685 h 3682908"/>
                  <a:gd name="connsiteX1592" fmla="*/ 2698267 w 3862373"/>
                  <a:gd name="connsiteY1592" fmla="*/ 1671598 h 3682908"/>
                  <a:gd name="connsiteX1593" fmla="*/ 2737359 w 3862373"/>
                  <a:gd name="connsiteY1593" fmla="*/ 1632512 h 3682908"/>
                  <a:gd name="connsiteX1594" fmla="*/ 2645073 w 3862373"/>
                  <a:gd name="connsiteY1594" fmla="*/ 1632512 h 3682908"/>
                  <a:gd name="connsiteX1595" fmla="*/ 2684164 w 3862373"/>
                  <a:gd name="connsiteY1595" fmla="*/ 1671598 h 3682908"/>
                  <a:gd name="connsiteX1596" fmla="*/ 2645073 w 3862373"/>
                  <a:gd name="connsiteY1596" fmla="*/ 1710685 h 3682908"/>
                  <a:gd name="connsiteX1597" fmla="*/ 2605987 w 3862373"/>
                  <a:gd name="connsiteY1597" fmla="*/ 1671598 h 3682908"/>
                  <a:gd name="connsiteX1598" fmla="*/ 2645073 w 3862373"/>
                  <a:gd name="connsiteY1598" fmla="*/ 1632512 h 3682908"/>
                  <a:gd name="connsiteX1599" fmla="*/ 2550437 w 3862373"/>
                  <a:gd name="connsiteY1599" fmla="*/ 1632512 h 3682908"/>
                  <a:gd name="connsiteX1600" fmla="*/ 2589522 w 3862373"/>
                  <a:gd name="connsiteY1600" fmla="*/ 1671598 h 3682908"/>
                  <a:gd name="connsiteX1601" fmla="*/ 2550437 w 3862373"/>
                  <a:gd name="connsiteY1601" fmla="*/ 1710685 h 3682908"/>
                  <a:gd name="connsiteX1602" fmla="*/ 2511353 w 3862373"/>
                  <a:gd name="connsiteY1602" fmla="*/ 1671598 h 3682908"/>
                  <a:gd name="connsiteX1603" fmla="*/ 2550437 w 3862373"/>
                  <a:gd name="connsiteY1603" fmla="*/ 1632512 h 3682908"/>
                  <a:gd name="connsiteX1604" fmla="*/ 2363525 w 3862373"/>
                  <a:gd name="connsiteY1604" fmla="*/ 1632512 h 3682908"/>
                  <a:gd name="connsiteX1605" fmla="*/ 2402612 w 3862373"/>
                  <a:gd name="connsiteY1605" fmla="*/ 1671598 h 3682908"/>
                  <a:gd name="connsiteX1606" fmla="*/ 2363525 w 3862373"/>
                  <a:gd name="connsiteY1606" fmla="*/ 1710685 h 3682908"/>
                  <a:gd name="connsiteX1607" fmla="*/ 2324438 w 3862373"/>
                  <a:gd name="connsiteY1607" fmla="*/ 1671598 h 3682908"/>
                  <a:gd name="connsiteX1608" fmla="*/ 2363525 w 3862373"/>
                  <a:gd name="connsiteY1608" fmla="*/ 1632512 h 3682908"/>
                  <a:gd name="connsiteX1609" fmla="*/ 764159 w 3862373"/>
                  <a:gd name="connsiteY1609" fmla="*/ 1632512 h 3682908"/>
                  <a:gd name="connsiteX1610" fmla="*/ 803243 w 3862373"/>
                  <a:gd name="connsiteY1610" fmla="*/ 1671598 h 3682908"/>
                  <a:gd name="connsiteX1611" fmla="*/ 764159 w 3862373"/>
                  <a:gd name="connsiteY1611" fmla="*/ 1710685 h 3682908"/>
                  <a:gd name="connsiteX1612" fmla="*/ 725074 w 3862373"/>
                  <a:gd name="connsiteY1612" fmla="*/ 1671598 h 3682908"/>
                  <a:gd name="connsiteX1613" fmla="*/ 764159 w 3862373"/>
                  <a:gd name="connsiteY1613" fmla="*/ 1632512 h 3682908"/>
                  <a:gd name="connsiteX1614" fmla="*/ 3846758 w 3862373"/>
                  <a:gd name="connsiteY1614" fmla="*/ 1555277 h 3682908"/>
                  <a:gd name="connsiteX1615" fmla="*/ 3852080 w 3862373"/>
                  <a:gd name="connsiteY1615" fmla="*/ 1590149 h 3682908"/>
                  <a:gd name="connsiteX1616" fmla="*/ 3853608 w 3862373"/>
                  <a:gd name="connsiteY1616" fmla="*/ 1620406 h 3682908"/>
                  <a:gd name="connsiteX1617" fmla="*/ 3838292 w 3862373"/>
                  <a:gd name="connsiteY1617" fmla="*/ 1614061 h 3682908"/>
                  <a:gd name="connsiteX1618" fmla="*/ 3826844 w 3862373"/>
                  <a:gd name="connsiteY1618" fmla="*/ 1586423 h 3682908"/>
                  <a:gd name="connsiteX1619" fmla="*/ 3838292 w 3862373"/>
                  <a:gd name="connsiteY1619" fmla="*/ 1558784 h 3682908"/>
                  <a:gd name="connsiteX1620" fmla="*/ 3771291 w 3862373"/>
                  <a:gd name="connsiteY1620" fmla="*/ 1547335 h 3682908"/>
                  <a:gd name="connsiteX1621" fmla="*/ 3810379 w 3862373"/>
                  <a:gd name="connsiteY1621" fmla="*/ 1586423 h 3682908"/>
                  <a:gd name="connsiteX1622" fmla="*/ 3771291 w 3862373"/>
                  <a:gd name="connsiteY1622" fmla="*/ 1625510 h 3682908"/>
                  <a:gd name="connsiteX1623" fmla="*/ 3732204 w 3862373"/>
                  <a:gd name="connsiteY1623" fmla="*/ 1586423 h 3682908"/>
                  <a:gd name="connsiteX1624" fmla="*/ 3771291 w 3862373"/>
                  <a:gd name="connsiteY1624" fmla="*/ 1547335 h 3682908"/>
                  <a:gd name="connsiteX1625" fmla="*/ 3679017 w 3862373"/>
                  <a:gd name="connsiteY1625" fmla="*/ 1547335 h 3682908"/>
                  <a:gd name="connsiteX1626" fmla="*/ 3718103 w 3862373"/>
                  <a:gd name="connsiteY1626" fmla="*/ 1586423 h 3682908"/>
                  <a:gd name="connsiteX1627" fmla="*/ 3679017 w 3862373"/>
                  <a:gd name="connsiteY1627" fmla="*/ 1625510 h 3682908"/>
                  <a:gd name="connsiteX1628" fmla="*/ 3639929 w 3862373"/>
                  <a:gd name="connsiteY1628" fmla="*/ 1586423 h 3682908"/>
                  <a:gd name="connsiteX1629" fmla="*/ 3679017 w 3862373"/>
                  <a:gd name="connsiteY1629" fmla="*/ 1547335 h 3682908"/>
                  <a:gd name="connsiteX1630" fmla="*/ 3584377 w 3862373"/>
                  <a:gd name="connsiteY1630" fmla="*/ 1547335 h 3682908"/>
                  <a:gd name="connsiteX1631" fmla="*/ 3623463 w 3862373"/>
                  <a:gd name="connsiteY1631" fmla="*/ 1586423 h 3682908"/>
                  <a:gd name="connsiteX1632" fmla="*/ 3584377 w 3862373"/>
                  <a:gd name="connsiteY1632" fmla="*/ 1625510 h 3682908"/>
                  <a:gd name="connsiteX1633" fmla="*/ 3545289 w 3862373"/>
                  <a:gd name="connsiteY1633" fmla="*/ 1586423 h 3682908"/>
                  <a:gd name="connsiteX1634" fmla="*/ 3584377 w 3862373"/>
                  <a:gd name="connsiteY1634" fmla="*/ 1547335 h 3682908"/>
                  <a:gd name="connsiteX1635" fmla="*/ 3489737 w 3862373"/>
                  <a:gd name="connsiteY1635" fmla="*/ 1547335 h 3682908"/>
                  <a:gd name="connsiteX1636" fmla="*/ 3528823 w 3862373"/>
                  <a:gd name="connsiteY1636" fmla="*/ 1586423 h 3682908"/>
                  <a:gd name="connsiteX1637" fmla="*/ 3489737 w 3862373"/>
                  <a:gd name="connsiteY1637" fmla="*/ 1625510 h 3682908"/>
                  <a:gd name="connsiteX1638" fmla="*/ 3450649 w 3862373"/>
                  <a:gd name="connsiteY1638" fmla="*/ 1586423 h 3682908"/>
                  <a:gd name="connsiteX1639" fmla="*/ 3489737 w 3862373"/>
                  <a:gd name="connsiteY1639" fmla="*/ 1547335 h 3682908"/>
                  <a:gd name="connsiteX1640" fmla="*/ 3392731 w 3862373"/>
                  <a:gd name="connsiteY1640" fmla="*/ 1547335 h 3682908"/>
                  <a:gd name="connsiteX1641" fmla="*/ 3431819 w 3862373"/>
                  <a:gd name="connsiteY1641" fmla="*/ 1586423 h 3682908"/>
                  <a:gd name="connsiteX1642" fmla="*/ 3392731 w 3862373"/>
                  <a:gd name="connsiteY1642" fmla="*/ 1625510 h 3682908"/>
                  <a:gd name="connsiteX1643" fmla="*/ 3353644 w 3862373"/>
                  <a:gd name="connsiteY1643" fmla="*/ 1586423 h 3682908"/>
                  <a:gd name="connsiteX1644" fmla="*/ 3392731 w 3862373"/>
                  <a:gd name="connsiteY1644" fmla="*/ 1547335 h 3682908"/>
                  <a:gd name="connsiteX1645" fmla="*/ 3300455 w 3862373"/>
                  <a:gd name="connsiteY1645" fmla="*/ 1547335 h 3682908"/>
                  <a:gd name="connsiteX1646" fmla="*/ 3339543 w 3862373"/>
                  <a:gd name="connsiteY1646" fmla="*/ 1586423 h 3682908"/>
                  <a:gd name="connsiteX1647" fmla="*/ 3300455 w 3862373"/>
                  <a:gd name="connsiteY1647" fmla="*/ 1625510 h 3682908"/>
                  <a:gd name="connsiteX1648" fmla="*/ 3261368 w 3862373"/>
                  <a:gd name="connsiteY1648" fmla="*/ 1586423 h 3682908"/>
                  <a:gd name="connsiteX1649" fmla="*/ 3300455 w 3862373"/>
                  <a:gd name="connsiteY1649" fmla="*/ 1547335 h 3682908"/>
                  <a:gd name="connsiteX1650" fmla="*/ 2737361 w 3862373"/>
                  <a:gd name="connsiteY1650" fmla="*/ 1547335 h 3682908"/>
                  <a:gd name="connsiteX1651" fmla="*/ 2776434 w 3862373"/>
                  <a:gd name="connsiteY1651" fmla="*/ 1586423 h 3682908"/>
                  <a:gd name="connsiteX1652" fmla="*/ 2737361 w 3862373"/>
                  <a:gd name="connsiteY1652" fmla="*/ 1625510 h 3682908"/>
                  <a:gd name="connsiteX1653" fmla="*/ 2698267 w 3862373"/>
                  <a:gd name="connsiteY1653" fmla="*/ 1586423 h 3682908"/>
                  <a:gd name="connsiteX1654" fmla="*/ 2737361 w 3862373"/>
                  <a:gd name="connsiteY1654" fmla="*/ 1547335 h 3682908"/>
                  <a:gd name="connsiteX1655" fmla="*/ 2645073 w 3862373"/>
                  <a:gd name="connsiteY1655" fmla="*/ 1547335 h 3682908"/>
                  <a:gd name="connsiteX1656" fmla="*/ 2684164 w 3862373"/>
                  <a:gd name="connsiteY1656" fmla="*/ 1586423 h 3682908"/>
                  <a:gd name="connsiteX1657" fmla="*/ 2645073 w 3862373"/>
                  <a:gd name="connsiteY1657" fmla="*/ 1625510 h 3682908"/>
                  <a:gd name="connsiteX1658" fmla="*/ 2605987 w 3862373"/>
                  <a:gd name="connsiteY1658" fmla="*/ 1586423 h 3682908"/>
                  <a:gd name="connsiteX1659" fmla="*/ 2645073 w 3862373"/>
                  <a:gd name="connsiteY1659" fmla="*/ 1547335 h 3682908"/>
                  <a:gd name="connsiteX1660" fmla="*/ 2550437 w 3862373"/>
                  <a:gd name="connsiteY1660" fmla="*/ 1547335 h 3682908"/>
                  <a:gd name="connsiteX1661" fmla="*/ 2589523 w 3862373"/>
                  <a:gd name="connsiteY1661" fmla="*/ 1586423 h 3682908"/>
                  <a:gd name="connsiteX1662" fmla="*/ 2550437 w 3862373"/>
                  <a:gd name="connsiteY1662" fmla="*/ 1625510 h 3682908"/>
                  <a:gd name="connsiteX1663" fmla="*/ 2511353 w 3862373"/>
                  <a:gd name="connsiteY1663" fmla="*/ 1586423 h 3682908"/>
                  <a:gd name="connsiteX1664" fmla="*/ 2550437 w 3862373"/>
                  <a:gd name="connsiteY1664" fmla="*/ 1547335 h 3682908"/>
                  <a:gd name="connsiteX1665" fmla="*/ 2458164 w 3862373"/>
                  <a:gd name="connsiteY1665" fmla="*/ 1547335 h 3682908"/>
                  <a:gd name="connsiteX1666" fmla="*/ 2497252 w 3862373"/>
                  <a:gd name="connsiteY1666" fmla="*/ 1586423 h 3682908"/>
                  <a:gd name="connsiteX1667" fmla="*/ 2458164 w 3862373"/>
                  <a:gd name="connsiteY1667" fmla="*/ 1625510 h 3682908"/>
                  <a:gd name="connsiteX1668" fmla="*/ 2419081 w 3862373"/>
                  <a:gd name="connsiteY1668" fmla="*/ 1586423 h 3682908"/>
                  <a:gd name="connsiteX1669" fmla="*/ 2458164 w 3862373"/>
                  <a:gd name="connsiteY1669" fmla="*/ 1547335 h 3682908"/>
                  <a:gd name="connsiteX1670" fmla="*/ 951061 w 3862373"/>
                  <a:gd name="connsiteY1670" fmla="*/ 1547335 h 3682908"/>
                  <a:gd name="connsiteX1671" fmla="*/ 990144 w 3862373"/>
                  <a:gd name="connsiteY1671" fmla="*/ 1586423 h 3682908"/>
                  <a:gd name="connsiteX1672" fmla="*/ 951061 w 3862373"/>
                  <a:gd name="connsiteY1672" fmla="*/ 1625510 h 3682908"/>
                  <a:gd name="connsiteX1673" fmla="*/ 911977 w 3862373"/>
                  <a:gd name="connsiteY1673" fmla="*/ 1586423 h 3682908"/>
                  <a:gd name="connsiteX1674" fmla="*/ 951061 w 3862373"/>
                  <a:gd name="connsiteY1674" fmla="*/ 1547335 h 3682908"/>
                  <a:gd name="connsiteX1675" fmla="*/ 856428 w 3862373"/>
                  <a:gd name="connsiteY1675" fmla="*/ 1547335 h 3682908"/>
                  <a:gd name="connsiteX1676" fmla="*/ 895513 w 3862373"/>
                  <a:gd name="connsiteY1676" fmla="*/ 1586423 h 3682908"/>
                  <a:gd name="connsiteX1677" fmla="*/ 856428 w 3862373"/>
                  <a:gd name="connsiteY1677" fmla="*/ 1625510 h 3682908"/>
                  <a:gd name="connsiteX1678" fmla="*/ 817346 w 3862373"/>
                  <a:gd name="connsiteY1678" fmla="*/ 1586423 h 3682908"/>
                  <a:gd name="connsiteX1679" fmla="*/ 856428 w 3862373"/>
                  <a:gd name="connsiteY1679" fmla="*/ 1547335 h 3682908"/>
                  <a:gd name="connsiteX1680" fmla="*/ 764163 w 3862373"/>
                  <a:gd name="connsiteY1680" fmla="*/ 1547335 h 3682908"/>
                  <a:gd name="connsiteX1681" fmla="*/ 803247 w 3862373"/>
                  <a:gd name="connsiteY1681" fmla="*/ 1586423 h 3682908"/>
                  <a:gd name="connsiteX1682" fmla="*/ 764163 w 3862373"/>
                  <a:gd name="connsiteY1682" fmla="*/ 1625510 h 3682908"/>
                  <a:gd name="connsiteX1683" fmla="*/ 725079 w 3862373"/>
                  <a:gd name="connsiteY1683" fmla="*/ 1586423 h 3682908"/>
                  <a:gd name="connsiteX1684" fmla="*/ 764163 w 3862373"/>
                  <a:gd name="connsiteY1684" fmla="*/ 1547335 h 3682908"/>
                  <a:gd name="connsiteX1685" fmla="*/ 669521 w 3862373"/>
                  <a:gd name="connsiteY1685" fmla="*/ 1547335 h 3682908"/>
                  <a:gd name="connsiteX1686" fmla="*/ 708613 w 3862373"/>
                  <a:gd name="connsiteY1686" fmla="*/ 1586423 h 3682908"/>
                  <a:gd name="connsiteX1687" fmla="*/ 669521 w 3862373"/>
                  <a:gd name="connsiteY1687" fmla="*/ 1625510 h 3682908"/>
                  <a:gd name="connsiteX1688" fmla="*/ 630438 w 3862373"/>
                  <a:gd name="connsiteY1688" fmla="*/ 1586423 h 3682908"/>
                  <a:gd name="connsiteX1689" fmla="*/ 669521 w 3862373"/>
                  <a:gd name="connsiteY1689" fmla="*/ 1547335 h 3682908"/>
                  <a:gd name="connsiteX1690" fmla="*/ 577241 w 3862373"/>
                  <a:gd name="connsiteY1690" fmla="*/ 1547335 h 3682908"/>
                  <a:gd name="connsiteX1691" fmla="*/ 616335 w 3862373"/>
                  <a:gd name="connsiteY1691" fmla="*/ 1586423 h 3682908"/>
                  <a:gd name="connsiteX1692" fmla="*/ 577241 w 3862373"/>
                  <a:gd name="connsiteY1692" fmla="*/ 1625510 h 3682908"/>
                  <a:gd name="connsiteX1693" fmla="*/ 538147 w 3862373"/>
                  <a:gd name="connsiteY1693" fmla="*/ 1586423 h 3682908"/>
                  <a:gd name="connsiteX1694" fmla="*/ 577241 w 3862373"/>
                  <a:gd name="connsiteY1694" fmla="*/ 1547335 h 3682908"/>
                  <a:gd name="connsiteX1695" fmla="*/ 484957 w 3862373"/>
                  <a:gd name="connsiteY1695" fmla="*/ 1547335 h 3682908"/>
                  <a:gd name="connsiteX1696" fmla="*/ 524045 w 3862373"/>
                  <a:gd name="connsiteY1696" fmla="*/ 1586423 h 3682908"/>
                  <a:gd name="connsiteX1697" fmla="*/ 484957 w 3862373"/>
                  <a:gd name="connsiteY1697" fmla="*/ 1625510 h 3682908"/>
                  <a:gd name="connsiteX1698" fmla="*/ 445879 w 3862373"/>
                  <a:gd name="connsiteY1698" fmla="*/ 1586423 h 3682908"/>
                  <a:gd name="connsiteX1699" fmla="*/ 484957 w 3862373"/>
                  <a:gd name="connsiteY1699" fmla="*/ 1547335 h 3682908"/>
                  <a:gd name="connsiteX1700" fmla="*/ 390314 w 3862373"/>
                  <a:gd name="connsiteY1700" fmla="*/ 1547335 h 3682908"/>
                  <a:gd name="connsiteX1701" fmla="*/ 429410 w 3862373"/>
                  <a:gd name="connsiteY1701" fmla="*/ 1586423 h 3682908"/>
                  <a:gd name="connsiteX1702" fmla="*/ 390314 w 3862373"/>
                  <a:gd name="connsiteY1702" fmla="*/ 1625510 h 3682908"/>
                  <a:gd name="connsiteX1703" fmla="*/ 351238 w 3862373"/>
                  <a:gd name="connsiteY1703" fmla="*/ 1586423 h 3682908"/>
                  <a:gd name="connsiteX1704" fmla="*/ 390314 w 3862373"/>
                  <a:gd name="connsiteY1704" fmla="*/ 1547335 h 3682908"/>
                  <a:gd name="connsiteX1705" fmla="*/ 298043 w 3862373"/>
                  <a:gd name="connsiteY1705" fmla="*/ 1547335 h 3682908"/>
                  <a:gd name="connsiteX1706" fmla="*/ 337137 w 3862373"/>
                  <a:gd name="connsiteY1706" fmla="*/ 1586423 h 3682908"/>
                  <a:gd name="connsiteX1707" fmla="*/ 298043 w 3862373"/>
                  <a:gd name="connsiteY1707" fmla="*/ 1625510 h 3682908"/>
                  <a:gd name="connsiteX1708" fmla="*/ 258954 w 3862373"/>
                  <a:gd name="connsiteY1708" fmla="*/ 1586423 h 3682908"/>
                  <a:gd name="connsiteX1709" fmla="*/ 298043 w 3862373"/>
                  <a:gd name="connsiteY1709" fmla="*/ 1547335 h 3682908"/>
                  <a:gd name="connsiteX1710" fmla="*/ 203400 w 3862373"/>
                  <a:gd name="connsiteY1710" fmla="*/ 1547335 h 3682908"/>
                  <a:gd name="connsiteX1711" fmla="*/ 242489 w 3862373"/>
                  <a:gd name="connsiteY1711" fmla="*/ 1586423 h 3682908"/>
                  <a:gd name="connsiteX1712" fmla="*/ 203400 w 3862373"/>
                  <a:gd name="connsiteY1712" fmla="*/ 1625510 h 3682908"/>
                  <a:gd name="connsiteX1713" fmla="*/ 164314 w 3862373"/>
                  <a:gd name="connsiteY1713" fmla="*/ 1586423 h 3682908"/>
                  <a:gd name="connsiteX1714" fmla="*/ 203400 w 3862373"/>
                  <a:gd name="connsiteY1714" fmla="*/ 1547335 h 3682908"/>
                  <a:gd name="connsiteX1715" fmla="*/ 3835635 w 3862373"/>
                  <a:gd name="connsiteY1715" fmla="*/ 1482393 h 3682908"/>
                  <a:gd name="connsiteX1716" fmla="*/ 3843416 w 3862373"/>
                  <a:gd name="connsiteY1716" fmla="*/ 1533374 h 3682908"/>
                  <a:gd name="connsiteX1717" fmla="*/ 3838294 w 3862373"/>
                  <a:gd name="connsiteY1717" fmla="*/ 1531252 h 3682908"/>
                  <a:gd name="connsiteX1718" fmla="*/ 3826845 w 3862373"/>
                  <a:gd name="connsiteY1718" fmla="*/ 1503614 h 3682908"/>
                  <a:gd name="connsiteX1719" fmla="*/ 3771293 w 3862373"/>
                  <a:gd name="connsiteY1719" fmla="*/ 1464526 h 3682908"/>
                  <a:gd name="connsiteX1720" fmla="*/ 3810379 w 3862373"/>
                  <a:gd name="connsiteY1720" fmla="*/ 1503614 h 3682908"/>
                  <a:gd name="connsiteX1721" fmla="*/ 3771293 w 3862373"/>
                  <a:gd name="connsiteY1721" fmla="*/ 1542701 h 3682908"/>
                  <a:gd name="connsiteX1722" fmla="*/ 3732205 w 3862373"/>
                  <a:gd name="connsiteY1722" fmla="*/ 1503614 h 3682908"/>
                  <a:gd name="connsiteX1723" fmla="*/ 3771293 w 3862373"/>
                  <a:gd name="connsiteY1723" fmla="*/ 1464526 h 3682908"/>
                  <a:gd name="connsiteX1724" fmla="*/ 3679018 w 3862373"/>
                  <a:gd name="connsiteY1724" fmla="*/ 1464526 h 3682908"/>
                  <a:gd name="connsiteX1725" fmla="*/ 3718105 w 3862373"/>
                  <a:gd name="connsiteY1725" fmla="*/ 1503614 h 3682908"/>
                  <a:gd name="connsiteX1726" fmla="*/ 3679018 w 3862373"/>
                  <a:gd name="connsiteY1726" fmla="*/ 1542701 h 3682908"/>
                  <a:gd name="connsiteX1727" fmla="*/ 3639931 w 3862373"/>
                  <a:gd name="connsiteY1727" fmla="*/ 1503614 h 3682908"/>
                  <a:gd name="connsiteX1728" fmla="*/ 3679018 w 3862373"/>
                  <a:gd name="connsiteY1728" fmla="*/ 1464526 h 3682908"/>
                  <a:gd name="connsiteX1729" fmla="*/ 3489737 w 3862373"/>
                  <a:gd name="connsiteY1729" fmla="*/ 1464526 h 3682908"/>
                  <a:gd name="connsiteX1730" fmla="*/ 3528823 w 3862373"/>
                  <a:gd name="connsiteY1730" fmla="*/ 1503614 h 3682908"/>
                  <a:gd name="connsiteX1731" fmla="*/ 3489737 w 3862373"/>
                  <a:gd name="connsiteY1731" fmla="*/ 1542701 h 3682908"/>
                  <a:gd name="connsiteX1732" fmla="*/ 3450649 w 3862373"/>
                  <a:gd name="connsiteY1732" fmla="*/ 1503614 h 3682908"/>
                  <a:gd name="connsiteX1733" fmla="*/ 3489737 w 3862373"/>
                  <a:gd name="connsiteY1733" fmla="*/ 1464526 h 3682908"/>
                  <a:gd name="connsiteX1734" fmla="*/ 3392731 w 3862373"/>
                  <a:gd name="connsiteY1734" fmla="*/ 1464526 h 3682908"/>
                  <a:gd name="connsiteX1735" fmla="*/ 3431819 w 3862373"/>
                  <a:gd name="connsiteY1735" fmla="*/ 1503614 h 3682908"/>
                  <a:gd name="connsiteX1736" fmla="*/ 3392731 w 3862373"/>
                  <a:gd name="connsiteY1736" fmla="*/ 1542701 h 3682908"/>
                  <a:gd name="connsiteX1737" fmla="*/ 3353644 w 3862373"/>
                  <a:gd name="connsiteY1737" fmla="*/ 1503614 h 3682908"/>
                  <a:gd name="connsiteX1738" fmla="*/ 3392731 w 3862373"/>
                  <a:gd name="connsiteY1738" fmla="*/ 1464526 h 3682908"/>
                  <a:gd name="connsiteX1739" fmla="*/ 3300457 w 3862373"/>
                  <a:gd name="connsiteY1739" fmla="*/ 1464526 h 3682908"/>
                  <a:gd name="connsiteX1740" fmla="*/ 3339544 w 3862373"/>
                  <a:gd name="connsiteY1740" fmla="*/ 1503614 h 3682908"/>
                  <a:gd name="connsiteX1741" fmla="*/ 3300457 w 3862373"/>
                  <a:gd name="connsiteY1741" fmla="*/ 1542701 h 3682908"/>
                  <a:gd name="connsiteX1742" fmla="*/ 3261369 w 3862373"/>
                  <a:gd name="connsiteY1742" fmla="*/ 1503614 h 3682908"/>
                  <a:gd name="connsiteX1743" fmla="*/ 3300457 w 3862373"/>
                  <a:gd name="connsiteY1743" fmla="*/ 1464526 h 3682908"/>
                  <a:gd name="connsiteX1744" fmla="*/ 3205817 w 3862373"/>
                  <a:gd name="connsiteY1744" fmla="*/ 1464526 h 3682908"/>
                  <a:gd name="connsiteX1745" fmla="*/ 3244904 w 3862373"/>
                  <a:gd name="connsiteY1745" fmla="*/ 1503614 h 3682908"/>
                  <a:gd name="connsiteX1746" fmla="*/ 3205817 w 3862373"/>
                  <a:gd name="connsiteY1746" fmla="*/ 1542701 h 3682908"/>
                  <a:gd name="connsiteX1747" fmla="*/ 3166729 w 3862373"/>
                  <a:gd name="connsiteY1747" fmla="*/ 1503614 h 3682908"/>
                  <a:gd name="connsiteX1748" fmla="*/ 3205817 w 3862373"/>
                  <a:gd name="connsiteY1748" fmla="*/ 1464526 h 3682908"/>
                  <a:gd name="connsiteX1749" fmla="*/ 3111177 w 3862373"/>
                  <a:gd name="connsiteY1749" fmla="*/ 1464526 h 3682908"/>
                  <a:gd name="connsiteX1750" fmla="*/ 3150264 w 3862373"/>
                  <a:gd name="connsiteY1750" fmla="*/ 1503614 h 3682908"/>
                  <a:gd name="connsiteX1751" fmla="*/ 3111177 w 3862373"/>
                  <a:gd name="connsiteY1751" fmla="*/ 1542701 h 3682908"/>
                  <a:gd name="connsiteX1752" fmla="*/ 3072089 w 3862373"/>
                  <a:gd name="connsiteY1752" fmla="*/ 1503614 h 3682908"/>
                  <a:gd name="connsiteX1753" fmla="*/ 3111177 w 3862373"/>
                  <a:gd name="connsiteY1753" fmla="*/ 1464526 h 3682908"/>
                  <a:gd name="connsiteX1754" fmla="*/ 3018902 w 3862373"/>
                  <a:gd name="connsiteY1754" fmla="*/ 1464526 h 3682908"/>
                  <a:gd name="connsiteX1755" fmla="*/ 3057989 w 3862373"/>
                  <a:gd name="connsiteY1755" fmla="*/ 1503614 h 3682908"/>
                  <a:gd name="connsiteX1756" fmla="*/ 3018902 w 3862373"/>
                  <a:gd name="connsiteY1756" fmla="*/ 1542701 h 3682908"/>
                  <a:gd name="connsiteX1757" fmla="*/ 2979815 w 3862373"/>
                  <a:gd name="connsiteY1757" fmla="*/ 1503614 h 3682908"/>
                  <a:gd name="connsiteX1758" fmla="*/ 3018902 w 3862373"/>
                  <a:gd name="connsiteY1758" fmla="*/ 1464526 h 3682908"/>
                  <a:gd name="connsiteX1759" fmla="*/ 2831988 w 3862373"/>
                  <a:gd name="connsiteY1759" fmla="*/ 1464526 h 3682908"/>
                  <a:gd name="connsiteX1760" fmla="*/ 2871075 w 3862373"/>
                  <a:gd name="connsiteY1760" fmla="*/ 1503614 h 3682908"/>
                  <a:gd name="connsiteX1761" fmla="*/ 2831988 w 3862373"/>
                  <a:gd name="connsiteY1761" fmla="*/ 1542701 h 3682908"/>
                  <a:gd name="connsiteX1762" fmla="*/ 2792901 w 3862373"/>
                  <a:gd name="connsiteY1762" fmla="*/ 1503614 h 3682908"/>
                  <a:gd name="connsiteX1763" fmla="*/ 2831988 w 3862373"/>
                  <a:gd name="connsiteY1763" fmla="*/ 1464526 h 3682908"/>
                  <a:gd name="connsiteX1764" fmla="*/ 2458167 w 3862373"/>
                  <a:gd name="connsiteY1764" fmla="*/ 1464526 h 3682908"/>
                  <a:gd name="connsiteX1765" fmla="*/ 2497253 w 3862373"/>
                  <a:gd name="connsiteY1765" fmla="*/ 1503614 h 3682908"/>
                  <a:gd name="connsiteX1766" fmla="*/ 2458167 w 3862373"/>
                  <a:gd name="connsiteY1766" fmla="*/ 1542701 h 3682908"/>
                  <a:gd name="connsiteX1767" fmla="*/ 2419081 w 3862373"/>
                  <a:gd name="connsiteY1767" fmla="*/ 1503614 h 3682908"/>
                  <a:gd name="connsiteX1768" fmla="*/ 2458167 w 3862373"/>
                  <a:gd name="connsiteY1768" fmla="*/ 1464526 h 3682908"/>
                  <a:gd name="connsiteX1769" fmla="*/ 2363529 w 3862373"/>
                  <a:gd name="connsiteY1769" fmla="*/ 1464526 h 3682908"/>
                  <a:gd name="connsiteX1770" fmla="*/ 2402614 w 3862373"/>
                  <a:gd name="connsiteY1770" fmla="*/ 1503614 h 3682908"/>
                  <a:gd name="connsiteX1771" fmla="*/ 2363529 w 3862373"/>
                  <a:gd name="connsiteY1771" fmla="*/ 1542701 h 3682908"/>
                  <a:gd name="connsiteX1772" fmla="*/ 2324441 w 3862373"/>
                  <a:gd name="connsiteY1772" fmla="*/ 1503614 h 3682908"/>
                  <a:gd name="connsiteX1773" fmla="*/ 2363529 w 3862373"/>
                  <a:gd name="connsiteY1773" fmla="*/ 1464526 h 3682908"/>
                  <a:gd name="connsiteX1774" fmla="*/ 1045696 w 3862373"/>
                  <a:gd name="connsiteY1774" fmla="*/ 1464526 h 3682908"/>
                  <a:gd name="connsiteX1775" fmla="*/ 1084784 w 3862373"/>
                  <a:gd name="connsiteY1775" fmla="*/ 1503614 h 3682908"/>
                  <a:gd name="connsiteX1776" fmla="*/ 1045696 w 3862373"/>
                  <a:gd name="connsiteY1776" fmla="*/ 1542701 h 3682908"/>
                  <a:gd name="connsiteX1777" fmla="*/ 1006612 w 3862373"/>
                  <a:gd name="connsiteY1777" fmla="*/ 1503614 h 3682908"/>
                  <a:gd name="connsiteX1778" fmla="*/ 1045696 w 3862373"/>
                  <a:gd name="connsiteY1778" fmla="*/ 1464526 h 3682908"/>
                  <a:gd name="connsiteX1779" fmla="*/ 951064 w 3862373"/>
                  <a:gd name="connsiteY1779" fmla="*/ 1464526 h 3682908"/>
                  <a:gd name="connsiteX1780" fmla="*/ 990147 w 3862373"/>
                  <a:gd name="connsiteY1780" fmla="*/ 1503614 h 3682908"/>
                  <a:gd name="connsiteX1781" fmla="*/ 951064 w 3862373"/>
                  <a:gd name="connsiteY1781" fmla="*/ 1542701 h 3682908"/>
                  <a:gd name="connsiteX1782" fmla="*/ 911980 w 3862373"/>
                  <a:gd name="connsiteY1782" fmla="*/ 1503614 h 3682908"/>
                  <a:gd name="connsiteX1783" fmla="*/ 951064 w 3862373"/>
                  <a:gd name="connsiteY1783" fmla="*/ 1464526 h 3682908"/>
                  <a:gd name="connsiteX1784" fmla="*/ 856433 w 3862373"/>
                  <a:gd name="connsiteY1784" fmla="*/ 1464526 h 3682908"/>
                  <a:gd name="connsiteX1785" fmla="*/ 895517 w 3862373"/>
                  <a:gd name="connsiteY1785" fmla="*/ 1503614 h 3682908"/>
                  <a:gd name="connsiteX1786" fmla="*/ 856433 w 3862373"/>
                  <a:gd name="connsiteY1786" fmla="*/ 1542701 h 3682908"/>
                  <a:gd name="connsiteX1787" fmla="*/ 817350 w 3862373"/>
                  <a:gd name="connsiteY1787" fmla="*/ 1503614 h 3682908"/>
                  <a:gd name="connsiteX1788" fmla="*/ 856433 w 3862373"/>
                  <a:gd name="connsiteY1788" fmla="*/ 1464526 h 3682908"/>
                  <a:gd name="connsiteX1789" fmla="*/ 764168 w 3862373"/>
                  <a:gd name="connsiteY1789" fmla="*/ 1464526 h 3682908"/>
                  <a:gd name="connsiteX1790" fmla="*/ 803252 w 3862373"/>
                  <a:gd name="connsiteY1790" fmla="*/ 1503614 h 3682908"/>
                  <a:gd name="connsiteX1791" fmla="*/ 764168 w 3862373"/>
                  <a:gd name="connsiteY1791" fmla="*/ 1542701 h 3682908"/>
                  <a:gd name="connsiteX1792" fmla="*/ 725083 w 3862373"/>
                  <a:gd name="connsiteY1792" fmla="*/ 1503614 h 3682908"/>
                  <a:gd name="connsiteX1793" fmla="*/ 764168 w 3862373"/>
                  <a:gd name="connsiteY1793" fmla="*/ 1464526 h 3682908"/>
                  <a:gd name="connsiteX1794" fmla="*/ 669521 w 3862373"/>
                  <a:gd name="connsiteY1794" fmla="*/ 1464526 h 3682908"/>
                  <a:gd name="connsiteX1795" fmla="*/ 708620 w 3862373"/>
                  <a:gd name="connsiteY1795" fmla="*/ 1503614 h 3682908"/>
                  <a:gd name="connsiteX1796" fmla="*/ 669521 w 3862373"/>
                  <a:gd name="connsiteY1796" fmla="*/ 1542701 h 3682908"/>
                  <a:gd name="connsiteX1797" fmla="*/ 630443 w 3862373"/>
                  <a:gd name="connsiteY1797" fmla="*/ 1503614 h 3682908"/>
                  <a:gd name="connsiteX1798" fmla="*/ 669521 w 3862373"/>
                  <a:gd name="connsiteY1798" fmla="*/ 1464526 h 3682908"/>
                  <a:gd name="connsiteX1799" fmla="*/ 577246 w 3862373"/>
                  <a:gd name="connsiteY1799" fmla="*/ 1464526 h 3682908"/>
                  <a:gd name="connsiteX1800" fmla="*/ 616341 w 3862373"/>
                  <a:gd name="connsiteY1800" fmla="*/ 1503614 h 3682908"/>
                  <a:gd name="connsiteX1801" fmla="*/ 577246 w 3862373"/>
                  <a:gd name="connsiteY1801" fmla="*/ 1542701 h 3682908"/>
                  <a:gd name="connsiteX1802" fmla="*/ 538151 w 3862373"/>
                  <a:gd name="connsiteY1802" fmla="*/ 1503614 h 3682908"/>
                  <a:gd name="connsiteX1803" fmla="*/ 577246 w 3862373"/>
                  <a:gd name="connsiteY1803" fmla="*/ 1464526 h 3682908"/>
                  <a:gd name="connsiteX1804" fmla="*/ 484961 w 3862373"/>
                  <a:gd name="connsiteY1804" fmla="*/ 1464526 h 3682908"/>
                  <a:gd name="connsiteX1805" fmla="*/ 524048 w 3862373"/>
                  <a:gd name="connsiteY1805" fmla="*/ 1503614 h 3682908"/>
                  <a:gd name="connsiteX1806" fmla="*/ 484961 w 3862373"/>
                  <a:gd name="connsiteY1806" fmla="*/ 1542701 h 3682908"/>
                  <a:gd name="connsiteX1807" fmla="*/ 445884 w 3862373"/>
                  <a:gd name="connsiteY1807" fmla="*/ 1503614 h 3682908"/>
                  <a:gd name="connsiteX1808" fmla="*/ 484961 w 3862373"/>
                  <a:gd name="connsiteY1808" fmla="*/ 1464526 h 3682908"/>
                  <a:gd name="connsiteX1809" fmla="*/ 390321 w 3862373"/>
                  <a:gd name="connsiteY1809" fmla="*/ 1464526 h 3682908"/>
                  <a:gd name="connsiteX1810" fmla="*/ 429414 w 3862373"/>
                  <a:gd name="connsiteY1810" fmla="*/ 1503614 h 3682908"/>
                  <a:gd name="connsiteX1811" fmla="*/ 390321 w 3862373"/>
                  <a:gd name="connsiteY1811" fmla="*/ 1542701 h 3682908"/>
                  <a:gd name="connsiteX1812" fmla="*/ 351243 w 3862373"/>
                  <a:gd name="connsiteY1812" fmla="*/ 1503614 h 3682908"/>
                  <a:gd name="connsiteX1813" fmla="*/ 390321 w 3862373"/>
                  <a:gd name="connsiteY1813" fmla="*/ 1464526 h 3682908"/>
                  <a:gd name="connsiteX1814" fmla="*/ 298048 w 3862373"/>
                  <a:gd name="connsiteY1814" fmla="*/ 1464526 h 3682908"/>
                  <a:gd name="connsiteX1815" fmla="*/ 337143 w 3862373"/>
                  <a:gd name="connsiteY1815" fmla="*/ 1503614 h 3682908"/>
                  <a:gd name="connsiteX1816" fmla="*/ 298048 w 3862373"/>
                  <a:gd name="connsiteY1816" fmla="*/ 1542701 h 3682908"/>
                  <a:gd name="connsiteX1817" fmla="*/ 258959 w 3862373"/>
                  <a:gd name="connsiteY1817" fmla="*/ 1503614 h 3682908"/>
                  <a:gd name="connsiteX1818" fmla="*/ 298048 w 3862373"/>
                  <a:gd name="connsiteY1818" fmla="*/ 1464526 h 3682908"/>
                  <a:gd name="connsiteX1819" fmla="*/ 203404 w 3862373"/>
                  <a:gd name="connsiteY1819" fmla="*/ 1464526 h 3682908"/>
                  <a:gd name="connsiteX1820" fmla="*/ 242493 w 3862373"/>
                  <a:gd name="connsiteY1820" fmla="*/ 1503614 h 3682908"/>
                  <a:gd name="connsiteX1821" fmla="*/ 203404 w 3862373"/>
                  <a:gd name="connsiteY1821" fmla="*/ 1542701 h 3682908"/>
                  <a:gd name="connsiteX1822" fmla="*/ 164318 w 3862373"/>
                  <a:gd name="connsiteY1822" fmla="*/ 1503614 h 3682908"/>
                  <a:gd name="connsiteX1823" fmla="*/ 203404 w 3862373"/>
                  <a:gd name="connsiteY1823" fmla="*/ 1464526 h 3682908"/>
                  <a:gd name="connsiteX1824" fmla="*/ 111130 w 3862373"/>
                  <a:gd name="connsiteY1824" fmla="*/ 1464526 h 3682908"/>
                  <a:gd name="connsiteX1825" fmla="*/ 150218 w 3862373"/>
                  <a:gd name="connsiteY1825" fmla="*/ 1503614 h 3682908"/>
                  <a:gd name="connsiteX1826" fmla="*/ 111130 w 3862373"/>
                  <a:gd name="connsiteY1826" fmla="*/ 1542701 h 3682908"/>
                  <a:gd name="connsiteX1827" fmla="*/ 72044 w 3862373"/>
                  <a:gd name="connsiteY1827" fmla="*/ 1503614 h 3682908"/>
                  <a:gd name="connsiteX1828" fmla="*/ 111130 w 3862373"/>
                  <a:gd name="connsiteY1828" fmla="*/ 1464526 h 3682908"/>
                  <a:gd name="connsiteX1829" fmla="*/ 111134 w 3862373"/>
                  <a:gd name="connsiteY1829" fmla="*/ 1376985 h 3682908"/>
                  <a:gd name="connsiteX1830" fmla="*/ 150221 w 3862373"/>
                  <a:gd name="connsiteY1830" fmla="*/ 1416072 h 3682908"/>
                  <a:gd name="connsiteX1831" fmla="*/ 111134 w 3862373"/>
                  <a:gd name="connsiteY1831" fmla="*/ 1455159 h 3682908"/>
                  <a:gd name="connsiteX1832" fmla="*/ 72048 w 3862373"/>
                  <a:gd name="connsiteY1832" fmla="*/ 1416072 h 3682908"/>
                  <a:gd name="connsiteX1833" fmla="*/ 111134 w 3862373"/>
                  <a:gd name="connsiteY1833" fmla="*/ 1376985 h 3682908"/>
                  <a:gd name="connsiteX1834" fmla="*/ 484966 w 3862373"/>
                  <a:gd name="connsiteY1834" fmla="*/ 1376984 h 3682908"/>
                  <a:gd name="connsiteX1835" fmla="*/ 524052 w 3862373"/>
                  <a:gd name="connsiteY1835" fmla="*/ 1416071 h 3682908"/>
                  <a:gd name="connsiteX1836" fmla="*/ 484966 w 3862373"/>
                  <a:gd name="connsiteY1836" fmla="*/ 1455159 h 3682908"/>
                  <a:gd name="connsiteX1837" fmla="*/ 445888 w 3862373"/>
                  <a:gd name="connsiteY1837" fmla="*/ 1416071 h 3682908"/>
                  <a:gd name="connsiteX1838" fmla="*/ 484966 w 3862373"/>
                  <a:gd name="connsiteY1838" fmla="*/ 1376984 h 3682908"/>
                  <a:gd name="connsiteX1839" fmla="*/ 390321 w 3862373"/>
                  <a:gd name="connsiteY1839" fmla="*/ 1376984 h 3682908"/>
                  <a:gd name="connsiteX1840" fmla="*/ 429417 w 3862373"/>
                  <a:gd name="connsiteY1840" fmla="*/ 1416071 h 3682908"/>
                  <a:gd name="connsiteX1841" fmla="*/ 390321 w 3862373"/>
                  <a:gd name="connsiteY1841" fmla="*/ 1455159 h 3682908"/>
                  <a:gd name="connsiteX1842" fmla="*/ 351248 w 3862373"/>
                  <a:gd name="connsiteY1842" fmla="*/ 1416071 h 3682908"/>
                  <a:gd name="connsiteX1843" fmla="*/ 390321 w 3862373"/>
                  <a:gd name="connsiteY1843" fmla="*/ 1376984 h 3682908"/>
                  <a:gd name="connsiteX1844" fmla="*/ 298052 w 3862373"/>
                  <a:gd name="connsiteY1844" fmla="*/ 1376984 h 3682908"/>
                  <a:gd name="connsiteX1845" fmla="*/ 337147 w 3862373"/>
                  <a:gd name="connsiteY1845" fmla="*/ 1416071 h 3682908"/>
                  <a:gd name="connsiteX1846" fmla="*/ 298052 w 3862373"/>
                  <a:gd name="connsiteY1846" fmla="*/ 1455159 h 3682908"/>
                  <a:gd name="connsiteX1847" fmla="*/ 258963 w 3862373"/>
                  <a:gd name="connsiteY1847" fmla="*/ 1416071 h 3682908"/>
                  <a:gd name="connsiteX1848" fmla="*/ 298052 w 3862373"/>
                  <a:gd name="connsiteY1848" fmla="*/ 1376984 h 3682908"/>
                  <a:gd name="connsiteX1849" fmla="*/ 203408 w 3862373"/>
                  <a:gd name="connsiteY1849" fmla="*/ 1376984 h 3682908"/>
                  <a:gd name="connsiteX1850" fmla="*/ 242497 w 3862373"/>
                  <a:gd name="connsiteY1850" fmla="*/ 1416071 h 3682908"/>
                  <a:gd name="connsiteX1851" fmla="*/ 203408 w 3862373"/>
                  <a:gd name="connsiteY1851" fmla="*/ 1455159 h 3682908"/>
                  <a:gd name="connsiteX1852" fmla="*/ 164322 w 3862373"/>
                  <a:gd name="connsiteY1852" fmla="*/ 1416071 h 3682908"/>
                  <a:gd name="connsiteX1853" fmla="*/ 203408 w 3862373"/>
                  <a:gd name="connsiteY1853" fmla="*/ 1376984 h 3682908"/>
                  <a:gd name="connsiteX1854" fmla="*/ 3771293 w 3862373"/>
                  <a:gd name="connsiteY1854" fmla="*/ 1376983 h 3682908"/>
                  <a:gd name="connsiteX1855" fmla="*/ 3810379 w 3862373"/>
                  <a:gd name="connsiteY1855" fmla="*/ 1416070 h 3682908"/>
                  <a:gd name="connsiteX1856" fmla="*/ 3771293 w 3862373"/>
                  <a:gd name="connsiteY1856" fmla="*/ 1455158 h 3682908"/>
                  <a:gd name="connsiteX1857" fmla="*/ 3732205 w 3862373"/>
                  <a:gd name="connsiteY1857" fmla="*/ 1416070 h 3682908"/>
                  <a:gd name="connsiteX1858" fmla="*/ 3771293 w 3862373"/>
                  <a:gd name="connsiteY1858" fmla="*/ 1376983 h 3682908"/>
                  <a:gd name="connsiteX1859" fmla="*/ 3679018 w 3862373"/>
                  <a:gd name="connsiteY1859" fmla="*/ 1376983 h 3682908"/>
                  <a:gd name="connsiteX1860" fmla="*/ 3718105 w 3862373"/>
                  <a:gd name="connsiteY1860" fmla="*/ 1416070 h 3682908"/>
                  <a:gd name="connsiteX1861" fmla="*/ 3679018 w 3862373"/>
                  <a:gd name="connsiteY1861" fmla="*/ 1455158 h 3682908"/>
                  <a:gd name="connsiteX1862" fmla="*/ 3639931 w 3862373"/>
                  <a:gd name="connsiteY1862" fmla="*/ 1416070 h 3682908"/>
                  <a:gd name="connsiteX1863" fmla="*/ 3679018 w 3862373"/>
                  <a:gd name="connsiteY1863" fmla="*/ 1376983 h 3682908"/>
                  <a:gd name="connsiteX1864" fmla="*/ 3489737 w 3862373"/>
                  <a:gd name="connsiteY1864" fmla="*/ 1376983 h 3682908"/>
                  <a:gd name="connsiteX1865" fmla="*/ 3528823 w 3862373"/>
                  <a:gd name="connsiteY1865" fmla="*/ 1416070 h 3682908"/>
                  <a:gd name="connsiteX1866" fmla="*/ 3489737 w 3862373"/>
                  <a:gd name="connsiteY1866" fmla="*/ 1455158 h 3682908"/>
                  <a:gd name="connsiteX1867" fmla="*/ 3450649 w 3862373"/>
                  <a:gd name="connsiteY1867" fmla="*/ 1416070 h 3682908"/>
                  <a:gd name="connsiteX1868" fmla="*/ 3489737 w 3862373"/>
                  <a:gd name="connsiteY1868" fmla="*/ 1376983 h 3682908"/>
                  <a:gd name="connsiteX1869" fmla="*/ 3392731 w 3862373"/>
                  <a:gd name="connsiteY1869" fmla="*/ 1376983 h 3682908"/>
                  <a:gd name="connsiteX1870" fmla="*/ 3431819 w 3862373"/>
                  <a:gd name="connsiteY1870" fmla="*/ 1416070 h 3682908"/>
                  <a:gd name="connsiteX1871" fmla="*/ 3392731 w 3862373"/>
                  <a:gd name="connsiteY1871" fmla="*/ 1455158 h 3682908"/>
                  <a:gd name="connsiteX1872" fmla="*/ 3353644 w 3862373"/>
                  <a:gd name="connsiteY1872" fmla="*/ 1416070 h 3682908"/>
                  <a:gd name="connsiteX1873" fmla="*/ 3392731 w 3862373"/>
                  <a:gd name="connsiteY1873" fmla="*/ 1376983 h 3682908"/>
                  <a:gd name="connsiteX1874" fmla="*/ 3300457 w 3862373"/>
                  <a:gd name="connsiteY1874" fmla="*/ 1376983 h 3682908"/>
                  <a:gd name="connsiteX1875" fmla="*/ 3339544 w 3862373"/>
                  <a:gd name="connsiteY1875" fmla="*/ 1416070 h 3682908"/>
                  <a:gd name="connsiteX1876" fmla="*/ 3300457 w 3862373"/>
                  <a:gd name="connsiteY1876" fmla="*/ 1455158 h 3682908"/>
                  <a:gd name="connsiteX1877" fmla="*/ 3261369 w 3862373"/>
                  <a:gd name="connsiteY1877" fmla="*/ 1416070 h 3682908"/>
                  <a:gd name="connsiteX1878" fmla="*/ 3300457 w 3862373"/>
                  <a:gd name="connsiteY1878" fmla="*/ 1376983 h 3682908"/>
                  <a:gd name="connsiteX1879" fmla="*/ 3205817 w 3862373"/>
                  <a:gd name="connsiteY1879" fmla="*/ 1376983 h 3682908"/>
                  <a:gd name="connsiteX1880" fmla="*/ 3244904 w 3862373"/>
                  <a:gd name="connsiteY1880" fmla="*/ 1416070 h 3682908"/>
                  <a:gd name="connsiteX1881" fmla="*/ 3205817 w 3862373"/>
                  <a:gd name="connsiteY1881" fmla="*/ 1455158 h 3682908"/>
                  <a:gd name="connsiteX1882" fmla="*/ 3166729 w 3862373"/>
                  <a:gd name="connsiteY1882" fmla="*/ 1416070 h 3682908"/>
                  <a:gd name="connsiteX1883" fmla="*/ 3205817 w 3862373"/>
                  <a:gd name="connsiteY1883" fmla="*/ 1376983 h 3682908"/>
                  <a:gd name="connsiteX1884" fmla="*/ 3111177 w 3862373"/>
                  <a:gd name="connsiteY1884" fmla="*/ 1376983 h 3682908"/>
                  <a:gd name="connsiteX1885" fmla="*/ 3150264 w 3862373"/>
                  <a:gd name="connsiteY1885" fmla="*/ 1416070 h 3682908"/>
                  <a:gd name="connsiteX1886" fmla="*/ 3111177 w 3862373"/>
                  <a:gd name="connsiteY1886" fmla="*/ 1455158 h 3682908"/>
                  <a:gd name="connsiteX1887" fmla="*/ 3072089 w 3862373"/>
                  <a:gd name="connsiteY1887" fmla="*/ 1416070 h 3682908"/>
                  <a:gd name="connsiteX1888" fmla="*/ 3111177 w 3862373"/>
                  <a:gd name="connsiteY1888" fmla="*/ 1376983 h 3682908"/>
                  <a:gd name="connsiteX1889" fmla="*/ 3018902 w 3862373"/>
                  <a:gd name="connsiteY1889" fmla="*/ 1376983 h 3682908"/>
                  <a:gd name="connsiteX1890" fmla="*/ 3057989 w 3862373"/>
                  <a:gd name="connsiteY1890" fmla="*/ 1416070 h 3682908"/>
                  <a:gd name="connsiteX1891" fmla="*/ 3018902 w 3862373"/>
                  <a:gd name="connsiteY1891" fmla="*/ 1455158 h 3682908"/>
                  <a:gd name="connsiteX1892" fmla="*/ 2979815 w 3862373"/>
                  <a:gd name="connsiteY1892" fmla="*/ 1416070 h 3682908"/>
                  <a:gd name="connsiteX1893" fmla="*/ 3018902 w 3862373"/>
                  <a:gd name="connsiteY1893" fmla="*/ 1376983 h 3682908"/>
                  <a:gd name="connsiteX1894" fmla="*/ 2924263 w 3862373"/>
                  <a:gd name="connsiteY1894" fmla="*/ 1376983 h 3682908"/>
                  <a:gd name="connsiteX1895" fmla="*/ 2963349 w 3862373"/>
                  <a:gd name="connsiteY1895" fmla="*/ 1416070 h 3682908"/>
                  <a:gd name="connsiteX1896" fmla="*/ 2924263 w 3862373"/>
                  <a:gd name="connsiteY1896" fmla="*/ 1455158 h 3682908"/>
                  <a:gd name="connsiteX1897" fmla="*/ 2885175 w 3862373"/>
                  <a:gd name="connsiteY1897" fmla="*/ 1416070 h 3682908"/>
                  <a:gd name="connsiteX1898" fmla="*/ 2924263 w 3862373"/>
                  <a:gd name="connsiteY1898" fmla="*/ 1376983 h 3682908"/>
                  <a:gd name="connsiteX1899" fmla="*/ 2831988 w 3862373"/>
                  <a:gd name="connsiteY1899" fmla="*/ 1376983 h 3682908"/>
                  <a:gd name="connsiteX1900" fmla="*/ 2871075 w 3862373"/>
                  <a:gd name="connsiteY1900" fmla="*/ 1416070 h 3682908"/>
                  <a:gd name="connsiteX1901" fmla="*/ 2831988 w 3862373"/>
                  <a:gd name="connsiteY1901" fmla="*/ 1455158 h 3682908"/>
                  <a:gd name="connsiteX1902" fmla="*/ 2792901 w 3862373"/>
                  <a:gd name="connsiteY1902" fmla="*/ 1416070 h 3682908"/>
                  <a:gd name="connsiteX1903" fmla="*/ 2831988 w 3862373"/>
                  <a:gd name="connsiteY1903" fmla="*/ 1376983 h 3682908"/>
                  <a:gd name="connsiteX1904" fmla="*/ 2550437 w 3862373"/>
                  <a:gd name="connsiteY1904" fmla="*/ 1376983 h 3682908"/>
                  <a:gd name="connsiteX1905" fmla="*/ 2589523 w 3862373"/>
                  <a:gd name="connsiteY1905" fmla="*/ 1416070 h 3682908"/>
                  <a:gd name="connsiteX1906" fmla="*/ 2550437 w 3862373"/>
                  <a:gd name="connsiteY1906" fmla="*/ 1455158 h 3682908"/>
                  <a:gd name="connsiteX1907" fmla="*/ 2511354 w 3862373"/>
                  <a:gd name="connsiteY1907" fmla="*/ 1416070 h 3682908"/>
                  <a:gd name="connsiteX1908" fmla="*/ 2550437 w 3862373"/>
                  <a:gd name="connsiteY1908" fmla="*/ 1376983 h 3682908"/>
                  <a:gd name="connsiteX1909" fmla="*/ 2458167 w 3862373"/>
                  <a:gd name="connsiteY1909" fmla="*/ 1376983 h 3682908"/>
                  <a:gd name="connsiteX1910" fmla="*/ 2497254 w 3862373"/>
                  <a:gd name="connsiteY1910" fmla="*/ 1416070 h 3682908"/>
                  <a:gd name="connsiteX1911" fmla="*/ 2458167 w 3862373"/>
                  <a:gd name="connsiteY1911" fmla="*/ 1455158 h 3682908"/>
                  <a:gd name="connsiteX1912" fmla="*/ 2419083 w 3862373"/>
                  <a:gd name="connsiteY1912" fmla="*/ 1416070 h 3682908"/>
                  <a:gd name="connsiteX1913" fmla="*/ 2458167 w 3862373"/>
                  <a:gd name="connsiteY1913" fmla="*/ 1376983 h 3682908"/>
                  <a:gd name="connsiteX1914" fmla="*/ 2363529 w 3862373"/>
                  <a:gd name="connsiteY1914" fmla="*/ 1376983 h 3682908"/>
                  <a:gd name="connsiteX1915" fmla="*/ 2402614 w 3862373"/>
                  <a:gd name="connsiteY1915" fmla="*/ 1416070 h 3682908"/>
                  <a:gd name="connsiteX1916" fmla="*/ 2363529 w 3862373"/>
                  <a:gd name="connsiteY1916" fmla="*/ 1455158 h 3682908"/>
                  <a:gd name="connsiteX1917" fmla="*/ 2324442 w 3862373"/>
                  <a:gd name="connsiteY1917" fmla="*/ 1416070 h 3682908"/>
                  <a:gd name="connsiteX1918" fmla="*/ 2363529 w 3862373"/>
                  <a:gd name="connsiteY1918" fmla="*/ 1376983 h 3682908"/>
                  <a:gd name="connsiteX1919" fmla="*/ 1142717 w 3862373"/>
                  <a:gd name="connsiteY1919" fmla="*/ 1376983 h 3682908"/>
                  <a:gd name="connsiteX1920" fmla="*/ 1181806 w 3862373"/>
                  <a:gd name="connsiteY1920" fmla="*/ 1416070 h 3682908"/>
                  <a:gd name="connsiteX1921" fmla="*/ 1142717 w 3862373"/>
                  <a:gd name="connsiteY1921" fmla="*/ 1455158 h 3682908"/>
                  <a:gd name="connsiteX1922" fmla="*/ 1103622 w 3862373"/>
                  <a:gd name="connsiteY1922" fmla="*/ 1416070 h 3682908"/>
                  <a:gd name="connsiteX1923" fmla="*/ 1142717 w 3862373"/>
                  <a:gd name="connsiteY1923" fmla="*/ 1376983 h 3682908"/>
                  <a:gd name="connsiteX1924" fmla="*/ 1045699 w 3862373"/>
                  <a:gd name="connsiteY1924" fmla="*/ 1376983 h 3682908"/>
                  <a:gd name="connsiteX1925" fmla="*/ 1084788 w 3862373"/>
                  <a:gd name="connsiteY1925" fmla="*/ 1416070 h 3682908"/>
                  <a:gd name="connsiteX1926" fmla="*/ 1045699 w 3862373"/>
                  <a:gd name="connsiteY1926" fmla="*/ 1455158 h 3682908"/>
                  <a:gd name="connsiteX1927" fmla="*/ 1006615 w 3862373"/>
                  <a:gd name="connsiteY1927" fmla="*/ 1416070 h 3682908"/>
                  <a:gd name="connsiteX1928" fmla="*/ 1045699 w 3862373"/>
                  <a:gd name="connsiteY1928" fmla="*/ 1376983 h 3682908"/>
                  <a:gd name="connsiteX1929" fmla="*/ 951068 w 3862373"/>
                  <a:gd name="connsiteY1929" fmla="*/ 1376983 h 3682908"/>
                  <a:gd name="connsiteX1930" fmla="*/ 990151 w 3862373"/>
                  <a:gd name="connsiteY1930" fmla="*/ 1416070 h 3682908"/>
                  <a:gd name="connsiteX1931" fmla="*/ 951068 w 3862373"/>
                  <a:gd name="connsiteY1931" fmla="*/ 1455158 h 3682908"/>
                  <a:gd name="connsiteX1932" fmla="*/ 911984 w 3862373"/>
                  <a:gd name="connsiteY1932" fmla="*/ 1416070 h 3682908"/>
                  <a:gd name="connsiteX1933" fmla="*/ 951068 w 3862373"/>
                  <a:gd name="connsiteY1933" fmla="*/ 1376983 h 3682908"/>
                  <a:gd name="connsiteX1934" fmla="*/ 856438 w 3862373"/>
                  <a:gd name="connsiteY1934" fmla="*/ 1376983 h 3682908"/>
                  <a:gd name="connsiteX1935" fmla="*/ 895520 w 3862373"/>
                  <a:gd name="connsiteY1935" fmla="*/ 1416070 h 3682908"/>
                  <a:gd name="connsiteX1936" fmla="*/ 856438 w 3862373"/>
                  <a:gd name="connsiteY1936" fmla="*/ 1455158 h 3682908"/>
                  <a:gd name="connsiteX1937" fmla="*/ 817355 w 3862373"/>
                  <a:gd name="connsiteY1937" fmla="*/ 1416070 h 3682908"/>
                  <a:gd name="connsiteX1938" fmla="*/ 856438 w 3862373"/>
                  <a:gd name="connsiteY1938" fmla="*/ 1376983 h 3682908"/>
                  <a:gd name="connsiteX1939" fmla="*/ 764173 w 3862373"/>
                  <a:gd name="connsiteY1939" fmla="*/ 1376983 h 3682908"/>
                  <a:gd name="connsiteX1940" fmla="*/ 803257 w 3862373"/>
                  <a:gd name="connsiteY1940" fmla="*/ 1416070 h 3682908"/>
                  <a:gd name="connsiteX1941" fmla="*/ 764173 w 3862373"/>
                  <a:gd name="connsiteY1941" fmla="*/ 1455158 h 3682908"/>
                  <a:gd name="connsiteX1942" fmla="*/ 725090 w 3862373"/>
                  <a:gd name="connsiteY1942" fmla="*/ 1416070 h 3682908"/>
                  <a:gd name="connsiteX1943" fmla="*/ 764173 w 3862373"/>
                  <a:gd name="connsiteY1943" fmla="*/ 1376983 h 3682908"/>
                  <a:gd name="connsiteX1944" fmla="*/ 669534 w 3862373"/>
                  <a:gd name="connsiteY1944" fmla="*/ 1376983 h 3682908"/>
                  <a:gd name="connsiteX1945" fmla="*/ 708624 w 3862373"/>
                  <a:gd name="connsiteY1945" fmla="*/ 1416070 h 3682908"/>
                  <a:gd name="connsiteX1946" fmla="*/ 669534 w 3862373"/>
                  <a:gd name="connsiteY1946" fmla="*/ 1455158 h 3682908"/>
                  <a:gd name="connsiteX1947" fmla="*/ 630448 w 3862373"/>
                  <a:gd name="connsiteY1947" fmla="*/ 1416070 h 3682908"/>
                  <a:gd name="connsiteX1948" fmla="*/ 669534 w 3862373"/>
                  <a:gd name="connsiteY1948" fmla="*/ 1376983 h 3682908"/>
                  <a:gd name="connsiteX1949" fmla="*/ 577250 w 3862373"/>
                  <a:gd name="connsiteY1949" fmla="*/ 1376983 h 3682908"/>
                  <a:gd name="connsiteX1950" fmla="*/ 616345 w 3862373"/>
                  <a:gd name="connsiteY1950" fmla="*/ 1416070 h 3682908"/>
                  <a:gd name="connsiteX1951" fmla="*/ 577250 w 3862373"/>
                  <a:gd name="connsiteY1951" fmla="*/ 1455158 h 3682908"/>
                  <a:gd name="connsiteX1952" fmla="*/ 538155 w 3862373"/>
                  <a:gd name="connsiteY1952" fmla="*/ 1416070 h 3682908"/>
                  <a:gd name="connsiteX1953" fmla="*/ 577250 w 3862373"/>
                  <a:gd name="connsiteY1953" fmla="*/ 1376983 h 3682908"/>
                  <a:gd name="connsiteX1954" fmla="*/ 3679017 w 3862373"/>
                  <a:gd name="connsiteY1954" fmla="*/ 1291809 h 3682908"/>
                  <a:gd name="connsiteX1955" fmla="*/ 3718103 w 3862373"/>
                  <a:gd name="connsiteY1955" fmla="*/ 1330896 h 3682908"/>
                  <a:gd name="connsiteX1956" fmla="*/ 3679017 w 3862373"/>
                  <a:gd name="connsiteY1956" fmla="*/ 1369983 h 3682908"/>
                  <a:gd name="connsiteX1957" fmla="*/ 3639929 w 3862373"/>
                  <a:gd name="connsiteY1957" fmla="*/ 1330896 h 3682908"/>
                  <a:gd name="connsiteX1958" fmla="*/ 3679017 w 3862373"/>
                  <a:gd name="connsiteY1958" fmla="*/ 1291809 h 3682908"/>
                  <a:gd name="connsiteX1959" fmla="*/ 3584377 w 3862373"/>
                  <a:gd name="connsiteY1959" fmla="*/ 1291809 h 3682908"/>
                  <a:gd name="connsiteX1960" fmla="*/ 3623463 w 3862373"/>
                  <a:gd name="connsiteY1960" fmla="*/ 1330896 h 3682908"/>
                  <a:gd name="connsiteX1961" fmla="*/ 3584377 w 3862373"/>
                  <a:gd name="connsiteY1961" fmla="*/ 1369983 h 3682908"/>
                  <a:gd name="connsiteX1962" fmla="*/ 3545289 w 3862373"/>
                  <a:gd name="connsiteY1962" fmla="*/ 1330896 h 3682908"/>
                  <a:gd name="connsiteX1963" fmla="*/ 3584377 w 3862373"/>
                  <a:gd name="connsiteY1963" fmla="*/ 1291809 h 3682908"/>
                  <a:gd name="connsiteX1964" fmla="*/ 3489737 w 3862373"/>
                  <a:gd name="connsiteY1964" fmla="*/ 1291809 h 3682908"/>
                  <a:gd name="connsiteX1965" fmla="*/ 3528823 w 3862373"/>
                  <a:gd name="connsiteY1965" fmla="*/ 1330896 h 3682908"/>
                  <a:gd name="connsiteX1966" fmla="*/ 3489737 w 3862373"/>
                  <a:gd name="connsiteY1966" fmla="*/ 1369983 h 3682908"/>
                  <a:gd name="connsiteX1967" fmla="*/ 3450649 w 3862373"/>
                  <a:gd name="connsiteY1967" fmla="*/ 1330896 h 3682908"/>
                  <a:gd name="connsiteX1968" fmla="*/ 3489737 w 3862373"/>
                  <a:gd name="connsiteY1968" fmla="*/ 1291809 h 3682908"/>
                  <a:gd name="connsiteX1969" fmla="*/ 3392731 w 3862373"/>
                  <a:gd name="connsiteY1969" fmla="*/ 1291809 h 3682908"/>
                  <a:gd name="connsiteX1970" fmla="*/ 3431819 w 3862373"/>
                  <a:gd name="connsiteY1970" fmla="*/ 1330896 h 3682908"/>
                  <a:gd name="connsiteX1971" fmla="*/ 3392731 w 3862373"/>
                  <a:gd name="connsiteY1971" fmla="*/ 1369983 h 3682908"/>
                  <a:gd name="connsiteX1972" fmla="*/ 3353644 w 3862373"/>
                  <a:gd name="connsiteY1972" fmla="*/ 1330896 h 3682908"/>
                  <a:gd name="connsiteX1973" fmla="*/ 3392731 w 3862373"/>
                  <a:gd name="connsiteY1973" fmla="*/ 1291809 h 3682908"/>
                  <a:gd name="connsiteX1974" fmla="*/ 3300457 w 3862373"/>
                  <a:gd name="connsiteY1974" fmla="*/ 1291809 h 3682908"/>
                  <a:gd name="connsiteX1975" fmla="*/ 3339544 w 3862373"/>
                  <a:gd name="connsiteY1975" fmla="*/ 1330896 h 3682908"/>
                  <a:gd name="connsiteX1976" fmla="*/ 3300457 w 3862373"/>
                  <a:gd name="connsiteY1976" fmla="*/ 1369983 h 3682908"/>
                  <a:gd name="connsiteX1977" fmla="*/ 3261369 w 3862373"/>
                  <a:gd name="connsiteY1977" fmla="*/ 1330896 h 3682908"/>
                  <a:gd name="connsiteX1978" fmla="*/ 3300457 w 3862373"/>
                  <a:gd name="connsiteY1978" fmla="*/ 1291809 h 3682908"/>
                  <a:gd name="connsiteX1979" fmla="*/ 3111177 w 3862373"/>
                  <a:gd name="connsiteY1979" fmla="*/ 1291809 h 3682908"/>
                  <a:gd name="connsiteX1980" fmla="*/ 3150264 w 3862373"/>
                  <a:gd name="connsiteY1980" fmla="*/ 1330896 h 3682908"/>
                  <a:gd name="connsiteX1981" fmla="*/ 3111177 w 3862373"/>
                  <a:gd name="connsiteY1981" fmla="*/ 1369983 h 3682908"/>
                  <a:gd name="connsiteX1982" fmla="*/ 3072089 w 3862373"/>
                  <a:gd name="connsiteY1982" fmla="*/ 1330896 h 3682908"/>
                  <a:gd name="connsiteX1983" fmla="*/ 3111177 w 3862373"/>
                  <a:gd name="connsiteY1983" fmla="*/ 1291809 h 3682908"/>
                  <a:gd name="connsiteX1984" fmla="*/ 3018902 w 3862373"/>
                  <a:gd name="connsiteY1984" fmla="*/ 1291809 h 3682908"/>
                  <a:gd name="connsiteX1985" fmla="*/ 3057989 w 3862373"/>
                  <a:gd name="connsiteY1985" fmla="*/ 1330896 h 3682908"/>
                  <a:gd name="connsiteX1986" fmla="*/ 3018902 w 3862373"/>
                  <a:gd name="connsiteY1986" fmla="*/ 1369983 h 3682908"/>
                  <a:gd name="connsiteX1987" fmla="*/ 2979815 w 3862373"/>
                  <a:gd name="connsiteY1987" fmla="*/ 1330896 h 3682908"/>
                  <a:gd name="connsiteX1988" fmla="*/ 3018902 w 3862373"/>
                  <a:gd name="connsiteY1988" fmla="*/ 1291809 h 3682908"/>
                  <a:gd name="connsiteX1989" fmla="*/ 2924263 w 3862373"/>
                  <a:gd name="connsiteY1989" fmla="*/ 1291809 h 3682908"/>
                  <a:gd name="connsiteX1990" fmla="*/ 2963349 w 3862373"/>
                  <a:gd name="connsiteY1990" fmla="*/ 1330896 h 3682908"/>
                  <a:gd name="connsiteX1991" fmla="*/ 2924263 w 3862373"/>
                  <a:gd name="connsiteY1991" fmla="*/ 1369983 h 3682908"/>
                  <a:gd name="connsiteX1992" fmla="*/ 2885175 w 3862373"/>
                  <a:gd name="connsiteY1992" fmla="*/ 1330896 h 3682908"/>
                  <a:gd name="connsiteX1993" fmla="*/ 2924263 w 3862373"/>
                  <a:gd name="connsiteY1993" fmla="*/ 1291809 h 3682908"/>
                  <a:gd name="connsiteX1994" fmla="*/ 2831988 w 3862373"/>
                  <a:gd name="connsiteY1994" fmla="*/ 1291809 h 3682908"/>
                  <a:gd name="connsiteX1995" fmla="*/ 2871075 w 3862373"/>
                  <a:gd name="connsiteY1995" fmla="*/ 1330896 h 3682908"/>
                  <a:gd name="connsiteX1996" fmla="*/ 2831988 w 3862373"/>
                  <a:gd name="connsiteY1996" fmla="*/ 1369983 h 3682908"/>
                  <a:gd name="connsiteX1997" fmla="*/ 2792901 w 3862373"/>
                  <a:gd name="connsiteY1997" fmla="*/ 1330896 h 3682908"/>
                  <a:gd name="connsiteX1998" fmla="*/ 2831988 w 3862373"/>
                  <a:gd name="connsiteY1998" fmla="*/ 1291809 h 3682908"/>
                  <a:gd name="connsiteX1999" fmla="*/ 2737365 w 3862373"/>
                  <a:gd name="connsiteY1999" fmla="*/ 1291809 h 3682908"/>
                  <a:gd name="connsiteX2000" fmla="*/ 2776435 w 3862373"/>
                  <a:gd name="connsiteY2000" fmla="*/ 1330896 h 3682908"/>
                  <a:gd name="connsiteX2001" fmla="*/ 2737365 w 3862373"/>
                  <a:gd name="connsiteY2001" fmla="*/ 1369983 h 3682908"/>
                  <a:gd name="connsiteX2002" fmla="*/ 2698269 w 3862373"/>
                  <a:gd name="connsiteY2002" fmla="*/ 1330896 h 3682908"/>
                  <a:gd name="connsiteX2003" fmla="*/ 2737365 w 3862373"/>
                  <a:gd name="connsiteY2003" fmla="*/ 1291809 h 3682908"/>
                  <a:gd name="connsiteX2004" fmla="*/ 2645074 w 3862373"/>
                  <a:gd name="connsiteY2004" fmla="*/ 1291809 h 3682908"/>
                  <a:gd name="connsiteX2005" fmla="*/ 2684165 w 3862373"/>
                  <a:gd name="connsiteY2005" fmla="*/ 1330896 h 3682908"/>
                  <a:gd name="connsiteX2006" fmla="*/ 2645074 w 3862373"/>
                  <a:gd name="connsiteY2006" fmla="*/ 1369983 h 3682908"/>
                  <a:gd name="connsiteX2007" fmla="*/ 2605987 w 3862373"/>
                  <a:gd name="connsiteY2007" fmla="*/ 1330896 h 3682908"/>
                  <a:gd name="connsiteX2008" fmla="*/ 2645074 w 3862373"/>
                  <a:gd name="connsiteY2008" fmla="*/ 1291809 h 3682908"/>
                  <a:gd name="connsiteX2009" fmla="*/ 2550437 w 3862373"/>
                  <a:gd name="connsiteY2009" fmla="*/ 1291809 h 3682908"/>
                  <a:gd name="connsiteX2010" fmla="*/ 2589523 w 3862373"/>
                  <a:gd name="connsiteY2010" fmla="*/ 1330896 h 3682908"/>
                  <a:gd name="connsiteX2011" fmla="*/ 2550437 w 3862373"/>
                  <a:gd name="connsiteY2011" fmla="*/ 1369983 h 3682908"/>
                  <a:gd name="connsiteX2012" fmla="*/ 2511355 w 3862373"/>
                  <a:gd name="connsiteY2012" fmla="*/ 1330896 h 3682908"/>
                  <a:gd name="connsiteX2013" fmla="*/ 2550437 w 3862373"/>
                  <a:gd name="connsiteY2013" fmla="*/ 1291809 h 3682908"/>
                  <a:gd name="connsiteX2014" fmla="*/ 1232635 w 3862373"/>
                  <a:gd name="connsiteY2014" fmla="*/ 1291809 h 3682908"/>
                  <a:gd name="connsiteX2015" fmla="*/ 1271713 w 3862373"/>
                  <a:gd name="connsiteY2015" fmla="*/ 1330896 h 3682908"/>
                  <a:gd name="connsiteX2016" fmla="*/ 1232635 w 3862373"/>
                  <a:gd name="connsiteY2016" fmla="*/ 1369983 h 3682908"/>
                  <a:gd name="connsiteX2017" fmla="*/ 1193549 w 3862373"/>
                  <a:gd name="connsiteY2017" fmla="*/ 1330896 h 3682908"/>
                  <a:gd name="connsiteX2018" fmla="*/ 1232635 w 3862373"/>
                  <a:gd name="connsiteY2018" fmla="*/ 1291809 h 3682908"/>
                  <a:gd name="connsiteX2019" fmla="*/ 1142722 w 3862373"/>
                  <a:gd name="connsiteY2019" fmla="*/ 1291809 h 3682908"/>
                  <a:gd name="connsiteX2020" fmla="*/ 1181812 w 3862373"/>
                  <a:gd name="connsiteY2020" fmla="*/ 1330896 h 3682908"/>
                  <a:gd name="connsiteX2021" fmla="*/ 1142722 w 3862373"/>
                  <a:gd name="connsiteY2021" fmla="*/ 1369983 h 3682908"/>
                  <a:gd name="connsiteX2022" fmla="*/ 1103625 w 3862373"/>
                  <a:gd name="connsiteY2022" fmla="*/ 1330896 h 3682908"/>
                  <a:gd name="connsiteX2023" fmla="*/ 1142722 w 3862373"/>
                  <a:gd name="connsiteY2023" fmla="*/ 1291809 h 3682908"/>
                  <a:gd name="connsiteX2024" fmla="*/ 1045702 w 3862373"/>
                  <a:gd name="connsiteY2024" fmla="*/ 1291809 h 3682908"/>
                  <a:gd name="connsiteX2025" fmla="*/ 1084791 w 3862373"/>
                  <a:gd name="connsiteY2025" fmla="*/ 1330896 h 3682908"/>
                  <a:gd name="connsiteX2026" fmla="*/ 1045702 w 3862373"/>
                  <a:gd name="connsiteY2026" fmla="*/ 1369983 h 3682908"/>
                  <a:gd name="connsiteX2027" fmla="*/ 1006620 w 3862373"/>
                  <a:gd name="connsiteY2027" fmla="*/ 1330896 h 3682908"/>
                  <a:gd name="connsiteX2028" fmla="*/ 1045702 w 3862373"/>
                  <a:gd name="connsiteY2028" fmla="*/ 1291809 h 3682908"/>
                  <a:gd name="connsiteX2029" fmla="*/ 951072 w 3862373"/>
                  <a:gd name="connsiteY2029" fmla="*/ 1291809 h 3682908"/>
                  <a:gd name="connsiteX2030" fmla="*/ 990154 w 3862373"/>
                  <a:gd name="connsiteY2030" fmla="*/ 1330896 h 3682908"/>
                  <a:gd name="connsiteX2031" fmla="*/ 951072 w 3862373"/>
                  <a:gd name="connsiteY2031" fmla="*/ 1369983 h 3682908"/>
                  <a:gd name="connsiteX2032" fmla="*/ 911989 w 3862373"/>
                  <a:gd name="connsiteY2032" fmla="*/ 1330896 h 3682908"/>
                  <a:gd name="connsiteX2033" fmla="*/ 951072 w 3862373"/>
                  <a:gd name="connsiteY2033" fmla="*/ 1291809 h 3682908"/>
                  <a:gd name="connsiteX2034" fmla="*/ 856442 w 3862373"/>
                  <a:gd name="connsiteY2034" fmla="*/ 1291809 h 3682908"/>
                  <a:gd name="connsiteX2035" fmla="*/ 895525 w 3862373"/>
                  <a:gd name="connsiteY2035" fmla="*/ 1330896 h 3682908"/>
                  <a:gd name="connsiteX2036" fmla="*/ 856442 w 3862373"/>
                  <a:gd name="connsiteY2036" fmla="*/ 1369983 h 3682908"/>
                  <a:gd name="connsiteX2037" fmla="*/ 817359 w 3862373"/>
                  <a:gd name="connsiteY2037" fmla="*/ 1330896 h 3682908"/>
                  <a:gd name="connsiteX2038" fmla="*/ 856442 w 3862373"/>
                  <a:gd name="connsiteY2038" fmla="*/ 1291809 h 3682908"/>
                  <a:gd name="connsiteX2039" fmla="*/ 764178 w 3862373"/>
                  <a:gd name="connsiteY2039" fmla="*/ 1291809 h 3682908"/>
                  <a:gd name="connsiteX2040" fmla="*/ 803262 w 3862373"/>
                  <a:gd name="connsiteY2040" fmla="*/ 1330896 h 3682908"/>
                  <a:gd name="connsiteX2041" fmla="*/ 764178 w 3862373"/>
                  <a:gd name="connsiteY2041" fmla="*/ 1369983 h 3682908"/>
                  <a:gd name="connsiteX2042" fmla="*/ 725094 w 3862373"/>
                  <a:gd name="connsiteY2042" fmla="*/ 1330896 h 3682908"/>
                  <a:gd name="connsiteX2043" fmla="*/ 764178 w 3862373"/>
                  <a:gd name="connsiteY2043" fmla="*/ 1291809 h 3682908"/>
                  <a:gd name="connsiteX2044" fmla="*/ 669534 w 3862373"/>
                  <a:gd name="connsiteY2044" fmla="*/ 1291809 h 3682908"/>
                  <a:gd name="connsiteX2045" fmla="*/ 708631 w 3862373"/>
                  <a:gd name="connsiteY2045" fmla="*/ 1330896 h 3682908"/>
                  <a:gd name="connsiteX2046" fmla="*/ 669534 w 3862373"/>
                  <a:gd name="connsiteY2046" fmla="*/ 1369983 h 3682908"/>
                  <a:gd name="connsiteX2047" fmla="*/ 630454 w 3862373"/>
                  <a:gd name="connsiteY2047" fmla="*/ 1330896 h 3682908"/>
                  <a:gd name="connsiteX2048" fmla="*/ 669534 w 3862373"/>
                  <a:gd name="connsiteY2048" fmla="*/ 1291809 h 3682908"/>
                  <a:gd name="connsiteX2049" fmla="*/ 577255 w 3862373"/>
                  <a:gd name="connsiteY2049" fmla="*/ 1291809 h 3682908"/>
                  <a:gd name="connsiteX2050" fmla="*/ 616350 w 3862373"/>
                  <a:gd name="connsiteY2050" fmla="*/ 1330896 h 3682908"/>
                  <a:gd name="connsiteX2051" fmla="*/ 577255 w 3862373"/>
                  <a:gd name="connsiteY2051" fmla="*/ 1369983 h 3682908"/>
                  <a:gd name="connsiteX2052" fmla="*/ 538159 w 3862373"/>
                  <a:gd name="connsiteY2052" fmla="*/ 1330896 h 3682908"/>
                  <a:gd name="connsiteX2053" fmla="*/ 577255 w 3862373"/>
                  <a:gd name="connsiteY2053" fmla="*/ 1291809 h 3682908"/>
                  <a:gd name="connsiteX2054" fmla="*/ 484969 w 3862373"/>
                  <a:gd name="connsiteY2054" fmla="*/ 1291809 h 3682908"/>
                  <a:gd name="connsiteX2055" fmla="*/ 524056 w 3862373"/>
                  <a:gd name="connsiteY2055" fmla="*/ 1330896 h 3682908"/>
                  <a:gd name="connsiteX2056" fmla="*/ 484969 w 3862373"/>
                  <a:gd name="connsiteY2056" fmla="*/ 1369983 h 3682908"/>
                  <a:gd name="connsiteX2057" fmla="*/ 445892 w 3862373"/>
                  <a:gd name="connsiteY2057" fmla="*/ 1330896 h 3682908"/>
                  <a:gd name="connsiteX2058" fmla="*/ 484969 w 3862373"/>
                  <a:gd name="connsiteY2058" fmla="*/ 1291809 h 3682908"/>
                  <a:gd name="connsiteX2059" fmla="*/ 390321 w 3862373"/>
                  <a:gd name="connsiteY2059" fmla="*/ 1291809 h 3682908"/>
                  <a:gd name="connsiteX2060" fmla="*/ 429422 w 3862373"/>
                  <a:gd name="connsiteY2060" fmla="*/ 1330896 h 3682908"/>
                  <a:gd name="connsiteX2061" fmla="*/ 390321 w 3862373"/>
                  <a:gd name="connsiteY2061" fmla="*/ 1369983 h 3682908"/>
                  <a:gd name="connsiteX2062" fmla="*/ 351252 w 3862373"/>
                  <a:gd name="connsiteY2062" fmla="*/ 1330896 h 3682908"/>
                  <a:gd name="connsiteX2063" fmla="*/ 390321 w 3862373"/>
                  <a:gd name="connsiteY2063" fmla="*/ 1291809 h 3682908"/>
                  <a:gd name="connsiteX2064" fmla="*/ 298056 w 3862373"/>
                  <a:gd name="connsiteY2064" fmla="*/ 1291809 h 3682908"/>
                  <a:gd name="connsiteX2065" fmla="*/ 337151 w 3862373"/>
                  <a:gd name="connsiteY2065" fmla="*/ 1330896 h 3682908"/>
                  <a:gd name="connsiteX2066" fmla="*/ 298056 w 3862373"/>
                  <a:gd name="connsiteY2066" fmla="*/ 1369983 h 3682908"/>
                  <a:gd name="connsiteX2067" fmla="*/ 258966 w 3862373"/>
                  <a:gd name="connsiteY2067" fmla="*/ 1330896 h 3682908"/>
                  <a:gd name="connsiteX2068" fmla="*/ 298056 w 3862373"/>
                  <a:gd name="connsiteY2068" fmla="*/ 1291809 h 3682908"/>
                  <a:gd name="connsiteX2069" fmla="*/ 203411 w 3862373"/>
                  <a:gd name="connsiteY2069" fmla="*/ 1291809 h 3682908"/>
                  <a:gd name="connsiteX2070" fmla="*/ 242500 w 3862373"/>
                  <a:gd name="connsiteY2070" fmla="*/ 1330896 h 3682908"/>
                  <a:gd name="connsiteX2071" fmla="*/ 203411 w 3862373"/>
                  <a:gd name="connsiteY2071" fmla="*/ 1369983 h 3682908"/>
                  <a:gd name="connsiteX2072" fmla="*/ 164325 w 3862373"/>
                  <a:gd name="connsiteY2072" fmla="*/ 1330896 h 3682908"/>
                  <a:gd name="connsiteX2073" fmla="*/ 203411 w 3862373"/>
                  <a:gd name="connsiteY2073" fmla="*/ 1291809 h 3682908"/>
                  <a:gd name="connsiteX2074" fmla="*/ 111138 w 3862373"/>
                  <a:gd name="connsiteY2074" fmla="*/ 1291809 h 3682908"/>
                  <a:gd name="connsiteX2075" fmla="*/ 150225 w 3862373"/>
                  <a:gd name="connsiteY2075" fmla="*/ 1330896 h 3682908"/>
                  <a:gd name="connsiteX2076" fmla="*/ 111138 w 3862373"/>
                  <a:gd name="connsiteY2076" fmla="*/ 1369983 h 3682908"/>
                  <a:gd name="connsiteX2077" fmla="*/ 72052 w 3862373"/>
                  <a:gd name="connsiteY2077" fmla="*/ 1330896 h 3682908"/>
                  <a:gd name="connsiteX2078" fmla="*/ 111138 w 3862373"/>
                  <a:gd name="connsiteY2078" fmla="*/ 1291809 h 3682908"/>
                  <a:gd name="connsiteX2079" fmla="*/ 2458171 w 3862373"/>
                  <a:gd name="connsiteY2079" fmla="*/ 1291807 h 3682908"/>
                  <a:gd name="connsiteX2080" fmla="*/ 2497259 w 3862373"/>
                  <a:gd name="connsiteY2080" fmla="*/ 1330894 h 3682908"/>
                  <a:gd name="connsiteX2081" fmla="*/ 2458171 w 3862373"/>
                  <a:gd name="connsiteY2081" fmla="*/ 1369981 h 3682908"/>
                  <a:gd name="connsiteX2082" fmla="*/ 2419089 w 3862373"/>
                  <a:gd name="connsiteY2082" fmla="*/ 1330894 h 3682908"/>
                  <a:gd name="connsiteX2083" fmla="*/ 2458171 w 3862373"/>
                  <a:gd name="connsiteY2083" fmla="*/ 1291807 h 3682908"/>
                  <a:gd name="connsiteX2084" fmla="*/ 2363519 w 3862373"/>
                  <a:gd name="connsiteY2084" fmla="*/ 1291807 h 3682908"/>
                  <a:gd name="connsiteX2085" fmla="*/ 2402607 w 3862373"/>
                  <a:gd name="connsiteY2085" fmla="*/ 1330894 h 3682908"/>
                  <a:gd name="connsiteX2086" fmla="*/ 2363519 w 3862373"/>
                  <a:gd name="connsiteY2086" fmla="*/ 1369981 h 3682908"/>
                  <a:gd name="connsiteX2087" fmla="*/ 2324432 w 3862373"/>
                  <a:gd name="connsiteY2087" fmla="*/ 1330894 h 3682908"/>
                  <a:gd name="connsiteX2088" fmla="*/ 2363519 w 3862373"/>
                  <a:gd name="connsiteY2088" fmla="*/ 1291807 h 3682908"/>
                  <a:gd name="connsiteX2089" fmla="*/ 3771293 w 3862373"/>
                  <a:gd name="connsiteY2089" fmla="*/ 1208998 h 3682908"/>
                  <a:gd name="connsiteX2090" fmla="*/ 3775177 w 3862373"/>
                  <a:gd name="connsiteY2090" fmla="*/ 1210607 h 3682908"/>
                  <a:gd name="connsiteX2091" fmla="*/ 3792595 w 3862373"/>
                  <a:gd name="connsiteY2091" fmla="*/ 1278349 h 3682908"/>
                  <a:gd name="connsiteX2092" fmla="*/ 3771293 w 3862373"/>
                  <a:gd name="connsiteY2092" fmla="*/ 1287173 h 3682908"/>
                  <a:gd name="connsiteX2093" fmla="*/ 3732205 w 3862373"/>
                  <a:gd name="connsiteY2093" fmla="*/ 1248085 h 3682908"/>
                  <a:gd name="connsiteX2094" fmla="*/ 3771293 w 3862373"/>
                  <a:gd name="connsiteY2094" fmla="*/ 1208998 h 3682908"/>
                  <a:gd name="connsiteX2095" fmla="*/ 3679017 w 3862373"/>
                  <a:gd name="connsiteY2095" fmla="*/ 1208998 h 3682908"/>
                  <a:gd name="connsiteX2096" fmla="*/ 3718103 w 3862373"/>
                  <a:gd name="connsiteY2096" fmla="*/ 1248085 h 3682908"/>
                  <a:gd name="connsiteX2097" fmla="*/ 3679017 w 3862373"/>
                  <a:gd name="connsiteY2097" fmla="*/ 1287173 h 3682908"/>
                  <a:gd name="connsiteX2098" fmla="*/ 3639929 w 3862373"/>
                  <a:gd name="connsiteY2098" fmla="*/ 1248085 h 3682908"/>
                  <a:gd name="connsiteX2099" fmla="*/ 3679017 w 3862373"/>
                  <a:gd name="connsiteY2099" fmla="*/ 1208998 h 3682908"/>
                  <a:gd name="connsiteX2100" fmla="*/ 3584377 w 3862373"/>
                  <a:gd name="connsiteY2100" fmla="*/ 1208998 h 3682908"/>
                  <a:gd name="connsiteX2101" fmla="*/ 3623463 w 3862373"/>
                  <a:gd name="connsiteY2101" fmla="*/ 1248085 h 3682908"/>
                  <a:gd name="connsiteX2102" fmla="*/ 3584377 w 3862373"/>
                  <a:gd name="connsiteY2102" fmla="*/ 1287173 h 3682908"/>
                  <a:gd name="connsiteX2103" fmla="*/ 3545289 w 3862373"/>
                  <a:gd name="connsiteY2103" fmla="*/ 1248085 h 3682908"/>
                  <a:gd name="connsiteX2104" fmla="*/ 3584377 w 3862373"/>
                  <a:gd name="connsiteY2104" fmla="*/ 1208998 h 3682908"/>
                  <a:gd name="connsiteX2105" fmla="*/ 3489737 w 3862373"/>
                  <a:gd name="connsiteY2105" fmla="*/ 1208998 h 3682908"/>
                  <a:gd name="connsiteX2106" fmla="*/ 3528823 w 3862373"/>
                  <a:gd name="connsiteY2106" fmla="*/ 1248085 h 3682908"/>
                  <a:gd name="connsiteX2107" fmla="*/ 3489737 w 3862373"/>
                  <a:gd name="connsiteY2107" fmla="*/ 1287173 h 3682908"/>
                  <a:gd name="connsiteX2108" fmla="*/ 3450649 w 3862373"/>
                  <a:gd name="connsiteY2108" fmla="*/ 1248085 h 3682908"/>
                  <a:gd name="connsiteX2109" fmla="*/ 3489737 w 3862373"/>
                  <a:gd name="connsiteY2109" fmla="*/ 1208998 h 3682908"/>
                  <a:gd name="connsiteX2110" fmla="*/ 3392731 w 3862373"/>
                  <a:gd name="connsiteY2110" fmla="*/ 1208998 h 3682908"/>
                  <a:gd name="connsiteX2111" fmla="*/ 3431819 w 3862373"/>
                  <a:gd name="connsiteY2111" fmla="*/ 1248085 h 3682908"/>
                  <a:gd name="connsiteX2112" fmla="*/ 3392731 w 3862373"/>
                  <a:gd name="connsiteY2112" fmla="*/ 1287173 h 3682908"/>
                  <a:gd name="connsiteX2113" fmla="*/ 3353644 w 3862373"/>
                  <a:gd name="connsiteY2113" fmla="*/ 1248085 h 3682908"/>
                  <a:gd name="connsiteX2114" fmla="*/ 3392731 w 3862373"/>
                  <a:gd name="connsiteY2114" fmla="*/ 1208998 h 3682908"/>
                  <a:gd name="connsiteX2115" fmla="*/ 3300457 w 3862373"/>
                  <a:gd name="connsiteY2115" fmla="*/ 1208998 h 3682908"/>
                  <a:gd name="connsiteX2116" fmla="*/ 3339544 w 3862373"/>
                  <a:gd name="connsiteY2116" fmla="*/ 1248085 h 3682908"/>
                  <a:gd name="connsiteX2117" fmla="*/ 3300457 w 3862373"/>
                  <a:gd name="connsiteY2117" fmla="*/ 1287173 h 3682908"/>
                  <a:gd name="connsiteX2118" fmla="*/ 3261369 w 3862373"/>
                  <a:gd name="connsiteY2118" fmla="*/ 1248085 h 3682908"/>
                  <a:gd name="connsiteX2119" fmla="*/ 3300457 w 3862373"/>
                  <a:gd name="connsiteY2119" fmla="*/ 1208998 h 3682908"/>
                  <a:gd name="connsiteX2120" fmla="*/ 3205817 w 3862373"/>
                  <a:gd name="connsiteY2120" fmla="*/ 1208998 h 3682908"/>
                  <a:gd name="connsiteX2121" fmla="*/ 3244904 w 3862373"/>
                  <a:gd name="connsiteY2121" fmla="*/ 1248085 h 3682908"/>
                  <a:gd name="connsiteX2122" fmla="*/ 3205817 w 3862373"/>
                  <a:gd name="connsiteY2122" fmla="*/ 1287173 h 3682908"/>
                  <a:gd name="connsiteX2123" fmla="*/ 3166729 w 3862373"/>
                  <a:gd name="connsiteY2123" fmla="*/ 1248085 h 3682908"/>
                  <a:gd name="connsiteX2124" fmla="*/ 3205817 w 3862373"/>
                  <a:gd name="connsiteY2124" fmla="*/ 1208998 h 3682908"/>
                  <a:gd name="connsiteX2125" fmla="*/ 3111177 w 3862373"/>
                  <a:gd name="connsiteY2125" fmla="*/ 1208998 h 3682908"/>
                  <a:gd name="connsiteX2126" fmla="*/ 3150264 w 3862373"/>
                  <a:gd name="connsiteY2126" fmla="*/ 1248085 h 3682908"/>
                  <a:gd name="connsiteX2127" fmla="*/ 3111177 w 3862373"/>
                  <a:gd name="connsiteY2127" fmla="*/ 1287173 h 3682908"/>
                  <a:gd name="connsiteX2128" fmla="*/ 3072089 w 3862373"/>
                  <a:gd name="connsiteY2128" fmla="*/ 1248085 h 3682908"/>
                  <a:gd name="connsiteX2129" fmla="*/ 3111177 w 3862373"/>
                  <a:gd name="connsiteY2129" fmla="*/ 1208998 h 3682908"/>
                  <a:gd name="connsiteX2130" fmla="*/ 3018902 w 3862373"/>
                  <a:gd name="connsiteY2130" fmla="*/ 1208998 h 3682908"/>
                  <a:gd name="connsiteX2131" fmla="*/ 3057989 w 3862373"/>
                  <a:gd name="connsiteY2131" fmla="*/ 1248085 h 3682908"/>
                  <a:gd name="connsiteX2132" fmla="*/ 3018902 w 3862373"/>
                  <a:gd name="connsiteY2132" fmla="*/ 1287173 h 3682908"/>
                  <a:gd name="connsiteX2133" fmla="*/ 2979815 w 3862373"/>
                  <a:gd name="connsiteY2133" fmla="*/ 1248085 h 3682908"/>
                  <a:gd name="connsiteX2134" fmla="*/ 3018902 w 3862373"/>
                  <a:gd name="connsiteY2134" fmla="*/ 1208998 h 3682908"/>
                  <a:gd name="connsiteX2135" fmla="*/ 2924263 w 3862373"/>
                  <a:gd name="connsiteY2135" fmla="*/ 1208998 h 3682908"/>
                  <a:gd name="connsiteX2136" fmla="*/ 2963349 w 3862373"/>
                  <a:gd name="connsiteY2136" fmla="*/ 1248085 h 3682908"/>
                  <a:gd name="connsiteX2137" fmla="*/ 2924263 w 3862373"/>
                  <a:gd name="connsiteY2137" fmla="*/ 1287173 h 3682908"/>
                  <a:gd name="connsiteX2138" fmla="*/ 2885175 w 3862373"/>
                  <a:gd name="connsiteY2138" fmla="*/ 1248085 h 3682908"/>
                  <a:gd name="connsiteX2139" fmla="*/ 2924263 w 3862373"/>
                  <a:gd name="connsiteY2139" fmla="*/ 1208998 h 3682908"/>
                  <a:gd name="connsiteX2140" fmla="*/ 2831988 w 3862373"/>
                  <a:gd name="connsiteY2140" fmla="*/ 1208998 h 3682908"/>
                  <a:gd name="connsiteX2141" fmla="*/ 2871075 w 3862373"/>
                  <a:gd name="connsiteY2141" fmla="*/ 1248085 h 3682908"/>
                  <a:gd name="connsiteX2142" fmla="*/ 2831988 w 3862373"/>
                  <a:gd name="connsiteY2142" fmla="*/ 1287173 h 3682908"/>
                  <a:gd name="connsiteX2143" fmla="*/ 2792901 w 3862373"/>
                  <a:gd name="connsiteY2143" fmla="*/ 1248085 h 3682908"/>
                  <a:gd name="connsiteX2144" fmla="*/ 2831988 w 3862373"/>
                  <a:gd name="connsiteY2144" fmla="*/ 1208998 h 3682908"/>
                  <a:gd name="connsiteX2145" fmla="*/ 2737366 w 3862373"/>
                  <a:gd name="connsiteY2145" fmla="*/ 1208998 h 3682908"/>
                  <a:gd name="connsiteX2146" fmla="*/ 2776435 w 3862373"/>
                  <a:gd name="connsiteY2146" fmla="*/ 1248085 h 3682908"/>
                  <a:gd name="connsiteX2147" fmla="*/ 2737366 w 3862373"/>
                  <a:gd name="connsiteY2147" fmla="*/ 1287173 h 3682908"/>
                  <a:gd name="connsiteX2148" fmla="*/ 2698269 w 3862373"/>
                  <a:gd name="connsiteY2148" fmla="*/ 1248085 h 3682908"/>
                  <a:gd name="connsiteX2149" fmla="*/ 2737366 w 3862373"/>
                  <a:gd name="connsiteY2149" fmla="*/ 1208998 h 3682908"/>
                  <a:gd name="connsiteX2150" fmla="*/ 2645076 w 3862373"/>
                  <a:gd name="connsiteY2150" fmla="*/ 1208998 h 3682908"/>
                  <a:gd name="connsiteX2151" fmla="*/ 2684167 w 3862373"/>
                  <a:gd name="connsiteY2151" fmla="*/ 1248085 h 3682908"/>
                  <a:gd name="connsiteX2152" fmla="*/ 2645076 w 3862373"/>
                  <a:gd name="connsiteY2152" fmla="*/ 1287173 h 3682908"/>
                  <a:gd name="connsiteX2153" fmla="*/ 2605987 w 3862373"/>
                  <a:gd name="connsiteY2153" fmla="*/ 1248085 h 3682908"/>
                  <a:gd name="connsiteX2154" fmla="*/ 2645076 w 3862373"/>
                  <a:gd name="connsiteY2154" fmla="*/ 1208998 h 3682908"/>
                  <a:gd name="connsiteX2155" fmla="*/ 2550439 w 3862373"/>
                  <a:gd name="connsiteY2155" fmla="*/ 1208998 h 3682908"/>
                  <a:gd name="connsiteX2156" fmla="*/ 2589523 w 3862373"/>
                  <a:gd name="connsiteY2156" fmla="*/ 1248085 h 3682908"/>
                  <a:gd name="connsiteX2157" fmla="*/ 2550439 w 3862373"/>
                  <a:gd name="connsiteY2157" fmla="*/ 1287173 h 3682908"/>
                  <a:gd name="connsiteX2158" fmla="*/ 2511356 w 3862373"/>
                  <a:gd name="connsiteY2158" fmla="*/ 1248085 h 3682908"/>
                  <a:gd name="connsiteX2159" fmla="*/ 2550439 w 3862373"/>
                  <a:gd name="connsiteY2159" fmla="*/ 1208998 h 3682908"/>
                  <a:gd name="connsiteX2160" fmla="*/ 1419546 w 3862373"/>
                  <a:gd name="connsiteY2160" fmla="*/ 1208998 h 3682908"/>
                  <a:gd name="connsiteX2161" fmla="*/ 1458634 w 3862373"/>
                  <a:gd name="connsiteY2161" fmla="*/ 1248085 h 3682908"/>
                  <a:gd name="connsiteX2162" fmla="*/ 1419546 w 3862373"/>
                  <a:gd name="connsiteY2162" fmla="*/ 1287173 h 3682908"/>
                  <a:gd name="connsiteX2163" fmla="*/ 1380453 w 3862373"/>
                  <a:gd name="connsiteY2163" fmla="*/ 1248085 h 3682908"/>
                  <a:gd name="connsiteX2164" fmla="*/ 1419546 w 3862373"/>
                  <a:gd name="connsiteY2164" fmla="*/ 1208998 h 3682908"/>
                  <a:gd name="connsiteX2165" fmla="*/ 1329634 w 3862373"/>
                  <a:gd name="connsiteY2165" fmla="*/ 1208998 h 3682908"/>
                  <a:gd name="connsiteX2166" fmla="*/ 1368722 w 3862373"/>
                  <a:gd name="connsiteY2166" fmla="*/ 1248085 h 3682908"/>
                  <a:gd name="connsiteX2167" fmla="*/ 1329634 w 3862373"/>
                  <a:gd name="connsiteY2167" fmla="*/ 1287173 h 3682908"/>
                  <a:gd name="connsiteX2168" fmla="*/ 1290553 w 3862373"/>
                  <a:gd name="connsiteY2168" fmla="*/ 1248085 h 3682908"/>
                  <a:gd name="connsiteX2169" fmla="*/ 1329634 w 3862373"/>
                  <a:gd name="connsiteY2169" fmla="*/ 1208998 h 3682908"/>
                  <a:gd name="connsiteX2170" fmla="*/ 1232640 w 3862373"/>
                  <a:gd name="connsiteY2170" fmla="*/ 1208998 h 3682908"/>
                  <a:gd name="connsiteX2171" fmla="*/ 1271716 w 3862373"/>
                  <a:gd name="connsiteY2171" fmla="*/ 1248085 h 3682908"/>
                  <a:gd name="connsiteX2172" fmla="*/ 1232640 w 3862373"/>
                  <a:gd name="connsiteY2172" fmla="*/ 1287173 h 3682908"/>
                  <a:gd name="connsiteX2173" fmla="*/ 1193553 w 3862373"/>
                  <a:gd name="connsiteY2173" fmla="*/ 1248085 h 3682908"/>
                  <a:gd name="connsiteX2174" fmla="*/ 1232640 w 3862373"/>
                  <a:gd name="connsiteY2174" fmla="*/ 1208998 h 3682908"/>
                  <a:gd name="connsiteX2175" fmla="*/ 1142726 w 3862373"/>
                  <a:gd name="connsiteY2175" fmla="*/ 1208998 h 3682908"/>
                  <a:gd name="connsiteX2176" fmla="*/ 1181817 w 3862373"/>
                  <a:gd name="connsiteY2176" fmla="*/ 1248085 h 3682908"/>
                  <a:gd name="connsiteX2177" fmla="*/ 1142726 w 3862373"/>
                  <a:gd name="connsiteY2177" fmla="*/ 1287173 h 3682908"/>
                  <a:gd name="connsiteX2178" fmla="*/ 1103630 w 3862373"/>
                  <a:gd name="connsiteY2178" fmla="*/ 1248085 h 3682908"/>
                  <a:gd name="connsiteX2179" fmla="*/ 1142726 w 3862373"/>
                  <a:gd name="connsiteY2179" fmla="*/ 1208998 h 3682908"/>
                  <a:gd name="connsiteX2180" fmla="*/ 1045706 w 3862373"/>
                  <a:gd name="connsiteY2180" fmla="*/ 1208998 h 3682908"/>
                  <a:gd name="connsiteX2181" fmla="*/ 1084795 w 3862373"/>
                  <a:gd name="connsiteY2181" fmla="*/ 1248085 h 3682908"/>
                  <a:gd name="connsiteX2182" fmla="*/ 1045706 w 3862373"/>
                  <a:gd name="connsiteY2182" fmla="*/ 1287173 h 3682908"/>
                  <a:gd name="connsiteX2183" fmla="*/ 1006623 w 3862373"/>
                  <a:gd name="connsiteY2183" fmla="*/ 1248085 h 3682908"/>
                  <a:gd name="connsiteX2184" fmla="*/ 1045706 w 3862373"/>
                  <a:gd name="connsiteY2184" fmla="*/ 1208998 h 3682908"/>
                  <a:gd name="connsiteX2185" fmla="*/ 951076 w 3862373"/>
                  <a:gd name="connsiteY2185" fmla="*/ 1208998 h 3682908"/>
                  <a:gd name="connsiteX2186" fmla="*/ 990159 w 3862373"/>
                  <a:gd name="connsiteY2186" fmla="*/ 1248085 h 3682908"/>
                  <a:gd name="connsiteX2187" fmla="*/ 951076 w 3862373"/>
                  <a:gd name="connsiteY2187" fmla="*/ 1287173 h 3682908"/>
                  <a:gd name="connsiteX2188" fmla="*/ 911993 w 3862373"/>
                  <a:gd name="connsiteY2188" fmla="*/ 1248085 h 3682908"/>
                  <a:gd name="connsiteX2189" fmla="*/ 951076 w 3862373"/>
                  <a:gd name="connsiteY2189" fmla="*/ 1208998 h 3682908"/>
                  <a:gd name="connsiteX2190" fmla="*/ 856447 w 3862373"/>
                  <a:gd name="connsiteY2190" fmla="*/ 1208998 h 3682908"/>
                  <a:gd name="connsiteX2191" fmla="*/ 895530 w 3862373"/>
                  <a:gd name="connsiteY2191" fmla="*/ 1248085 h 3682908"/>
                  <a:gd name="connsiteX2192" fmla="*/ 856447 w 3862373"/>
                  <a:gd name="connsiteY2192" fmla="*/ 1287173 h 3682908"/>
                  <a:gd name="connsiteX2193" fmla="*/ 817365 w 3862373"/>
                  <a:gd name="connsiteY2193" fmla="*/ 1248085 h 3682908"/>
                  <a:gd name="connsiteX2194" fmla="*/ 856447 w 3862373"/>
                  <a:gd name="connsiteY2194" fmla="*/ 1208998 h 3682908"/>
                  <a:gd name="connsiteX2195" fmla="*/ 764185 w 3862373"/>
                  <a:gd name="connsiteY2195" fmla="*/ 1208998 h 3682908"/>
                  <a:gd name="connsiteX2196" fmla="*/ 803268 w 3862373"/>
                  <a:gd name="connsiteY2196" fmla="*/ 1248085 h 3682908"/>
                  <a:gd name="connsiteX2197" fmla="*/ 764185 w 3862373"/>
                  <a:gd name="connsiteY2197" fmla="*/ 1287173 h 3682908"/>
                  <a:gd name="connsiteX2198" fmla="*/ 725101 w 3862373"/>
                  <a:gd name="connsiteY2198" fmla="*/ 1248085 h 3682908"/>
                  <a:gd name="connsiteX2199" fmla="*/ 764185 w 3862373"/>
                  <a:gd name="connsiteY2199" fmla="*/ 1208998 h 3682908"/>
                  <a:gd name="connsiteX2200" fmla="*/ 669534 w 3862373"/>
                  <a:gd name="connsiteY2200" fmla="*/ 1208998 h 3682908"/>
                  <a:gd name="connsiteX2201" fmla="*/ 708638 w 3862373"/>
                  <a:gd name="connsiteY2201" fmla="*/ 1248085 h 3682908"/>
                  <a:gd name="connsiteX2202" fmla="*/ 669534 w 3862373"/>
                  <a:gd name="connsiteY2202" fmla="*/ 1287173 h 3682908"/>
                  <a:gd name="connsiteX2203" fmla="*/ 630460 w 3862373"/>
                  <a:gd name="connsiteY2203" fmla="*/ 1248085 h 3682908"/>
                  <a:gd name="connsiteX2204" fmla="*/ 669534 w 3862373"/>
                  <a:gd name="connsiteY2204" fmla="*/ 1208998 h 3682908"/>
                  <a:gd name="connsiteX2205" fmla="*/ 577261 w 3862373"/>
                  <a:gd name="connsiteY2205" fmla="*/ 1208998 h 3682908"/>
                  <a:gd name="connsiteX2206" fmla="*/ 616357 w 3862373"/>
                  <a:gd name="connsiteY2206" fmla="*/ 1248085 h 3682908"/>
                  <a:gd name="connsiteX2207" fmla="*/ 577261 w 3862373"/>
                  <a:gd name="connsiteY2207" fmla="*/ 1287173 h 3682908"/>
                  <a:gd name="connsiteX2208" fmla="*/ 538164 w 3862373"/>
                  <a:gd name="connsiteY2208" fmla="*/ 1248085 h 3682908"/>
                  <a:gd name="connsiteX2209" fmla="*/ 577261 w 3862373"/>
                  <a:gd name="connsiteY2209" fmla="*/ 1208998 h 3682908"/>
                  <a:gd name="connsiteX2210" fmla="*/ 484976 w 3862373"/>
                  <a:gd name="connsiteY2210" fmla="*/ 1208998 h 3682908"/>
                  <a:gd name="connsiteX2211" fmla="*/ 524060 w 3862373"/>
                  <a:gd name="connsiteY2211" fmla="*/ 1248085 h 3682908"/>
                  <a:gd name="connsiteX2212" fmla="*/ 484976 w 3862373"/>
                  <a:gd name="connsiteY2212" fmla="*/ 1287173 h 3682908"/>
                  <a:gd name="connsiteX2213" fmla="*/ 445900 w 3862373"/>
                  <a:gd name="connsiteY2213" fmla="*/ 1248085 h 3682908"/>
                  <a:gd name="connsiteX2214" fmla="*/ 484976 w 3862373"/>
                  <a:gd name="connsiteY2214" fmla="*/ 1208998 h 3682908"/>
                  <a:gd name="connsiteX2215" fmla="*/ 390329 w 3862373"/>
                  <a:gd name="connsiteY2215" fmla="*/ 1208998 h 3682908"/>
                  <a:gd name="connsiteX2216" fmla="*/ 429427 w 3862373"/>
                  <a:gd name="connsiteY2216" fmla="*/ 1248085 h 3682908"/>
                  <a:gd name="connsiteX2217" fmla="*/ 390329 w 3862373"/>
                  <a:gd name="connsiteY2217" fmla="*/ 1287173 h 3682908"/>
                  <a:gd name="connsiteX2218" fmla="*/ 351257 w 3862373"/>
                  <a:gd name="connsiteY2218" fmla="*/ 1248085 h 3682908"/>
                  <a:gd name="connsiteX2219" fmla="*/ 390329 w 3862373"/>
                  <a:gd name="connsiteY2219" fmla="*/ 1208998 h 3682908"/>
                  <a:gd name="connsiteX2220" fmla="*/ 298060 w 3862373"/>
                  <a:gd name="connsiteY2220" fmla="*/ 1208998 h 3682908"/>
                  <a:gd name="connsiteX2221" fmla="*/ 337156 w 3862373"/>
                  <a:gd name="connsiteY2221" fmla="*/ 1248085 h 3682908"/>
                  <a:gd name="connsiteX2222" fmla="*/ 298060 w 3862373"/>
                  <a:gd name="connsiteY2222" fmla="*/ 1287173 h 3682908"/>
                  <a:gd name="connsiteX2223" fmla="*/ 258971 w 3862373"/>
                  <a:gd name="connsiteY2223" fmla="*/ 1248085 h 3682908"/>
                  <a:gd name="connsiteX2224" fmla="*/ 298060 w 3862373"/>
                  <a:gd name="connsiteY2224" fmla="*/ 1208998 h 3682908"/>
                  <a:gd name="connsiteX2225" fmla="*/ 203415 w 3862373"/>
                  <a:gd name="connsiteY2225" fmla="*/ 1208998 h 3682908"/>
                  <a:gd name="connsiteX2226" fmla="*/ 242504 w 3862373"/>
                  <a:gd name="connsiteY2226" fmla="*/ 1248085 h 3682908"/>
                  <a:gd name="connsiteX2227" fmla="*/ 203415 w 3862373"/>
                  <a:gd name="connsiteY2227" fmla="*/ 1287173 h 3682908"/>
                  <a:gd name="connsiteX2228" fmla="*/ 164330 w 3862373"/>
                  <a:gd name="connsiteY2228" fmla="*/ 1248085 h 3682908"/>
                  <a:gd name="connsiteX2229" fmla="*/ 203415 w 3862373"/>
                  <a:gd name="connsiteY2229" fmla="*/ 1208998 h 3682908"/>
                  <a:gd name="connsiteX2230" fmla="*/ 111142 w 3862373"/>
                  <a:gd name="connsiteY2230" fmla="*/ 1208998 h 3682908"/>
                  <a:gd name="connsiteX2231" fmla="*/ 150229 w 3862373"/>
                  <a:gd name="connsiteY2231" fmla="*/ 1248085 h 3682908"/>
                  <a:gd name="connsiteX2232" fmla="*/ 111142 w 3862373"/>
                  <a:gd name="connsiteY2232" fmla="*/ 1287173 h 3682908"/>
                  <a:gd name="connsiteX2233" fmla="*/ 72056 w 3862373"/>
                  <a:gd name="connsiteY2233" fmla="*/ 1248085 h 3682908"/>
                  <a:gd name="connsiteX2234" fmla="*/ 111142 w 3862373"/>
                  <a:gd name="connsiteY2234" fmla="*/ 1208998 h 3682908"/>
                  <a:gd name="connsiteX2235" fmla="*/ 3746476 w 3862373"/>
                  <a:gd name="connsiteY2235" fmla="*/ 1129380 h 3682908"/>
                  <a:gd name="connsiteX2236" fmla="*/ 3771318 w 3862373"/>
                  <a:gd name="connsiteY2236" fmla="*/ 1197252 h 3682908"/>
                  <a:gd name="connsiteX2237" fmla="*/ 3771293 w 3862373"/>
                  <a:gd name="connsiteY2237" fmla="*/ 1197263 h 3682908"/>
                  <a:gd name="connsiteX2238" fmla="*/ 3732205 w 3862373"/>
                  <a:gd name="connsiteY2238" fmla="*/ 1158188 h 3682908"/>
                  <a:gd name="connsiteX2239" fmla="*/ 3743654 w 3862373"/>
                  <a:gd name="connsiteY2239" fmla="*/ 1130550 h 3682908"/>
                  <a:gd name="connsiteX2240" fmla="*/ 577266 w 3862373"/>
                  <a:gd name="connsiteY2240" fmla="*/ 1119103 h 3682908"/>
                  <a:gd name="connsiteX2241" fmla="*/ 616362 w 3862373"/>
                  <a:gd name="connsiteY2241" fmla="*/ 1158190 h 3682908"/>
                  <a:gd name="connsiteX2242" fmla="*/ 577266 w 3862373"/>
                  <a:gd name="connsiteY2242" fmla="*/ 1197265 h 3682908"/>
                  <a:gd name="connsiteX2243" fmla="*/ 538168 w 3862373"/>
                  <a:gd name="connsiteY2243" fmla="*/ 1158190 h 3682908"/>
                  <a:gd name="connsiteX2244" fmla="*/ 577266 w 3862373"/>
                  <a:gd name="connsiteY2244" fmla="*/ 1119103 h 3682908"/>
                  <a:gd name="connsiteX2245" fmla="*/ 484978 w 3862373"/>
                  <a:gd name="connsiteY2245" fmla="*/ 1119103 h 3682908"/>
                  <a:gd name="connsiteX2246" fmla="*/ 524065 w 3862373"/>
                  <a:gd name="connsiteY2246" fmla="*/ 1158190 h 3682908"/>
                  <a:gd name="connsiteX2247" fmla="*/ 484978 w 3862373"/>
                  <a:gd name="connsiteY2247" fmla="*/ 1197265 h 3682908"/>
                  <a:gd name="connsiteX2248" fmla="*/ 445905 w 3862373"/>
                  <a:gd name="connsiteY2248" fmla="*/ 1158190 h 3682908"/>
                  <a:gd name="connsiteX2249" fmla="*/ 484978 w 3862373"/>
                  <a:gd name="connsiteY2249" fmla="*/ 1119103 h 3682908"/>
                  <a:gd name="connsiteX2250" fmla="*/ 390329 w 3862373"/>
                  <a:gd name="connsiteY2250" fmla="*/ 1119103 h 3682908"/>
                  <a:gd name="connsiteX2251" fmla="*/ 429432 w 3862373"/>
                  <a:gd name="connsiteY2251" fmla="*/ 1158190 h 3682908"/>
                  <a:gd name="connsiteX2252" fmla="*/ 390329 w 3862373"/>
                  <a:gd name="connsiteY2252" fmla="*/ 1197265 h 3682908"/>
                  <a:gd name="connsiteX2253" fmla="*/ 351262 w 3862373"/>
                  <a:gd name="connsiteY2253" fmla="*/ 1158190 h 3682908"/>
                  <a:gd name="connsiteX2254" fmla="*/ 390329 w 3862373"/>
                  <a:gd name="connsiteY2254" fmla="*/ 1119103 h 3682908"/>
                  <a:gd name="connsiteX2255" fmla="*/ 298063 w 3862373"/>
                  <a:gd name="connsiteY2255" fmla="*/ 1119103 h 3682908"/>
                  <a:gd name="connsiteX2256" fmla="*/ 337159 w 3862373"/>
                  <a:gd name="connsiteY2256" fmla="*/ 1158190 h 3682908"/>
                  <a:gd name="connsiteX2257" fmla="*/ 298063 w 3862373"/>
                  <a:gd name="connsiteY2257" fmla="*/ 1197265 h 3682908"/>
                  <a:gd name="connsiteX2258" fmla="*/ 258974 w 3862373"/>
                  <a:gd name="connsiteY2258" fmla="*/ 1158190 h 3682908"/>
                  <a:gd name="connsiteX2259" fmla="*/ 298063 w 3862373"/>
                  <a:gd name="connsiteY2259" fmla="*/ 1119103 h 3682908"/>
                  <a:gd name="connsiteX2260" fmla="*/ 203418 w 3862373"/>
                  <a:gd name="connsiteY2260" fmla="*/ 1119103 h 3682908"/>
                  <a:gd name="connsiteX2261" fmla="*/ 242508 w 3862373"/>
                  <a:gd name="connsiteY2261" fmla="*/ 1158190 h 3682908"/>
                  <a:gd name="connsiteX2262" fmla="*/ 203418 w 3862373"/>
                  <a:gd name="connsiteY2262" fmla="*/ 1197265 h 3682908"/>
                  <a:gd name="connsiteX2263" fmla="*/ 164333 w 3862373"/>
                  <a:gd name="connsiteY2263" fmla="*/ 1158190 h 3682908"/>
                  <a:gd name="connsiteX2264" fmla="*/ 203418 w 3862373"/>
                  <a:gd name="connsiteY2264" fmla="*/ 1119103 h 3682908"/>
                  <a:gd name="connsiteX2265" fmla="*/ 3679018 w 3862373"/>
                  <a:gd name="connsiteY2265" fmla="*/ 1119102 h 3682908"/>
                  <a:gd name="connsiteX2266" fmla="*/ 3718105 w 3862373"/>
                  <a:gd name="connsiteY2266" fmla="*/ 1158188 h 3682908"/>
                  <a:gd name="connsiteX2267" fmla="*/ 3679018 w 3862373"/>
                  <a:gd name="connsiteY2267" fmla="*/ 1197263 h 3682908"/>
                  <a:gd name="connsiteX2268" fmla="*/ 3639931 w 3862373"/>
                  <a:gd name="connsiteY2268" fmla="*/ 1158188 h 3682908"/>
                  <a:gd name="connsiteX2269" fmla="*/ 3679018 w 3862373"/>
                  <a:gd name="connsiteY2269" fmla="*/ 1119102 h 3682908"/>
                  <a:gd name="connsiteX2270" fmla="*/ 3584377 w 3862373"/>
                  <a:gd name="connsiteY2270" fmla="*/ 1119102 h 3682908"/>
                  <a:gd name="connsiteX2271" fmla="*/ 3623463 w 3862373"/>
                  <a:gd name="connsiteY2271" fmla="*/ 1158188 h 3682908"/>
                  <a:gd name="connsiteX2272" fmla="*/ 3584377 w 3862373"/>
                  <a:gd name="connsiteY2272" fmla="*/ 1197263 h 3682908"/>
                  <a:gd name="connsiteX2273" fmla="*/ 3545289 w 3862373"/>
                  <a:gd name="connsiteY2273" fmla="*/ 1158188 h 3682908"/>
                  <a:gd name="connsiteX2274" fmla="*/ 3584377 w 3862373"/>
                  <a:gd name="connsiteY2274" fmla="*/ 1119102 h 3682908"/>
                  <a:gd name="connsiteX2275" fmla="*/ 3489737 w 3862373"/>
                  <a:gd name="connsiteY2275" fmla="*/ 1119102 h 3682908"/>
                  <a:gd name="connsiteX2276" fmla="*/ 3528823 w 3862373"/>
                  <a:gd name="connsiteY2276" fmla="*/ 1158188 h 3682908"/>
                  <a:gd name="connsiteX2277" fmla="*/ 3489737 w 3862373"/>
                  <a:gd name="connsiteY2277" fmla="*/ 1197263 h 3682908"/>
                  <a:gd name="connsiteX2278" fmla="*/ 3450649 w 3862373"/>
                  <a:gd name="connsiteY2278" fmla="*/ 1158188 h 3682908"/>
                  <a:gd name="connsiteX2279" fmla="*/ 3489737 w 3862373"/>
                  <a:gd name="connsiteY2279" fmla="*/ 1119102 h 3682908"/>
                  <a:gd name="connsiteX2280" fmla="*/ 3392731 w 3862373"/>
                  <a:gd name="connsiteY2280" fmla="*/ 1119102 h 3682908"/>
                  <a:gd name="connsiteX2281" fmla="*/ 3431819 w 3862373"/>
                  <a:gd name="connsiteY2281" fmla="*/ 1158188 h 3682908"/>
                  <a:gd name="connsiteX2282" fmla="*/ 3392731 w 3862373"/>
                  <a:gd name="connsiteY2282" fmla="*/ 1197263 h 3682908"/>
                  <a:gd name="connsiteX2283" fmla="*/ 3353644 w 3862373"/>
                  <a:gd name="connsiteY2283" fmla="*/ 1158188 h 3682908"/>
                  <a:gd name="connsiteX2284" fmla="*/ 3392731 w 3862373"/>
                  <a:gd name="connsiteY2284" fmla="*/ 1119102 h 3682908"/>
                  <a:gd name="connsiteX2285" fmla="*/ 3300457 w 3862373"/>
                  <a:gd name="connsiteY2285" fmla="*/ 1119102 h 3682908"/>
                  <a:gd name="connsiteX2286" fmla="*/ 3339544 w 3862373"/>
                  <a:gd name="connsiteY2286" fmla="*/ 1158188 h 3682908"/>
                  <a:gd name="connsiteX2287" fmla="*/ 3300457 w 3862373"/>
                  <a:gd name="connsiteY2287" fmla="*/ 1197263 h 3682908"/>
                  <a:gd name="connsiteX2288" fmla="*/ 3261369 w 3862373"/>
                  <a:gd name="connsiteY2288" fmla="*/ 1158188 h 3682908"/>
                  <a:gd name="connsiteX2289" fmla="*/ 3300457 w 3862373"/>
                  <a:gd name="connsiteY2289" fmla="*/ 1119102 h 3682908"/>
                  <a:gd name="connsiteX2290" fmla="*/ 3205817 w 3862373"/>
                  <a:gd name="connsiteY2290" fmla="*/ 1119102 h 3682908"/>
                  <a:gd name="connsiteX2291" fmla="*/ 3244904 w 3862373"/>
                  <a:gd name="connsiteY2291" fmla="*/ 1158188 h 3682908"/>
                  <a:gd name="connsiteX2292" fmla="*/ 3205817 w 3862373"/>
                  <a:gd name="connsiteY2292" fmla="*/ 1197263 h 3682908"/>
                  <a:gd name="connsiteX2293" fmla="*/ 3166729 w 3862373"/>
                  <a:gd name="connsiteY2293" fmla="*/ 1158188 h 3682908"/>
                  <a:gd name="connsiteX2294" fmla="*/ 3205817 w 3862373"/>
                  <a:gd name="connsiteY2294" fmla="*/ 1119102 h 3682908"/>
                  <a:gd name="connsiteX2295" fmla="*/ 3018902 w 3862373"/>
                  <a:gd name="connsiteY2295" fmla="*/ 1119102 h 3682908"/>
                  <a:gd name="connsiteX2296" fmla="*/ 3057989 w 3862373"/>
                  <a:gd name="connsiteY2296" fmla="*/ 1158188 h 3682908"/>
                  <a:gd name="connsiteX2297" fmla="*/ 3018902 w 3862373"/>
                  <a:gd name="connsiteY2297" fmla="*/ 1197263 h 3682908"/>
                  <a:gd name="connsiteX2298" fmla="*/ 2979815 w 3862373"/>
                  <a:gd name="connsiteY2298" fmla="*/ 1158188 h 3682908"/>
                  <a:gd name="connsiteX2299" fmla="*/ 3018902 w 3862373"/>
                  <a:gd name="connsiteY2299" fmla="*/ 1119102 h 3682908"/>
                  <a:gd name="connsiteX2300" fmla="*/ 2924263 w 3862373"/>
                  <a:gd name="connsiteY2300" fmla="*/ 1119102 h 3682908"/>
                  <a:gd name="connsiteX2301" fmla="*/ 2963349 w 3862373"/>
                  <a:gd name="connsiteY2301" fmla="*/ 1158188 h 3682908"/>
                  <a:gd name="connsiteX2302" fmla="*/ 2924263 w 3862373"/>
                  <a:gd name="connsiteY2302" fmla="*/ 1197263 h 3682908"/>
                  <a:gd name="connsiteX2303" fmla="*/ 2885175 w 3862373"/>
                  <a:gd name="connsiteY2303" fmla="*/ 1158188 h 3682908"/>
                  <a:gd name="connsiteX2304" fmla="*/ 2924263 w 3862373"/>
                  <a:gd name="connsiteY2304" fmla="*/ 1119102 h 3682908"/>
                  <a:gd name="connsiteX2305" fmla="*/ 2831988 w 3862373"/>
                  <a:gd name="connsiteY2305" fmla="*/ 1119102 h 3682908"/>
                  <a:gd name="connsiteX2306" fmla="*/ 2871075 w 3862373"/>
                  <a:gd name="connsiteY2306" fmla="*/ 1158188 h 3682908"/>
                  <a:gd name="connsiteX2307" fmla="*/ 2831988 w 3862373"/>
                  <a:gd name="connsiteY2307" fmla="*/ 1197263 h 3682908"/>
                  <a:gd name="connsiteX2308" fmla="*/ 2792901 w 3862373"/>
                  <a:gd name="connsiteY2308" fmla="*/ 1158188 h 3682908"/>
                  <a:gd name="connsiteX2309" fmla="*/ 2831988 w 3862373"/>
                  <a:gd name="connsiteY2309" fmla="*/ 1119102 h 3682908"/>
                  <a:gd name="connsiteX2310" fmla="*/ 2737367 w 3862373"/>
                  <a:gd name="connsiteY2310" fmla="*/ 1119102 h 3682908"/>
                  <a:gd name="connsiteX2311" fmla="*/ 2776435 w 3862373"/>
                  <a:gd name="connsiteY2311" fmla="*/ 1158188 h 3682908"/>
                  <a:gd name="connsiteX2312" fmla="*/ 2737367 w 3862373"/>
                  <a:gd name="connsiteY2312" fmla="*/ 1197263 h 3682908"/>
                  <a:gd name="connsiteX2313" fmla="*/ 2698271 w 3862373"/>
                  <a:gd name="connsiteY2313" fmla="*/ 1158188 h 3682908"/>
                  <a:gd name="connsiteX2314" fmla="*/ 2737367 w 3862373"/>
                  <a:gd name="connsiteY2314" fmla="*/ 1119102 h 3682908"/>
                  <a:gd name="connsiteX2315" fmla="*/ 2645076 w 3862373"/>
                  <a:gd name="connsiteY2315" fmla="*/ 1119102 h 3682908"/>
                  <a:gd name="connsiteX2316" fmla="*/ 2684167 w 3862373"/>
                  <a:gd name="connsiteY2316" fmla="*/ 1158188 h 3682908"/>
                  <a:gd name="connsiteX2317" fmla="*/ 2645076 w 3862373"/>
                  <a:gd name="connsiteY2317" fmla="*/ 1197263 h 3682908"/>
                  <a:gd name="connsiteX2318" fmla="*/ 2605987 w 3862373"/>
                  <a:gd name="connsiteY2318" fmla="*/ 1158188 h 3682908"/>
                  <a:gd name="connsiteX2319" fmla="*/ 2645076 w 3862373"/>
                  <a:gd name="connsiteY2319" fmla="*/ 1119102 h 3682908"/>
                  <a:gd name="connsiteX2320" fmla="*/ 2550439 w 3862373"/>
                  <a:gd name="connsiteY2320" fmla="*/ 1119102 h 3682908"/>
                  <a:gd name="connsiteX2321" fmla="*/ 2589523 w 3862373"/>
                  <a:gd name="connsiteY2321" fmla="*/ 1158188 h 3682908"/>
                  <a:gd name="connsiteX2322" fmla="*/ 2550439 w 3862373"/>
                  <a:gd name="connsiteY2322" fmla="*/ 1197263 h 3682908"/>
                  <a:gd name="connsiteX2323" fmla="*/ 2511357 w 3862373"/>
                  <a:gd name="connsiteY2323" fmla="*/ 1158188 h 3682908"/>
                  <a:gd name="connsiteX2324" fmla="*/ 2550439 w 3862373"/>
                  <a:gd name="connsiteY2324" fmla="*/ 1119102 h 3682908"/>
                  <a:gd name="connsiteX2325" fmla="*/ 2458167 w 3862373"/>
                  <a:gd name="connsiteY2325" fmla="*/ 1119102 h 3682908"/>
                  <a:gd name="connsiteX2326" fmla="*/ 2497254 w 3862373"/>
                  <a:gd name="connsiteY2326" fmla="*/ 1158188 h 3682908"/>
                  <a:gd name="connsiteX2327" fmla="*/ 2458167 w 3862373"/>
                  <a:gd name="connsiteY2327" fmla="*/ 1197263 h 3682908"/>
                  <a:gd name="connsiteX2328" fmla="*/ 2419085 w 3862373"/>
                  <a:gd name="connsiteY2328" fmla="*/ 1158188 h 3682908"/>
                  <a:gd name="connsiteX2329" fmla="*/ 2458167 w 3862373"/>
                  <a:gd name="connsiteY2329" fmla="*/ 1119102 h 3682908"/>
                  <a:gd name="connsiteX2330" fmla="*/ 1419551 w 3862373"/>
                  <a:gd name="connsiteY2330" fmla="*/ 1119102 h 3682908"/>
                  <a:gd name="connsiteX2331" fmla="*/ 1458638 w 3862373"/>
                  <a:gd name="connsiteY2331" fmla="*/ 1158188 h 3682908"/>
                  <a:gd name="connsiteX2332" fmla="*/ 1419551 w 3862373"/>
                  <a:gd name="connsiteY2332" fmla="*/ 1197263 h 3682908"/>
                  <a:gd name="connsiteX2333" fmla="*/ 1380457 w 3862373"/>
                  <a:gd name="connsiteY2333" fmla="*/ 1158188 h 3682908"/>
                  <a:gd name="connsiteX2334" fmla="*/ 1419551 w 3862373"/>
                  <a:gd name="connsiteY2334" fmla="*/ 1119102 h 3682908"/>
                  <a:gd name="connsiteX2335" fmla="*/ 1329639 w 3862373"/>
                  <a:gd name="connsiteY2335" fmla="*/ 1119102 h 3682908"/>
                  <a:gd name="connsiteX2336" fmla="*/ 1368728 w 3862373"/>
                  <a:gd name="connsiteY2336" fmla="*/ 1158188 h 3682908"/>
                  <a:gd name="connsiteX2337" fmla="*/ 1329639 w 3862373"/>
                  <a:gd name="connsiteY2337" fmla="*/ 1197263 h 3682908"/>
                  <a:gd name="connsiteX2338" fmla="*/ 1290557 w 3862373"/>
                  <a:gd name="connsiteY2338" fmla="*/ 1158188 h 3682908"/>
                  <a:gd name="connsiteX2339" fmla="*/ 1329639 w 3862373"/>
                  <a:gd name="connsiteY2339" fmla="*/ 1119102 h 3682908"/>
                  <a:gd name="connsiteX2340" fmla="*/ 1232644 w 3862373"/>
                  <a:gd name="connsiteY2340" fmla="*/ 1119102 h 3682908"/>
                  <a:gd name="connsiteX2341" fmla="*/ 1271718 w 3862373"/>
                  <a:gd name="connsiteY2341" fmla="*/ 1158188 h 3682908"/>
                  <a:gd name="connsiteX2342" fmla="*/ 1232644 w 3862373"/>
                  <a:gd name="connsiteY2342" fmla="*/ 1197263 h 3682908"/>
                  <a:gd name="connsiteX2343" fmla="*/ 1193557 w 3862373"/>
                  <a:gd name="connsiteY2343" fmla="*/ 1158188 h 3682908"/>
                  <a:gd name="connsiteX2344" fmla="*/ 1232644 w 3862373"/>
                  <a:gd name="connsiteY2344" fmla="*/ 1119102 h 3682908"/>
                  <a:gd name="connsiteX2345" fmla="*/ 1142731 w 3862373"/>
                  <a:gd name="connsiteY2345" fmla="*/ 1119102 h 3682908"/>
                  <a:gd name="connsiteX2346" fmla="*/ 1181822 w 3862373"/>
                  <a:gd name="connsiteY2346" fmla="*/ 1158188 h 3682908"/>
                  <a:gd name="connsiteX2347" fmla="*/ 1142731 w 3862373"/>
                  <a:gd name="connsiteY2347" fmla="*/ 1197263 h 3682908"/>
                  <a:gd name="connsiteX2348" fmla="*/ 1103634 w 3862373"/>
                  <a:gd name="connsiteY2348" fmla="*/ 1158188 h 3682908"/>
                  <a:gd name="connsiteX2349" fmla="*/ 1142731 w 3862373"/>
                  <a:gd name="connsiteY2349" fmla="*/ 1119102 h 3682908"/>
                  <a:gd name="connsiteX2350" fmla="*/ 1045709 w 3862373"/>
                  <a:gd name="connsiteY2350" fmla="*/ 1119102 h 3682908"/>
                  <a:gd name="connsiteX2351" fmla="*/ 1084799 w 3862373"/>
                  <a:gd name="connsiteY2351" fmla="*/ 1158188 h 3682908"/>
                  <a:gd name="connsiteX2352" fmla="*/ 1045709 w 3862373"/>
                  <a:gd name="connsiteY2352" fmla="*/ 1197263 h 3682908"/>
                  <a:gd name="connsiteX2353" fmla="*/ 1006627 w 3862373"/>
                  <a:gd name="connsiteY2353" fmla="*/ 1158188 h 3682908"/>
                  <a:gd name="connsiteX2354" fmla="*/ 1045709 w 3862373"/>
                  <a:gd name="connsiteY2354" fmla="*/ 1119102 h 3682908"/>
                  <a:gd name="connsiteX2355" fmla="*/ 951081 w 3862373"/>
                  <a:gd name="connsiteY2355" fmla="*/ 1119102 h 3682908"/>
                  <a:gd name="connsiteX2356" fmla="*/ 990163 w 3862373"/>
                  <a:gd name="connsiteY2356" fmla="*/ 1158188 h 3682908"/>
                  <a:gd name="connsiteX2357" fmla="*/ 951081 w 3862373"/>
                  <a:gd name="connsiteY2357" fmla="*/ 1197263 h 3682908"/>
                  <a:gd name="connsiteX2358" fmla="*/ 911999 w 3862373"/>
                  <a:gd name="connsiteY2358" fmla="*/ 1158188 h 3682908"/>
                  <a:gd name="connsiteX2359" fmla="*/ 951081 w 3862373"/>
                  <a:gd name="connsiteY2359" fmla="*/ 1119102 h 3682908"/>
                  <a:gd name="connsiteX2360" fmla="*/ 856453 w 3862373"/>
                  <a:gd name="connsiteY2360" fmla="*/ 1119102 h 3682908"/>
                  <a:gd name="connsiteX2361" fmla="*/ 895535 w 3862373"/>
                  <a:gd name="connsiteY2361" fmla="*/ 1158188 h 3682908"/>
                  <a:gd name="connsiteX2362" fmla="*/ 856453 w 3862373"/>
                  <a:gd name="connsiteY2362" fmla="*/ 1197263 h 3682908"/>
                  <a:gd name="connsiteX2363" fmla="*/ 817371 w 3862373"/>
                  <a:gd name="connsiteY2363" fmla="*/ 1158188 h 3682908"/>
                  <a:gd name="connsiteX2364" fmla="*/ 856453 w 3862373"/>
                  <a:gd name="connsiteY2364" fmla="*/ 1119102 h 3682908"/>
                  <a:gd name="connsiteX2365" fmla="*/ 764190 w 3862373"/>
                  <a:gd name="connsiteY2365" fmla="*/ 1119102 h 3682908"/>
                  <a:gd name="connsiteX2366" fmla="*/ 803273 w 3862373"/>
                  <a:gd name="connsiteY2366" fmla="*/ 1158188 h 3682908"/>
                  <a:gd name="connsiteX2367" fmla="*/ 764190 w 3862373"/>
                  <a:gd name="connsiteY2367" fmla="*/ 1197263 h 3682908"/>
                  <a:gd name="connsiteX2368" fmla="*/ 725108 w 3862373"/>
                  <a:gd name="connsiteY2368" fmla="*/ 1158188 h 3682908"/>
                  <a:gd name="connsiteX2369" fmla="*/ 764190 w 3862373"/>
                  <a:gd name="connsiteY2369" fmla="*/ 1119102 h 3682908"/>
                  <a:gd name="connsiteX2370" fmla="*/ 669546 w 3862373"/>
                  <a:gd name="connsiteY2370" fmla="*/ 1119102 h 3682908"/>
                  <a:gd name="connsiteX2371" fmla="*/ 708645 w 3862373"/>
                  <a:gd name="connsiteY2371" fmla="*/ 1158188 h 3682908"/>
                  <a:gd name="connsiteX2372" fmla="*/ 669546 w 3862373"/>
                  <a:gd name="connsiteY2372" fmla="*/ 1197263 h 3682908"/>
                  <a:gd name="connsiteX2373" fmla="*/ 630466 w 3862373"/>
                  <a:gd name="connsiteY2373" fmla="*/ 1158188 h 3682908"/>
                  <a:gd name="connsiteX2374" fmla="*/ 669546 w 3862373"/>
                  <a:gd name="connsiteY2374" fmla="*/ 1119102 h 3682908"/>
                  <a:gd name="connsiteX2375" fmla="*/ 111145 w 3862373"/>
                  <a:gd name="connsiteY2375" fmla="*/ 1119102 h 3682908"/>
                  <a:gd name="connsiteX2376" fmla="*/ 150233 w 3862373"/>
                  <a:gd name="connsiteY2376" fmla="*/ 1158188 h 3682908"/>
                  <a:gd name="connsiteX2377" fmla="*/ 111145 w 3862373"/>
                  <a:gd name="connsiteY2377" fmla="*/ 1197263 h 3682908"/>
                  <a:gd name="connsiteX2378" fmla="*/ 72060 w 3862373"/>
                  <a:gd name="connsiteY2378" fmla="*/ 1158188 h 3682908"/>
                  <a:gd name="connsiteX2379" fmla="*/ 111145 w 3862373"/>
                  <a:gd name="connsiteY2379" fmla="*/ 1119102 h 3682908"/>
                  <a:gd name="connsiteX2380" fmla="*/ 24845 w 3862373"/>
                  <a:gd name="connsiteY2380" fmla="*/ 1037379 h 3682908"/>
                  <a:gd name="connsiteX2381" fmla="*/ 44149 w 3862373"/>
                  <a:gd name="connsiteY2381" fmla="*/ 1045374 h 3682908"/>
                  <a:gd name="connsiteX2382" fmla="*/ 55597 w 3862373"/>
                  <a:gd name="connsiteY2382" fmla="*/ 1073013 h 3682908"/>
                  <a:gd name="connsiteX2383" fmla="*/ 16510 w 3862373"/>
                  <a:gd name="connsiteY2383" fmla="*/ 1112099 h 3682908"/>
                  <a:gd name="connsiteX2384" fmla="*/ 0 w 3862373"/>
                  <a:gd name="connsiteY2384" fmla="*/ 1105261 h 3682908"/>
                  <a:gd name="connsiteX2385" fmla="*/ 3679017 w 3862373"/>
                  <a:gd name="connsiteY2385" fmla="*/ 1033926 h 3682908"/>
                  <a:gd name="connsiteX2386" fmla="*/ 3718103 w 3862373"/>
                  <a:gd name="connsiteY2386" fmla="*/ 1073013 h 3682908"/>
                  <a:gd name="connsiteX2387" fmla="*/ 3679017 w 3862373"/>
                  <a:gd name="connsiteY2387" fmla="*/ 1112099 h 3682908"/>
                  <a:gd name="connsiteX2388" fmla="*/ 3639929 w 3862373"/>
                  <a:gd name="connsiteY2388" fmla="*/ 1073013 h 3682908"/>
                  <a:gd name="connsiteX2389" fmla="*/ 3679017 w 3862373"/>
                  <a:gd name="connsiteY2389" fmla="*/ 1033926 h 3682908"/>
                  <a:gd name="connsiteX2390" fmla="*/ 3584377 w 3862373"/>
                  <a:gd name="connsiteY2390" fmla="*/ 1033926 h 3682908"/>
                  <a:gd name="connsiteX2391" fmla="*/ 3623463 w 3862373"/>
                  <a:gd name="connsiteY2391" fmla="*/ 1073013 h 3682908"/>
                  <a:gd name="connsiteX2392" fmla="*/ 3584377 w 3862373"/>
                  <a:gd name="connsiteY2392" fmla="*/ 1112099 h 3682908"/>
                  <a:gd name="connsiteX2393" fmla="*/ 3545289 w 3862373"/>
                  <a:gd name="connsiteY2393" fmla="*/ 1073013 h 3682908"/>
                  <a:gd name="connsiteX2394" fmla="*/ 3584377 w 3862373"/>
                  <a:gd name="connsiteY2394" fmla="*/ 1033926 h 3682908"/>
                  <a:gd name="connsiteX2395" fmla="*/ 3489737 w 3862373"/>
                  <a:gd name="connsiteY2395" fmla="*/ 1033926 h 3682908"/>
                  <a:gd name="connsiteX2396" fmla="*/ 3528823 w 3862373"/>
                  <a:gd name="connsiteY2396" fmla="*/ 1073013 h 3682908"/>
                  <a:gd name="connsiteX2397" fmla="*/ 3489737 w 3862373"/>
                  <a:gd name="connsiteY2397" fmla="*/ 1112099 h 3682908"/>
                  <a:gd name="connsiteX2398" fmla="*/ 3450649 w 3862373"/>
                  <a:gd name="connsiteY2398" fmla="*/ 1073013 h 3682908"/>
                  <a:gd name="connsiteX2399" fmla="*/ 3489737 w 3862373"/>
                  <a:gd name="connsiteY2399" fmla="*/ 1033926 h 3682908"/>
                  <a:gd name="connsiteX2400" fmla="*/ 3392731 w 3862373"/>
                  <a:gd name="connsiteY2400" fmla="*/ 1033926 h 3682908"/>
                  <a:gd name="connsiteX2401" fmla="*/ 3431819 w 3862373"/>
                  <a:gd name="connsiteY2401" fmla="*/ 1073013 h 3682908"/>
                  <a:gd name="connsiteX2402" fmla="*/ 3392731 w 3862373"/>
                  <a:gd name="connsiteY2402" fmla="*/ 1112099 h 3682908"/>
                  <a:gd name="connsiteX2403" fmla="*/ 3353644 w 3862373"/>
                  <a:gd name="connsiteY2403" fmla="*/ 1073013 h 3682908"/>
                  <a:gd name="connsiteX2404" fmla="*/ 3392731 w 3862373"/>
                  <a:gd name="connsiteY2404" fmla="*/ 1033926 h 3682908"/>
                  <a:gd name="connsiteX2405" fmla="*/ 3300455 w 3862373"/>
                  <a:gd name="connsiteY2405" fmla="*/ 1033926 h 3682908"/>
                  <a:gd name="connsiteX2406" fmla="*/ 3339543 w 3862373"/>
                  <a:gd name="connsiteY2406" fmla="*/ 1073013 h 3682908"/>
                  <a:gd name="connsiteX2407" fmla="*/ 3300455 w 3862373"/>
                  <a:gd name="connsiteY2407" fmla="*/ 1112099 h 3682908"/>
                  <a:gd name="connsiteX2408" fmla="*/ 3261368 w 3862373"/>
                  <a:gd name="connsiteY2408" fmla="*/ 1073013 h 3682908"/>
                  <a:gd name="connsiteX2409" fmla="*/ 3300455 w 3862373"/>
                  <a:gd name="connsiteY2409" fmla="*/ 1033926 h 3682908"/>
                  <a:gd name="connsiteX2410" fmla="*/ 3205815 w 3862373"/>
                  <a:gd name="connsiteY2410" fmla="*/ 1033926 h 3682908"/>
                  <a:gd name="connsiteX2411" fmla="*/ 3244903 w 3862373"/>
                  <a:gd name="connsiteY2411" fmla="*/ 1073013 h 3682908"/>
                  <a:gd name="connsiteX2412" fmla="*/ 3205815 w 3862373"/>
                  <a:gd name="connsiteY2412" fmla="*/ 1112099 h 3682908"/>
                  <a:gd name="connsiteX2413" fmla="*/ 3166728 w 3862373"/>
                  <a:gd name="connsiteY2413" fmla="*/ 1073013 h 3682908"/>
                  <a:gd name="connsiteX2414" fmla="*/ 3205815 w 3862373"/>
                  <a:gd name="connsiteY2414" fmla="*/ 1033926 h 3682908"/>
                  <a:gd name="connsiteX2415" fmla="*/ 3111175 w 3862373"/>
                  <a:gd name="connsiteY2415" fmla="*/ 1033926 h 3682908"/>
                  <a:gd name="connsiteX2416" fmla="*/ 3150263 w 3862373"/>
                  <a:gd name="connsiteY2416" fmla="*/ 1073013 h 3682908"/>
                  <a:gd name="connsiteX2417" fmla="*/ 3111175 w 3862373"/>
                  <a:gd name="connsiteY2417" fmla="*/ 1112099 h 3682908"/>
                  <a:gd name="connsiteX2418" fmla="*/ 3072088 w 3862373"/>
                  <a:gd name="connsiteY2418" fmla="*/ 1073013 h 3682908"/>
                  <a:gd name="connsiteX2419" fmla="*/ 3111175 w 3862373"/>
                  <a:gd name="connsiteY2419" fmla="*/ 1033926 h 3682908"/>
                  <a:gd name="connsiteX2420" fmla="*/ 3018902 w 3862373"/>
                  <a:gd name="connsiteY2420" fmla="*/ 1033926 h 3682908"/>
                  <a:gd name="connsiteX2421" fmla="*/ 3057989 w 3862373"/>
                  <a:gd name="connsiteY2421" fmla="*/ 1073013 h 3682908"/>
                  <a:gd name="connsiteX2422" fmla="*/ 3018902 w 3862373"/>
                  <a:gd name="connsiteY2422" fmla="*/ 1112099 h 3682908"/>
                  <a:gd name="connsiteX2423" fmla="*/ 2979815 w 3862373"/>
                  <a:gd name="connsiteY2423" fmla="*/ 1073013 h 3682908"/>
                  <a:gd name="connsiteX2424" fmla="*/ 3018902 w 3862373"/>
                  <a:gd name="connsiteY2424" fmla="*/ 1033926 h 3682908"/>
                  <a:gd name="connsiteX2425" fmla="*/ 2924263 w 3862373"/>
                  <a:gd name="connsiteY2425" fmla="*/ 1033926 h 3682908"/>
                  <a:gd name="connsiteX2426" fmla="*/ 2963349 w 3862373"/>
                  <a:gd name="connsiteY2426" fmla="*/ 1073013 h 3682908"/>
                  <a:gd name="connsiteX2427" fmla="*/ 2924263 w 3862373"/>
                  <a:gd name="connsiteY2427" fmla="*/ 1112099 h 3682908"/>
                  <a:gd name="connsiteX2428" fmla="*/ 2885175 w 3862373"/>
                  <a:gd name="connsiteY2428" fmla="*/ 1073013 h 3682908"/>
                  <a:gd name="connsiteX2429" fmla="*/ 2924263 w 3862373"/>
                  <a:gd name="connsiteY2429" fmla="*/ 1033926 h 3682908"/>
                  <a:gd name="connsiteX2430" fmla="*/ 2831987 w 3862373"/>
                  <a:gd name="connsiteY2430" fmla="*/ 1033926 h 3682908"/>
                  <a:gd name="connsiteX2431" fmla="*/ 2871074 w 3862373"/>
                  <a:gd name="connsiteY2431" fmla="*/ 1073013 h 3682908"/>
                  <a:gd name="connsiteX2432" fmla="*/ 2831987 w 3862373"/>
                  <a:gd name="connsiteY2432" fmla="*/ 1112099 h 3682908"/>
                  <a:gd name="connsiteX2433" fmla="*/ 2792900 w 3862373"/>
                  <a:gd name="connsiteY2433" fmla="*/ 1073013 h 3682908"/>
                  <a:gd name="connsiteX2434" fmla="*/ 2831987 w 3862373"/>
                  <a:gd name="connsiteY2434" fmla="*/ 1033926 h 3682908"/>
                  <a:gd name="connsiteX2435" fmla="*/ 2737368 w 3862373"/>
                  <a:gd name="connsiteY2435" fmla="*/ 1033926 h 3682908"/>
                  <a:gd name="connsiteX2436" fmla="*/ 2776434 w 3862373"/>
                  <a:gd name="connsiteY2436" fmla="*/ 1073013 h 3682908"/>
                  <a:gd name="connsiteX2437" fmla="*/ 2737368 w 3862373"/>
                  <a:gd name="connsiteY2437" fmla="*/ 1112099 h 3682908"/>
                  <a:gd name="connsiteX2438" fmla="*/ 2698271 w 3862373"/>
                  <a:gd name="connsiteY2438" fmla="*/ 1073013 h 3682908"/>
                  <a:gd name="connsiteX2439" fmla="*/ 2737368 w 3862373"/>
                  <a:gd name="connsiteY2439" fmla="*/ 1033926 h 3682908"/>
                  <a:gd name="connsiteX2440" fmla="*/ 2645074 w 3862373"/>
                  <a:gd name="connsiteY2440" fmla="*/ 1033926 h 3682908"/>
                  <a:gd name="connsiteX2441" fmla="*/ 2684167 w 3862373"/>
                  <a:gd name="connsiteY2441" fmla="*/ 1073013 h 3682908"/>
                  <a:gd name="connsiteX2442" fmla="*/ 2645074 w 3862373"/>
                  <a:gd name="connsiteY2442" fmla="*/ 1112099 h 3682908"/>
                  <a:gd name="connsiteX2443" fmla="*/ 2605987 w 3862373"/>
                  <a:gd name="connsiteY2443" fmla="*/ 1073013 h 3682908"/>
                  <a:gd name="connsiteX2444" fmla="*/ 2645074 w 3862373"/>
                  <a:gd name="connsiteY2444" fmla="*/ 1033926 h 3682908"/>
                  <a:gd name="connsiteX2445" fmla="*/ 2550439 w 3862373"/>
                  <a:gd name="connsiteY2445" fmla="*/ 1033926 h 3682908"/>
                  <a:gd name="connsiteX2446" fmla="*/ 2589524 w 3862373"/>
                  <a:gd name="connsiteY2446" fmla="*/ 1073013 h 3682908"/>
                  <a:gd name="connsiteX2447" fmla="*/ 2550439 w 3862373"/>
                  <a:gd name="connsiteY2447" fmla="*/ 1112099 h 3682908"/>
                  <a:gd name="connsiteX2448" fmla="*/ 2511357 w 3862373"/>
                  <a:gd name="connsiteY2448" fmla="*/ 1073013 h 3682908"/>
                  <a:gd name="connsiteX2449" fmla="*/ 2550439 w 3862373"/>
                  <a:gd name="connsiteY2449" fmla="*/ 1033926 h 3682908"/>
                  <a:gd name="connsiteX2450" fmla="*/ 2458167 w 3862373"/>
                  <a:gd name="connsiteY2450" fmla="*/ 1033926 h 3682908"/>
                  <a:gd name="connsiteX2451" fmla="*/ 2497254 w 3862373"/>
                  <a:gd name="connsiteY2451" fmla="*/ 1073013 h 3682908"/>
                  <a:gd name="connsiteX2452" fmla="*/ 2458167 w 3862373"/>
                  <a:gd name="connsiteY2452" fmla="*/ 1112099 h 3682908"/>
                  <a:gd name="connsiteX2453" fmla="*/ 2419085 w 3862373"/>
                  <a:gd name="connsiteY2453" fmla="*/ 1073013 h 3682908"/>
                  <a:gd name="connsiteX2454" fmla="*/ 2458167 w 3862373"/>
                  <a:gd name="connsiteY2454" fmla="*/ 1033926 h 3682908"/>
                  <a:gd name="connsiteX2455" fmla="*/ 2363531 w 3862373"/>
                  <a:gd name="connsiteY2455" fmla="*/ 1033926 h 3682908"/>
                  <a:gd name="connsiteX2456" fmla="*/ 2402615 w 3862373"/>
                  <a:gd name="connsiteY2456" fmla="*/ 1073013 h 3682908"/>
                  <a:gd name="connsiteX2457" fmla="*/ 2363531 w 3862373"/>
                  <a:gd name="connsiteY2457" fmla="*/ 1112099 h 3682908"/>
                  <a:gd name="connsiteX2458" fmla="*/ 2324444 w 3862373"/>
                  <a:gd name="connsiteY2458" fmla="*/ 1073013 h 3682908"/>
                  <a:gd name="connsiteX2459" fmla="*/ 2363531 w 3862373"/>
                  <a:gd name="connsiteY2459" fmla="*/ 1033926 h 3682908"/>
                  <a:gd name="connsiteX2460" fmla="*/ 1419556 w 3862373"/>
                  <a:gd name="connsiteY2460" fmla="*/ 1033926 h 3682908"/>
                  <a:gd name="connsiteX2461" fmla="*/ 1458643 w 3862373"/>
                  <a:gd name="connsiteY2461" fmla="*/ 1073013 h 3682908"/>
                  <a:gd name="connsiteX2462" fmla="*/ 1419556 w 3862373"/>
                  <a:gd name="connsiteY2462" fmla="*/ 1112099 h 3682908"/>
                  <a:gd name="connsiteX2463" fmla="*/ 1380461 w 3862373"/>
                  <a:gd name="connsiteY2463" fmla="*/ 1073013 h 3682908"/>
                  <a:gd name="connsiteX2464" fmla="*/ 1419556 w 3862373"/>
                  <a:gd name="connsiteY2464" fmla="*/ 1033926 h 3682908"/>
                  <a:gd name="connsiteX2465" fmla="*/ 1329642 w 3862373"/>
                  <a:gd name="connsiteY2465" fmla="*/ 1033926 h 3682908"/>
                  <a:gd name="connsiteX2466" fmla="*/ 1368731 w 3862373"/>
                  <a:gd name="connsiteY2466" fmla="*/ 1073013 h 3682908"/>
                  <a:gd name="connsiteX2467" fmla="*/ 1329642 w 3862373"/>
                  <a:gd name="connsiteY2467" fmla="*/ 1112099 h 3682908"/>
                  <a:gd name="connsiteX2468" fmla="*/ 1290561 w 3862373"/>
                  <a:gd name="connsiteY2468" fmla="*/ 1073013 h 3682908"/>
                  <a:gd name="connsiteX2469" fmla="*/ 1329642 w 3862373"/>
                  <a:gd name="connsiteY2469" fmla="*/ 1033926 h 3682908"/>
                  <a:gd name="connsiteX2470" fmla="*/ 1232649 w 3862373"/>
                  <a:gd name="connsiteY2470" fmla="*/ 1033926 h 3682908"/>
                  <a:gd name="connsiteX2471" fmla="*/ 1271722 w 3862373"/>
                  <a:gd name="connsiteY2471" fmla="*/ 1073013 h 3682908"/>
                  <a:gd name="connsiteX2472" fmla="*/ 1232649 w 3862373"/>
                  <a:gd name="connsiteY2472" fmla="*/ 1112099 h 3682908"/>
                  <a:gd name="connsiteX2473" fmla="*/ 1193565 w 3862373"/>
                  <a:gd name="connsiteY2473" fmla="*/ 1073013 h 3682908"/>
                  <a:gd name="connsiteX2474" fmla="*/ 1232649 w 3862373"/>
                  <a:gd name="connsiteY2474" fmla="*/ 1033926 h 3682908"/>
                  <a:gd name="connsiteX2475" fmla="*/ 1142736 w 3862373"/>
                  <a:gd name="connsiteY2475" fmla="*/ 1033926 h 3682908"/>
                  <a:gd name="connsiteX2476" fmla="*/ 1181828 w 3862373"/>
                  <a:gd name="connsiteY2476" fmla="*/ 1073013 h 3682908"/>
                  <a:gd name="connsiteX2477" fmla="*/ 1142736 w 3862373"/>
                  <a:gd name="connsiteY2477" fmla="*/ 1112099 h 3682908"/>
                  <a:gd name="connsiteX2478" fmla="*/ 1103639 w 3862373"/>
                  <a:gd name="connsiteY2478" fmla="*/ 1073013 h 3682908"/>
                  <a:gd name="connsiteX2479" fmla="*/ 1142736 w 3862373"/>
                  <a:gd name="connsiteY2479" fmla="*/ 1033926 h 3682908"/>
                  <a:gd name="connsiteX2480" fmla="*/ 1045712 w 3862373"/>
                  <a:gd name="connsiteY2480" fmla="*/ 1033926 h 3682908"/>
                  <a:gd name="connsiteX2481" fmla="*/ 1084802 w 3862373"/>
                  <a:gd name="connsiteY2481" fmla="*/ 1073013 h 3682908"/>
                  <a:gd name="connsiteX2482" fmla="*/ 1045712 w 3862373"/>
                  <a:gd name="connsiteY2482" fmla="*/ 1112099 h 3682908"/>
                  <a:gd name="connsiteX2483" fmla="*/ 1006631 w 3862373"/>
                  <a:gd name="connsiteY2483" fmla="*/ 1073013 h 3682908"/>
                  <a:gd name="connsiteX2484" fmla="*/ 1045712 w 3862373"/>
                  <a:gd name="connsiteY2484" fmla="*/ 1033926 h 3682908"/>
                  <a:gd name="connsiteX2485" fmla="*/ 951085 w 3862373"/>
                  <a:gd name="connsiteY2485" fmla="*/ 1033926 h 3682908"/>
                  <a:gd name="connsiteX2486" fmla="*/ 990166 w 3862373"/>
                  <a:gd name="connsiteY2486" fmla="*/ 1073013 h 3682908"/>
                  <a:gd name="connsiteX2487" fmla="*/ 951085 w 3862373"/>
                  <a:gd name="connsiteY2487" fmla="*/ 1112099 h 3682908"/>
                  <a:gd name="connsiteX2488" fmla="*/ 912003 w 3862373"/>
                  <a:gd name="connsiteY2488" fmla="*/ 1073013 h 3682908"/>
                  <a:gd name="connsiteX2489" fmla="*/ 951085 w 3862373"/>
                  <a:gd name="connsiteY2489" fmla="*/ 1033926 h 3682908"/>
                  <a:gd name="connsiteX2490" fmla="*/ 856458 w 3862373"/>
                  <a:gd name="connsiteY2490" fmla="*/ 1033926 h 3682908"/>
                  <a:gd name="connsiteX2491" fmla="*/ 895540 w 3862373"/>
                  <a:gd name="connsiteY2491" fmla="*/ 1073013 h 3682908"/>
                  <a:gd name="connsiteX2492" fmla="*/ 856458 w 3862373"/>
                  <a:gd name="connsiteY2492" fmla="*/ 1112099 h 3682908"/>
                  <a:gd name="connsiteX2493" fmla="*/ 817376 w 3862373"/>
                  <a:gd name="connsiteY2493" fmla="*/ 1073013 h 3682908"/>
                  <a:gd name="connsiteX2494" fmla="*/ 856458 w 3862373"/>
                  <a:gd name="connsiteY2494" fmla="*/ 1033926 h 3682908"/>
                  <a:gd name="connsiteX2495" fmla="*/ 764197 w 3862373"/>
                  <a:gd name="connsiteY2495" fmla="*/ 1033926 h 3682908"/>
                  <a:gd name="connsiteX2496" fmla="*/ 803279 w 3862373"/>
                  <a:gd name="connsiteY2496" fmla="*/ 1073013 h 3682908"/>
                  <a:gd name="connsiteX2497" fmla="*/ 764197 w 3862373"/>
                  <a:gd name="connsiteY2497" fmla="*/ 1112099 h 3682908"/>
                  <a:gd name="connsiteX2498" fmla="*/ 725113 w 3862373"/>
                  <a:gd name="connsiteY2498" fmla="*/ 1073013 h 3682908"/>
                  <a:gd name="connsiteX2499" fmla="*/ 764197 w 3862373"/>
                  <a:gd name="connsiteY2499" fmla="*/ 1033926 h 3682908"/>
                  <a:gd name="connsiteX2500" fmla="*/ 669546 w 3862373"/>
                  <a:gd name="connsiteY2500" fmla="*/ 1033926 h 3682908"/>
                  <a:gd name="connsiteX2501" fmla="*/ 708650 w 3862373"/>
                  <a:gd name="connsiteY2501" fmla="*/ 1073013 h 3682908"/>
                  <a:gd name="connsiteX2502" fmla="*/ 669546 w 3862373"/>
                  <a:gd name="connsiteY2502" fmla="*/ 1112099 h 3682908"/>
                  <a:gd name="connsiteX2503" fmla="*/ 630473 w 3862373"/>
                  <a:gd name="connsiteY2503" fmla="*/ 1073013 h 3682908"/>
                  <a:gd name="connsiteX2504" fmla="*/ 669546 w 3862373"/>
                  <a:gd name="connsiteY2504" fmla="*/ 1033926 h 3682908"/>
                  <a:gd name="connsiteX2505" fmla="*/ 577271 w 3862373"/>
                  <a:gd name="connsiteY2505" fmla="*/ 1033926 h 3682908"/>
                  <a:gd name="connsiteX2506" fmla="*/ 616368 w 3862373"/>
                  <a:gd name="connsiteY2506" fmla="*/ 1073013 h 3682908"/>
                  <a:gd name="connsiteX2507" fmla="*/ 577271 w 3862373"/>
                  <a:gd name="connsiteY2507" fmla="*/ 1112099 h 3682908"/>
                  <a:gd name="connsiteX2508" fmla="*/ 538174 w 3862373"/>
                  <a:gd name="connsiteY2508" fmla="*/ 1073013 h 3682908"/>
                  <a:gd name="connsiteX2509" fmla="*/ 577271 w 3862373"/>
                  <a:gd name="connsiteY2509" fmla="*/ 1033926 h 3682908"/>
                  <a:gd name="connsiteX2510" fmla="*/ 484984 w 3862373"/>
                  <a:gd name="connsiteY2510" fmla="*/ 1033926 h 3682908"/>
                  <a:gd name="connsiteX2511" fmla="*/ 524069 w 3862373"/>
                  <a:gd name="connsiteY2511" fmla="*/ 1073013 h 3682908"/>
                  <a:gd name="connsiteX2512" fmla="*/ 484984 w 3862373"/>
                  <a:gd name="connsiteY2512" fmla="*/ 1112099 h 3682908"/>
                  <a:gd name="connsiteX2513" fmla="*/ 445908 w 3862373"/>
                  <a:gd name="connsiteY2513" fmla="*/ 1073013 h 3682908"/>
                  <a:gd name="connsiteX2514" fmla="*/ 484984 w 3862373"/>
                  <a:gd name="connsiteY2514" fmla="*/ 1033926 h 3682908"/>
                  <a:gd name="connsiteX2515" fmla="*/ 390337 w 3862373"/>
                  <a:gd name="connsiteY2515" fmla="*/ 1033926 h 3682908"/>
                  <a:gd name="connsiteX2516" fmla="*/ 429437 w 3862373"/>
                  <a:gd name="connsiteY2516" fmla="*/ 1073013 h 3682908"/>
                  <a:gd name="connsiteX2517" fmla="*/ 390337 w 3862373"/>
                  <a:gd name="connsiteY2517" fmla="*/ 1112099 h 3682908"/>
                  <a:gd name="connsiteX2518" fmla="*/ 351267 w 3862373"/>
                  <a:gd name="connsiteY2518" fmla="*/ 1073013 h 3682908"/>
                  <a:gd name="connsiteX2519" fmla="*/ 390337 w 3862373"/>
                  <a:gd name="connsiteY2519" fmla="*/ 1033926 h 3682908"/>
                  <a:gd name="connsiteX2520" fmla="*/ 298068 w 3862373"/>
                  <a:gd name="connsiteY2520" fmla="*/ 1033926 h 3682908"/>
                  <a:gd name="connsiteX2521" fmla="*/ 337166 w 3862373"/>
                  <a:gd name="connsiteY2521" fmla="*/ 1073013 h 3682908"/>
                  <a:gd name="connsiteX2522" fmla="*/ 298068 w 3862373"/>
                  <a:gd name="connsiteY2522" fmla="*/ 1112099 h 3682908"/>
                  <a:gd name="connsiteX2523" fmla="*/ 258978 w 3862373"/>
                  <a:gd name="connsiteY2523" fmla="*/ 1073013 h 3682908"/>
                  <a:gd name="connsiteX2524" fmla="*/ 298068 w 3862373"/>
                  <a:gd name="connsiteY2524" fmla="*/ 1033926 h 3682908"/>
                  <a:gd name="connsiteX2525" fmla="*/ 203423 w 3862373"/>
                  <a:gd name="connsiteY2525" fmla="*/ 1033926 h 3682908"/>
                  <a:gd name="connsiteX2526" fmla="*/ 242512 w 3862373"/>
                  <a:gd name="connsiteY2526" fmla="*/ 1073013 h 3682908"/>
                  <a:gd name="connsiteX2527" fmla="*/ 203423 w 3862373"/>
                  <a:gd name="connsiteY2527" fmla="*/ 1112099 h 3682908"/>
                  <a:gd name="connsiteX2528" fmla="*/ 164337 w 3862373"/>
                  <a:gd name="connsiteY2528" fmla="*/ 1073013 h 3682908"/>
                  <a:gd name="connsiteX2529" fmla="*/ 203423 w 3862373"/>
                  <a:gd name="connsiteY2529" fmla="*/ 1033926 h 3682908"/>
                  <a:gd name="connsiteX2530" fmla="*/ 111150 w 3862373"/>
                  <a:gd name="connsiteY2530" fmla="*/ 1033926 h 3682908"/>
                  <a:gd name="connsiteX2531" fmla="*/ 150237 w 3862373"/>
                  <a:gd name="connsiteY2531" fmla="*/ 1073013 h 3682908"/>
                  <a:gd name="connsiteX2532" fmla="*/ 111150 w 3862373"/>
                  <a:gd name="connsiteY2532" fmla="*/ 1112099 h 3682908"/>
                  <a:gd name="connsiteX2533" fmla="*/ 72064 w 3862373"/>
                  <a:gd name="connsiteY2533" fmla="*/ 1073013 h 3682908"/>
                  <a:gd name="connsiteX2534" fmla="*/ 111150 w 3862373"/>
                  <a:gd name="connsiteY2534" fmla="*/ 1033926 h 3682908"/>
                  <a:gd name="connsiteX2535" fmla="*/ 51905 w 3862373"/>
                  <a:gd name="connsiteY2535" fmla="*/ 976551 h 3682908"/>
                  <a:gd name="connsiteX2536" fmla="*/ 55600 w 3862373"/>
                  <a:gd name="connsiteY2536" fmla="*/ 985473 h 3682908"/>
                  <a:gd name="connsiteX2537" fmla="*/ 44152 w 3862373"/>
                  <a:gd name="connsiteY2537" fmla="*/ 1013112 h 3682908"/>
                  <a:gd name="connsiteX2538" fmla="*/ 31864 w 3862373"/>
                  <a:gd name="connsiteY2538" fmla="*/ 1018202 h 3682908"/>
                  <a:gd name="connsiteX2539" fmla="*/ 31938 w 3862373"/>
                  <a:gd name="connsiteY2539" fmla="*/ 1017999 h 3682908"/>
                  <a:gd name="connsiteX2540" fmla="*/ 3672511 w 3862373"/>
                  <a:gd name="connsiteY2540" fmla="*/ 949081 h 3682908"/>
                  <a:gd name="connsiteX2541" fmla="*/ 3703905 w 3862373"/>
                  <a:gd name="connsiteY2541" fmla="*/ 1014251 h 3682908"/>
                  <a:gd name="connsiteX2542" fmla="*/ 3679017 w 3862373"/>
                  <a:gd name="connsiteY2542" fmla="*/ 1024560 h 3682908"/>
                  <a:gd name="connsiteX2543" fmla="*/ 3639929 w 3862373"/>
                  <a:gd name="connsiteY2543" fmla="*/ 985473 h 3682908"/>
                  <a:gd name="connsiteX2544" fmla="*/ 3651378 w 3862373"/>
                  <a:gd name="connsiteY2544" fmla="*/ 957835 h 3682908"/>
                  <a:gd name="connsiteX2545" fmla="*/ 3584377 w 3862373"/>
                  <a:gd name="connsiteY2545" fmla="*/ 946387 h 3682908"/>
                  <a:gd name="connsiteX2546" fmla="*/ 3623463 w 3862373"/>
                  <a:gd name="connsiteY2546" fmla="*/ 985473 h 3682908"/>
                  <a:gd name="connsiteX2547" fmla="*/ 3584377 w 3862373"/>
                  <a:gd name="connsiteY2547" fmla="*/ 1024560 h 3682908"/>
                  <a:gd name="connsiteX2548" fmla="*/ 3545289 w 3862373"/>
                  <a:gd name="connsiteY2548" fmla="*/ 985473 h 3682908"/>
                  <a:gd name="connsiteX2549" fmla="*/ 3584377 w 3862373"/>
                  <a:gd name="connsiteY2549" fmla="*/ 946387 h 3682908"/>
                  <a:gd name="connsiteX2550" fmla="*/ 3489737 w 3862373"/>
                  <a:gd name="connsiteY2550" fmla="*/ 946387 h 3682908"/>
                  <a:gd name="connsiteX2551" fmla="*/ 3528823 w 3862373"/>
                  <a:gd name="connsiteY2551" fmla="*/ 985473 h 3682908"/>
                  <a:gd name="connsiteX2552" fmla="*/ 3489737 w 3862373"/>
                  <a:gd name="connsiteY2552" fmla="*/ 1024560 h 3682908"/>
                  <a:gd name="connsiteX2553" fmla="*/ 3450649 w 3862373"/>
                  <a:gd name="connsiteY2553" fmla="*/ 985473 h 3682908"/>
                  <a:gd name="connsiteX2554" fmla="*/ 3489737 w 3862373"/>
                  <a:gd name="connsiteY2554" fmla="*/ 946387 h 3682908"/>
                  <a:gd name="connsiteX2555" fmla="*/ 3392731 w 3862373"/>
                  <a:gd name="connsiteY2555" fmla="*/ 946387 h 3682908"/>
                  <a:gd name="connsiteX2556" fmla="*/ 3431819 w 3862373"/>
                  <a:gd name="connsiteY2556" fmla="*/ 985473 h 3682908"/>
                  <a:gd name="connsiteX2557" fmla="*/ 3392731 w 3862373"/>
                  <a:gd name="connsiteY2557" fmla="*/ 1024560 h 3682908"/>
                  <a:gd name="connsiteX2558" fmla="*/ 3353644 w 3862373"/>
                  <a:gd name="connsiteY2558" fmla="*/ 985473 h 3682908"/>
                  <a:gd name="connsiteX2559" fmla="*/ 3392731 w 3862373"/>
                  <a:gd name="connsiteY2559" fmla="*/ 946387 h 3682908"/>
                  <a:gd name="connsiteX2560" fmla="*/ 3300455 w 3862373"/>
                  <a:gd name="connsiteY2560" fmla="*/ 946387 h 3682908"/>
                  <a:gd name="connsiteX2561" fmla="*/ 3339543 w 3862373"/>
                  <a:gd name="connsiteY2561" fmla="*/ 985473 h 3682908"/>
                  <a:gd name="connsiteX2562" fmla="*/ 3300455 w 3862373"/>
                  <a:gd name="connsiteY2562" fmla="*/ 1024560 h 3682908"/>
                  <a:gd name="connsiteX2563" fmla="*/ 3261368 w 3862373"/>
                  <a:gd name="connsiteY2563" fmla="*/ 985473 h 3682908"/>
                  <a:gd name="connsiteX2564" fmla="*/ 3300455 w 3862373"/>
                  <a:gd name="connsiteY2564" fmla="*/ 946387 h 3682908"/>
                  <a:gd name="connsiteX2565" fmla="*/ 3205815 w 3862373"/>
                  <a:gd name="connsiteY2565" fmla="*/ 946387 h 3682908"/>
                  <a:gd name="connsiteX2566" fmla="*/ 3244903 w 3862373"/>
                  <a:gd name="connsiteY2566" fmla="*/ 985473 h 3682908"/>
                  <a:gd name="connsiteX2567" fmla="*/ 3205815 w 3862373"/>
                  <a:gd name="connsiteY2567" fmla="*/ 1024560 h 3682908"/>
                  <a:gd name="connsiteX2568" fmla="*/ 3166728 w 3862373"/>
                  <a:gd name="connsiteY2568" fmla="*/ 985473 h 3682908"/>
                  <a:gd name="connsiteX2569" fmla="*/ 3205815 w 3862373"/>
                  <a:gd name="connsiteY2569" fmla="*/ 946387 h 3682908"/>
                  <a:gd name="connsiteX2570" fmla="*/ 3111175 w 3862373"/>
                  <a:gd name="connsiteY2570" fmla="*/ 946387 h 3682908"/>
                  <a:gd name="connsiteX2571" fmla="*/ 3150263 w 3862373"/>
                  <a:gd name="connsiteY2571" fmla="*/ 985473 h 3682908"/>
                  <a:gd name="connsiteX2572" fmla="*/ 3111175 w 3862373"/>
                  <a:gd name="connsiteY2572" fmla="*/ 1024560 h 3682908"/>
                  <a:gd name="connsiteX2573" fmla="*/ 3072088 w 3862373"/>
                  <a:gd name="connsiteY2573" fmla="*/ 985473 h 3682908"/>
                  <a:gd name="connsiteX2574" fmla="*/ 3111175 w 3862373"/>
                  <a:gd name="connsiteY2574" fmla="*/ 946387 h 3682908"/>
                  <a:gd name="connsiteX2575" fmla="*/ 3018902 w 3862373"/>
                  <a:gd name="connsiteY2575" fmla="*/ 946387 h 3682908"/>
                  <a:gd name="connsiteX2576" fmla="*/ 3057989 w 3862373"/>
                  <a:gd name="connsiteY2576" fmla="*/ 985473 h 3682908"/>
                  <a:gd name="connsiteX2577" fmla="*/ 3018902 w 3862373"/>
                  <a:gd name="connsiteY2577" fmla="*/ 1024560 h 3682908"/>
                  <a:gd name="connsiteX2578" fmla="*/ 2979815 w 3862373"/>
                  <a:gd name="connsiteY2578" fmla="*/ 985473 h 3682908"/>
                  <a:gd name="connsiteX2579" fmla="*/ 3018902 w 3862373"/>
                  <a:gd name="connsiteY2579" fmla="*/ 946387 h 3682908"/>
                  <a:gd name="connsiteX2580" fmla="*/ 2737369 w 3862373"/>
                  <a:gd name="connsiteY2580" fmla="*/ 946387 h 3682908"/>
                  <a:gd name="connsiteX2581" fmla="*/ 2776434 w 3862373"/>
                  <a:gd name="connsiteY2581" fmla="*/ 985473 h 3682908"/>
                  <a:gd name="connsiteX2582" fmla="*/ 2737369 w 3862373"/>
                  <a:gd name="connsiteY2582" fmla="*/ 1024560 h 3682908"/>
                  <a:gd name="connsiteX2583" fmla="*/ 2698271 w 3862373"/>
                  <a:gd name="connsiteY2583" fmla="*/ 985473 h 3682908"/>
                  <a:gd name="connsiteX2584" fmla="*/ 2737369 w 3862373"/>
                  <a:gd name="connsiteY2584" fmla="*/ 946387 h 3682908"/>
                  <a:gd name="connsiteX2585" fmla="*/ 2458167 w 3862373"/>
                  <a:gd name="connsiteY2585" fmla="*/ 946387 h 3682908"/>
                  <a:gd name="connsiteX2586" fmla="*/ 2497255 w 3862373"/>
                  <a:gd name="connsiteY2586" fmla="*/ 985473 h 3682908"/>
                  <a:gd name="connsiteX2587" fmla="*/ 2458167 w 3862373"/>
                  <a:gd name="connsiteY2587" fmla="*/ 1024560 h 3682908"/>
                  <a:gd name="connsiteX2588" fmla="*/ 2419086 w 3862373"/>
                  <a:gd name="connsiteY2588" fmla="*/ 985473 h 3682908"/>
                  <a:gd name="connsiteX2589" fmla="*/ 2458167 w 3862373"/>
                  <a:gd name="connsiteY2589" fmla="*/ 946387 h 3682908"/>
                  <a:gd name="connsiteX2590" fmla="*/ 1329646 w 3862373"/>
                  <a:gd name="connsiteY2590" fmla="*/ 946387 h 3682908"/>
                  <a:gd name="connsiteX2591" fmla="*/ 1368735 w 3862373"/>
                  <a:gd name="connsiteY2591" fmla="*/ 985473 h 3682908"/>
                  <a:gd name="connsiteX2592" fmla="*/ 1329646 w 3862373"/>
                  <a:gd name="connsiteY2592" fmla="*/ 1024560 h 3682908"/>
                  <a:gd name="connsiteX2593" fmla="*/ 1290566 w 3862373"/>
                  <a:gd name="connsiteY2593" fmla="*/ 985473 h 3682908"/>
                  <a:gd name="connsiteX2594" fmla="*/ 1329646 w 3862373"/>
                  <a:gd name="connsiteY2594" fmla="*/ 946387 h 3682908"/>
                  <a:gd name="connsiteX2595" fmla="*/ 1232653 w 3862373"/>
                  <a:gd name="connsiteY2595" fmla="*/ 946387 h 3682908"/>
                  <a:gd name="connsiteX2596" fmla="*/ 1271726 w 3862373"/>
                  <a:gd name="connsiteY2596" fmla="*/ 985473 h 3682908"/>
                  <a:gd name="connsiteX2597" fmla="*/ 1232653 w 3862373"/>
                  <a:gd name="connsiteY2597" fmla="*/ 1024560 h 3682908"/>
                  <a:gd name="connsiteX2598" fmla="*/ 1193568 w 3862373"/>
                  <a:gd name="connsiteY2598" fmla="*/ 985473 h 3682908"/>
                  <a:gd name="connsiteX2599" fmla="*/ 1232653 w 3862373"/>
                  <a:gd name="connsiteY2599" fmla="*/ 946387 h 3682908"/>
                  <a:gd name="connsiteX2600" fmla="*/ 1142740 w 3862373"/>
                  <a:gd name="connsiteY2600" fmla="*/ 946387 h 3682908"/>
                  <a:gd name="connsiteX2601" fmla="*/ 1181832 w 3862373"/>
                  <a:gd name="connsiteY2601" fmla="*/ 985473 h 3682908"/>
                  <a:gd name="connsiteX2602" fmla="*/ 1142740 w 3862373"/>
                  <a:gd name="connsiteY2602" fmla="*/ 1024560 h 3682908"/>
                  <a:gd name="connsiteX2603" fmla="*/ 1103643 w 3862373"/>
                  <a:gd name="connsiteY2603" fmla="*/ 985473 h 3682908"/>
                  <a:gd name="connsiteX2604" fmla="*/ 1142740 w 3862373"/>
                  <a:gd name="connsiteY2604" fmla="*/ 946387 h 3682908"/>
                  <a:gd name="connsiteX2605" fmla="*/ 1045716 w 3862373"/>
                  <a:gd name="connsiteY2605" fmla="*/ 946387 h 3682908"/>
                  <a:gd name="connsiteX2606" fmla="*/ 1084805 w 3862373"/>
                  <a:gd name="connsiteY2606" fmla="*/ 985473 h 3682908"/>
                  <a:gd name="connsiteX2607" fmla="*/ 1045716 w 3862373"/>
                  <a:gd name="connsiteY2607" fmla="*/ 1024560 h 3682908"/>
                  <a:gd name="connsiteX2608" fmla="*/ 1006635 w 3862373"/>
                  <a:gd name="connsiteY2608" fmla="*/ 985473 h 3682908"/>
                  <a:gd name="connsiteX2609" fmla="*/ 1045716 w 3862373"/>
                  <a:gd name="connsiteY2609" fmla="*/ 946387 h 3682908"/>
                  <a:gd name="connsiteX2610" fmla="*/ 764201 w 3862373"/>
                  <a:gd name="connsiteY2610" fmla="*/ 946387 h 3682908"/>
                  <a:gd name="connsiteX2611" fmla="*/ 803284 w 3862373"/>
                  <a:gd name="connsiteY2611" fmla="*/ 985473 h 3682908"/>
                  <a:gd name="connsiteX2612" fmla="*/ 764201 w 3862373"/>
                  <a:gd name="connsiteY2612" fmla="*/ 1024560 h 3682908"/>
                  <a:gd name="connsiteX2613" fmla="*/ 725120 w 3862373"/>
                  <a:gd name="connsiteY2613" fmla="*/ 985473 h 3682908"/>
                  <a:gd name="connsiteX2614" fmla="*/ 764201 w 3862373"/>
                  <a:gd name="connsiteY2614" fmla="*/ 946387 h 3682908"/>
                  <a:gd name="connsiteX2615" fmla="*/ 669559 w 3862373"/>
                  <a:gd name="connsiteY2615" fmla="*/ 946387 h 3682908"/>
                  <a:gd name="connsiteX2616" fmla="*/ 708656 w 3862373"/>
                  <a:gd name="connsiteY2616" fmla="*/ 985473 h 3682908"/>
                  <a:gd name="connsiteX2617" fmla="*/ 669559 w 3862373"/>
                  <a:gd name="connsiteY2617" fmla="*/ 1024560 h 3682908"/>
                  <a:gd name="connsiteX2618" fmla="*/ 630479 w 3862373"/>
                  <a:gd name="connsiteY2618" fmla="*/ 985473 h 3682908"/>
                  <a:gd name="connsiteX2619" fmla="*/ 669559 w 3862373"/>
                  <a:gd name="connsiteY2619" fmla="*/ 946387 h 3682908"/>
                  <a:gd name="connsiteX2620" fmla="*/ 577276 w 3862373"/>
                  <a:gd name="connsiteY2620" fmla="*/ 946387 h 3682908"/>
                  <a:gd name="connsiteX2621" fmla="*/ 616374 w 3862373"/>
                  <a:gd name="connsiteY2621" fmla="*/ 985473 h 3682908"/>
                  <a:gd name="connsiteX2622" fmla="*/ 577276 w 3862373"/>
                  <a:gd name="connsiteY2622" fmla="*/ 1024560 h 3682908"/>
                  <a:gd name="connsiteX2623" fmla="*/ 538178 w 3862373"/>
                  <a:gd name="connsiteY2623" fmla="*/ 985473 h 3682908"/>
                  <a:gd name="connsiteX2624" fmla="*/ 577276 w 3862373"/>
                  <a:gd name="connsiteY2624" fmla="*/ 946387 h 3682908"/>
                  <a:gd name="connsiteX2625" fmla="*/ 484989 w 3862373"/>
                  <a:gd name="connsiteY2625" fmla="*/ 946387 h 3682908"/>
                  <a:gd name="connsiteX2626" fmla="*/ 524074 w 3862373"/>
                  <a:gd name="connsiteY2626" fmla="*/ 985473 h 3682908"/>
                  <a:gd name="connsiteX2627" fmla="*/ 484989 w 3862373"/>
                  <a:gd name="connsiteY2627" fmla="*/ 1024560 h 3682908"/>
                  <a:gd name="connsiteX2628" fmla="*/ 445913 w 3862373"/>
                  <a:gd name="connsiteY2628" fmla="*/ 985473 h 3682908"/>
                  <a:gd name="connsiteX2629" fmla="*/ 484989 w 3862373"/>
                  <a:gd name="connsiteY2629" fmla="*/ 946387 h 3682908"/>
                  <a:gd name="connsiteX2630" fmla="*/ 390337 w 3862373"/>
                  <a:gd name="connsiteY2630" fmla="*/ 946387 h 3682908"/>
                  <a:gd name="connsiteX2631" fmla="*/ 429441 w 3862373"/>
                  <a:gd name="connsiteY2631" fmla="*/ 985473 h 3682908"/>
                  <a:gd name="connsiteX2632" fmla="*/ 390337 w 3862373"/>
                  <a:gd name="connsiteY2632" fmla="*/ 1024560 h 3682908"/>
                  <a:gd name="connsiteX2633" fmla="*/ 351272 w 3862373"/>
                  <a:gd name="connsiteY2633" fmla="*/ 985473 h 3682908"/>
                  <a:gd name="connsiteX2634" fmla="*/ 390337 w 3862373"/>
                  <a:gd name="connsiteY2634" fmla="*/ 946387 h 3682908"/>
                  <a:gd name="connsiteX2635" fmla="*/ 298073 w 3862373"/>
                  <a:gd name="connsiteY2635" fmla="*/ 946387 h 3682908"/>
                  <a:gd name="connsiteX2636" fmla="*/ 337170 w 3862373"/>
                  <a:gd name="connsiteY2636" fmla="*/ 985473 h 3682908"/>
                  <a:gd name="connsiteX2637" fmla="*/ 298073 w 3862373"/>
                  <a:gd name="connsiteY2637" fmla="*/ 1024560 h 3682908"/>
                  <a:gd name="connsiteX2638" fmla="*/ 258982 w 3862373"/>
                  <a:gd name="connsiteY2638" fmla="*/ 985473 h 3682908"/>
                  <a:gd name="connsiteX2639" fmla="*/ 298073 w 3862373"/>
                  <a:gd name="connsiteY2639" fmla="*/ 946387 h 3682908"/>
                  <a:gd name="connsiteX2640" fmla="*/ 203426 w 3862373"/>
                  <a:gd name="connsiteY2640" fmla="*/ 946387 h 3682908"/>
                  <a:gd name="connsiteX2641" fmla="*/ 242516 w 3862373"/>
                  <a:gd name="connsiteY2641" fmla="*/ 985473 h 3682908"/>
                  <a:gd name="connsiteX2642" fmla="*/ 203426 w 3862373"/>
                  <a:gd name="connsiteY2642" fmla="*/ 1024560 h 3682908"/>
                  <a:gd name="connsiteX2643" fmla="*/ 164342 w 3862373"/>
                  <a:gd name="connsiteY2643" fmla="*/ 985473 h 3682908"/>
                  <a:gd name="connsiteX2644" fmla="*/ 203426 w 3862373"/>
                  <a:gd name="connsiteY2644" fmla="*/ 946387 h 3682908"/>
                  <a:gd name="connsiteX2645" fmla="*/ 111154 w 3862373"/>
                  <a:gd name="connsiteY2645" fmla="*/ 946387 h 3682908"/>
                  <a:gd name="connsiteX2646" fmla="*/ 150240 w 3862373"/>
                  <a:gd name="connsiteY2646" fmla="*/ 985473 h 3682908"/>
                  <a:gd name="connsiteX2647" fmla="*/ 111154 w 3862373"/>
                  <a:gd name="connsiteY2647" fmla="*/ 1024560 h 3682908"/>
                  <a:gd name="connsiteX2648" fmla="*/ 72068 w 3862373"/>
                  <a:gd name="connsiteY2648" fmla="*/ 985473 h 3682908"/>
                  <a:gd name="connsiteX2649" fmla="*/ 111154 w 3862373"/>
                  <a:gd name="connsiteY2649" fmla="*/ 946387 h 3682908"/>
                  <a:gd name="connsiteX2650" fmla="*/ 3644655 w 3862373"/>
                  <a:gd name="connsiteY2650" fmla="*/ 891256 h 3682908"/>
                  <a:gd name="connsiteX2651" fmla="*/ 3666478 w 3862373"/>
                  <a:gd name="connsiteY2651" fmla="*/ 936557 h 3682908"/>
                  <a:gd name="connsiteX2652" fmla="*/ 3651378 w 3862373"/>
                  <a:gd name="connsiteY2652" fmla="*/ 930303 h 3682908"/>
                  <a:gd name="connsiteX2653" fmla="*/ 3639929 w 3862373"/>
                  <a:gd name="connsiteY2653" fmla="*/ 902664 h 3682908"/>
                  <a:gd name="connsiteX2654" fmla="*/ 3584377 w 3862373"/>
                  <a:gd name="connsiteY2654" fmla="*/ 863578 h 3682908"/>
                  <a:gd name="connsiteX2655" fmla="*/ 3623463 w 3862373"/>
                  <a:gd name="connsiteY2655" fmla="*/ 902664 h 3682908"/>
                  <a:gd name="connsiteX2656" fmla="*/ 3584377 w 3862373"/>
                  <a:gd name="connsiteY2656" fmla="*/ 941751 h 3682908"/>
                  <a:gd name="connsiteX2657" fmla="*/ 3545289 w 3862373"/>
                  <a:gd name="connsiteY2657" fmla="*/ 902664 h 3682908"/>
                  <a:gd name="connsiteX2658" fmla="*/ 3584377 w 3862373"/>
                  <a:gd name="connsiteY2658" fmla="*/ 863578 h 3682908"/>
                  <a:gd name="connsiteX2659" fmla="*/ 3489737 w 3862373"/>
                  <a:gd name="connsiteY2659" fmla="*/ 863578 h 3682908"/>
                  <a:gd name="connsiteX2660" fmla="*/ 3528823 w 3862373"/>
                  <a:gd name="connsiteY2660" fmla="*/ 902664 h 3682908"/>
                  <a:gd name="connsiteX2661" fmla="*/ 3489737 w 3862373"/>
                  <a:gd name="connsiteY2661" fmla="*/ 941751 h 3682908"/>
                  <a:gd name="connsiteX2662" fmla="*/ 3450649 w 3862373"/>
                  <a:gd name="connsiteY2662" fmla="*/ 902664 h 3682908"/>
                  <a:gd name="connsiteX2663" fmla="*/ 3489737 w 3862373"/>
                  <a:gd name="connsiteY2663" fmla="*/ 863578 h 3682908"/>
                  <a:gd name="connsiteX2664" fmla="*/ 3392731 w 3862373"/>
                  <a:gd name="connsiteY2664" fmla="*/ 863578 h 3682908"/>
                  <a:gd name="connsiteX2665" fmla="*/ 3431819 w 3862373"/>
                  <a:gd name="connsiteY2665" fmla="*/ 902664 h 3682908"/>
                  <a:gd name="connsiteX2666" fmla="*/ 3392731 w 3862373"/>
                  <a:gd name="connsiteY2666" fmla="*/ 941751 h 3682908"/>
                  <a:gd name="connsiteX2667" fmla="*/ 3353644 w 3862373"/>
                  <a:gd name="connsiteY2667" fmla="*/ 902664 h 3682908"/>
                  <a:gd name="connsiteX2668" fmla="*/ 3392731 w 3862373"/>
                  <a:gd name="connsiteY2668" fmla="*/ 863578 h 3682908"/>
                  <a:gd name="connsiteX2669" fmla="*/ 3300455 w 3862373"/>
                  <a:gd name="connsiteY2669" fmla="*/ 863578 h 3682908"/>
                  <a:gd name="connsiteX2670" fmla="*/ 3339543 w 3862373"/>
                  <a:gd name="connsiteY2670" fmla="*/ 902664 h 3682908"/>
                  <a:gd name="connsiteX2671" fmla="*/ 3300455 w 3862373"/>
                  <a:gd name="connsiteY2671" fmla="*/ 941751 h 3682908"/>
                  <a:gd name="connsiteX2672" fmla="*/ 3261368 w 3862373"/>
                  <a:gd name="connsiteY2672" fmla="*/ 902664 h 3682908"/>
                  <a:gd name="connsiteX2673" fmla="*/ 3300455 w 3862373"/>
                  <a:gd name="connsiteY2673" fmla="*/ 863578 h 3682908"/>
                  <a:gd name="connsiteX2674" fmla="*/ 3205815 w 3862373"/>
                  <a:gd name="connsiteY2674" fmla="*/ 863578 h 3682908"/>
                  <a:gd name="connsiteX2675" fmla="*/ 3244903 w 3862373"/>
                  <a:gd name="connsiteY2675" fmla="*/ 902664 h 3682908"/>
                  <a:gd name="connsiteX2676" fmla="*/ 3205815 w 3862373"/>
                  <a:gd name="connsiteY2676" fmla="*/ 941751 h 3682908"/>
                  <a:gd name="connsiteX2677" fmla="*/ 3166728 w 3862373"/>
                  <a:gd name="connsiteY2677" fmla="*/ 902664 h 3682908"/>
                  <a:gd name="connsiteX2678" fmla="*/ 3205815 w 3862373"/>
                  <a:gd name="connsiteY2678" fmla="*/ 863578 h 3682908"/>
                  <a:gd name="connsiteX2679" fmla="*/ 3111175 w 3862373"/>
                  <a:gd name="connsiteY2679" fmla="*/ 863578 h 3682908"/>
                  <a:gd name="connsiteX2680" fmla="*/ 3150263 w 3862373"/>
                  <a:gd name="connsiteY2680" fmla="*/ 902664 h 3682908"/>
                  <a:gd name="connsiteX2681" fmla="*/ 3111175 w 3862373"/>
                  <a:gd name="connsiteY2681" fmla="*/ 941751 h 3682908"/>
                  <a:gd name="connsiteX2682" fmla="*/ 3072088 w 3862373"/>
                  <a:gd name="connsiteY2682" fmla="*/ 902664 h 3682908"/>
                  <a:gd name="connsiteX2683" fmla="*/ 3111175 w 3862373"/>
                  <a:gd name="connsiteY2683" fmla="*/ 863578 h 3682908"/>
                  <a:gd name="connsiteX2684" fmla="*/ 3018902 w 3862373"/>
                  <a:gd name="connsiteY2684" fmla="*/ 863578 h 3682908"/>
                  <a:gd name="connsiteX2685" fmla="*/ 3057989 w 3862373"/>
                  <a:gd name="connsiteY2685" fmla="*/ 902664 h 3682908"/>
                  <a:gd name="connsiteX2686" fmla="*/ 3018902 w 3862373"/>
                  <a:gd name="connsiteY2686" fmla="*/ 941751 h 3682908"/>
                  <a:gd name="connsiteX2687" fmla="*/ 2979815 w 3862373"/>
                  <a:gd name="connsiteY2687" fmla="*/ 902664 h 3682908"/>
                  <a:gd name="connsiteX2688" fmla="*/ 3018902 w 3862373"/>
                  <a:gd name="connsiteY2688" fmla="*/ 863578 h 3682908"/>
                  <a:gd name="connsiteX2689" fmla="*/ 2831987 w 3862373"/>
                  <a:gd name="connsiteY2689" fmla="*/ 863578 h 3682908"/>
                  <a:gd name="connsiteX2690" fmla="*/ 2871074 w 3862373"/>
                  <a:gd name="connsiteY2690" fmla="*/ 902664 h 3682908"/>
                  <a:gd name="connsiteX2691" fmla="*/ 2831987 w 3862373"/>
                  <a:gd name="connsiteY2691" fmla="*/ 941751 h 3682908"/>
                  <a:gd name="connsiteX2692" fmla="*/ 2792900 w 3862373"/>
                  <a:gd name="connsiteY2692" fmla="*/ 902664 h 3682908"/>
                  <a:gd name="connsiteX2693" fmla="*/ 2831987 w 3862373"/>
                  <a:gd name="connsiteY2693" fmla="*/ 863578 h 3682908"/>
                  <a:gd name="connsiteX2694" fmla="*/ 2737371 w 3862373"/>
                  <a:gd name="connsiteY2694" fmla="*/ 863578 h 3682908"/>
                  <a:gd name="connsiteX2695" fmla="*/ 2776434 w 3862373"/>
                  <a:gd name="connsiteY2695" fmla="*/ 902664 h 3682908"/>
                  <a:gd name="connsiteX2696" fmla="*/ 2737371 w 3862373"/>
                  <a:gd name="connsiteY2696" fmla="*/ 941751 h 3682908"/>
                  <a:gd name="connsiteX2697" fmla="*/ 2698272 w 3862373"/>
                  <a:gd name="connsiteY2697" fmla="*/ 902664 h 3682908"/>
                  <a:gd name="connsiteX2698" fmla="*/ 2737371 w 3862373"/>
                  <a:gd name="connsiteY2698" fmla="*/ 863578 h 3682908"/>
                  <a:gd name="connsiteX2699" fmla="*/ 2645074 w 3862373"/>
                  <a:gd name="connsiteY2699" fmla="*/ 863578 h 3682908"/>
                  <a:gd name="connsiteX2700" fmla="*/ 2684168 w 3862373"/>
                  <a:gd name="connsiteY2700" fmla="*/ 902664 h 3682908"/>
                  <a:gd name="connsiteX2701" fmla="*/ 2645074 w 3862373"/>
                  <a:gd name="connsiteY2701" fmla="*/ 941751 h 3682908"/>
                  <a:gd name="connsiteX2702" fmla="*/ 2605987 w 3862373"/>
                  <a:gd name="connsiteY2702" fmla="*/ 902664 h 3682908"/>
                  <a:gd name="connsiteX2703" fmla="*/ 2645074 w 3862373"/>
                  <a:gd name="connsiteY2703" fmla="*/ 863578 h 3682908"/>
                  <a:gd name="connsiteX2704" fmla="*/ 2458167 w 3862373"/>
                  <a:gd name="connsiteY2704" fmla="*/ 863577 h 3682908"/>
                  <a:gd name="connsiteX2705" fmla="*/ 2497256 w 3862373"/>
                  <a:gd name="connsiteY2705" fmla="*/ 902664 h 3682908"/>
                  <a:gd name="connsiteX2706" fmla="*/ 2458167 w 3862373"/>
                  <a:gd name="connsiteY2706" fmla="*/ 941750 h 3682908"/>
                  <a:gd name="connsiteX2707" fmla="*/ 2419089 w 3862373"/>
                  <a:gd name="connsiteY2707" fmla="*/ 902664 h 3682908"/>
                  <a:gd name="connsiteX2708" fmla="*/ 2458167 w 3862373"/>
                  <a:gd name="connsiteY2708" fmla="*/ 863577 h 3682908"/>
                  <a:gd name="connsiteX2709" fmla="*/ 1232658 w 3862373"/>
                  <a:gd name="connsiteY2709" fmla="*/ 863577 h 3682908"/>
                  <a:gd name="connsiteX2710" fmla="*/ 1271731 w 3862373"/>
                  <a:gd name="connsiteY2710" fmla="*/ 902664 h 3682908"/>
                  <a:gd name="connsiteX2711" fmla="*/ 1232658 w 3862373"/>
                  <a:gd name="connsiteY2711" fmla="*/ 941750 h 3682908"/>
                  <a:gd name="connsiteX2712" fmla="*/ 1193572 w 3862373"/>
                  <a:gd name="connsiteY2712" fmla="*/ 902664 h 3682908"/>
                  <a:gd name="connsiteX2713" fmla="*/ 1232658 w 3862373"/>
                  <a:gd name="connsiteY2713" fmla="*/ 863577 h 3682908"/>
                  <a:gd name="connsiteX2714" fmla="*/ 1142744 w 3862373"/>
                  <a:gd name="connsiteY2714" fmla="*/ 863577 h 3682908"/>
                  <a:gd name="connsiteX2715" fmla="*/ 1181836 w 3862373"/>
                  <a:gd name="connsiteY2715" fmla="*/ 902664 h 3682908"/>
                  <a:gd name="connsiteX2716" fmla="*/ 1142744 w 3862373"/>
                  <a:gd name="connsiteY2716" fmla="*/ 941750 h 3682908"/>
                  <a:gd name="connsiteX2717" fmla="*/ 1103646 w 3862373"/>
                  <a:gd name="connsiteY2717" fmla="*/ 902664 h 3682908"/>
                  <a:gd name="connsiteX2718" fmla="*/ 1142744 w 3862373"/>
                  <a:gd name="connsiteY2718" fmla="*/ 863577 h 3682908"/>
                  <a:gd name="connsiteX2719" fmla="*/ 1045719 w 3862373"/>
                  <a:gd name="connsiteY2719" fmla="*/ 863577 h 3682908"/>
                  <a:gd name="connsiteX2720" fmla="*/ 1084808 w 3862373"/>
                  <a:gd name="connsiteY2720" fmla="*/ 902664 h 3682908"/>
                  <a:gd name="connsiteX2721" fmla="*/ 1045719 w 3862373"/>
                  <a:gd name="connsiteY2721" fmla="*/ 941750 h 3682908"/>
                  <a:gd name="connsiteX2722" fmla="*/ 1006638 w 3862373"/>
                  <a:gd name="connsiteY2722" fmla="*/ 902664 h 3682908"/>
                  <a:gd name="connsiteX2723" fmla="*/ 1045719 w 3862373"/>
                  <a:gd name="connsiteY2723" fmla="*/ 863577 h 3682908"/>
                  <a:gd name="connsiteX2724" fmla="*/ 669559 w 3862373"/>
                  <a:gd name="connsiteY2724" fmla="*/ 863577 h 3682908"/>
                  <a:gd name="connsiteX2725" fmla="*/ 708661 w 3862373"/>
                  <a:gd name="connsiteY2725" fmla="*/ 902664 h 3682908"/>
                  <a:gd name="connsiteX2726" fmla="*/ 669559 w 3862373"/>
                  <a:gd name="connsiteY2726" fmla="*/ 941750 h 3682908"/>
                  <a:gd name="connsiteX2727" fmla="*/ 630484 w 3862373"/>
                  <a:gd name="connsiteY2727" fmla="*/ 902664 h 3682908"/>
                  <a:gd name="connsiteX2728" fmla="*/ 669559 w 3862373"/>
                  <a:gd name="connsiteY2728" fmla="*/ 863577 h 3682908"/>
                  <a:gd name="connsiteX2729" fmla="*/ 577280 w 3862373"/>
                  <a:gd name="connsiteY2729" fmla="*/ 863577 h 3682908"/>
                  <a:gd name="connsiteX2730" fmla="*/ 616379 w 3862373"/>
                  <a:gd name="connsiteY2730" fmla="*/ 902664 h 3682908"/>
                  <a:gd name="connsiteX2731" fmla="*/ 577280 w 3862373"/>
                  <a:gd name="connsiteY2731" fmla="*/ 941750 h 3682908"/>
                  <a:gd name="connsiteX2732" fmla="*/ 538181 w 3862373"/>
                  <a:gd name="connsiteY2732" fmla="*/ 902664 h 3682908"/>
                  <a:gd name="connsiteX2733" fmla="*/ 577280 w 3862373"/>
                  <a:gd name="connsiteY2733" fmla="*/ 863577 h 3682908"/>
                  <a:gd name="connsiteX2734" fmla="*/ 484994 w 3862373"/>
                  <a:gd name="connsiteY2734" fmla="*/ 863577 h 3682908"/>
                  <a:gd name="connsiteX2735" fmla="*/ 524078 w 3862373"/>
                  <a:gd name="connsiteY2735" fmla="*/ 902664 h 3682908"/>
                  <a:gd name="connsiteX2736" fmla="*/ 484994 w 3862373"/>
                  <a:gd name="connsiteY2736" fmla="*/ 941750 h 3682908"/>
                  <a:gd name="connsiteX2737" fmla="*/ 445922 w 3862373"/>
                  <a:gd name="connsiteY2737" fmla="*/ 902664 h 3682908"/>
                  <a:gd name="connsiteX2738" fmla="*/ 484994 w 3862373"/>
                  <a:gd name="connsiteY2738" fmla="*/ 863577 h 3682908"/>
                  <a:gd name="connsiteX2739" fmla="*/ 390347 w 3862373"/>
                  <a:gd name="connsiteY2739" fmla="*/ 863577 h 3682908"/>
                  <a:gd name="connsiteX2740" fmla="*/ 429445 w 3862373"/>
                  <a:gd name="connsiteY2740" fmla="*/ 902664 h 3682908"/>
                  <a:gd name="connsiteX2741" fmla="*/ 390347 w 3862373"/>
                  <a:gd name="connsiteY2741" fmla="*/ 941750 h 3682908"/>
                  <a:gd name="connsiteX2742" fmla="*/ 351276 w 3862373"/>
                  <a:gd name="connsiteY2742" fmla="*/ 902664 h 3682908"/>
                  <a:gd name="connsiteX2743" fmla="*/ 390347 w 3862373"/>
                  <a:gd name="connsiteY2743" fmla="*/ 863577 h 3682908"/>
                  <a:gd name="connsiteX2744" fmla="*/ 298076 w 3862373"/>
                  <a:gd name="connsiteY2744" fmla="*/ 863577 h 3682908"/>
                  <a:gd name="connsiteX2745" fmla="*/ 337175 w 3862373"/>
                  <a:gd name="connsiteY2745" fmla="*/ 902664 h 3682908"/>
                  <a:gd name="connsiteX2746" fmla="*/ 298076 w 3862373"/>
                  <a:gd name="connsiteY2746" fmla="*/ 941750 h 3682908"/>
                  <a:gd name="connsiteX2747" fmla="*/ 258986 w 3862373"/>
                  <a:gd name="connsiteY2747" fmla="*/ 902664 h 3682908"/>
                  <a:gd name="connsiteX2748" fmla="*/ 298076 w 3862373"/>
                  <a:gd name="connsiteY2748" fmla="*/ 863577 h 3682908"/>
                  <a:gd name="connsiteX2749" fmla="*/ 203430 w 3862373"/>
                  <a:gd name="connsiteY2749" fmla="*/ 863577 h 3682908"/>
                  <a:gd name="connsiteX2750" fmla="*/ 242520 w 3862373"/>
                  <a:gd name="connsiteY2750" fmla="*/ 902664 h 3682908"/>
                  <a:gd name="connsiteX2751" fmla="*/ 203430 w 3862373"/>
                  <a:gd name="connsiteY2751" fmla="*/ 941750 h 3682908"/>
                  <a:gd name="connsiteX2752" fmla="*/ 164345 w 3862373"/>
                  <a:gd name="connsiteY2752" fmla="*/ 902664 h 3682908"/>
                  <a:gd name="connsiteX2753" fmla="*/ 203430 w 3862373"/>
                  <a:gd name="connsiteY2753" fmla="*/ 863577 h 3682908"/>
                  <a:gd name="connsiteX2754" fmla="*/ 111158 w 3862373"/>
                  <a:gd name="connsiteY2754" fmla="*/ 863577 h 3682908"/>
                  <a:gd name="connsiteX2755" fmla="*/ 150245 w 3862373"/>
                  <a:gd name="connsiteY2755" fmla="*/ 902664 h 3682908"/>
                  <a:gd name="connsiteX2756" fmla="*/ 111158 w 3862373"/>
                  <a:gd name="connsiteY2756" fmla="*/ 941750 h 3682908"/>
                  <a:gd name="connsiteX2757" fmla="*/ 83520 w 3862373"/>
                  <a:gd name="connsiteY2757" fmla="*/ 930302 h 3682908"/>
                  <a:gd name="connsiteX2758" fmla="*/ 79204 w 3862373"/>
                  <a:gd name="connsiteY2758" fmla="*/ 919881 h 3682908"/>
                  <a:gd name="connsiteX2759" fmla="*/ 105123 w 3862373"/>
                  <a:gd name="connsiteY2759" fmla="*/ 866077 h 3682908"/>
                  <a:gd name="connsiteX2760" fmla="*/ 142783 w 3862373"/>
                  <a:gd name="connsiteY2760" fmla="*/ 799461 h 3682908"/>
                  <a:gd name="connsiteX2761" fmla="*/ 150250 w 3862373"/>
                  <a:gd name="connsiteY2761" fmla="*/ 817487 h 3682908"/>
                  <a:gd name="connsiteX2762" fmla="*/ 111162 w 3862373"/>
                  <a:gd name="connsiteY2762" fmla="*/ 856575 h 3682908"/>
                  <a:gd name="connsiteX2763" fmla="*/ 109944 w 3862373"/>
                  <a:gd name="connsiteY2763" fmla="*/ 856070 h 3682908"/>
                  <a:gd name="connsiteX2764" fmla="*/ 115886 w 3862373"/>
                  <a:gd name="connsiteY2764" fmla="*/ 843734 h 3682908"/>
                  <a:gd name="connsiteX2765" fmla="*/ 3582534 w 3862373"/>
                  <a:gd name="connsiteY2765" fmla="*/ 779163 h 3682908"/>
                  <a:gd name="connsiteX2766" fmla="*/ 3616309 w 3862373"/>
                  <a:gd name="connsiteY2766" fmla="*/ 834758 h 3682908"/>
                  <a:gd name="connsiteX2767" fmla="*/ 3612015 w 3862373"/>
                  <a:gd name="connsiteY2767" fmla="*/ 845126 h 3682908"/>
                  <a:gd name="connsiteX2768" fmla="*/ 3584375 w 3862373"/>
                  <a:gd name="connsiteY2768" fmla="*/ 856575 h 3682908"/>
                  <a:gd name="connsiteX2769" fmla="*/ 3545289 w 3862373"/>
                  <a:gd name="connsiteY2769" fmla="*/ 817487 h 3682908"/>
                  <a:gd name="connsiteX2770" fmla="*/ 3556737 w 3862373"/>
                  <a:gd name="connsiteY2770" fmla="*/ 789849 h 3682908"/>
                  <a:gd name="connsiteX2771" fmla="*/ 3489735 w 3862373"/>
                  <a:gd name="connsiteY2771" fmla="*/ 778400 h 3682908"/>
                  <a:gd name="connsiteX2772" fmla="*/ 3528823 w 3862373"/>
                  <a:gd name="connsiteY2772" fmla="*/ 817487 h 3682908"/>
                  <a:gd name="connsiteX2773" fmla="*/ 3489735 w 3862373"/>
                  <a:gd name="connsiteY2773" fmla="*/ 856575 h 3682908"/>
                  <a:gd name="connsiteX2774" fmla="*/ 3450649 w 3862373"/>
                  <a:gd name="connsiteY2774" fmla="*/ 817487 h 3682908"/>
                  <a:gd name="connsiteX2775" fmla="*/ 3489735 w 3862373"/>
                  <a:gd name="connsiteY2775" fmla="*/ 778400 h 3682908"/>
                  <a:gd name="connsiteX2776" fmla="*/ 3392730 w 3862373"/>
                  <a:gd name="connsiteY2776" fmla="*/ 778400 h 3682908"/>
                  <a:gd name="connsiteX2777" fmla="*/ 3431817 w 3862373"/>
                  <a:gd name="connsiteY2777" fmla="*/ 817487 h 3682908"/>
                  <a:gd name="connsiteX2778" fmla="*/ 3392730 w 3862373"/>
                  <a:gd name="connsiteY2778" fmla="*/ 856575 h 3682908"/>
                  <a:gd name="connsiteX2779" fmla="*/ 3353643 w 3862373"/>
                  <a:gd name="connsiteY2779" fmla="*/ 817487 h 3682908"/>
                  <a:gd name="connsiteX2780" fmla="*/ 3392730 w 3862373"/>
                  <a:gd name="connsiteY2780" fmla="*/ 778400 h 3682908"/>
                  <a:gd name="connsiteX2781" fmla="*/ 3300455 w 3862373"/>
                  <a:gd name="connsiteY2781" fmla="*/ 778400 h 3682908"/>
                  <a:gd name="connsiteX2782" fmla="*/ 3339543 w 3862373"/>
                  <a:gd name="connsiteY2782" fmla="*/ 817487 h 3682908"/>
                  <a:gd name="connsiteX2783" fmla="*/ 3300455 w 3862373"/>
                  <a:gd name="connsiteY2783" fmla="*/ 856575 h 3682908"/>
                  <a:gd name="connsiteX2784" fmla="*/ 3261368 w 3862373"/>
                  <a:gd name="connsiteY2784" fmla="*/ 817487 h 3682908"/>
                  <a:gd name="connsiteX2785" fmla="*/ 3300455 w 3862373"/>
                  <a:gd name="connsiteY2785" fmla="*/ 778400 h 3682908"/>
                  <a:gd name="connsiteX2786" fmla="*/ 3205815 w 3862373"/>
                  <a:gd name="connsiteY2786" fmla="*/ 778400 h 3682908"/>
                  <a:gd name="connsiteX2787" fmla="*/ 3244902 w 3862373"/>
                  <a:gd name="connsiteY2787" fmla="*/ 817487 h 3682908"/>
                  <a:gd name="connsiteX2788" fmla="*/ 3205815 w 3862373"/>
                  <a:gd name="connsiteY2788" fmla="*/ 856575 h 3682908"/>
                  <a:gd name="connsiteX2789" fmla="*/ 3166728 w 3862373"/>
                  <a:gd name="connsiteY2789" fmla="*/ 817487 h 3682908"/>
                  <a:gd name="connsiteX2790" fmla="*/ 3205815 w 3862373"/>
                  <a:gd name="connsiteY2790" fmla="*/ 778400 h 3682908"/>
                  <a:gd name="connsiteX2791" fmla="*/ 3111175 w 3862373"/>
                  <a:gd name="connsiteY2791" fmla="*/ 778400 h 3682908"/>
                  <a:gd name="connsiteX2792" fmla="*/ 3150262 w 3862373"/>
                  <a:gd name="connsiteY2792" fmla="*/ 817487 h 3682908"/>
                  <a:gd name="connsiteX2793" fmla="*/ 3111175 w 3862373"/>
                  <a:gd name="connsiteY2793" fmla="*/ 856575 h 3682908"/>
                  <a:gd name="connsiteX2794" fmla="*/ 3072088 w 3862373"/>
                  <a:gd name="connsiteY2794" fmla="*/ 817487 h 3682908"/>
                  <a:gd name="connsiteX2795" fmla="*/ 3111175 w 3862373"/>
                  <a:gd name="connsiteY2795" fmla="*/ 778400 h 3682908"/>
                  <a:gd name="connsiteX2796" fmla="*/ 3018901 w 3862373"/>
                  <a:gd name="connsiteY2796" fmla="*/ 778400 h 3682908"/>
                  <a:gd name="connsiteX2797" fmla="*/ 3057988 w 3862373"/>
                  <a:gd name="connsiteY2797" fmla="*/ 817487 h 3682908"/>
                  <a:gd name="connsiteX2798" fmla="*/ 3018901 w 3862373"/>
                  <a:gd name="connsiteY2798" fmla="*/ 856575 h 3682908"/>
                  <a:gd name="connsiteX2799" fmla="*/ 2979813 w 3862373"/>
                  <a:gd name="connsiteY2799" fmla="*/ 817487 h 3682908"/>
                  <a:gd name="connsiteX2800" fmla="*/ 3018901 w 3862373"/>
                  <a:gd name="connsiteY2800" fmla="*/ 778400 h 3682908"/>
                  <a:gd name="connsiteX2801" fmla="*/ 2831986 w 3862373"/>
                  <a:gd name="connsiteY2801" fmla="*/ 778400 h 3682908"/>
                  <a:gd name="connsiteX2802" fmla="*/ 2871073 w 3862373"/>
                  <a:gd name="connsiteY2802" fmla="*/ 817487 h 3682908"/>
                  <a:gd name="connsiteX2803" fmla="*/ 2831986 w 3862373"/>
                  <a:gd name="connsiteY2803" fmla="*/ 856575 h 3682908"/>
                  <a:gd name="connsiteX2804" fmla="*/ 2792899 w 3862373"/>
                  <a:gd name="connsiteY2804" fmla="*/ 817487 h 3682908"/>
                  <a:gd name="connsiteX2805" fmla="*/ 2831986 w 3862373"/>
                  <a:gd name="connsiteY2805" fmla="*/ 778400 h 3682908"/>
                  <a:gd name="connsiteX2806" fmla="*/ 2737371 w 3862373"/>
                  <a:gd name="connsiteY2806" fmla="*/ 778400 h 3682908"/>
                  <a:gd name="connsiteX2807" fmla="*/ 2776433 w 3862373"/>
                  <a:gd name="connsiteY2807" fmla="*/ 817487 h 3682908"/>
                  <a:gd name="connsiteX2808" fmla="*/ 2737371 w 3862373"/>
                  <a:gd name="connsiteY2808" fmla="*/ 856575 h 3682908"/>
                  <a:gd name="connsiteX2809" fmla="*/ 2698271 w 3862373"/>
                  <a:gd name="connsiteY2809" fmla="*/ 817487 h 3682908"/>
                  <a:gd name="connsiteX2810" fmla="*/ 2737371 w 3862373"/>
                  <a:gd name="connsiteY2810" fmla="*/ 778400 h 3682908"/>
                  <a:gd name="connsiteX2811" fmla="*/ 2645073 w 3862373"/>
                  <a:gd name="connsiteY2811" fmla="*/ 778400 h 3682908"/>
                  <a:gd name="connsiteX2812" fmla="*/ 2684167 w 3862373"/>
                  <a:gd name="connsiteY2812" fmla="*/ 817487 h 3682908"/>
                  <a:gd name="connsiteX2813" fmla="*/ 2645073 w 3862373"/>
                  <a:gd name="connsiteY2813" fmla="*/ 856575 h 3682908"/>
                  <a:gd name="connsiteX2814" fmla="*/ 2605987 w 3862373"/>
                  <a:gd name="connsiteY2814" fmla="*/ 817487 h 3682908"/>
                  <a:gd name="connsiteX2815" fmla="*/ 2645073 w 3862373"/>
                  <a:gd name="connsiteY2815" fmla="*/ 778400 h 3682908"/>
                  <a:gd name="connsiteX2816" fmla="*/ 1703431 w 3862373"/>
                  <a:gd name="connsiteY2816" fmla="*/ 778400 h 3682908"/>
                  <a:gd name="connsiteX2817" fmla="*/ 1742522 w 3862373"/>
                  <a:gd name="connsiteY2817" fmla="*/ 817487 h 3682908"/>
                  <a:gd name="connsiteX2818" fmla="*/ 1703431 w 3862373"/>
                  <a:gd name="connsiteY2818" fmla="*/ 856575 h 3682908"/>
                  <a:gd name="connsiteX2819" fmla="*/ 1664349 w 3862373"/>
                  <a:gd name="connsiteY2819" fmla="*/ 817487 h 3682908"/>
                  <a:gd name="connsiteX2820" fmla="*/ 1703431 w 3862373"/>
                  <a:gd name="connsiteY2820" fmla="*/ 778400 h 3682908"/>
                  <a:gd name="connsiteX2821" fmla="*/ 1045724 w 3862373"/>
                  <a:gd name="connsiteY2821" fmla="*/ 778400 h 3682908"/>
                  <a:gd name="connsiteX2822" fmla="*/ 1084813 w 3862373"/>
                  <a:gd name="connsiteY2822" fmla="*/ 817487 h 3682908"/>
                  <a:gd name="connsiteX2823" fmla="*/ 1045724 w 3862373"/>
                  <a:gd name="connsiteY2823" fmla="*/ 856575 h 3682908"/>
                  <a:gd name="connsiteX2824" fmla="*/ 1006642 w 3862373"/>
                  <a:gd name="connsiteY2824" fmla="*/ 817487 h 3682908"/>
                  <a:gd name="connsiteX2825" fmla="*/ 1045724 w 3862373"/>
                  <a:gd name="connsiteY2825" fmla="*/ 778400 h 3682908"/>
                  <a:gd name="connsiteX2826" fmla="*/ 669571 w 3862373"/>
                  <a:gd name="connsiteY2826" fmla="*/ 778400 h 3682908"/>
                  <a:gd name="connsiteX2827" fmla="*/ 708668 w 3862373"/>
                  <a:gd name="connsiteY2827" fmla="*/ 817487 h 3682908"/>
                  <a:gd name="connsiteX2828" fmla="*/ 669571 w 3862373"/>
                  <a:gd name="connsiteY2828" fmla="*/ 856575 h 3682908"/>
                  <a:gd name="connsiteX2829" fmla="*/ 630491 w 3862373"/>
                  <a:gd name="connsiteY2829" fmla="*/ 817487 h 3682908"/>
                  <a:gd name="connsiteX2830" fmla="*/ 669571 w 3862373"/>
                  <a:gd name="connsiteY2830" fmla="*/ 778400 h 3682908"/>
                  <a:gd name="connsiteX2831" fmla="*/ 577286 w 3862373"/>
                  <a:gd name="connsiteY2831" fmla="*/ 778400 h 3682908"/>
                  <a:gd name="connsiteX2832" fmla="*/ 616386 w 3862373"/>
                  <a:gd name="connsiteY2832" fmla="*/ 817487 h 3682908"/>
                  <a:gd name="connsiteX2833" fmla="*/ 577286 w 3862373"/>
                  <a:gd name="connsiteY2833" fmla="*/ 856575 h 3682908"/>
                  <a:gd name="connsiteX2834" fmla="*/ 538187 w 3862373"/>
                  <a:gd name="connsiteY2834" fmla="*/ 817487 h 3682908"/>
                  <a:gd name="connsiteX2835" fmla="*/ 577286 w 3862373"/>
                  <a:gd name="connsiteY2835" fmla="*/ 778400 h 3682908"/>
                  <a:gd name="connsiteX2836" fmla="*/ 484999 w 3862373"/>
                  <a:gd name="connsiteY2836" fmla="*/ 778400 h 3682908"/>
                  <a:gd name="connsiteX2837" fmla="*/ 524083 w 3862373"/>
                  <a:gd name="connsiteY2837" fmla="*/ 817487 h 3682908"/>
                  <a:gd name="connsiteX2838" fmla="*/ 484999 w 3862373"/>
                  <a:gd name="connsiteY2838" fmla="*/ 856575 h 3682908"/>
                  <a:gd name="connsiteX2839" fmla="*/ 445926 w 3862373"/>
                  <a:gd name="connsiteY2839" fmla="*/ 817487 h 3682908"/>
                  <a:gd name="connsiteX2840" fmla="*/ 484999 w 3862373"/>
                  <a:gd name="connsiteY2840" fmla="*/ 778400 h 3682908"/>
                  <a:gd name="connsiteX2841" fmla="*/ 390347 w 3862373"/>
                  <a:gd name="connsiteY2841" fmla="*/ 778400 h 3682908"/>
                  <a:gd name="connsiteX2842" fmla="*/ 429451 w 3862373"/>
                  <a:gd name="connsiteY2842" fmla="*/ 817487 h 3682908"/>
                  <a:gd name="connsiteX2843" fmla="*/ 390347 w 3862373"/>
                  <a:gd name="connsiteY2843" fmla="*/ 856575 h 3682908"/>
                  <a:gd name="connsiteX2844" fmla="*/ 351281 w 3862373"/>
                  <a:gd name="connsiteY2844" fmla="*/ 817487 h 3682908"/>
                  <a:gd name="connsiteX2845" fmla="*/ 390347 w 3862373"/>
                  <a:gd name="connsiteY2845" fmla="*/ 778400 h 3682908"/>
                  <a:gd name="connsiteX2846" fmla="*/ 298081 w 3862373"/>
                  <a:gd name="connsiteY2846" fmla="*/ 778400 h 3682908"/>
                  <a:gd name="connsiteX2847" fmla="*/ 337179 w 3862373"/>
                  <a:gd name="connsiteY2847" fmla="*/ 817487 h 3682908"/>
                  <a:gd name="connsiteX2848" fmla="*/ 298081 w 3862373"/>
                  <a:gd name="connsiteY2848" fmla="*/ 856575 h 3682908"/>
                  <a:gd name="connsiteX2849" fmla="*/ 258991 w 3862373"/>
                  <a:gd name="connsiteY2849" fmla="*/ 817487 h 3682908"/>
                  <a:gd name="connsiteX2850" fmla="*/ 298081 w 3862373"/>
                  <a:gd name="connsiteY2850" fmla="*/ 778400 h 3682908"/>
                  <a:gd name="connsiteX2851" fmla="*/ 203435 w 3862373"/>
                  <a:gd name="connsiteY2851" fmla="*/ 778400 h 3682908"/>
                  <a:gd name="connsiteX2852" fmla="*/ 242524 w 3862373"/>
                  <a:gd name="connsiteY2852" fmla="*/ 817487 h 3682908"/>
                  <a:gd name="connsiteX2853" fmla="*/ 203435 w 3862373"/>
                  <a:gd name="connsiteY2853" fmla="*/ 856575 h 3682908"/>
                  <a:gd name="connsiteX2854" fmla="*/ 164349 w 3862373"/>
                  <a:gd name="connsiteY2854" fmla="*/ 817487 h 3682908"/>
                  <a:gd name="connsiteX2855" fmla="*/ 203435 w 3862373"/>
                  <a:gd name="connsiteY2855" fmla="*/ 778400 h 3682908"/>
                  <a:gd name="connsiteX2856" fmla="*/ 3548266 w 3862373"/>
                  <a:gd name="connsiteY2856" fmla="*/ 722756 h 3682908"/>
                  <a:gd name="connsiteX2857" fmla="*/ 3573690 w 3862373"/>
                  <a:gd name="connsiteY2857" fmla="*/ 764605 h 3682908"/>
                  <a:gd name="connsiteX2858" fmla="*/ 3556737 w 3862373"/>
                  <a:gd name="connsiteY2858" fmla="*/ 757582 h 3682908"/>
                  <a:gd name="connsiteX2859" fmla="*/ 3545289 w 3862373"/>
                  <a:gd name="connsiteY2859" fmla="*/ 729943 h 3682908"/>
                  <a:gd name="connsiteX2860" fmla="*/ 207691 w 3862373"/>
                  <a:gd name="connsiteY2860" fmla="*/ 692618 h 3682908"/>
                  <a:gd name="connsiteX2861" fmla="*/ 231082 w 3862373"/>
                  <a:gd name="connsiteY2861" fmla="*/ 702305 h 3682908"/>
                  <a:gd name="connsiteX2862" fmla="*/ 242530 w 3862373"/>
                  <a:gd name="connsiteY2862" fmla="*/ 729943 h 3682908"/>
                  <a:gd name="connsiteX2863" fmla="*/ 203440 w 3862373"/>
                  <a:gd name="connsiteY2863" fmla="*/ 769031 h 3682908"/>
                  <a:gd name="connsiteX2864" fmla="*/ 175804 w 3862373"/>
                  <a:gd name="connsiteY2864" fmla="*/ 757582 h 3682908"/>
                  <a:gd name="connsiteX2865" fmla="*/ 172731 w 3862373"/>
                  <a:gd name="connsiteY2865" fmla="*/ 750164 h 3682908"/>
                  <a:gd name="connsiteX2866" fmla="*/ 3489735 w 3862373"/>
                  <a:gd name="connsiteY2866" fmla="*/ 690857 h 3682908"/>
                  <a:gd name="connsiteX2867" fmla="*/ 3528822 w 3862373"/>
                  <a:gd name="connsiteY2867" fmla="*/ 729943 h 3682908"/>
                  <a:gd name="connsiteX2868" fmla="*/ 3489735 w 3862373"/>
                  <a:gd name="connsiteY2868" fmla="*/ 769031 h 3682908"/>
                  <a:gd name="connsiteX2869" fmla="*/ 3450647 w 3862373"/>
                  <a:gd name="connsiteY2869" fmla="*/ 729943 h 3682908"/>
                  <a:gd name="connsiteX2870" fmla="*/ 3489735 w 3862373"/>
                  <a:gd name="connsiteY2870" fmla="*/ 690857 h 3682908"/>
                  <a:gd name="connsiteX2871" fmla="*/ 3392730 w 3862373"/>
                  <a:gd name="connsiteY2871" fmla="*/ 690857 h 3682908"/>
                  <a:gd name="connsiteX2872" fmla="*/ 3431817 w 3862373"/>
                  <a:gd name="connsiteY2872" fmla="*/ 729943 h 3682908"/>
                  <a:gd name="connsiteX2873" fmla="*/ 3392730 w 3862373"/>
                  <a:gd name="connsiteY2873" fmla="*/ 769031 h 3682908"/>
                  <a:gd name="connsiteX2874" fmla="*/ 3353643 w 3862373"/>
                  <a:gd name="connsiteY2874" fmla="*/ 729943 h 3682908"/>
                  <a:gd name="connsiteX2875" fmla="*/ 3392730 w 3862373"/>
                  <a:gd name="connsiteY2875" fmla="*/ 690857 h 3682908"/>
                  <a:gd name="connsiteX2876" fmla="*/ 3300455 w 3862373"/>
                  <a:gd name="connsiteY2876" fmla="*/ 690857 h 3682908"/>
                  <a:gd name="connsiteX2877" fmla="*/ 3339542 w 3862373"/>
                  <a:gd name="connsiteY2877" fmla="*/ 729944 h 3682908"/>
                  <a:gd name="connsiteX2878" fmla="*/ 3300455 w 3862373"/>
                  <a:gd name="connsiteY2878" fmla="*/ 769031 h 3682908"/>
                  <a:gd name="connsiteX2879" fmla="*/ 3261368 w 3862373"/>
                  <a:gd name="connsiteY2879" fmla="*/ 729944 h 3682908"/>
                  <a:gd name="connsiteX2880" fmla="*/ 3300455 w 3862373"/>
                  <a:gd name="connsiteY2880" fmla="*/ 690857 h 3682908"/>
                  <a:gd name="connsiteX2881" fmla="*/ 3205815 w 3862373"/>
                  <a:gd name="connsiteY2881" fmla="*/ 690857 h 3682908"/>
                  <a:gd name="connsiteX2882" fmla="*/ 3244902 w 3862373"/>
                  <a:gd name="connsiteY2882" fmla="*/ 729943 h 3682908"/>
                  <a:gd name="connsiteX2883" fmla="*/ 3205815 w 3862373"/>
                  <a:gd name="connsiteY2883" fmla="*/ 769031 h 3682908"/>
                  <a:gd name="connsiteX2884" fmla="*/ 3166728 w 3862373"/>
                  <a:gd name="connsiteY2884" fmla="*/ 729943 h 3682908"/>
                  <a:gd name="connsiteX2885" fmla="*/ 3205815 w 3862373"/>
                  <a:gd name="connsiteY2885" fmla="*/ 690857 h 3682908"/>
                  <a:gd name="connsiteX2886" fmla="*/ 3111175 w 3862373"/>
                  <a:gd name="connsiteY2886" fmla="*/ 690857 h 3682908"/>
                  <a:gd name="connsiteX2887" fmla="*/ 3150262 w 3862373"/>
                  <a:gd name="connsiteY2887" fmla="*/ 729944 h 3682908"/>
                  <a:gd name="connsiteX2888" fmla="*/ 3111175 w 3862373"/>
                  <a:gd name="connsiteY2888" fmla="*/ 769031 h 3682908"/>
                  <a:gd name="connsiteX2889" fmla="*/ 3072088 w 3862373"/>
                  <a:gd name="connsiteY2889" fmla="*/ 729944 h 3682908"/>
                  <a:gd name="connsiteX2890" fmla="*/ 3111175 w 3862373"/>
                  <a:gd name="connsiteY2890" fmla="*/ 690857 h 3682908"/>
                  <a:gd name="connsiteX2891" fmla="*/ 3018901 w 3862373"/>
                  <a:gd name="connsiteY2891" fmla="*/ 690857 h 3682908"/>
                  <a:gd name="connsiteX2892" fmla="*/ 3057988 w 3862373"/>
                  <a:gd name="connsiteY2892" fmla="*/ 729944 h 3682908"/>
                  <a:gd name="connsiteX2893" fmla="*/ 3018901 w 3862373"/>
                  <a:gd name="connsiteY2893" fmla="*/ 769031 h 3682908"/>
                  <a:gd name="connsiteX2894" fmla="*/ 2979813 w 3862373"/>
                  <a:gd name="connsiteY2894" fmla="*/ 729944 h 3682908"/>
                  <a:gd name="connsiteX2895" fmla="*/ 3018901 w 3862373"/>
                  <a:gd name="connsiteY2895" fmla="*/ 690857 h 3682908"/>
                  <a:gd name="connsiteX2896" fmla="*/ 2924262 w 3862373"/>
                  <a:gd name="connsiteY2896" fmla="*/ 690857 h 3682908"/>
                  <a:gd name="connsiteX2897" fmla="*/ 2963349 w 3862373"/>
                  <a:gd name="connsiteY2897" fmla="*/ 729943 h 3682908"/>
                  <a:gd name="connsiteX2898" fmla="*/ 2924262 w 3862373"/>
                  <a:gd name="connsiteY2898" fmla="*/ 769031 h 3682908"/>
                  <a:gd name="connsiteX2899" fmla="*/ 2885175 w 3862373"/>
                  <a:gd name="connsiteY2899" fmla="*/ 729943 h 3682908"/>
                  <a:gd name="connsiteX2900" fmla="*/ 2924262 w 3862373"/>
                  <a:gd name="connsiteY2900" fmla="*/ 690857 h 3682908"/>
                  <a:gd name="connsiteX2901" fmla="*/ 2831986 w 3862373"/>
                  <a:gd name="connsiteY2901" fmla="*/ 690857 h 3682908"/>
                  <a:gd name="connsiteX2902" fmla="*/ 2871073 w 3862373"/>
                  <a:gd name="connsiteY2902" fmla="*/ 729944 h 3682908"/>
                  <a:gd name="connsiteX2903" fmla="*/ 2831986 w 3862373"/>
                  <a:gd name="connsiteY2903" fmla="*/ 769031 h 3682908"/>
                  <a:gd name="connsiteX2904" fmla="*/ 2792899 w 3862373"/>
                  <a:gd name="connsiteY2904" fmla="*/ 729944 h 3682908"/>
                  <a:gd name="connsiteX2905" fmla="*/ 2831986 w 3862373"/>
                  <a:gd name="connsiteY2905" fmla="*/ 690857 h 3682908"/>
                  <a:gd name="connsiteX2906" fmla="*/ 2737373 w 3862373"/>
                  <a:gd name="connsiteY2906" fmla="*/ 690857 h 3682908"/>
                  <a:gd name="connsiteX2907" fmla="*/ 2776434 w 3862373"/>
                  <a:gd name="connsiteY2907" fmla="*/ 729944 h 3682908"/>
                  <a:gd name="connsiteX2908" fmla="*/ 2737373 w 3862373"/>
                  <a:gd name="connsiteY2908" fmla="*/ 769031 h 3682908"/>
                  <a:gd name="connsiteX2909" fmla="*/ 2698271 w 3862373"/>
                  <a:gd name="connsiteY2909" fmla="*/ 729944 h 3682908"/>
                  <a:gd name="connsiteX2910" fmla="*/ 2737373 w 3862373"/>
                  <a:gd name="connsiteY2910" fmla="*/ 690857 h 3682908"/>
                  <a:gd name="connsiteX2911" fmla="*/ 2266534 w 3862373"/>
                  <a:gd name="connsiteY2911" fmla="*/ 690857 h 3682908"/>
                  <a:gd name="connsiteX2912" fmla="*/ 2305617 w 3862373"/>
                  <a:gd name="connsiteY2912" fmla="*/ 729943 h 3682908"/>
                  <a:gd name="connsiteX2913" fmla="*/ 2266534 w 3862373"/>
                  <a:gd name="connsiteY2913" fmla="*/ 769031 h 3682908"/>
                  <a:gd name="connsiteX2914" fmla="*/ 2227440 w 3862373"/>
                  <a:gd name="connsiteY2914" fmla="*/ 729943 h 3682908"/>
                  <a:gd name="connsiteX2915" fmla="*/ 2266534 w 3862373"/>
                  <a:gd name="connsiteY2915" fmla="*/ 690857 h 3682908"/>
                  <a:gd name="connsiteX2916" fmla="*/ 2171886 w 3862373"/>
                  <a:gd name="connsiteY2916" fmla="*/ 690857 h 3682908"/>
                  <a:gd name="connsiteX2917" fmla="*/ 2210979 w 3862373"/>
                  <a:gd name="connsiteY2917" fmla="*/ 729944 h 3682908"/>
                  <a:gd name="connsiteX2918" fmla="*/ 2171886 w 3862373"/>
                  <a:gd name="connsiteY2918" fmla="*/ 769031 h 3682908"/>
                  <a:gd name="connsiteX2919" fmla="*/ 2132800 w 3862373"/>
                  <a:gd name="connsiteY2919" fmla="*/ 729944 h 3682908"/>
                  <a:gd name="connsiteX2920" fmla="*/ 2171886 w 3862373"/>
                  <a:gd name="connsiteY2920" fmla="*/ 690857 h 3682908"/>
                  <a:gd name="connsiteX2921" fmla="*/ 2079612 w 3862373"/>
                  <a:gd name="connsiteY2921" fmla="*/ 690857 h 3682908"/>
                  <a:gd name="connsiteX2922" fmla="*/ 2118698 w 3862373"/>
                  <a:gd name="connsiteY2922" fmla="*/ 729944 h 3682908"/>
                  <a:gd name="connsiteX2923" fmla="*/ 2079612 w 3862373"/>
                  <a:gd name="connsiteY2923" fmla="*/ 769031 h 3682908"/>
                  <a:gd name="connsiteX2924" fmla="*/ 2040529 w 3862373"/>
                  <a:gd name="connsiteY2924" fmla="*/ 729944 h 3682908"/>
                  <a:gd name="connsiteX2925" fmla="*/ 2079612 w 3862373"/>
                  <a:gd name="connsiteY2925" fmla="*/ 690857 h 3682908"/>
                  <a:gd name="connsiteX2926" fmla="*/ 1703432 w 3862373"/>
                  <a:gd name="connsiteY2926" fmla="*/ 690857 h 3682908"/>
                  <a:gd name="connsiteX2927" fmla="*/ 1742522 w 3862373"/>
                  <a:gd name="connsiteY2927" fmla="*/ 729943 h 3682908"/>
                  <a:gd name="connsiteX2928" fmla="*/ 1703432 w 3862373"/>
                  <a:gd name="connsiteY2928" fmla="*/ 769031 h 3682908"/>
                  <a:gd name="connsiteX2929" fmla="*/ 1664351 w 3862373"/>
                  <a:gd name="connsiteY2929" fmla="*/ 729943 h 3682908"/>
                  <a:gd name="connsiteX2930" fmla="*/ 1703432 w 3862373"/>
                  <a:gd name="connsiteY2930" fmla="*/ 690857 h 3682908"/>
                  <a:gd name="connsiteX2931" fmla="*/ 1611147 w 3862373"/>
                  <a:gd name="connsiteY2931" fmla="*/ 690857 h 3682908"/>
                  <a:gd name="connsiteX2932" fmla="*/ 1650245 w 3862373"/>
                  <a:gd name="connsiteY2932" fmla="*/ 729944 h 3682908"/>
                  <a:gd name="connsiteX2933" fmla="*/ 1611147 w 3862373"/>
                  <a:gd name="connsiteY2933" fmla="*/ 769031 h 3682908"/>
                  <a:gd name="connsiteX2934" fmla="*/ 1572133 w 3862373"/>
                  <a:gd name="connsiteY2934" fmla="*/ 729944 h 3682908"/>
                  <a:gd name="connsiteX2935" fmla="*/ 1611147 w 3862373"/>
                  <a:gd name="connsiteY2935" fmla="*/ 690857 h 3682908"/>
                  <a:gd name="connsiteX2936" fmla="*/ 1232669 w 3862373"/>
                  <a:gd name="connsiteY2936" fmla="*/ 690857 h 3682908"/>
                  <a:gd name="connsiteX2937" fmla="*/ 1271741 w 3862373"/>
                  <a:gd name="connsiteY2937" fmla="*/ 729943 h 3682908"/>
                  <a:gd name="connsiteX2938" fmla="*/ 1232669 w 3862373"/>
                  <a:gd name="connsiteY2938" fmla="*/ 769031 h 3682908"/>
                  <a:gd name="connsiteX2939" fmla="*/ 1193583 w 3862373"/>
                  <a:gd name="connsiteY2939" fmla="*/ 729943 h 3682908"/>
                  <a:gd name="connsiteX2940" fmla="*/ 1232669 w 3862373"/>
                  <a:gd name="connsiteY2940" fmla="*/ 690857 h 3682908"/>
                  <a:gd name="connsiteX2941" fmla="*/ 1142756 w 3862373"/>
                  <a:gd name="connsiteY2941" fmla="*/ 690857 h 3682908"/>
                  <a:gd name="connsiteX2942" fmla="*/ 1181847 w 3862373"/>
                  <a:gd name="connsiteY2942" fmla="*/ 729944 h 3682908"/>
                  <a:gd name="connsiteX2943" fmla="*/ 1142756 w 3862373"/>
                  <a:gd name="connsiteY2943" fmla="*/ 769031 h 3682908"/>
                  <a:gd name="connsiteX2944" fmla="*/ 1103656 w 3862373"/>
                  <a:gd name="connsiteY2944" fmla="*/ 729944 h 3682908"/>
                  <a:gd name="connsiteX2945" fmla="*/ 1142756 w 3862373"/>
                  <a:gd name="connsiteY2945" fmla="*/ 690857 h 3682908"/>
                  <a:gd name="connsiteX2946" fmla="*/ 856480 w 3862373"/>
                  <a:gd name="connsiteY2946" fmla="*/ 690857 h 3682908"/>
                  <a:gd name="connsiteX2947" fmla="*/ 895560 w 3862373"/>
                  <a:gd name="connsiteY2947" fmla="*/ 729943 h 3682908"/>
                  <a:gd name="connsiteX2948" fmla="*/ 856480 w 3862373"/>
                  <a:gd name="connsiteY2948" fmla="*/ 769031 h 3682908"/>
                  <a:gd name="connsiteX2949" fmla="*/ 817401 w 3862373"/>
                  <a:gd name="connsiteY2949" fmla="*/ 729943 h 3682908"/>
                  <a:gd name="connsiteX2950" fmla="*/ 856480 w 3862373"/>
                  <a:gd name="connsiteY2950" fmla="*/ 690857 h 3682908"/>
                  <a:gd name="connsiteX2951" fmla="*/ 764220 w 3862373"/>
                  <a:gd name="connsiteY2951" fmla="*/ 690857 h 3682908"/>
                  <a:gd name="connsiteX2952" fmla="*/ 803302 w 3862373"/>
                  <a:gd name="connsiteY2952" fmla="*/ 729944 h 3682908"/>
                  <a:gd name="connsiteX2953" fmla="*/ 764220 w 3862373"/>
                  <a:gd name="connsiteY2953" fmla="*/ 769031 h 3682908"/>
                  <a:gd name="connsiteX2954" fmla="*/ 725137 w 3862373"/>
                  <a:gd name="connsiteY2954" fmla="*/ 729944 h 3682908"/>
                  <a:gd name="connsiteX2955" fmla="*/ 764220 w 3862373"/>
                  <a:gd name="connsiteY2955" fmla="*/ 690857 h 3682908"/>
                  <a:gd name="connsiteX2956" fmla="*/ 669571 w 3862373"/>
                  <a:gd name="connsiteY2956" fmla="*/ 690857 h 3682908"/>
                  <a:gd name="connsiteX2957" fmla="*/ 708675 w 3862373"/>
                  <a:gd name="connsiteY2957" fmla="*/ 729943 h 3682908"/>
                  <a:gd name="connsiteX2958" fmla="*/ 669571 w 3862373"/>
                  <a:gd name="connsiteY2958" fmla="*/ 769031 h 3682908"/>
                  <a:gd name="connsiteX2959" fmla="*/ 630497 w 3862373"/>
                  <a:gd name="connsiteY2959" fmla="*/ 729943 h 3682908"/>
                  <a:gd name="connsiteX2960" fmla="*/ 669571 w 3862373"/>
                  <a:gd name="connsiteY2960" fmla="*/ 690857 h 3682908"/>
                  <a:gd name="connsiteX2961" fmla="*/ 577293 w 3862373"/>
                  <a:gd name="connsiteY2961" fmla="*/ 690857 h 3682908"/>
                  <a:gd name="connsiteX2962" fmla="*/ 616393 w 3862373"/>
                  <a:gd name="connsiteY2962" fmla="*/ 729943 h 3682908"/>
                  <a:gd name="connsiteX2963" fmla="*/ 577293 w 3862373"/>
                  <a:gd name="connsiteY2963" fmla="*/ 769031 h 3682908"/>
                  <a:gd name="connsiteX2964" fmla="*/ 538195 w 3862373"/>
                  <a:gd name="connsiteY2964" fmla="*/ 729943 h 3682908"/>
                  <a:gd name="connsiteX2965" fmla="*/ 577293 w 3862373"/>
                  <a:gd name="connsiteY2965" fmla="*/ 690857 h 3682908"/>
                  <a:gd name="connsiteX2966" fmla="*/ 485003 w 3862373"/>
                  <a:gd name="connsiteY2966" fmla="*/ 690857 h 3682908"/>
                  <a:gd name="connsiteX2967" fmla="*/ 524091 w 3862373"/>
                  <a:gd name="connsiteY2967" fmla="*/ 729943 h 3682908"/>
                  <a:gd name="connsiteX2968" fmla="*/ 485003 w 3862373"/>
                  <a:gd name="connsiteY2968" fmla="*/ 769031 h 3682908"/>
                  <a:gd name="connsiteX2969" fmla="*/ 445934 w 3862373"/>
                  <a:gd name="connsiteY2969" fmla="*/ 729943 h 3682908"/>
                  <a:gd name="connsiteX2970" fmla="*/ 485003 w 3862373"/>
                  <a:gd name="connsiteY2970" fmla="*/ 690857 h 3682908"/>
                  <a:gd name="connsiteX2971" fmla="*/ 390354 w 3862373"/>
                  <a:gd name="connsiteY2971" fmla="*/ 690857 h 3682908"/>
                  <a:gd name="connsiteX2972" fmla="*/ 429457 w 3862373"/>
                  <a:gd name="connsiteY2972" fmla="*/ 729943 h 3682908"/>
                  <a:gd name="connsiteX2973" fmla="*/ 390354 w 3862373"/>
                  <a:gd name="connsiteY2973" fmla="*/ 769031 h 3682908"/>
                  <a:gd name="connsiteX2974" fmla="*/ 351287 w 3862373"/>
                  <a:gd name="connsiteY2974" fmla="*/ 729943 h 3682908"/>
                  <a:gd name="connsiteX2975" fmla="*/ 390354 w 3862373"/>
                  <a:gd name="connsiteY2975" fmla="*/ 690857 h 3682908"/>
                  <a:gd name="connsiteX2976" fmla="*/ 298087 w 3862373"/>
                  <a:gd name="connsiteY2976" fmla="*/ 690857 h 3682908"/>
                  <a:gd name="connsiteX2977" fmla="*/ 337188 w 3862373"/>
                  <a:gd name="connsiteY2977" fmla="*/ 729943 h 3682908"/>
                  <a:gd name="connsiteX2978" fmla="*/ 298087 w 3862373"/>
                  <a:gd name="connsiteY2978" fmla="*/ 769031 h 3682908"/>
                  <a:gd name="connsiteX2979" fmla="*/ 258997 w 3862373"/>
                  <a:gd name="connsiteY2979" fmla="*/ 729943 h 3682908"/>
                  <a:gd name="connsiteX2980" fmla="*/ 298087 w 3862373"/>
                  <a:gd name="connsiteY2980" fmla="*/ 690857 h 3682908"/>
                  <a:gd name="connsiteX2981" fmla="*/ 242207 w 3862373"/>
                  <a:gd name="connsiteY2981" fmla="*/ 643975 h 3682908"/>
                  <a:gd name="connsiteX2982" fmla="*/ 242535 w 3862373"/>
                  <a:gd name="connsiteY2982" fmla="*/ 644768 h 3682908"/>
                  <a:gd name="connsiteX2983" fmla="*/ 231087 w 3862373"/>
                  <a:gd name="connsiteY2983" fmla="*/ 672407 h 3682908"/>
                  <a:gd name="connsiteX2984" fmla="*/ 216396 w 3862373"/>
                  <a:gd name="connsiteY2984" fmla="*/ 678492 h 3682908"/>
                  <a:gd name="connsiteX2985" fmla="*/ 3472229 w 3862373"/>
                  <a:gd name="connsiteY2985" fmla="*/ 612933 h 3682908"/>
                  <a:gd name="connsiteX2986" fmla="*/ 3516862 w 3862373"/>
                  <a:gd name="connsiteY2986" fmla="*/ 672620 h 3682908"/>
                  <a:gd name="connsiteX2987" fmla="*/ 3489735 w 3862373"/>
                  <a:gd name="connsiteY2987" fmla="*/ 683855 h 3682908"/>
                  <a:gd name="connsiteX2988" fmla="*/ 3450649 w 3862373"/>
                  <a:gd name="connsiteY2988" fmla="*/ 644768 h 3682908"/>
                  <a:gd name="connsiteX2989" fmla="*/ 3462097 w 3862373"/>
                  <a:gd name="connsiteY2989" fmla="*/ 617130 h 3682908"/>
                  <a:gd name="connsiteX2990" fmla="*/ 3392730 w 3862373"/>
                  <a:gd name="connsiteY2990" fmla="*/ 605682 h 3682908"/>
                  <a:gd name="connsiteX2991" fmla="*/ 3431817 w 3862373"/>
                  <a:gd name="connsiteY2991" fmla="*/ 644768 h 3682908"/>
                  <a:gd name="connsiteX2992" fmla="*/ 3392730 w 3862373"/>
                  <a:gd name="connsiteY2992" fmla="*/ 683855 h 3682908"/>
                  <a:gd name="connsiteX2993" fmla="*/ 3353643 w 3862373"/>
                  <a:gd name="connsiteY2993" fmla="*/ 644768 h 3682908"/>
                  <a:gd name="connsiteX2994" fmla="*/ 3392730 w 3862373"/>
                  <a:gd name="connsiteY2994" fmla="*/ 605682 h 3682908"/>
                  <a:gd name="connsiteX2995" fmla="*/ 3300455 w 3862373"/>
                  <a:gd name="connsiteY2995" fmla="*/ 605682 h 3682908"/>
                  <a:gd name="connsiteX2996" fmla="*/ 3339543 w 3862373"/>
                  <a:gd name="connsiteY2996" fmla="*/ 644768 h 3682908"/>
                  <a:gd name="connsiteX2997" fmla="*/ 3300455 w 3862373"/>
                  <a:gd name="connsiteY2997" fmla="*/ 683855 h 3682908"/>
                  <a:gd name="connsiteX2998" fmla="*/ 3261368 w 3862373"/>
                  <a:gd name="connsiteY2998" fmla="*/ 644768 h 3682908"/>
                  <a:gd name="connsiteX2999" fmla="*/ 3300455 w 3862373"/>
                  <a:gd name="connsiteY2999" fmla="*/ 605682 h 3682908"/>
                  <a:gd name="connsiteX3000" fmla="*/ 3205815 w 3862373"/>
                  <a:gd name="connsiteY3000" fmla="*/ 605682 h 3682908"/>
                  <a:gd name="connsiteX3001" fmla="*/ 3244903 w 3862373"/>
                  <a:gd name="connsiteY3001" fmla="*/ 644768 h 3682908"/>
                  <a:gd name="connsiteX3002" fmla="*/ 3205815 w 3862373"/>
                  <a:gd name="connsiteY3002" fmla="*/ 683855 h 3682908"/>
                  <a:gd name="connsiteX3003" fmla="*/ 3166728 w 3862373"/>
                  <a:gd name="connsiteY3003" fmla="*/ 644768 h 3682908"/>
                  <a:gd name="connsiteX3004" fmla="*/ 3205815 w 3862373"/>
                  <a:gd name="connsiteY3004" fmla="*/ 605682 h 3682908"/>
                  <a:gd name="connsiteX3005" fmla="*/ 3111175 w 3862373"/>
                  <a:gd name="connsiteY3005" fmla="*/ 605682 h 3682908"/>
                  <a:gd name="connsiteX3006" fmla="*/ 3150263 w 3862373"/>
                  <a:gd name="connsiteY3006" fmla="*/ 644768 h 3682908"/>
                  <a:gd name="connsiteX3007" fmla="*/ 3111175 w 3862373"/>
                  <a:gd name="connsiteY3007" fmla="*/ 683855 h 3682908"/>
                  <a:gd name="connsiteX3008" fmla="*/ 3072088 w 3862373"/>
                  <a:gd name="connsiteY3008" fmla="*/ 644768 h 3682908"/>
                  <a:gd name="connsiteX3009" fmla="*/ 3111175 w 3862373"/>
                  <a:gd name="connsiteY3009" fmla="*/ 605682 h 3682908"/>
                  <a:gd name="connsiteX3010" fmla="*/ 3018901 w 3862373"/>
                  <a:gd name="connsiteY3010" fmla="*/ 605682 h 3682908"/>
                  <a:gd name="connsiteX3011" fmla="*/ 3057988 w 3862373"/>
                  <a:gd name="connsiteY3011" fmla="*/ 644768 h 3682908"/>
                  <a:gd name="connsiteX3012" fmla="*/ 3018901 w 3862373"/>
                  <a:gd name="connsiteY3012" fmla="*/ 683855 h 3682908"/>
                  <a:gd name="connsiteX3013" fmla="*/ 2979813 w 3862373"/>
                  <a:gd name="connsiteY3013" fmla="*/ 644768 h 3682908"/>
                  <a:gd name="connsiteX3014" fmla="*/ 3018901 w 3862373"/>
                  <a:gd name="connsiteY3014" fmla="*/ 605682 h 3682908"/>
                  <a:gd name="connsiteX3015" fmla="*/ 2924262 w 3862373"/>
                  <a:gd name="connsiteY3015" fmla="*/ 605682 h 3682908"/>
                  <a:gd name="connsiteX3016" fmla="*/ 2963349 w 3862373"/>
                  <a:gd name="connsiteY3016" fmla="*/ 644768 h 3682908"/>
                  <a:gd name="connsiteX3017" fmla="*/ 2924262 w 3862373"/>
                  <a:gd name="connsiteY3017" fmla="*/ 683855 h 3682908"/>
                  <a:gd name="connsiteX3018" fmla="*/ 2885175 w 3862373"/>
                  <a:gd name="connsiteY3018" fmla="*/ 644768 h 3682908"/>
                  <a:gd name="connsiteX3019" fmla="*/ 2924262 w 3862373"/>
                  <a:gd name="connsiteY3019" fmla="*/ 605682 h 3682908"/>
                  <a:gd name="connsiteX3020" fmla="*/ 2831987 w 3862373"/>
                  <a:gd name="connsiteY3020" fmla="*/ 605682 h 3682908"/>
                  <a:gd name="connsiteX3021" fmla="*/ 2871074 w 3862373"/>
                  <a:gd name="connsiteY3021" fmla="*/ 644768 h 3682908"/>
                  <a:gd name="connsiteX3022" fmla="*/ 2831987 w 3862373"/>
                  <a:gd name="connsiteY3022" fmla="*/ 683855 h 3682908"/>
                  <a:gd name="connsiteX3023" fmla="*/ 2792900 w 3862373"/>
                  <a:gd name="connsiteY3023" fmla="*/ 644768 h 3682908"/>
                  <a:gd name="connsiteX3024" fmla="*/ 2831987 w 3862373"/>
                  <a:gd name="connsiteY3024" fmla="*/ 605682 h 3682908"/>
                  <a:gd name="connsiteX3025" fmla="*/ 2171887 w 3862373"/>
                  <a:gd name="connsiteY3025" fmla="*/ 605682 h 3682908"/>
                  <a:gd name="connsiteX3026" fmla="*/ 2210979 w 3862373"/>
                  <a:gd name="connsiteY3026" fmla="*/ 644768 h 3682908"/>
                  <a:gd name="connsiteX3027" fmla="*/ 2171887 w 3862373"/>
                  <a:gd name="connsiteY3027" fmla="*/ 683855 h 3682908"/>
                  <a:gd name="connsiteX3028" fmla="*/ 2132800 w 3862373"/>
                  <a:gd name="connsiteY3028" fmla="*/ 644768 h 3682908"/>
                  <a:gd name="connsiteX3029" fmla="*/ 2171887 w 3862373"/>
                  <a:gd name="connsiteY3029" fmla="*/ 605682 h 3682908"/>
                  <a:gd name="connsiteX3030" fmla="*/ 1798073 w 3862373"/>
                  <a:gd name="connsiteY3030" fmla="*/ 605682 h 3682908"/>
                  <a:gd name="connsiteX3031" fmla="*/ 1837146 w 3862373"/>
                  <a:gd name="connsiteY3031" fmla="*/ 644768 h 3682908"/>
                  <a:gd name="connsiteX3032" fmla="*/ 1798073 w 3862373"/>
                  <a:gd name="connsiteY3032" fmla="*/ 683855 h 3682908"/>
                  <a:gd name="connsiteX3033" fmla="*/ 1758966 w 3862373"/>
                  <a:gd name="connsiteY3033" fmla="*/ 644768 h 3682908"/>
                  <a:gd name="connsiteX3034" fmla="*/ 1798073 w 3862373"/>
                  <a:gd name="connsiteY3034" fmla="*/ 605682 h 3682908"/>
                  <a:gd name="connsiteX3035" fmla="*/ 1703432 w 3862373"/>
                  <a:gd name="connsiteY3035" fmla="*/ 605682 h 3682908"/>
                  <a:gd name="connsiteX3036" fmla="*/ 1742522 w 3862373"/>
                  <a:gd name="connsiteY3036" fmla="*/ 644768 h 3682908"/>
                  <a:gd name="connsiteX3037" fmla="*/ 1703432 w 3862373"/>
                  <a:gd name="connsiteY3037" fmla="*/ 683855 h 3682908"/>
                  <a:gd name="connsiteX3038" fmla="*/ 1664351 w 3862373"/>
                  <a:gd name="connsiteY3038" fmla="*/ 644768 h 3682908"/>
                  <a:gd name="connsiteX3039" fmla="*/ 1703432 w 3862373"/>
                  <a:gd name="connsiteY3039" fmla="*/ 605682 h 3682908"/>
                  <a:gd name="connsiteX3040" fmla="*/ 1611147 w 3862373"/>
                  <a:gd name="connsiteY3040" fmla="*/ 605682 h 3682908"/>
                  <a:gd name="connsiteX3041" fmla="*/ 1650245 w 3862373"/>
                  <a:gd name="connsiteY3041" fmla="*/ 644768 h 3682908"/>
                  <a:gd name="connsiteX3042" fmla="*/ 1611147 w 3862373"/>
                  <a:gd name="connsiteY3042" fmla="*/ 683855 h 3682908"/>
                  <a:gd name="connsiteX3043" fmla="*/ 1572140 w 3862373"/>
                  <a:gd name="connsiteY3043" fmla="*/ 644768 h 3682908"/>
                  <a:gd name="connsiteX3044" fmla="*/ 1611147 w 3862373"/>
                  <a:gd name="connsiteY3044" fmla="*/ 605682 h 3682908"/>
                  <a:gd name="connsiteX3045" fmla="*/ 1232676 w 3862373"/>
                  <a:gd name="connsiteY3045" fmla="*/ 605682 h 3682908"/>
                  <a:gd name="connsiteX3046" fmla="*/ 1271747 w 3862373"/>
                  <a:gd name="connsiteY3046" fmla="*/ 644768 h 3682908"/>
                  <a:gd name="connsiteX3047" fmla="*/ 1232676 w 3862373"/>
                  <a:gd name="connsiteY3047" fmla="*/ 683855 h 3682908"/>
                  <a:gd name="connsiteX3048" fmla="*/ 1193590 w 3862373"/>
                  <a:gd name="connsiteY3048" fmla="*/ 644768 h 3682908"/>
                  <a:gd name="connsiteX3049" fmla="*/ 1232676 w 3862373"/>
                  <a:gd name="connsiteY3049" fmla="*/ 605682 h 3682908"/>
                  <a:gd name="connsiteX3050" fmla="*/ 1142761 w 3862373"/>
                  <a:gd name="connsiteY3050" fmla="*/ 605682 h 3682908"/>
                  <a:gd name="connsiteX3051" fmla="*/ 1181853 w 3862373"/>
                  <a:gd name="connsiteY3051" fmla="*/ 644768 h 3682908"/>
                  <a:gd name="connsiteX3052" fmla="*/ 1142761 w 3862373"/>
                  <a:gd name="connsiteY3052" fmla="*/ 683855 h 3682908"/>
                  <a:gd name="connsiteX3053" fmla="*/ 1103661 w 3862373"/>
                  <a:gd name="connsiteY3053" fmla="*/ 644768 h 3682908"/>
                  <a:gd name="connsiteX3054" fmla="*/ 1142761 w 3862373"/>
                  <a:gd name="connsiteY3054" fmla="*/ 605682 h 3682908"/>
                  <a:gd name="connsiteX3055" fmla="*/ 1045734 w 3862373"/>
                  <a:gd name="connsiteY3055" fmla="*/ 605682 h 3682908"/>
                  <a:gd name="connsiteX3056" fmla="*/ 1084825 w 3862373"/>
                  <a:gd name="connsiteY3056" fmla="*/ 644768 h 3682908"/>
                  <a:gd name="connsiteX3057" fmla="*/ 1045734 w 3862373"/>
                  <a:gd name="connsiteY3057" fmla="*/ 683855 h 3682908"/>
                  <a:gd name="connsiteX3058" fmla="*/ 1006653 w 3862373"/>
                  <a:gd name="connsiteY3058" fmla="*/ 644768 h 3682908"/>
                  <a:gd name="connsiteX3059" fmla="*/ 1045734 w 3862373"/>
                  <a:gd name="connsiteY3059" fmla="*/ 605682 h 3682908"/>
                  <a:gd name="connsiteX3060" fmla="*/ 856487 w 3862373"/>
                  <a:gd name="connsiteY3060" fmla="*/ 605682 h 3682908"/>
                  <a:gd name="connsiteX3061" fmla="*/ 895566 w 3862373"/>
                  <a:gd name="connsiteY3061" fmla="*/ 644768 h 3682908"/>
                  <a:gd name="connsiteX3062" fmla="*/ 856487 w 3862373"/>
                  <a:gd name="connsiteY3062" fmla="*/ 683855 h 3682908"/>
                  <a:gd name="connsiteX3063" fmla="*/ 817405 w 3862373"/>
                  <a:gd name="connsiteY3063" fmla="*/ 644768 h 3682908"/>
                  <a:gd name="connsiteX3064" fmla="*/ 856487 w 3862373"/>
                  <a:gd name="connsiteY3064" fmla="*/ 605682 h 3682908"/>
                  <a:gd name="connsiteX3065" fmla="*/ 764226 w 3862373"/>
                  <a:gd name="connsiteY3065" fmla="*/ 605682 h 3682908"/>
                  <a:gd name="connsiteX3066" fmla="*/ 803309 w 3862373"/>
                  <a:gd name="connsiteY3066" fmla="*/ 644768 h 3682908"/>
                  <a:gd name="connsiteX3067" fmla="*/ 764226 w 3862373"/>
                  <a:gd name="connsiteY3067" fmla="*/ 683855 h 3682908"/>
                  <a:gd name="connsiteX3068" fmla="*/ 725145 w 3862373"/>
                  <a:gd name="connsiteY3068" fmla="*/ 644768 h 3682908"/>
                  <a:gd name="connsiteX3069" fmla="*/ 764226 w 3862373"/>
                  <a:gd name="connsiteY3069" fmla="*/ 605682 h 3682908"/>
                  <a:gd name="connsiteX3070" fmla="*/ 669584 w 3862373"/>
                  <a:gd name="connsiteY3070" fmla="*/ 605682 h 3682908"/>
                  <a:gd name="connsiteX3071" fmla="*/ 708684 w 3862373"/>
                  <a:gd name="connsiteY3071" fmla="*/ 644768 h 3682908"/>
                  <a:gd name="connsiteX3072" fmla="*/ 669584 w 3862373"/>
                  <a:gd name="connsiteY3072" fmla="*/ 683855 h 3682908"/>
                  <a:gd name="connsiteX3073" fmla="*/ 630505 w 3862373"/>
                  <a:gd name="connsiteY3073" fmla="*/ 644768 h 3682908"/>
                  <a:gd name="connsiteX3074" fmla="*/ 669584 w 3862373"/>
                  <a:gd name="connsiteY3074" fmla="*/ 605682 h 3682908"/>
                  <a:gd name="connsiteX3075" fmla="*/ 577298 w 3862373"/>
                  <a:gd name="connsiteY3075" fmla="*/ 605682 h 3682908"/>
                  <a:gd name="connsiteX3076" fmla="*/ 616400 w 3862373"/>
                  <a:gd name="connsiteY3076" fmla="*/ 644768 h 3682908"/>
                  <a:gd name="connsiteX3077" fmla="*/ 577298 w 3862373"/>
                  <a:gd name="connsiteY3077" fmla="*/ 683855 h 3682908"/>
                  <a:gd name="connsiteX3078" fmla="*/ 538200 w 3862373"/>
                  <a:gd name="connsiteY3078" fmla="*/ 644768 h 3682908"/>
                  <a:gd name="connsiteX3079" fmla="*/ 577298 w 3862373"/>
                  <a:gd name="connsiteY3079" fmla="*/ 605682 h 3682908"/>
                  <a:gd name="connsiteX3080" fmla="*/ 485012 w 3862373"/>
                  <a:gd name="connsiteY3080" fmla="*/ 605682 h 3682908"/>
                  <a:gd name="connsiteX3081" fmla="*/ 524097 w 3862373"/>
                  <a:gd name="connsiteY3081" fmla="*/ 644768 h 3682908"/>
                  <a:gd name="connsiteX3082" fmla="*/ 485012 w 3862373"/>
                  <a:gd name="connsiteY3082" fmla="*/ 683855 h 3682908"/>
                  <a:gd name="connsiteX3083" fmla="*/ 445938 w 3862373"/>
                  <a:gd name="connsiteY3083" fmla="*/ 644768 h 3682908"/>
                  <a:gd name="connsiteX3084" fmla="*/ 485012 w 3862373"/>
                  <a:gd name="connsiteY3084" fmla="*/ 605682 h 3682908"/>
                  <a:gd name="connsiteX3085" fmla="*/ 390363 w 3862373"/>
                  <a:gd name="connsiteY3085" fmla="*/ 605682 h 3682908"/>
                  <a:gd name="connsiteX3086" fmla="*/ 429464 w 3862373"/>
                  <a:gd name="connsiteY3086" fmla="*/ 644768 h 3682908"/>
                  <a:gd name="connsiteX3087" fmla="*/ 390363 w 3862373"/>
                  <a:gd name="connsiteY3087" fmla="*/ 683855 h 3682908"/>
                  <a:gd name="connsiteX3088" fmla="*/ 351296 w 3862373"/>
                  <a:gd name="connsiteY3088" fmla="*/ 644768 h 3682908"/>
                  <a:gd name="connsiteX3089" fmla="*/ 390363 w 3862373"/>
                  <a:gd name="connsiteY3089" fmla="*/ 605682 h 3682908"/>
                  <a:gd name="connsiteX3090" fmla="*/ 298093 w 3862373"/>
                  <a:gd name="connsiteY3090" fmla="*/ 605682 h 3682908"/>
                  <a:gd name="connsiteX3091" fmla="*/ 337193 w 3862373"/>
                  <a:gd name="connsiteY3091" fmla="*/ 644768 h 3682908"/>
                  <a:gd name="connsiteX3092" fmla="*/ 298093 w 3862373"/>
                  <a:gd name="connsiteY3092" fmla="*/ 683855 h 3682908"/>
                  <a:gd name="connsiteX3093" fmla="*/ 259002 w 3862373"/>
                  <a:gd name="connsiteY3093" fmla="*/ 644768 h 3682908"/>
                  <a:gd name="connsiteX3094" fmla="*/ 298093 w 3862373"/>
                  <a:gd name="connsiteY3094" fmla="*/ 605682 h 3682908"/>
                  <a:gd name="connsiteX3095" fmla="*/ 327714 w 3862373"/>
                  <a:gd name="connsiteY3095" fmla="*/ 529629 h 3682908"/>
                  <a:gd name="connsiteX3096" fmla="*/ 337200 w 3862373"/>
                  <a:gd name="connsiteY3096" fmla="*/ 552513 h 3682908"/>
                  <a:gd name="connsiteX3097" fmla="*/ 298099 w 3862373"/>
                  <a:gd name="connsiteY3097" fmla="*/ 591582 h 3682908"/>
                  <a:gd name="connsiteX3098" fmla="*/ 285337 w 3862373"/>
                  <a:gd name="connsiteY3098" fmla="*/ 586297 h 3682908"/>
                  <a:gd name="connsiteX3099" fmla="*/ 3205817 w 3862373"/>
                  <a:gd name="connsiteY3099" fmla="*/ 513426 h 3682908"/>
                  <a:gd name="connsiteX3100" fmla="*/ 3244904 w 3862373"/>
                  <a:gd name="connsiteY3100" fmla="*/ 552512 h 3682908"/>
                  <a:gd name="connsiteX3101" fmla="*/ 3205817 w 3862373"/>
                  <a:gd name="connsiteY3101" fmla="*/ 591582 h 3682908"/>
                  <a:gd name="connsiteX3102" fmla="*/ 3166729 w 3862373"/>
                  <a:gd name="connsiteY3102" fmla="*/ 552512 h 3682908"/>
                  <a:gd name="connsiteX3103" fmla="*/ 3205817 w 3862373"/>
                  <a:gd name="connsiteY3103" fmla="*/ 513426 h 3682908"/>
                  <a:gd name="connsiteX3104" fmla="*/ 3111175 w 3862373"/>
                  <a:gd name="connsiteY3104" fmla="*/ 513426 h 3682908"/>
                  <a:gd name="connsiteX3105" fmla="*/ 3150263 w 3862373"/>
                  <a:gd name="connsiteY3105" fmla="*/ 552512 h 3682908"/>
                  <a:gd name="connsiteX3106" fmla="*/ 3111175 w 3862373"/>
                  <a:gd name="connsiteY3106" fmla="*/ 591582 h 3682908"/>
                  <a:gd name="connsiteX3107" fmla="*/ 3072088 w 3862373"/>
                  <a:gd name="connsiteY3107" fmla="*/ 552512 h 3682908"/>
                  <a:gd name="connsiteX3108" fmla="*/ 3111175 w 3862373"/>
                  <a:gd name="connsiteY3108" fmla="*/ 513426 h 3682908"/>
                  <a:gd name="connsiteX3109" fmla="*/ 3018902 w 3862373"/>
                  <a:gd name="connsiteY3109" fmla="*/ 513426 h 3682908"/>
                  <a:gd name="connsiteX3110" fmla="*/ 3057989 w 3862373"/>
                  <a:gd name="connsiteY3110" fmla="*/ 552512 h 3682908"/>
                  <a:gd name="connsiteX3111" fmla="*/ 3018902 w 3862373"/>
                  <a:gd name="connsiteY3111" fmla="*/ 591582 h 3682908"/>
                  <a:gd name="connsiteX3112" fmla="*/ 2979815 w 3862373"/>
                  <a:gd name="connsiteY3112" fmla="*/ 552512 h 3682908"/>
                  <a:gd name="connsiteX3113" fmla="*/ 3018902 w 3862373"/>
                  <a:gd name="connsiteY3113" fmla="*/ 513426 h 3682908"/>
                  <a:gd name="connsiteX3114" fmla="*/ 2924263 w 3862373"/>
                  <a:gd name="connsiteY3114" fmla="*/ 513426 h 3682908"/>
                  <a:gd name="connsiteX3115" fmla="*/ 2963349 w 3862373"/>
                  <a:gd name="connsiteY3115" fmla="*/ 552512 h 3682908"/>
                  <a:gd name="connsiteX3116" fmla="*/ 2924263 w 3862373"/>
                  <a:gd name="connsiteY3116" fmla="*/ 591582 h 3682908"/>
                  <a:gd name="connsiteX3117" fmla="*/ 2885175 w 3862373"/>
                  <a:gd name="connsiteY3117" fmla="*/ 552512 h 3682908"/>
                  <a:gd name="connsiteX3118" fmla="*/ 2924263 w 3862373"/>
                  <a:gd name="connsiteY3118" fmla="*/ 513426 h 3682908"/>
                  <a:gd name="connsiteX3119" fmla="*/ 2831988 w 3862373"/>
                  <a:gd name="connsiteY3119" fmla="*/ 513426 h 3682908"/>
                  <a:gd name="connsiteX3120" fmla="*/ 2871075 w 3862373"/>
                  <a:gd name="connsiteY3120" fmla="*/ 552512 h 3682908"/>
                  <a:gd name="connsiteX3121" fmla="*/ 2831988 w 3862373"/>
                  <a:gd name="connsiteY3121" fmla="*/ 591582 h 3682908"/>
                  <a:gd name="connsiteX3122" fmla="*/ 2792901 w 3862373"/>
                  <a:gd name="connsiteY3122" fmla="*/ 552512 h 3682908"/>
                  <a:gd name="connsiteX3123" fmla="*/ 2831988 w 3862373"/>
                  <a:gd name="connsiteY3123" fmla="*/ 513426 h 3682908"/>
                  <a:gd name="connsiteX3124" fmla="*/ 1984971 w 3862373"/>
                  <a:gd name="connsiteY3124" fmla="*/ 513426 h 3682908"/>
                  <a:gd name="connsiteX3125" fmla="*/ 2024068 w 3862373"/>
                  <a:gd name="connsiteY3125" fmla="*/ 552513 h 3682908"/>
                  <a:gd name="connsiteX3126" fmla="*/ 1984971 w 3862373"/>
                  <a:gd name="connsiteY3126" fmla="*/ 591582 h 3682908"/>
                  <a:gd name="connsiteX3127" fmla="*/ 1945873 w 3862373"/>
                  <a:gd name="connsiteY3127" fmla="*/ 552513 h 3682908"/>
                  <a:gd name="connsiteX3128" fmla="*/ 1984971 w 3862373"/>
                  <a:gd name="connsiteY3128" fmla="*/ 513426 h 3682908"/>
                  <a:gd name="connsiteX3129" fmla="*/ 1890340 w 3862373"/>
                  <a:gd name="connsiteY3129" fmla="*/ 513426 h 3682908"/>
                  <a:gd name="connsiteX3130" fmla="*/ 1929413 w 3862373"/>
                  <a:gd name="connsiteY3130" fmla="*/ 552513 h 3682908"/>
                  <a:gd name="connsiteX3131" fmla="*/ 1890340 w 3862373"/>
                  <a:gd name="connsiteY3131" fmla="*/ 591582 h 3682908"/>
                  <a:gd name="connsiteX3132" fmla="*/ 1851255 w 3862373"/>
                  <a:gd name="connsiteY3132" fmla="*/ 552513 h 3682908"/>
                  <a:gd name="connsiteX3133" fmla="*/ 1890340 w 3862373"/>
                  <a:gd name="connsiteY3133" fmla="*/ 513426 h 3682908"/>
                  <a:gd name="connsiteX3134" fmla="*/ 1798073 w 3862373"/>
                  <a:gd name="connsiteY3134" fmla="*/ 513426 h 3682908"/>
                  <a:gd name="connsiteX3135" fmla="*/ 1837149 w 3862373"/>
                  <a:gd name="connsiteY3135" fmla="*/ 552513 h 3682908"/>
                  <a:gd name="connsiteX3136" fmla="*/ 1798073 w 3862373"/>
                  <a:gd name="connsiteY3136" fmla="*/ 591582 h 3682908"/>
                  <a:gd name="connsiteX3137" fmla="*/ 1758966 w 3862373"/>
                  <a:gd name="connsiteY3137" fmla="*/ 552513 h 3682908"/>
                  <a:gd name="connsiteX3138" fmla="*/ 1798073 w 3862373"/>
                  <a:gd name="connsiteY3138" fmla="*/ 513426 h 3682908"/>
                  <a:gd name="connsiteX3139" fmla="*/ 1703432 w 3862373"/>
                  <a:gd name="connsiteY3139" fmla="*/ 513426 h 3682908"/>
                  <a:gd name="connsiteX3140" fmla="*/ 1742522 w 3862373"/>
                  <a:gd name="connsiteY3140" fmla="*/ 552513 h 3682908"/>
                  <a:gd name="connsiteX3141" fmla="*/ 1703432 w 3862373"/>
                  <a:gd name="connsiteY3141" fmla="*/ 591582 h 3682908"/>
                  <a:gd name="connsiteX3142" fmla="*/ 1664351 w 3862373"/>
                  <a:gd name="connsiteY3142" fmla="*/ 552513 h 3682908"/>
                  <a:gd name="connsiteX3143" fmla="*/ 1703432 w 3862373"/>
                  <a:gd name="connsiteY3143" fmla="*/ 513426 h 3682908"/>
                  <a:gd name="connsiteX3144" fmla="*/ 1611151 w 3862373"/>
                  <a:gd name="connsiteY3144" fmla="*/ 513426 h 3682908"/>
                  <a:gd name="connsiteX3145" fmla="*/ 1650245 w 3862373"/>
                  <a:gd name="connsiteY3145" fmla="*/ 552513 h 3682908"/>
                  <a:gd name="connsiteX3146" fmla="*/ 1611151 w 3862373"/>
                  <a:gd name="connsiteY3146" fmla="*/ 591582 h 3682908"/>
                  <a:gd name="connsiteX3147" fmla="*/ 1572147 w 3862373"/>
                  <a:gd name="connsiteY3147" fmla="*/ 552513 h 3682908"/>
                  <a:gd name="connsiteX3148" fmla="*/ 1611151 w 3862373"/>
                  <a:gd name="connsiteY3148" fmla="*/ 513426 h 3682908"/>
                  <a:gd name="connsiteX3149" fmla="*/ 1232682 w 3862373"/>
                  <a:gd name="connsiteY3149" fmla="*/ 513426 h 3682908"/>
                  <a:gd name="connsiteX3150" fmla="*/ 1271755 w 3862373"/>
                  <a:gd name="connsiteY3150" fmla="*/ 552513 h 3682908"/>
                  <a:gd name="connsiteX3151" fmla="*/ 1232682 w 3862373"/>
                  <a:gd name="connsiteY3151" fmla="*/ 591582 h 3682908"/>
                  <a:gd name="connsiteX3152" fmla="*/ 1193598 w 3862373"/>
                  <a:gd name="connsiteY3152" fmla="*/ 552513 h 3682908"/>
                  <a:gd name="connsiteX3153" fmla="*/ 1232682 w 3862373"/>
                  <a:gd name="connsiteY3153" fmla="*/ 513426 h 3682908"/>
                  <a:gd name="connsiteX3154" fmla="*/ 1142769 w 3862373"/>
                  <a:gd name="connsiteY3154" fmla="*/ 513426 h 3682908"/>
                  <a:gd name="connsiteX3155" fmla="*/ 1181859 w 3862373"/>
                  <a:gd name="connsiteY3155" fmla="*/ 552513 h 3682908"/>
                  <a:gd name="connsiteX3156" fmla="*/ 1142769 w 3862373"/>
                  <a:gd name="connsiteY3156" fmla="*/ 591582 h 3682908"/>
                  <a:gd name="connsiteX3157" fmla="*/ 1103669 w 3862373"/>
                  <a:gd name="connsiteY3157" fmla="*/ 552513 h 3682908"/>
                  <a:gd name="connsiteX3158" fmla="*/ 1142769 w 3862373"/>
                  <a:gd name="connsiteY3158" fmla="*/ 513426 h 3682908"/>
                  <a:gd name="connsiteX3159" fmla="*/ 1045741 w 3862373"/>
                  <a:gd name="connsiteY3159" fmla="*/ 513426 h 3682908"/>
                  <a:gd name="connsiteX3160" fmla="*/ 1084832 w 3862373"/>
                  <a:gd name="connsiteY3160" fmla="*/ 552513 h 3682908"/>
                  <a:gd name="connsiteX3161" fmla="*/ 1045741 w 3862373"/>
                  <a:gd name="connsiteY3161" fmla="*/ 591582 h 3682908"/>
                  <a:gd name="connsiteX3162" fmla="*/ 1006661 w 3862373"/>
                  <a:gd name="connsiteY3162" fmla="*/ 552513 h 3682908"/>
                  <a:gd name="connsiteX3163" fmla="*/ 1045741 w 3862373"/>
                  <a:gd name="connsiteY3163" fmla="*/ 513426 h 3682908"/>
                  <a:gd name="connsiteX3164" fmla="*/ 951119 w 3862373"/>
                  <a:gd name="connsiteY3164" fmla="*/ 513426 h 3682908"/>
                  <a:gd name="connsiteX3165" fmla="*/ 990197 w 3862373"/>
                  <a:gd name="connsiteY3165" fmla="*/ 552513 h 3682908"/>
                  <a:gd name="connsiteX3166" fmla="*/ 951119 w 3862373"/>
                  <a:gd name="connsiteY3166" fmla="*/ 591582 h 3682908"/>
                  <a:gd name="connsiteX3167" fmla="*/ 912036 w 3862373"/>
                  <a:gd name="connsiteY3167" fmla="*/ 552513 h 3682908"/>
                  <a:gd name="connsiteX3168" fmla="*/ 951119 w 3862373"/>
                  <a:gd name="connsiteY3168" fmla="*/ 513426 h 3682908"/>
                  <a:gd name="connsiteX3169" fmla="*/ 856494 w 3862373"/>
                  <a:gd name="connsiteY3169" fmla="*/ 513426 h 3682908"/>
                  <a:gd name="connsiteX3170" fmla="*/ 895574 w 3862373"/>
                  <a:gd name="connsiteY3170" fmla="*/ 552513 h 3682908"/>
                  <a:gd name="connsiteX3171" fmla="*/ 856494 w 3862373"/>
                  <a:gd name="connsiteY3171" fmla="*/ 591582 h 3682908"/>
                  <a:gd name="connsiteX3172" fmla="*/ 817413 w 3862373"/>
                  <a:gd name="connsiteY3172" fmla="*/ 552513 h 3682908"/>
                  <a:gd name="connsiteX3173" fmla="*/ 856494 w 3862373"/>
                  <a:gd name="connsiteY3173" fmla="*/ 513426 h 3682908"/>
                  <a:gd name="connsiteX3174" fmla="*/ 764235 w 3862373"/>
                  <a:gd name="connsiteY3174" fmla="*/ 513426 h 3682908"/>
                  <a:gd name="connsiteX3175" fmla="*/ 803316 w 3862373"/>
                  <a:gd name="connsiteY3175" fmla="*/ 552513 h 3682908"/>
                  <a:gd name="connsiteX3176" fmla="*/ 764235 w 3862373"/>
                  <a:gd name="connsiteY3176" fmla="*/ 591582 h 3682908"/>
                  <a:gd name="connsiteX3177" fmla="*/ 725152 w 3862373"/>
                  <a:gd name="connsiteY3177" fmla="*/ 552513 h 3682908"/>
                  <a:gd name="connsiteX3178" fmla="*/ 764235 w 3862373"/>
                  <a:gd name="connsiteY3178" fmla="*/ 513426 h 3682908"/>
                  <a:gd name="connsiteX3179" fmla="*/ 669584 w 3862373"/>
                  <a:gd name="connsiteY3179" fmla="*/ 513426 h 3682908"/>
                  <a:gd name="connsiteX3180" fmla="*/ 708691 w 3862373"/>
                  <a:gd name="connsiteY3180" fmla="*/ 552513 h 3682908"/>
                  <a:gd name="connsiteX3181" fmla="*/ 669584 w 3862373"/>
                  <a:gd name="connsiteY3181" fmla="*/ 591582 h 3682908"/>
                  <a:gd name="connsiteX3182" fmla="*/ 630513 w 3862373"/>
                  <a:gd name="connsiteY3182" fmla="*/ 552513 h 3682908"/>
                  <a:gd name="connsiteX3183" fmla="*/ 669584 w 3862373"/>
                  <a:gd name="connsiteY3183" fmla="*/ 513426 h 3682908"/>
                  <a:gd name="connsiteX3184" fmla="*/ 577307 w 3862373"/>
                  <a:gd name="connsiteY3184" fmla="*/ 513426 h 3682908"/>
                  <a:gd name="connsiteX3185" fmla="*/ 616408 w 3862373"/>
                  <a:gd name="connsiteY3185" fmla="*/ 552513 h 3682908"/>
                  <a:gd name="connsiteX3186" fmla="*/ 577307 w 3862373"/>
                  <a:gd name="connsiteY3186" fmla="*/ 591582 h 3682908"/>
                  <a:gd name="connsiteX3187" fmla="*/ 538207 w 3862373"/>
                  <a:gd name="connsiteY3187" fmla="*/ 552513 h 3682908"/>
                  <a:gd name="connsiteX3188" fmla="*/ 577307 w 3862373"/>
                  <a:gd name="connsiteY3188" fmla="*/ 513426 h 3682908"/>
                  <a:gd name="connsiteX3189" fmla="*/ 485015 w 3862373"/>
                  <a:gd name="connsiteY3189" fmla="*/ 513426 h 3682908"/>
                  <a:gd name="connsiteX3190" fmla="*/ 524104 w 3862373"/>
                  <a:gd name="connsiteY3190" fmla="*/ 552513 h 3682908"/>
                  <a:gd name="connsiteX3191" fmla="*/ 485015 w 3862373"/>
                  <a:gd name="connsiteY3191" fmla="*/ 591582 h 3682908"/>
                  <a:gd name="connsiteX3192" fmla="*/ 445948 w 3862373"/>
                  <a:gd name="connsiteY3192" fmla="*/ 552513 h 3682908"/>
                  <a:gd name="connsiteX3193" fmla="*/ 485015 w 3862373"/>
                  <a:gd name="connsiteY3193" fmla="*/ 513426 h 3682908"/>
                  <a:gd name="connsiteX3194" fmla="*/ 390371 w 3862373"/>
                  <a:gd name="connsiteY3194" fmla="*/ 513426 h 3682908"/>
                  <a:gd name="connsiteX3195" fmla="*/ 429471 w 3862373"/>
                  <a:gd name="connsiteY3195" fmla="*/ 552513 h 3682908"/>
                  <a:gd name="connsiteX3196" fmla="*/ 390371 w 3862373"/>
                  <a:gd name="connsiteY3196" fmla="*/ 591582 h 3682908"/>
                  <a:gd name="connsiteX3197" fmla="*/ 351303 w 3862373"/>
                  <a:gd name="connsiteY3197" fmla="*/ 552513 h 3682908"/>
                  <a:gd name="connsiteX3198" fmla="*/ 390371 w 3862373"/>
                  <a:gd name="connsiteY3198" fmla="*/ 513426 h 3682908"/>
                  <a:gd name="connsiteX3199" fmla="*/ 409794 w 3862373"/>
                  <a:gd name="connsiteY3199" fmla="*/ 438656 h 3682908"/>
                  <a:gd name="connsiteX3200" fmla="*/ 418018 w 3862373"/>
                  <a:gd name="connsiteY3200" fmla="*/ 442062 h 3682908"/>
                  <a:gd name="connsiteX3201" fmla="*/ 429475 w 3862373"/>
                  <a:gd name="connsiteY3201" fmla="*/ 469700 h 3682908"/>
                  <a:gd name="connsiteX3202" fmla="*/ 390371 w 3862373"/>
                  <a:gd name="connsiteY3202" fmla="*/ 508788 h 3682908"/>
                  <a:gd name="connsiteX3203" fmla="*/ 362754 w 3862373"/>
                  <a:gd name="connsiteY3203" fmla="*/ 497339 h 3682908"/>
                  <a:gd name="connsiteX3204" fmla="*/ 360783 w 3862373"/>
                  <a:gd name="connsiteY3204" fmla="*/ 492581 h 3682908"/>
                  <a:gd name="connsiteX3205" fmla="*/ 3111175 w 3862373"/>
                  <a:gd name="connsiteY3205" fmla="*/ 430614 h 3682908"/>
                  <a:gd name="connsiteX3206" fmla="*/ 3150263 w 3862373"/>
                  <a:gd name="connsiteY3206" fmla="*/ 469701 h 3682908"/>
                  <a:gd name="connsiteX3207" fmla="*/ 3111175 w 3862373"/>
                  <a:gd name="connsiteY3207" fmla="*/ 508790 h 3682908"/>
                  <a:gd name="connsiteX3208" fmla="*/ 3072088 w 3862373"/>
                  <a:gd name="connsiteY3208" fmla="*/ 469701 h 3682908"/>
                  <a:gd name="connsiteX3209" fmla="*/ 3111175 w 3862373"/>
                  <a:gd name="connsiteY3209" fmla="*/ 430614 h 3682908"/>
                  <a:gd name="connsiteX3210" fmla="*/ 3018902 w 3862373"/>
                  <a:gd name="connsiteY3210" fmla="*/ 430614 h 3682908"/>
                  <a:gd name="connsiteX3211" fmla="*/ 3057989 w 3862373"/>
                  <a:gd name="connsiteY3211" fmla="*/ 469701 h 3682908"/>
                  <a:gd name="connsiteX3212" fmla="*/ 3018902 w 3862373"/>
                  <a:gd name="connsiteY3212" fmla="*/ 508790 h 3682908"/>
                  <a:gd name="connsiteX3213" fmla="*/ 2979815 w 3862373"/>
                  <a:gd name="connsiteY3213" fmla="*/ 469701 h 3682908"/>
                  <a:gd name="connsiteX3214" fmla="*/ 3018902 w 3862373"/>
                  <a:gd name="connsiteY3214" fmla="*/ 430614 h 3682908"/>
                  <a:gd name="connsiteX3215" fmla="*/ 2924263 w 3862373"/>
                  <a:gd name="connsiteY3215" fmla="*/ 430613 h 3682908"/>
                  <a:gd name="connsiteX3216" fmla="*/ 2963349 w 3862373"/>
                  <a:gd name="connsiteY3216" fmla="*/ 469699 h 3682908"/>
                  <a:gd name="connsiteX3217" fmla="*/ 2924263 w 3862373"/>
                  <a:gd name="connsiteY3217" fmla="*/ 508788 h 3682908"/>
                  <a:gd name="connsiteX3218" fmla="*/ 2885175 w 3862373"/>
                  <a:gd name="connsiteY3218" fmla="*/ 469699 h 3682908"/>
                  <a:gd name="connsiteX3219" fmla="*/ 2924263 w 3862373"/>
                  <a:gd name="connsiteY3219" fmla="*/ 430613 h 3682908"/>
                  <a:gd name="connsiteX3220" fmla="*/ 2079618 w 3862373"/>
                  <a:gd name="connsiteY3220" fmla="*/ 430613 h 3682908"/>
                  <a:gd name="connsiteX3221" fmla="*/ 2118703 w 3862373"/>
                  <a:gd name="connsiteY3221" fmla="*/ 469699 h 3682908"/>
                  <a:gd name="connsiteX3222" fmla="*/ 2079618 w 3862373"/>
                  <a:gd name="connsiteY3222" fmla="*/ 508788 h 3682908"/>
                  <a:gd name="connsiteX3223" fmla="*/ 2040537 w 3862373"/>
                  <a:gd name="connsiteY3223" fmla="*/ 469699 h 3682908"/>
                  <a:gd name="connsiteX3224" fmla="*/ 2079618 w 3862373"/>
                  <a:gd name="connsiteY3224" fmla="*/ 430613 h 3682908"/>
                  <a:gd name="connsiteX3225" fmla="*/ 1984971 w 3862373"/>
                  <a:gd name="connsiteY3225" fmla="*/ 430613 h 3682908"/>
                  <a:gd name="connsiteX3226" fmla="*/ 2024068 w 3862373"/>
                  <a:gd name="connsiteY3226" fmla="*/ 469699 h 3682908"/>
                  <a:gd name="connsiteX3227" fmla="*/ 1984971 w 3862373"/>
                  <a:gd name="connsiteY3227" fmla="*/ 508788 h 3682908"/>
                  <a:gd name="connsiteX3228" fmla="*/ 1945873 w 3862373"/>
                  <a:gd name="connsiteY3228" fmla="*/ 469699 h 3682908"/>
                  <a:gd name="connsiteX3229" fmla="*/ 1984971 w 3862373"/>
                  <a:gd name="connsiteY3229" fmla="*/ 430613 h 3682908"/>
                  <a:gd name="connsiteX3230" fmla="*/ 1890340 w 3862373"/>
                  <a:gd name="connsiteY3230" fmla="*/ 430613 h 3682908"/>
                  <a:gd name="connsiteX3231" fmla="*/ 1929413 w 3862373"/>
                  <a:gd name="connsiteY3231" fmla="*/ 469699 h 3682908"/>
                  <a:gd name="connsiteX3232" fmla="*/ 1890340 w 3862373"/>
                  <a:gd name="connsiteY3232" fmla="*/ 508788 h 3682908"/>
                  <a:gd name="connsiteX3233" fmla="*/ 1851255 w 3862373"/>
                  <a:gd name="connsiteY3233" fmla="*/ 469699 h 3682908"/>
                  <a:gd name="connsiteX3234" fmla="*/ 1890340 w 3862373"/>
                  <a:gd name="connsiteY3234" fmla="*/ 430613 h 3682908"/>
                  <a:gd name="connsiteX3235" fmla="*/ 1798073 w 3862373"/>
                  <a:gd name="connsiteY3235" fmla="*/ 430613 h 3682908"/>
                  <a:gd name="connsiteX3236" fmla="*/ 1837149 w 3862373"/>
                  <a:gd name="connsiteY3236" fmla="*/ 469699 h 3682908"/>
                  <a:gd name="connsiteX3237" fmla="*/ 1798073 w 3862373"/>
                  <a:gd name="connsiteY3237" fmla="*/ 508788 h 3682908"/>
                  <a:gd name="connsiteX3238" fmla="*/ 1758966 w 3862373"/>
                  <a:gd name="connsiteY3238" fmla="*/ 469699 h 3682908"/>
                  <a:gd name="connsiteX3239" fmla="*/ 1798073 w 3862373"/>
                  <a:gd name="connsiteY3239" fmla="*/ 430613 h 3682908"/>
                  <a:gd name="connsiteX3240" fmla="*/ 1703435 w 3862373"/>
                  <a:gd name="connsiteY3240" fmla="*/ 430613 h 3682908"/>
                  <a:gd name="connsiteX3241" fmla="*/ 1742524 w 3862373"/>
                  <a:gd name="connsiteY3241" fmla="*/ 469699 h 3682908"/>
                  <a:gd name="connsiteX3242" fmla="*/ 1703435 w 3862373"/>
                  <a:gd name="connsiteY3242" fmla="*/ 508788 h 3682908"/>
                  <a:gd name="connsiteX3243" fmla="*/ 1664351 w 3862373"/>
                  <a:gd name="connsiteY3243" fmla="*/ 469699 h 3682908"/>
                  <a:gd name="connsiteX3244" fmla="*/ 1703435 w 3862373"/>
                  <a:gd name="connsiteY3244" fmla="*/ 430613 h 3682908"/>
                  <a:gd name="connsiteX3245" fmla="*/ 1611151 w 3862373"/>
                  <a:gd name="connsiteY3245" fmla="*/ 430613 h 3682908"/>
                  <a:gd name="connsiteX3246" fmla="*/ 1650245 w 3862373"/>
                  <a:gd name="connsiteY3246" fmla="*/ 469699 h 3682908"/>
                  <a:gd name="connsiteX3247" fmla="*/ 1611151 w 3862373"/>
                  <a:gd name="connsiteY3247" fmla="*/ 508788 h 3682908"/>
                  <a:gd name="connsiteX3248" fmla="*/ 1572151 w 3862373"/>
                  <a:gd name="connsiteY3248" fmla="*/ 469699 h 3682908"/>
                  <a:gd name="connsiteX3249" fmla="*/ 1611151 w 3862373"/>
                  <a:gd name="connsiteY3249" fmla="*/ 430613 h 3682908"/>
                  <a:gd name="connsiteX3250" fmla="*/ 1516598 w 3862373"/>
                  <a:gd name="connsiteY3250" fmla="*/ 430613 h 3682908"/>
                  <a:gd name="connsiteX3251" fmla="*/ 1555687 w 3862373"/>
                  <a:gd name="connsiteY3251" fmla="*/ 469699 h 3682908"/>
                  <a:gd name="connsiteX3252" fmla="*/ 1516598 w 3862373"/>
                  <a:gd name="connsiteY3252" fmla="*/ 508788 h 3682908"/>
                  <a:gd name="connsiteX3253" fmla="*/ 1477507 w 3862373"/>
                  <a:gd name="connsiteY3253" fmla="*/ 469699 h 3682908"/>
                  <a:gd name="connsiteX3254" fmla="*/ 1516598 w 3862373"/>
                  <a:gd name="connsiteY3254" fmla="*/ 430613 h 3682908"/>
                  <a:gd name="connsiteX3255" fmla="*/ 1045749 w 3862373"/>
                  <a:gd name="connsiteY3255" fmla="*/ 430613 h 3682908"/>
                  <a:gd name="connsiteX3256" fmla="*/ 1084837 w 3862373"/>
                  <a:gd name="connsiteY3256" fmla="*/ 469699 h 3682908"/>
                  <a:gd name="connsiteX3257" fmla="*/ 1045749 w 3862373"/>
                  <a:gd name="connsiteY3257" fmla="*/ 508788 h 3682908"/>
                  <a:gd name="connsiteX3258" fmla="*/ 1006666 w 3862373"/>
                  <a:gd name="connsiteY3258" fmla="*/ 469699 h 3682908"/>
                  <a:gd name="connsiteX3259" fmla="*/ 1045749 w 3862373"/>
                  <a:gd name="connsiteY3259" fmla="*/ 430613 h 3682908"/>
                  <a:gd name="connsiteX3260" fmla="*/ 951124 w 3862373"/>
                  <a:gd name="connsiteY3260" fmla="*/ 430613 h 3682908"/>
                  <a:gd name="connsiteX3261" fmla="*/ 990202 w 3862373"/>
                  <a:gd name="connsiteY3261" fmla="*/ 469699 h 3682908"/>
                  <a:gd name="connsiteX3262" fmla="*/ 951124 w 3862373"/>
                  <a:gd name="connsiteY3262" fmla="*/ 508788 h 3682908"/>
                  <a:gd name="connsiteX3263" fmla="*/ 912041 w 3862373"/>
                  <a:gd name="connsiteY3263" fmla="*/ 469699 h 3682908"/>
                  <a:gd name="connsiteX3264" fmla="*/ 951124 w 3862373"/>
                  <a:gd name="connsiteY3264" fmla="*/ 430613 h 3682908"/>
                  <a:gd name="connsiteX3265" fmla="*/ 856499 w 3862373"/>
                  <a:gd name="connsiteY3265" fmla="*/ 430613 h 3682908"/>
                  <a:gd name="connsiteX3266" fmla="*/ 895578 w 3862373"/>
                  <a:gd name="connsiteY3266" fmla="*/ 469699 h 3682908"/>
                  <a:gd name="connsiteX3267" fmla="*/ 856499 w 3862373"/>
                  <a:gd name="connsiteY3267" fmla="*/ 508788 h 3682908"/>
                  <a:gd name="connsiteX3268" fmla="*/ 817418 w 3862373"/>
                  <a:gd name="connsiteY3268" fmla="*/ 469699 h 3682908"/>
                  <a:gd name="connsiteX3269" fmla="*/ 856499 w 3862373"/>
                  <a:gd name="connsiteY3269" fmla="*/ 430613 h 3682908"/>
                  <a:gd name="connsiteX3270" fmla="*/ 764240 w 3862373"/>
                  <a:gd name="connsiteY3270" fmla="*/ 430613 h 3682908"/>
                  <a:gd name="connsiteX3271" fmla="*/ 803321 w 3862373"/>
                  <a:gd name="connsiteY3271" fmla="*/ 469699 h 3682908"/>
                  <a:gd name="connsiteX3272" fmla="*/ 764240 w 3862373"/>
                  <a:gd name="connsiteY3272" fmla="*/ 508788 h 3682908"/>
                  <a:gd name="connsiteX3273" fmla="*/ 725157 w 3862373"/>
                  <a:gd name="connsiteY3273" fmla="*/ 469699 h 3682908"/>
                  <a:gd name="connsiteX3274" fmla="*/ 764240 w 3862373"/>
                  <a:gd name="connsiteY3274" fmla="*/ 430613 h 3682908"/>
                  <a:gd name="connsiteX3275" fmla="*/ 669597 w 3862373"/>
                  <a:gd name="connsiteY3275" fmla="*/ 430613 h 3682908"/>
                  <a:gd name="connsiteX3276" fmla="*/ 708695 w 3862373"/>
                  <a:gd name="connsiteY3276" fmla="*/ 469699 h 3682908"/>
                  <a:gd name="connsiteX3277" fmla="*/ 669597 w 3862373"/>
                  <a:gd name="connsiteY3277" fmla="*/ 508788 h 3682908"/>
                  <a:gd name="connsiteX3278" fmla="*/ 630517 w 3862373"/>
                  <a:gd name="connsiteY3278" fmla="*/ 469699 h 3682908"/>
                  <a:gd name="connsiteX3279" fmla="*/ 669597 w 3862373"/>
                  <a:gd name="connsiteY3279" fmla="*/ 430613 h 3682908"/>
                  <a:gd name="connsiteX3280" fmla="*/ 577311 w 3862373"/>
                  <a:gd name="connsiteY3280" fmla="*/ 430613 h 3682908"/>
                  <a:gd name="connsiteX3281" fmla="*/ 616412 w 3862373"/>
                  <a:gd name="connsiteY3281" fmla="*/ 469700 h 3682908"/>
                  <a:gd name="connsiteX3282" fmla="*/ 577311 w 3862373"/>
                  <a:gd name="connsiteY3282" fmla="*/ 508788 h 3682908"/>
                  <a:gd name="connsiteX3283" fmla="*/ 538213 w 3862373"/>
                  <a:gd name="connsiteY3283" fmla="*/ 469700 h 3682908"/>
                  <a:gd name="connsiteX3284" fmla="*/ 577311 w 3862373"/>
                  <a:gd name="connsiteY3284" fmla="*/ 430613 h 3682908"/>
                  <a:gd name="connsiteX3285" fmla="*/ 485025 w 3862373"/>
                  <a:gd name="connsiteY3285" fmla="*/ 430613 h 3682908"/>
                  <a:gd name="connsiteX3286" fmla="*/ 524109 w 3862373"/>
                  <a:gd name="connsiteY3286" fmla="*/ 469700 h 3682908"/>
                  <a:gd name="connsiteX3287" fmla="*/ 485025 w 3862373"/>
                  <a:gd name="connsiteY3287" fmla="*/ 508788 h 3682908"/>
                  <a:gd name="connsiteX3288" fmla="*/ 445951 w 3862373"/>
                  <a:gd name="connsiteY3288" fmla="*/ 469700 h 3682908"/>
                  <a:gd name="connsiteX3289" fmla="*/ 485025 w 3862373"/>
                  <a:gd name="connsiteY3289" fmla="*/ 430613 h 3682908"/>
                  <a:gd name="connsiteX3290" fmla="*/ 493081 w 3862373"/>
                  <a:gd name="connsiteY3290" fmla="*/ 353508 h 3682908"/>
                  <a:gd name="connsiteX3291" fmla="*/ 512664 w 3862373"/>
                  <a:gd name="connsiteY3291" fmla="*/ 361620 h 3682908"/>
                  <a:gd name="connsiteX3292" fmla="*/ 524111 w 3862373"/>
                  <a:gd name="connsiteY3292" fmla="*/ 389259 h 3682908"/>
                  <a:gd name="connsiteX3293" fmla="*/ 485026 w 3862373"/>
                  <a:gd name="connsiteY3293" fmla="*/ 428346 h 3682908"/>
                  <a:gd name="connsiteX3294" fmla="*/ 457392 w 3862373"/>
                  <a:gd name="connsiteY3294" fmla="*/ 416897 h 3682908"/>
                  <a:gd name="connsiteX3295" fmla="*/ 448688 w 3862373"/>
                  <a:gd name="connsiteY3295" fmla="*/ 395861 h 3682908"/>
                  <a:gd name="connsiteX3296" fmla="*/ 459172 w 3862373"/>
                  <a:gd name="connsiteY3296" fmla="*/ 384326 h 3682908"/>
                  <a:gd name="connsiteX3297" fmla="*/ 2079618 w 3862373"/>
                  <a:gd name="connsiteY3297" fmla="*/ 350171 h 3682908"/>
                  <a:gd name="connsiteX3298" fmla="*/ 2118703 w 3862373"/>
                  <a:gd name="connsiteY3298" fmla="*/ 389259 h 3682908"/>
                  <a:gd name="connsiteX3299" fmla="*/ 2079618 w 3862373"/>
                  <a:gd name="connsiteY3299" fmla="*/ 428346 h 3682908"/>
                  <a:gd name="connsiteX3300" fmla="*/ 2040537 w 3862373"/>
                  <a:gd name="connsiteY3300" fmla="*/ 389259 h 3682908"/>
                  <a:gd name="connsiteX3301" fmla="*/ 2079618 w 3862373"/>
                  <a:gd name="connsiteY3301" fmla="*/ 350171 h 3682908"/>
                  <a:gd name="connsiteX3302" fmla="*/ 1984971 w 3862373"/>
                  <a:gd name="connsiteY3302" fmla="*/ 350171 h 3682908"/>
                  <a:gd name="connsiteX3303" fmla="*/ 2024068 w 3862373"/>
                  <a:gd name="connsiteY3303" fmla="*/ 389259 h 3682908"/>
                  <a:gd name="connsiteX3304" fmla="*/ 1984971 w 3862373"/>
                  <a:gd name="connsiteY3304" fmla="*/ 428346 h 3682908"/>
                  <a:gd name="connsiteX3305" fmla="*/ 1945873 w 3862373"/>
                  <a:gd name="connsiteY3305" fmla="*/ 389259 h 3682908"/>
                  <a:gd name="connsiteX3306" fmla="*/ 1984971 w 3862373"/>
                  <a:gd name="connsiteY3306" fmla="*/ 350171 h 3682908"/>
                  <a:gd name="connsiteX3307" fmla="*/ 1890340 w 3862373"/>
                  <a:gd name="connsiteY3307" fmla="*/ 350171 h 3682908"/>
                  <a:gd name="connsiteX3308" fmla="*/ 1929413 w 3862373"/>
                  <a:gd name="connsiteY3308" fmla="*/ 389259 h 3682908"/>
                  <a:gd name="connsiteX3309" fmla="*/ 1890340 w 3862373"/>
                  <a:gd name="connsiteY3309" fmla="*/ 428346 h 3682908"/>
                  <a:gd name="connsiteX3310" fmla="*/ 1851255 w 3862373"/>
                  <a:gd name="connsiteY3310" fmla="*/ 389259 h 3682908"/>
                  <a:gd name="connsiteX3311" fmla="*/ 1890340 w 3862373"/>
                  <a:gd name="connsiteY3311" fmla="*/ 350171 h 3682908"/>
                  <a:gd name="connsiteX3312" fmla="*/ 1798073 w 3862373"/>
                  <a:gd name="connsiteY3312" fmla="*/ 350171 h 3682908"/>
                  <a:gd name="connsiteX3313" fmla="*/ 1837149 w 3862373"/>
                  <a:gd name="connsiteY3313" fmla="*/ 389259 h 3682908"/>
                  <a:gd name="connsiteX3314" fmla="*/ 1798073 w 3862373"/>
                  <a:gd name="connsiteY3314" fmla="*/ 428346 h 3682908"/>
                  <a:gd name="connsiteX3315" fmla="*/ 1758966 w 3862373"/>
                  <a:gd name="connsiteY3315" fmla="*/ 389259 h 3682908"/>
                  <a:gd name="connsiteX3316" fmla="*/ 1798073 w 3862373"/>
                  <a:gd name="connsiteY3316" fmla="*/ 350171 h 3682908"/>
                  <a:gd name="connsiteX3317" fmla="*/ 1703435 w 3862373"/>
                  <a:gd name="connsiteY3317" fmla="*/ 350171 h 3682908"/>
                  <a:gd name="connsiteX3318" fmla="*/ 1742524 w 3862373"/>
                  <a:gd name="connsiteY3318" fmla="*/ 389259 h 3682908"/>
                  <a:gd name="connsiteX3319" fmla="*/ 1703435 w 3862373"/>
                  <a:gd name="connsiteY3319" fmla="*/ 428346 h 3682908"/>
                  <a:gd name="connsiteX3320" fmla="*/ 1664351 w 3862373"/>
                  <a:gd name="connsiteY3320" fmla="*/ 389259 h 3682908"/>
                  <a:gd name="connsiteX3321" fmla="*/ 1703435 w 3862373"/>
                  <a:gd name="connsiteY3321" fmla="*/ 350171 h 3682908"/>
                  <a:gd name="connsiteX3322" fmla="*/ 1611151 w 3862373"/>
                  <a:gd name="connsiteY3322" fmla="*/ 350171 h 3682908"/>
                  <a:gd name="connsiteX3323" fmla="*/ 1650245 w 3862373"/>
                  <a:gd name="connsiteY3323" fmla="*/ 389259 h 3682908"/>
                  <a:gd name="connsiteX3324" fmla="*/ 1611151 w 3862373"/>
                  <a:gd name="connsiteY3324" fmla="*/ 428346 h 3682908"/>
                  <a:gd name="connsiteX3325" fmla="*/ 1572155 w 3862373"/>
                  <a:gd name="connsiteY3325" fmla="*/ 389259 h 3682908"/>
                  <a:gd name="connsiteX3326" fmla="*/ 1611151 w 3862373"/>
                  <a:gd name="connsiteY3326" fmla="*/ 350171 h 3682908"/>
                  <a:gd name="connsiteX3327" fmla="*/ 1516602 w 3862373"/>
                  <a:gd name="connsiteY3327" fmla="*/ 350171 h 3682908"/>
                  <a:gd name="connsiteX3328" fmla="*/ 1555690 w 3862373"/>
                  <a:gd name="connsiteY3328" fmla="*/ 389259 h 3682908"/>
                  <a:gd name="connsiteX3329" fmla="*/ 1516602 w 3862373"/>
                  <a:gd name="connsiteY3329" fmla="*/ 428346 h 3682908"/>
                  <a:gd name="connsiteX3330" fmla="*/ 1477510 w 3862373"/>
                  <a:gd name="connsiteY3330" fmla="*/ 389259 h 3682908"/>
                  <a:gd name="connsiteX3331" fmla="*/ 1516602 w 3862373"/>
                  <a:gd name="connsiteY3331" fmla="*/ 350171 h 3682908"/>
                  <a:gd name="connsiteX3332" fmla="*/ 951124 w 3862373"/>
                  <a:gd name="connsiteY3332" fmla="*/ 350171 h 3682908"/>
                  <a:gd name="connsiteX3333" fmla="*/ 990204 w 3862373"/>
                  <a:gd name="connsiteY3333" fmla="*/ 389259 h 3682908"/>
                  <a:gd name="connsiteX3334" fmla="*/ 951124 w 3862373"/>
                  <a:gd name="connsiteY3334" fmla="*/ 428346 h 3682908"/>
                  <a:gd name="connsiteX3335" fmla="*/ 912042 w 3862373"/>
                  <a:gd name="connsiteY3335" fmla="*/ 389259 h 3682908"/>
                  <a:gd name="connsiteX3336" fmla="*/ 951124 w 3862373"/>
                  <a:gd name="connsiteY3336" fmla="*/ 350171 h 3682908"/>
                  <a:gd name="connsiteX3337" fmla="*/ 856501 w 3862373"/>
                  <a:gd name="connsiteY3337" fmla="*/ 350171 h 3682908"/>
                  <a:gd name="connsiteX3338" fmla="*/ 895581 w 3862373"/>
                  <a:gd name="connsiteY3338" fmla="*/ 389259 h 3682908"/>
                  <a:gd name="connsiteX3339" fmla="*/ 856501 w 3862373"/>
                  <a:gd name="connsiteY3339" fmla="*/ 428346 h 3682908"/>
                  <a:gd name="connsiteX3340" fmla="*/ 817421 w 3862373"/>
                  <a:gd name="connsiteY3340" fmla="*/ 389259 h 3682908"/>
                  <a:gd name="connsiteX3341" fmla="*/ 856501 w 3862373"/>
                  <a:gd name="connsiteY3341" fmla="*/ 350171 h 3682908"/>
                  <a:gd name="connsiteX3342" fmla="*/ 764243 w 3862373"/>
                  <a:gd name="connsiteY3342" fmla="*/ 350171 h 3682908"/>
                  <a:gd name="connsiteX3343" fmla="*/ 803324 w 3862373"/>
                  <a:gd name="connsiteY3343" fmla="*/ 389259 h 3682908"/>
                  <a:gd name="connsiteX3344" fmla="*/ 764243 w 3862373"/>
                  <a:gd name="connsiteY3344" fmla="*/ 428346 h 3682908"/>
                  <a:gd name="connsiteX3345" fmla="*/ 725160 w 3862373"/>
                  <a:gd name="connsiteY3345" fmla="*/ 389259 h 3682908"/>
                  <a:gd name="connsiteX3346" fmla="*/ 764243 w 3862373"/>
                  <a:gd name="connsiteY3346" fmla="*/ 350171 h 3682908"/>
                  <a:gd name="connsiteX3347" fmla="*/ 669597 w 3862373"/>
                  <a:gd name="connsiteY3347" fmla="*/ 350171 h 3682908"/>
                  <a:gd name="connsiteX3348" fmla="*/ 708698 w 3862373"/>
                  <a:gd name="connsiteY3348" fmla="*/ 389259 h 3682908"/>
                  <a:gd name="connsiteX3349" fmla="*/ 669597 w 3862373"/>
                  <a:gd name="connsiteY3349" fmla="*/ 428346 h 3682908"/>
                  <a:gd name="connsiteX3350" fmla="*/ 630519 w 3862373"/>
                  <a:gd name="connsiteY3350" fmla="*/ 389259 h 3682908"/>
                  <a:gd name="connsiteX3351" fmla="*/ 669597 w 3862373"/>
                  <a:gd name="connsiteY3351" fmla="*/ 350171 h 3682908"/>
                  <a:gd name="connsiteX3352" fmla="*/ 577316 w 3862373"/>
                  <a:gd name="connsiteY3352" fmla="*/ 350171 h 3682908"/>
                  <a:gd name="connsiteX3353" fmla="*/ 616414 w 3862373"/>
                  <a:gd name="connsiteY3353" fmla="*/ 389259 h 3682908"/>
                  <a:gd name="connsiteX3354" fmla="*/ 577316 w 3862373"/>
                  <a:gd name="connsiteY3354" fmla="*/ 428346 h 3682908"/>
                  <a:gd name="connsiteX3355" fmla="*/ 538216 w 3862373"/>
                  <a:gd name="connsiteY3355" fmla="*/ 389259 h 3682908"/>
                  <a:gd name="connsiteX3356" fmla="*/ 577316 w 3862373"/>
                  <a:gd name="connsiteY3356" fmla="*/ 350171 h 3682908"/>
                  <a:gd name="connsiteX3357" fmla="*/ 591716 w 3862373"/>
                  <a:gd name="connsiteY3357" fmla="*/ 263862 h 3682908"/>
                  <a:gd name="connsiteX3358" fmla="*/ 604964 w 3862373"/>
                  <a:gd name="connsiteY3358" fmla="*/ 269347 h 3682908"/>
                  <a:gd name="connsiteX3359" fmla="*/ 616416 w 3862373"/>
                  <a:gd name="connsiteY3359" fmla="*/ 296985 h 3682908"/>
                  <a:gd name="connsiteX3360" fmla="*/ 577316 w 3862373"/>
                  <a:gd name="connsiteY3360" fmla="*/ 336071 h 3682908"/>
                  <a:gd name="connsiteX3361" fmla="*/ 549670 w 3862373"/>
                  <a:gd name="connsiteY3361" fmla="*/ 324623 h 3682908"/>
                  <a:gd name="connsiteX3362" fmla="*/ 542883 w 3862373"/>
                  <a:gd name="connsiteY3362" fmla="*/ 308244 h 3682908"/>
                  <a:gd name="connsiteX3363" fmla="*/ 951129 w 3862373"/>
                  <a:gd name="connsiteY3363" fmla="*/ 257899 h 3682908"/>
                  <a:gd name="connsiteX3364" fmla="*/ 990205 w 3862373"/>
                  <a:gd name="connsiteY3364" fmla="*/ 296985 h 3682908"/>
                  <a:gd name="connsiteX3365" fmla="*/ 951129 w 3862373"/>
                  <a:gd name="connsiteY3365" fmla="*/ 336070 h 3682908"/>
                  <a:gd name="connsiteX3366" fmla="*/ 912045 w 3862373"/>
                  <a:gd name="connsiteY3366" fmla="*/ 296985 h 3682908"/>
                  <a:gd name="connsiteX3367" fmla="*/ 951129 w 3862373"/>
                  <a:gd name="connsiteY3367" fmla="*/ 257899 h 3682908"/>
                  <a:gd name="connsiteX3368" fmla="*/ 856503 w 3862373"/>
                  <a:gd name="connsiteY3368" fmla="*/ 257899 h 3682908"/>
                  <a:gd name="connsiteX3369" fmla="*/ 895582 w 3862373"/>
                  <a:gd name="connsiteY3369" fmla="*/ 296985 h 3682908"/>
                  <a:gd name="connsiteX3370" fmla="*/ 856503 w 3862373"/>
                  <a:gd name="connsiteY3370" fmla="*/ 336070 h 3682908"/>
                  <a:gd name="connsiteX3371" fmla="*/ 817422 w 3862373"/>
                  <a:gd name="connsiteY3371" fmla="*/ 296985 h 3682908"/>
                  <a:gd name="connsiteX3372" fmla="*/ 856503 w 3862373"/>
                  <a:gd name="connsiteY3372" fmla="*/ 257899 h 3682908"/>
                  <a:gd name="connsiteX3373" fmla="*/ 764243 w 3862373"/>
                  <a:gd name="connsiteY3373" fmla="*/ 257899 h 3682908"/>
                  <a:gd name="connsiteX3374" fmla="*/ 803326 w 3862373"/>
                  <a:gd name="connsiteY3374" fmla="*/ 296985 h 3682908"/>
                  <a:gd name="connsiteX3375" fmla="*/ 764243 w 3862373"/>
                  <a:gd name="connsiteY3375" fmla="*/ 336070 h 3682908"/>
                  <a:gd name="connsiteX3376" fmla="*/ 725161 w 3862373"/>
                  <a:gd name="connsiteY3376" fmla="*/ 296985 h 3682908"/>
                  <a:gd name="connsiteX3377" fmla="*/ 764243 w 3862373"/>
                  <a:gd name="connsiteY3377" fmla="*/ 257899 h 3682908"/>
                  <a:gd name="connsiteX3378" fmla="*/ 669597 w 3862373"/>
                  <a:gd name="connsiteY3378" fmla="*/ 257899 h 3682908"/>
                  <a:gd name="connsiteX3379" fmla="*/ 708698 w 3862373"/>
                  <a:gd name="connsiteY3379" fmla="*/ 296985 h 3682908"/>
                  <a:gd name="connsiteX3380" fmla="*/ 669597 w 3862373"/>
                  <a:gd name="connsiteY3380" fmla="*/ 336070 h 3682908"/>
                  <a:gd name="connsiteX3381" fmla="*/ 630520 w 3862373"/>
                  <a:gd name="connsiteY3381" fmla="*/ 296985 h 3682908"/>
                  <a:gd name="connsiteX3382" fmla="*/ 669597 w 3862373"/>
                  <a:gd name="connsiteY3382" fmla="*/ 257899 h 3682908"/>
                  <a:gd name="connsiteX3383" fmla="*/ 2079618 w 3862373"/>
                  <a:gd name="connsiteY3383" fmla="*/ 257899 h 3682908"/>
                  <a:gd name="connsiteX3384" fmla="*/ 2118703 w 3862373"/>
                  <a:gd name="connsiteY3384" fmla="*/ 296984 h 3682908"/>
                  <a:gd name="connsiteX3385" fmla="*/ 2079618 w 3862373"/>
                  <a:gd name="connsiteY3385" fmla="*/ 336070 h 3682908"/>
                  <a:gd name="connsiteX3386" fmla="*/ 2040537 w 3862373"/>
                  <a:gd name="connsiteY3386" fmla="*/ 296984 h 3682908"/>
                  <a:gd name="connsiteX3387" fmla="*/ 2079618 w 3862373"/>
                  <a:gd name="connsiteY3387" fmla="*/ 257899 h 3682908"/>
                  <a:gd name="connsiteX3388" fmla="*/ 1984971 w 3862373"/>
                  <a:gd name="connsiteY3388" fmla="*/ 257899 h 3682908"/>
                  <a:gd name="connsiteX3389" fmla="*/ 2024068 w 3862373"/>
                  <a:gd name="connsiteY3389" fmla="*/ 296984 h 3682908"/>
                  <a:gd name="connsiteX3390" fmla="*/ 1984971 w 3862373"/>
                  <a:gd name="connsiteY3390" fmla="*/ 336070 h 3682908"/>
                  <a:gd name="connsiteX3391" fmla="*/ 1945873 w 3862373"/>
                  <a:gd name="connsiteY3391" fmla="*/ 296984 h 3682908"/>
                  <a:gd name="connsiteX3392" fmla="*/ 1984971 w 3862373"/>
                  <a:gd name="connsiteY3392" fmla="*/ 257899 h 3682908"/>
                  <a:gd name="connsiteX3393" fmla="*/ 1890340 w 3862373"/>
                  <a:gd name="connsiteY3393" fmla="*/ 257899 h 3682908"/>
                  <a:gd name="connsiteX3394" fmla="*/ 1929413 w 3862373"/>
                  <a:gd name="connsiteY3394" fmla="*/ 296984 h 3682908"/>
                  <a:gd name="connsiteX3395" fmla="*/ 1890340 w 3862373"/>
                  <a:gd name="connsiteY3395" fmla="*/ 336070 h 3682908"/>
                  <a:gd name="connsiteX3396" fmla="*/ 1851255 w 3862373"/>
                  <a:gd name="connsiteY3396" fmla="*/ 296984 h 3682908"/>
                  <a:gd name="connsiteX3397" fmla="*/ 1890340 w 3862373"/>
                  <a:gd name="connsiteY3397" fmla="*/ 257899 h 3682908"/>
                  <a:gd name="connsiteX3398" fmla="*/ 1798073 w 3862373"/>
                  <a:gd name="connsiteY3398" fmla="*/ 257899 h 3682908"/>
                  <a:gd name="connsiteX3399" fmla="*/ 1837149 w 3862373"/>
                  <a:gd name="connsiteY3399" fmla="*/ 296984 h 3682908"/>
                  <a:gd name="connsiteX3400" fmla="*/ 1798073 w 3862373"/>
                  <a:gd name="connsiteY3400" fmla="*/ 336070 h 3682908"/>
                  <a:gd name="connsiteX3401" fmla="*/ 1758966 w 3862373"/>
                  <a:gd name="connsiteY3401" fmla="*/ 296984 h 3682908"/>
                  <a:gd name="connsiteX3402" fmla="*/ 1798073 w 3862373"/>
                  <a:gd name="connsiteY3402" fmla="*/ 257899 h 3682908"/>
                  <a:gd name="connsiteX3403" fmla="*/ 1703435 w 3862373"/>
                  <a:gd name="connsiteY3403" fmla="*/ 257899 h 3682908"/>
                  <a:gd name="connsiteX3404" fmla="*/ 1742524 w 3862373"/>
                  <a:gd name="connsiteY3404" fmla="*/ 296984 h 3682908"/>
                  <a:gd name="connsiteX3405" fmla="*/ 1703435 w 3862373"/>
                  <a:gd name="connsiteY3405" fmla="*/ 336070 h 3682908"/>
                  <a:gd name="connsiteX3406" fmla="*/ 1664351 w 3862373"/>
                  <a:gd name="connsiteY3406" fmla="*/ 296984 h 3682908"/>
                  <a:gd name="connsiteX3407" fmla="*/ 1703435 w 3862373"/>
                  <a:gd name="connsiteY3407" fmla="*/ 257899 h 3682908"/>
                  <a:gd name="connsiteX3408" fmla="*/ 1611151 w 3862373"/>
                  <a:gd name="connsiteY3408" fmla="*/ 257899 h 3682908"/>
                  <a:gd name="connsiteX3409" fmla="*/ 1650245 w 3862373"/>
                  <a:gd name="connsiteY3409" fmla="*/ 296984 h 3682908"/>
                  <a:gd name="connsiteX3410" fmla="*/ 1611151 w 3862373"/>
                  <a:gd name="connsiteY3410" fmla="*/ 336070 h 3682908"/>
                  <a:gd name="connsiteX3411" fmla="*/ 1572155 w 3862373"/>
                  <a:gd name="connsiteY3411" fmla="*/ 296984 h 3682908"/>
                  <a:gd name="connsiteX3412" fmla="*/ 1611151 w 3862373"/>
                  <a:gd name="connsiteY3412" fmla="*/ 257899 h 3682908"/>
                  <a:gd name="connsiteX3413" fmla="*/ 1516605 w 3862373"/>
                  <a:gd name="connsiteY3413" fmla="*/ 257899 h 3682908"/>
                  <a:gd name="connsiteX3414" fmla="*/ 1555690 w 3862373"/>
                  <a:gd name="connsiteY3414" fmla="*/ 296984 h 3682908"/>
                  <a:gd name="connsiteX3415" fmla="*/ 1516605 w 3862373"/>
                  <a:gd name="connsiteY3415" fmla="*/ 336070 h 3682908"/>
                  <a:gd name="connsiteX3416" fmla="*/ 1477512 w 3862373"/>
                  <a:gd name="connsiteY3416" fmla="*/ 296984 h 3682908"/>
                  <a:gd name="connsiteX3417" fmla="*/ 1516605 w 3862373"/>
                  <a:gd name="connsiteY3417" fmla="*/ 257899 h 3682908"/>
                  <a:gd name="connsiteX3418" fmla="*/ 1419597 w 3862373"/>
                  <a:gd name="connsiteY3418" fmla="*/ 257899 h 3682908"/>
                  <a:gd name="connsiteX3419" fmla="*/ 1458689 w 3862373"/>
                  <a:gd name="connsiteY3419" fmla="*/ 296984 h 3682908"/>
                  <a:gd name="connsiteX3420" fmla="*/ 1419597 w 3862373"/>
                  <a:gd name="connsiteY3420" fmla="*/ 336070 h 3682908"/>
                  <a:gd name="connsiteX3421" fmla="*/ 1380501 w 3862373"/>
                  <a:gd name="connsiteY3421" fmla="*/ 296984 h 3682908"/>
                  <a:gd name="connsiteX3422" fmla="*/ 1419597 w 3862373"/>
                  <a:gd name="connsiteY3422" fmla="*/ 257899 h 3682908"/>
                  <a:gd name="connsiteX3423" fmla="*/ 1329683 w 3862373"/>
                  <a:gd name="connsiteY3423" fmla="*/ 257899 h 3682908"/>
                  <a:gd name="connsiteX3424" fmla="*/ 1368775 w 3862373"/>
                  <a:gd name="connsiteY3424" fmla="*/ 296984 h 3682908"/>
                  <a:gd name="connsiteX3425" fmla="*/ 1329683 w 3862373"/>
                  <a:gd name="connsiteY3425" fmla="*/ 336070 h 3682908"/>
                  <a:gd name="connsiteX3426" fmla="*/ 1290601 w 3862373"/>
                  <a:gd name="connsiteY3426" fmla="*/ 296984 h 3682908"/>
                  <a:gd name="connsiteX3427" fmla="*/ 1329683 w 3862373"/>
                  <a:gd name="connsiteY3427" fmla="*/ 257899 h 3682908"/>
                  <a:gd name="connsiteX3428" fmla="*/ 1232690 w 3862373"/>
                  <a:gd name="connsiteY3428" fmla="*/ 257899 h 3682908"/>
                  <a:gd name="connsiteX3429" fmla="*/ 1271764 w 3862373"/>
                  <a:gd name="connsiteY3429" fmla="*/ 296985 h 3682908"/>
                  <a:gd name="connsiteX3430" fmla="*/ 1232690 w 3862373"/>
                  <a:gd name="connsiteY3430" fmla="*/ 336070 h 3682908"/>
                  <a:gd name="connsiteX3431" fmla="*/ 1193607 w 3862373"/>
                  <a:gd name="connsiteY3431" fmla="*/ 296985 h 3682908"/>
                  <a:gd name="connsiteX3432" fmla="*/ 1232690 w 3862373"/>
                  <a:gd name="connsiteY3432" fmla="*/ 257899 h 3682908"/>
                  <a:gd name="connsiteX3433" fmla="*/ 1516605 w 3862373"/>
                  <a:gd name="connsiteY3433" fmla="*/ 175085 h 3682908"/>
                  <a:gd name="connsiteX3434" fmla="*/ 1555690 w 3862373"/>
                  <a:gd name="connsiteY3434" fmla="*/ 214170 h 3682908"/>
                  <a:gd name="connsiteX3435" fmla="*/ 1516605 w 3862373"/>
                  <a:gd name="connsiteY3435" fmla="*/ 253265 h 3682908"/>
                  <a:gd name="connsiteX3436" fmla="*/ 1477512 w 3862373"/>
                  <a:gd name="connsiteY3436" fmla="*/ 214170 h 3682908"/>
                  <a:gd name="connsiteX3437" fmla="*/ 1516605 w 3862373"/>
                  <a:gd name="connsiteY3437" fmla="*/ 175085 h 3682908"/>
                  <a:gd name="connsiteX3438" fmla="*/ 1419600 w 3862373"/>
                  <a:gd name="connsiteY3438" fmla="*/ 175085 h 3682908"/>
                  <a:gd name="connsiteX3439" fmla="*/ 1458689 w 3862373"/>
                  <a:gd name="connsiteY3439" fmla="*/ 214170 h 3682908"/>
                  <a:gd name="connsiteX3440" fmla="*/ 1419600 w 3862373"/>
                  <a:gd name="connsiteY3440" fmla="*/ 253265 h 3682908"/>
                  <a:gd name="connsiteX3441" fmla="*/ 1380502 w 3862373"/>
                  <a:gd name="connsiteY3441" fmla="*/ 214170 h 3682908"/>
                  <a:gd name="connsiteX3442" fmla="*/ 1419600 w 3862373"/>
                  <a:gd name="connsiteY3442" fmla="*/ 175085 h 3682908"/>
                  <a:gd name="connsiteX3443" fmla="*/ 1329683 w 3862373"/>
                  <a:gd name="connsiteY3443" fmla="*/ 175085 h 3682908"/>
                  <a:gd name="connsiteX3444" fmla="*/ 1368775 w 3862373"/>
                  <a:gd name="connsiteY3444" fmla="*/ 214170 h 3682908"/>
                  <a:gd name="connsiteX3445" fmla="*/ 1329683 w 3862373"/>
                  <a:gd name="connsiteY3445" fmla="*/ 253265 h 3682908"/>
                  <a:gd name="connsiteX3446" fmla="*/ 1290601 w 3862373"/>
                  <a:gd name="connsiteY3446" fmla="*/ 214170 h 3682908"/>
                  <a:gd name="connsiteX3447" fmla="*/ 1329683 w 3862373"/>
                  <a:gd name="connsiteY3447" fmla="*/ 175085 h 3682908"/>
                  <a:gd name="connsiteX3448" fmla="*/ 1232690 w 3862373"/>
                  <a:gd name="connsiteY3448" fmla="*/ 175085 h 3682908"/>
                  <a:gd name="connsiteX3449" fmla="*/ 1271764 w 3862373"/>
                  <a:gd name="connsiteY3449" fmla="*/ 214170 h 3682908"/>
                  <a:gd name="connsiteX3450" fmla="*/ 1232690 w 3862373"/>
                  <a:gd name="connsiteY3450" fmla="*/ 253265 h 3682908"/>
                  <a:gd name="connsiteX3451" fmla="*/ 1193607 w 3862373"/>
                  <a:gd name="connsiteY3451" fmla="*/ 214170 h 3682908"/>
                  <a:gd name="connsiteX3452" fmla="*/ 1232690 w 3862373"/>
                  <a:gd name="connsiteY3452" fmla="*/ 175085 h 3682908"/>
                  <a:gd name="connsiteX3453" fmla="*/ 1045751 w 3862373"/>
                  <a:gd name="connsiteY3453" fmla="*/ 175085 h 3682908"/>
                  <a:gd name="connsiteX3454" fmla="*/ 1084842 w 3862373"/>
                  <a:gd name="connsiteY3454" fmla="*/ 214172 h 3682908"/>
                  <a:gd name="connsiteX3455" fmla="*/ 1045751 w 3862373"/>
                  <a:gd name="connsiteY3455" fmla="*/ 253265 h 3682908"/>
                  <a:gd name="connsiteX3456" fmla="*/ 1006670 w 3862373"/>
                  <a:gd name="connsiteY3456" fmla="*/ 214172 h 3682908"/>
                  <a:gd name="connsiteX3457" fmla="*/ 1045751 w 3862373"/>
                  <a:gd name="connsiteY3457" fmla="*/ 175085 h 3682908"/>
                  <a:gd name="connsiteX3458" fmla="*/ 951129 w 3862373"/>
                  <a:gd name="connsiteY3458" fmla="*/ 175085 h 3682908"/>
                  <a:gd name="connsiteX3459" fmla="*/ 990205 w 3862373"/>
                  <a:gd name="connsiteY3459" fmla="*/ 214172 h 3682908"/>
                  <a:gd name="connsiteX3460" fmla="*/ 951129 w 3862373"/>
                  <a:gd name="connsiteY3460" fmla="*/ 253265 h 3682908"/>
                  <a:gd name="connsiteX3461" fmla="*/ 912045 w 3862373"/>
                  <a:gd name="connsiteY3461" fmla="*/ 214172 h 3682908"/>
                  <a:gd name="connsiteX3462" fmla="*/ 951129 w 3862373"/>
                  <a:gd name="connsiteY3462" fmla="*/ 175085 h 3682908"/>
                  <a:gd name="connsiteX3463" fmla="*/ 856503 w 3862373"/>
                  <a:gd name="connsiteY3463" fmla="*/ 175085 h 3682908"/>
                  <a:gd name="connsiteX3464" fmla="*/ 895582 w 3862373"/>
                  <a:gd name="connsiteY3464" fmla="*/ 214172 h 3682908"/>
                  <a:gd name="connsiteX3465" fmla="*/ 856503 w 3862373"/>
                  <a:gd name="connsiteY3465" fmla="*/ 253265 h 3682908"/>
                  <a:gd name="connsiteX3466" fmla="*/ 817422 w 3862373"/>
                  <a:gd name="connsiteY3466" fmla="*/ 214172 h 3682908"/>
                  <a:gd name="connsiteX3467" fmla="*/ 856503 w 3862373"/>
                  <a:gd name="connsiteY3467" fmla="*/ 175085 h 3682908"/>
                  <a:gd name="connsiteX3468" fmla="*/ 764243 w 3862373"/>
                  <a:gd name="connsiteY3468" fmla="*/ 175085 h 3682908"/>
                  <a:gd name="connsiteX3469" fmla="*/ 803326 w 3862373"/>
                  <a:gd name="connsiteY3469" fmla="*/ 214172 h 3682908"/>
                  <a:gd name="connsiteX3470" fmla="*/ 764243 w 3862373"/>
                  <a:gd name="connsiteY3470" fmla="*/ 253265 h 3682908"/>
                  <a:gd name="connsiteX3471" fmla="*/ 725161 w 3862373"/>
                  <a:gd name="connsiteY3471" fmla="*/ 214172 h 3682908"/>
                  <a:gd name="connsiteX3472" fmla="*/ 764243 w 3862373"/>
                  <a:gd name="connsiteY3472" fmla="*/ 175085 h 3682908"/>
                  <a:gd name="connsiteX3473" fmla="*/ 2831988 w 3862373"/>
                  <a:gd name="connsiteY3473" fmla="*/ 175085 h 3682908"/>
                  <a:gd name="connsiteX3474" fmla="*/ 2871075 w 3862373"/>
                  <a:gd name="connsiteY3474" fmla="*/ 214170 h 3682908"/>
                  <a:gd name="connsiteX3475" fmla="*/ 2831988 w 3862373"/>
                  <a:gd name="connsiteY3475" fmla="*/ 253265 h 3682908"/>
                  <a:gd name="connsiteX3476" fmla="*/ 2792901 w 3862373"/>
                  <a:gd name="connsiteY3476" fmla="*/ 214170 h 3682908"/>
                  <a:gd name="connsiteX3477" fmla="*/ 2831988 w 3862373"/>
                  <a:gd name="connsiteY3477" fmla="*/ 175085 h 3682908"/>
                  <a:gd name="connsiteX3478" fmla="*/ 2079618 w 3862373"/>
                  <a:gd name="connsiteY3478" fmla="*/ 175085 h 3682908"/>
                  <a:gd name="connsiteX3479" fmla="*/ 2118703 w 3862373"/>
                  <a:gd name="connsiteY3479" fmla="*/ 214170 h 3682908"/>
                  <a:gd name="connsiteX3480" fmla="*/ 2079618 w 3862373"/>
                  <a:gd name="connsiteY3480" fmla="*/ 253265 h 3682908"/>
                  <a:gd name="connsiteX3481" fmla="*/ 2040537 w 3862373"/>
                  <a:gd name="connsiteY3481" fmla="*/ 214170 h 3682908"/>
                  <a:gd name="connsiteX3482" fmla="*/ 2079618 w 3862373"/>
                  <a:gd name="connsiteY3482" fmla="*/ 175085 h 3682908"/>
                  <a:gd name="connsiteX3483" fmla="*/ 1984973 w 3862373"/>
                  <a:gd name="connsiteY3483" fmla="*/ 175085 h 3682908"/>
                  <a:gd name="connsiteX3484" fmla="*/ 2024073 w 3862373"/>
                  <a:gd name="connsiteY3484" fmla="*/ 214170 h 3682908"/>
                  <a:gd name="connsiteX3485" fmla="*/ 1984973 w 3862373"/>
                  <a:gd name="connsiteY3485" fmla="*/ 253265 h 3682908"/>
                  <a:gd name="connsiteX3486" fmla="*/ 1945875 w 3862373"/>
                  <a:gd name="connsiteY3486" fmla="*/ 214170 h 3682908"/>
                  <a:gd name="connsiteX3487" fmla="*/ 1984973 w 3862373"/>
                  <a:gd name="connsiteY3487" fmla="*/ 175085 h 3682908"/>
                  <a:gd name="connsiteX3488" fmla="*/ 1890340 w 3862373"/>
                  <a:gd name="connsiteY3488" fmla="*/ 175085 h 3682908"/>
                  <a:gd name="connsiteX3489" fmla="*/ 1929413 w 3862373"/>
                  <a:gd name="connsiteY3489" fmla="*/ 214170 h 3682908"/>
                  <a:gd name="connsiteX3490" fmla="*/ 1890340 w 3862373"/>
                  <a:gd name="connsiteY3490" fmla="*/ 253265 h 3682908"/>
                  <a:gd name="connsiteX3491" fmla="*/ 1851255 w 3862373"/>
                  <a:gd name="connsiteY3491" fmla="*/ 214170 h 3682908"/>
                  <a:gd name="connsiteX3492" fmla="*/ 1890340 w 3862373"/>
                  <a:gd name="connsiteY3492" fmla="*/ 175085 h 3682908"/>
                  <a:gd name="connsiteX3493" fmla="*/ 1798073 w 3862373"/>
                  <a:gd name="connsiteY3493" fmla="*/ 175085 h 3682908"/>
                  <a:gd name="connsiteX3494" fmla="*/ 1837149 w 3862373"/>
                  <a:gd name="connsiteY3494" fmla="*/ 214170 h 3682908"/>
                  <a:gd name="connsiteX3495" fmla="*/ 1798073 w 3862373"/>
                  <a:gd name="connsiteY3495" fmla="*/ 253265 h 3682908"/>
                  <a:gd name="connsiteX3496" fmla="*/ 1758966 w 3862373"/>
                  <a:gd name="connsiteY3496" fmla="*/ 214170 h 3682908"/>
                  <a:gd name="connsiteX3497" fmla="*/ 1798073 w 3862373"/>
                  <a:gd name="connsiteY3497" fmla="*/ 175085 h 3682908"/>
                  <a:gd name="connsiteX3498" fmla="*/ 1703435 w 3862373"/>
                  <a:gd name="connsiteY3498" fmla="*/ 175085 h 3682908"/>
                  <a:gd name="connsiteX3499" fmla="*/ 1742524 w 3862373"/>
                  <a:gd name="connsiteY3499" fmla="*/ 214170 h 3682908"/>
                  <a:gd name="connsiteX3500" fmla="*/ 1703435 w 3862373"/>
                  <a:gd name="connsiteY3500" fmla="*/ 253265 h 3682908"/>
                  <a:gd name="connsiteX3501" fmla="*/ 1664351 w 3862373"/>
                  <a:gd name="connsiteY3501" fmla="*/ 214170 h 3682908"/>
                  <a:gd name="connsiteX3502" fmla="*/ 1703435 w 3862373"/>
                  <a:gd name="connsiteY3502" fmla="*/ 175085 h 3682908"/>
                  <a:gd name="connsiteX3503" fmla="*/ 1611151 w 3862373"/>
                  <a:gd name="connsiteY3503" fmla="*/ 175085 h 3682908"/>
                  <a:gd name="connsiteX3504" fmla="*/ 1650245 w 3862373"/>
                  <a:gd name="connsiteY3504" fmla="*/ 214170 h 3682908"/>
                  <a:gd name="connsiteX3505" fmla="*/ 1611151 w 3862373"/>
                  <a:gd name="connsiteY3505" fmla="*/ 253265 h 3682908"/>
                  <a:gd name="connsiteX3506" fmla="*/ 1572158 w 3862373"/>
                  <a:gd name="connsiteY3506" fmla="*/ 214170 h 3682908"/>
                  <a:gd name="connsiteX3507" fmla="*/ 1611151 w 3862373"/>
                  <a:gd name="connsiteY3507" fmla="*/ 175085 h 3682908"/>
                  <a:gd name="connsiteX3508" fmla="*/ 798955 w 3862373"/>
                  <a:gd name="connsiteY3508" fmla="*/ 113714 h 3682908"/>
                  <a:gd name="connsiteX3509" fmla="*/ 803326 w 3862373"/>
                  <a:gd name="connsiteY3509" fmla="*/ 124268 h 3682908"/>
                  <a:gd name="connsiteX3510" fmla="*/ 764243 w 3862373"/>
                  <a:gd name="connsiteY3510" fmla="*/ 163353 h 3682908"/>
                  <a:gd name="connsiteX3511" fmla="*/ 738461 w 3862373"/>
                  <a:gd name="connsiteY3511" fmla="*/ 152674 h 3682908"/>
                  <a:gd name="connsiteX3512" fmla="*/ 754212 w 3862373"/>
                  <a:gd name="connsiteY3512" fmla="*/ 140896 h 3682908"/>
                  <a:gd name="connsiteX3513" fmla="*/ 2904918 w 3862373"/>
                  <a:gd name="connsiteY3513" fmla="*/ 93195 h 3682908"/>
                  <a:gd name="connsiteX3514" fmla="*/ 2961886 w 3862373"/>
                  <a:gd name="connsiteY3514" fmla="*/ 127804 h 3682908"/>
                  <a:gd name="connsiteX3515" fmla="*/ 2951903 w 3862373"/>
                  <a:gd name="connsiteY3515" fmla="*/ 151905 h 3682908"/>
                  <a:gd name="connsiteX3516" fmla="*/ 2924264 w 3862373"/>
                  <a:gd name="connsiteY3516" fmla="*/ 163353 h 3682908"/>
                  <a:gd name="connsiteX3517" fmla="*/ 2885177 w 3862373"/>
                  <a:gd name="connsiteY3517" fmla="*/ 124267 h 3682908"/>
                  <a:gd name="connsiteX3518" fmla="*/ 2896625 w 3862373"/>
                  <a:gd name="connsiteY3518" fmla="*/ 96630 h 3682908"/>
                  <a:gd name="connsiteX3519" fmla="*/ 2831988 w 3862373"/>
                  <a:gd name="connsiteY3519" fmla="*/ 85181 h 3682908"/>
                  <a:gd name="connsiteX3520" fmla="*/ 2871075 w 3862373"/>
                  <a:gd name="connsiteY3520" fmla="*/ 124267 h 3682908"/>
                  <a:gd name="connsiteX3521" fmla="*/ 2831988 w 3862373"/>
                  <a:gd name="connsiteY3521" fmla="*/ 163353 h 3682908"/>
                  <a:gd name="connsiteX3522" fmla="*/ 2792901 w 3862373"/>
                  <a:gd name="connsiteY3522" fmla="*/ 124267 h 3682908"/>
                  <a:gd name="connsiteX3523" fmla="*/ 2831988 w 3862373"/>
                  <a:gd name="connsiteY3523" fmla="*/ 85181 h 3682908"/>
                  <a:gd name="connsiteX3524" fmla="*/ 2171887 w 3862373"/>
                  <a:gd name="connsiteY3524" fmla="*/ 85181 h 3682908"/>
                  <a:gd name="connsiteX3525" fmla="*/ 2210981 w 3862373"/>
                  <a:gd name="connsiteY3525" fmla="*/ 124267 h 3682908"/>
                  <a:gd name="connsiteX3526" fmla="*/ 2171887 w 3862373"/>
                  <a:gd name="connsiteY3526" fmla="*/ 163353 h 3682908"/>
                  <a:gd name="connsiteX3527" fmla="*/ 2132800 w 3862373"/>
                  <a:gd name="connsiteY3527" fmla="*/ 124267 h 3682908"/>
                  <a:gd name="connsiteX3528" fmla="*/ 2171887 w 3862373"/>
                  <a:gd name="connsiteY3528" fmla="*/ 85181 h 3682908"/>
                  <a:gd name="connsiteX3529" fmla="*/ 2079618 w 3862373"/>
                  <a:gd name="connsiteY3529" fmla="*/ 85181 h 3682908"/>
                  <a:gd name="connsiteX3530" fmla="*/ 2118703 w 3862373"/>
                  <a:gd name="connsiteY3530" fmla="*/ 124267 h 3682908"/>
                  <a:gd name="connsiteX3531" fmla="*/ 2079618 w 3862373"/>
                  <a:gd name="connsiteY3531" fmla="*/ 163353 h 3682908"/>
                  <a:gd name="connsiteX3532" fmla="*/ 2040537 w 3862373"/>
                  <a:gd name="connsiteY3532" fmla="*/ 124267 h 3682908"/>
                  <a:gd name="connsiteX3533" fmla="*/ 2079618 w 3862373"/>
                  <a:gd name="connsiteY3533" fmla="*/ 85181 h 3682908"/>
                  <a:gd name="connsiteX3534" fmla="*/ 1984973 w 3862373"/>
                  <a:gd name="connsiteY3534" fmla="*/ 85181 h 3682908"/>
                  <a:gd name="connsiteX3535" fmla="*/ 2024073 w 3862373"/>
                  <a:gd name="connsiteY3535" fmla="*/ 124268 h 3682908"/>
                  <a:gd name="connsiteX3536" fmla="*/ 1984973 w 3862373"/>
                  <a:gd name="connsiteY3536" fmla="*/ 163353 h 3682908"/>
                  <a:gd name="connsiteX3537" fmla="*/ 1945875 w 3862373"/>
                  <a:gd name="connsiteY3537" fmla="*/ 124268 h 3682908"/>
                  <a:gd name="connsiteX3538" fmla="*/ 1984973 w 3862373"/>
                  <a:gd name="connsiteY3538" fmla="*/ 85181 h 3682908"/>
                  <a:gd name="connsiteX3539" fmla="*/ 1890340 w 3862373"/>
                  <a:gd name="connsiteY3539" fmla="*/ 85181 h 3682908"/>
                  <a:gd name="connsiteX3540" fmla="*/ 1929413 w 3862373"/>
                  <a:gd name="connsiteY3540" fmla="*/ 124268 h 3682908"/>
                  <a:gd name="connsiteX3541" fmla="*/ 1890340 w 3862373"/>
                  <a:gd name="connsiteY3541" fmla="*/ 163353 h 3682908"/>
                  <a:gd name="connsiteX3542" fmla="*/ 1851255 w 3862373"/>
                  <a:gd name="connsiteY3542" fmla="*/ 124268 h 3682908"/>
                  <a:gd name="connsiteX3543" fmla="*/ 1890340 w 3862373"/>
                  <a:gd name="connsiteY3543" fmla="*/ 85181 h 3682908"/>
                  <a:gd name="connsiteX3544" fmla="*/ 1798073 w 3862373"/>
                  <a:gd name="connsiteY3544" fmla="*/ 85181 h 3682908"/>
                  <a:gd name="connsiteX3545" fmla="*/ 1837149 w 3862373"/>
                  <a:gd name="connsiteY3545" fmla="*/ 124268 h 3682908"/>
                  <a:gd name="connsiteX3546" fmla="*/ 1798073 w 3862373"/>
                  <a:gd name="connsiteY3546" fmla="*/ 163353 h 3682908"/>
                  <a:gd name="connsiteX3547" fmla="*/ 1758966 w 3862373"/>
                  <a:gd name="connsiteY3547" fmla="*/ 124268 h 3682908"/>
                  <a:gd name="connsiteX3548" fmla="*/ 1798073 w 3862373"/>
                  <a:gd name="connsiteY3548" fmla="*/ 85181 h 3682908"/>
                  <a:gd name="connsiteX3549" fmla="*/ 1703435 w 3862373"/>
                  <a:gd name="connsiteY3549" fmla="*/ 85181 h 3682908"/>
                  <a:gd name="connsiteX3550" fmla="*/ 1742524 w 3862373"/>
                  <a:gd name="connsiteY3550" fmla="*/ 124268 h 3682908"/>
                  <a:gd name="connsiteX3551" fmla="*/ 1703435 w 3862373"/>
                  <a:gd name="connsiteY3551" fmla="*/ 163353 h 3682908"/>
                  <a:gd name="connsiteX3552" fmla="*/ 1664351 w 3862373"/>
                  <a:gd name="connsiteY3552" fmla="*/ 124268 h 3682908"/>
                  <a:gd name="connsiteX3553" fmla="*/ 1703435 w 3862373"/>
                  <a:gd name="connsiteY3553" fmla="*/ 85181 h 3682908"/>
                  <a:gd name="connsiteX3554" fmla="*/ 1611151 w 3862373"/>
                  <a:gd name="connsiteY3554" fmla="*/ 85181 h 3682908"/>
                  <a:gd name="connsiteX3555" fmla="*/ 1650245 w 3862373"/>
                  <a:gd name="connsiteY3555" fmla="*/ 124268 h 3682908"/>
                  <a:gd name="connsiteX3556" fmla="*/ 1611151 w 3862373"/>
                  <a:gd name="connsiteY3556" fmla="*/ 163353 h 3682908"/>
                  <a:gd name="connsiteX3557" fmla="*/ 1572160 w 3862373"/>
                  <a:gd name="connsiteY3557" fmla="*/ 124268 h 3682908"/>
                  <a:gd name="connsiteX3558" fmla="*/ 1611151 w 3862373"/>
                  <a:gd name="connsiteY3558" fmla="*/ 85181 h 3682908"/>
                  <a:gd name="connsiteX3559" fmla="*/ 1516607 w 3862373"/>
                  <a:gd name="connsiteY3559" fmla="*/ 85181 h 3682908"/>
                  <a:gd name="connsiteX3560" fmla="*/ 1555693 w 3862373"/>
                  <a:gd name="connsiteY3560" fmla="*/ 124268 h 3682908"/>
                  <a:gd name="connsiteX3561" fmla="*/ 1516607 w 3862373"/>
                  <a:gd name="connsiteY3561" fmla="*/ 163353 h 3682908"/>
                  <a:gd name="connsiteX3562" fmla="*/ 1477512 w 3862373"/>
                  <a:gd name="connsiteY3562" fmla="*/ 124268 h 3682908"/>
                  <a:gd name="connsiteX3563" fmla="*/ 1516607 w 3862373"/>
                  <a:gd name="connsiteY3563" fmla="*/ 85181 h 3682908"/>
                  <a:gd name="connsiteX3564" fmla="*/ 1419600 w 3862373"/>
                  <a:gd name="connsiteY3564" fmla="*/ 85181 h 3682908"/>
                  <a:gd name="connsiteX3565" fmla="*/ 1458689 w 3862373"/>
                  <a:gd name="connsiteY3565" fmla="*/ 124268 h 3682908"/>
                  <a:gd name="connsiteX3566" fmla="*/ 1419600 w 3862373"/>
                  <a:gd name="connsiteY3566" fmla="*/ 163353 h 3682908"/>
                  <a:gd name="connsiteX3567" fmla="*/ 1380504 w 3862373"/>
                  <a:gd name="connsiteY3567" fmla="*/ 124268 h 3682908"/>
                  <a:gd name="connsiteX3568" fmla="*/ 1419600 w 3862373"/>
                  <a:gd name="connsiteY3568" fmla="*/ 85181 h 3682908"/>
                  <a:gd name="connsiteX3569" fmla="*/ 1329684 w 3862373"/>
                  <a:gd name="connsiteY3569" fmla="*/ 85181 h 3682908"/>
                  <a:gd name="connsiteX3570" fmla="*/ 1368775 w 3862373"/>
                  <a:gd name="connsiteY3570" fmla="*/ 124268 h 3682908"/>
                  <a:gd name="connsiteX3571" fmla="*/ 1329684 w 3862373"/>
                  <a:gd name="connsiteY3571" fmla="*/ 163353 h 3682908"/>
                  <a:gd name="connsiteX3572" fmla="*/ 1290604 w 3862373"/>
                  <a:gd name="connsiteY3572" fmla="*/ 124268 h 3682908"/>
                  <a:gd name="connsiteX3573" fmla="*/ 1329684 w 3862373"/>
                  <a:gd name="connsiteY3573" fmla="*/ 85181 h 3682908"/>
                  <a:gd name="connsiteX3574" fmla="*/ 1142780 w 3862373"/>
                  <a:gd name="connsiteY3574" fmla="*/ 85181 h 3682908"/>
                  <a:gd name="connsiteX3575" fmla="*/ 1181872 w 3862373"/>
                  <a:gd name="connsiteY3575" fmla="*/ 124268 h 3682908"/>
                  <a:gd name="connsiteX3576" fmla="*/ 1142780 w 3862373"/>
                  <a:gd name="connsiteY3576" fmla="*/ 163353 h 3682908"/>
                  <a:gd name="connsiteX3577" fmla="*/ 1103680 w 3862373"/>
                  <a:gd name="connsiteY3577" fmla="*/ 124268 h 3682908"/>
                  <a:gd name="connsiteX3578" fmla="*/ 1142780 w 3862373"/>
                  <a:gd name="connsiteY3578" fmla="*/ 85181 h 3682908"/>
                  <a:gd name="connsiteX3579" fmla="*/ 1045753 w 3862373"/>
                  <a:gd name="connsiteY3579" fmla="*/ 85181 h 3682908"/>
                  <a:gd name="connsiteX3580" fmla="*/ 1084842 w 3862373"/>
                  <a:gd name="connsiteY3580" fmla="*/ 124268 h 3682908"/>
                  <a:gd name="connsiteX3581" fmla="*/ 1045753 w 3862373"/>
                  <a:gd name="connsiteY3581" fmla="*/ 163353 h 3682908"/>
                  <a:gd name="connsiteX3582" fmla="*/ 1006670 w 3862373"/>
                  <a:gd name="connsiteY3582" fmla="*/ 124268 h 3682908"/>
                  <a:gd name="connsiteX3583" fmla="*/ 1045753 w 3862373"/>
                  <a:gd name="connsiteY3583" fmla="*/ 85181 h 3682908"/>
                  <a:gd name="connsiteX3584" fmla="*/ 951129 w 3862373"/>
                  <a:gd name="connsiteY3584" fmla="*/ 85181 h 3682908"/>
                  <a:gd name="connsiteX3585" fmla="*/ 990205 w 3862373"/>
                  <a:gd name="connsiteY3585" fmla="*/ 124268 h 3682908"/>
                  <a:gd name="connsiteX3586" fmla="*/ 951129 w 3862373"/>
                  <a:gd name="connsiteY3586" fmla="*/ 163353 h 3682908"/>
                  <a:gd name="connsiteX3587" fmla="*/ 912045 w 3862373"/>
                  <a:gd name="connsiteY3587" fmla="*/ 124268 h 3682908"/>
                  <a:gd name="connsiteX3588" fmla="*/ 951129 w 3862373"/>
                  <a:gd name="connsiteY3588" fmla="*/ 85181 h 3682908"/>
                  <a:gd name="connsiteX3589" fmla="*/ 856503 w 3862373"/>
                  <a:gd name="connsiteY3589" fmla="*/ 85181 h 3682908"/>
                  <a:gd name="connsiteX3590" fmla="*/ 895582 w 3862373"/>
                  <a:gd name="connsiteY3590" fmla="*/ 124268 h 3682908"/>
                  <a:gd name="connsiteX3591" fmla="*/ 856503 w 3862373"/>
                  <a:gd name="connsiteY3591" fmla="*/ 163353 h 3682908"/>
                  <a:gd name="connsiteX3592" fmla="*/ 817424 w 3862373"/>
                  <a:gd name="connsiteY3592" fmla="*/ 124268 h 3682908"/>
                  <a:gd name="connsiteX3593" fmla="*/ 856503 w 3862373"/>
                  <a:gd name="connsiteY3593" fmla="*/ 85181 h 3682908"/>
                  <a:gd name="connsiteX3594" fmla="*/ 978967 w 3862373"/>
                  <a:gd name="connsiteY3594" fmla="*/ 11950 h 3682908"/>
                  <a:gd name="connsiteX3595" fmla="*/ 990205 w 3862373"/>
                  <a:gd name="connsiteY3595" fmla="*/ 39087 h 3682908"/>
                  <a:gd name="connsiteX3596" fmla="*/ 951129 w 3862373"/>
                  <a:gd name="connsiteY3596" fmla="*/ 78173 h 3682908"/>
                  <a:gd name="connsiteX3597" fmla="*/ 923492 w 3862373"/>
                  <a:gd name="connsiteY3597" fmla="*/ 66725 h 3682908"/>
                  <a:gd name="connsiteX3598" fmla="*/ 914005 w 3862373"/>
                  <a:gd name="connsiteY3598" fmla="*/ 43819 h 3682908"/>
                  <a:gd name="connsiteX3599" fmla="*/ 918580 w 3862373"/>
                  <a:gd name="connsiteY3599" fmla="*/ 41040 h 3682908"/>
                  <a:gd name="connsiteX3600" fmla="*/ 2266537 w 3862373"/>
                  <a:gd name="connsiteY3600" fmla="*/ 0 h 3682908"/>
                  <a:gd name="connsiteX3601" fmla="*/ 2305619 w 3862373"/>
                  <a:gd name="connsiteY3601" fmla="*/ 39087 h 3682908"/>
                  <a:gd name="connsiteX3602" fmla="*/ 2266537 w 3862373"/>
                  <a:gd name="connsiteY3602" fmla="*/ 78173 h 3682908"/>
                  <a:gd name="connsiteX3603" fmla="*/ 2227443 w 3862373"/>
                  <a:gd name="connsiteY3603" fmla="*/ 39087 h 3682908"/>
                  <a:gd name="connsiteX3604" fmla="*/ 2266537 w 3862373"/>
                  <a:gd name="connsiteY3604" fmla="*/ 0 h 3682908"/>
                  <a:gd name="connsiteX3605" fmla="*/ 2171887 w 3862373"/>
                  <a:gd name="connsiteY3605" fmla="*/ 0 h 3682908"/>
                  <a:gd name="connsiteX3606" fmla="*/ 2210981 w 3862373"/>
                  <a:gd name="connsiteY3606" fmla="*/ 39087 h 3682908"/>
                  <a:gd name="connsiteX3607" fmla="*/ 2171887 w 3862373"/>
                  <a:gd name="connsiteY3607" fmla="*/ 78173 h 3682908"/>
                  <a:gd name="connsiteX3608" fmla="*/ 2132800 w 3862373"/>
                  <a:gd name="connsiteY3608" fmla="*/ 39087 h 3682908"/>
                  <a:gd name="connsiteX3609" fmla="*/ 2171887 w 3862373"/>
                  <a:gd name="connsiteY3609" fmla="*/ 0 h 3682908"/>
                  <a:gd name="connsiteX3610" fmla="*/ 2079618 w 3862373"/>
                  <a:gd name="connsiteY3610" fmla="*/ 0 h 3682908"/>
                  <a:gd name="connsiteX3611" fmla="*/ 2118703 w 3862373"/>
                  <a:gd name="connsiteY3611" fmla="*/ 39087 h 3682908"/>
                  <a:gd name="connsiteX3612" fmla="*/ 2079618 w 3862373"/>
                  <a:gd name="connsiteY3612" fmla="*/ 78173 h 3682908"/>
                  <a:gd name="connsiteX3613" fmla="*/ 2040537 w 3862373"/>
                  <a:gd name="connsiteY3613" fmla="*/ 39087 h 3682908"/>
                  <a:gd name="connsiteX3614" fmla="*/ 2079618 w 3862373"/>
                  <a:gd name="connsiteY3614" fmla="*/ 0 h 3682908"/>
                  <a:gd name="connsiteX3615" fmla="*/ 1984973 w 3862373"/>
                  <a:gd name="connsiteY3615" fmla="*/ 0 h 3682908"/>
                  <a:gd name="connsiteX3616" fmla="*/ 2024073 w 3862373"/>
                  <a:gd name="connsiteY3616" fmla="*/ 39087 h 3682908"/>
                  <a:gd name="connsiteX3617" fmla="*/ 1984973 w 3862373"/>
                  <a:gd name="connsiteY3617" fmla="*/ 78173 h 3682908"/>
                  <a:gd name="connsiteX3618" fmla="*/ 1945875 w 3862373"/>
                  <a:gd name="connsiteY3618" fmla="*/ 39087 h 3682908"/>
                  <a:gd name="connsiteX3619" fmla="*/ 1984973 w 3862373"/>
                  <a:gd name="connsiteY3619" fmla="*/ 0 h 3682908"/>
                  <a:gd name="connsiteX3620" fmla="*/ 1890340 w 3862373"/>
                  <a:gd name="connsiteY3620" fmla="*/ 0 h 3682908"/>
                  <a:gd name="connsiteX3621" fmla="*/ 1929413 w 3862373"/>
                  <a:gd name="connsiteY3621" fmla="*/ 39087 h 3682908"/>
                  <a:gd name="connsiteX3622" fmla="*/ 1890340 w 3862373"/>
                  <a:gd name="connsiteY3622" fmla="*/ 78173 h 3682908"/>
                  <a:gd name="connsiteX3623" fmla="*/ 1851255 w 3862373"/>
                  <a:gd name="connsiteY3623" fmla="*/ 39087 h 3682908"/>
                  <a:gd name="connsiteX3624" fmla="*/ 1890340 w 3862373"/>
                  <a:gd name="connsiteY3624" fmla="*/ 0 h 3682908"/>
                  <a:gd name="connsiteX3625" fmla="*/ 1798073 w 3862373"/>
                  <a:gd name="connsiteY3625" fmla="*/ 0 h 3682908"/>
                  <a:gd name="connsiteX3626" fmla="*/ 1837149 w 3862373"/>
                  <a:gd name="connsiteY3626" fmla="*/ 39087 h 3682908"/>
                  <a:gd name="connsiteX3627" fmla="*/ 1798073 w 3862373"/>
                  <a:gd name="connsiteY3627" fmla="*/ 78173 h 3682908"/>
                  <a:gd name="connsiteX3628" fmla="*/ 1758966 w 3862373"/>
                  <a:gd name="connsiteY3628" fmla="*/ 39087 h 3682908"/>
                  <a:gd name="connsiteX3629" fmla="*/ 1798073 w 3862373"/>
                  <a:gd name="connsiteY3629" fmla="*/ 0 h 3682908"/>
                  <a:gd name="connsiteX3630" fmla="*/ 1703435 w 3862373"/>
                  <a:gd name="connsiteY3630" fmla="*/ 0 h 3682908"/>
                  <a:gd name="connsiteX3631" fmla="*/ 1742524 w 3862373"/>
                  <a:gd name="connsiteY3631" fmla="*/ 39087 h 3682908"/>
                  <a:gd name="connsiteX3632" fmla="*/ 1703435 w 3862373"/>
                  <a:gd name="connsiteY3632" fmla="*/ 78173 h 3682908"/>
                  <a:gd name="connsiteX3633" fmla="*/ 1664351 w 3862373"/>
                  <a:gd name="connsiteY3633" fmla="*/ 39087 h 3682908"/>
                  <a:gd name="connsiteX3634" fmla="*/ 1703435 w 3862373"/>
                  <a:gd name="connsiteY3634" fmla="*/ 0 h 3682908"/>
                  <a:gd name="connsiteX3635" fmla="*/ 1611151 w 3862373"/>
                  <a:gd name="connsiteY3635" fmla="*/ 0 h 3682908"/>
                  <a:gd name="connsiteX3636" fmla="*/ 1650245 w 3862373"/>
                  <a:gd name="connsiteY3636" fmla="*/ 39087 h 3682908"/>
                  <a:gd name="connsiteX3637" fmla="*/ 1611151 w 3862373"/>
                  <a:gd name="connsiteY3637" fmla="*/ 78173 h 3682908"/>
                  <a:gd name="connsiteX3638" fmla="*/ 1572160 w 3862373"/>
                  <a:gd name="connsiteY3638" fmla="*/ 39087 h 3682908"/>
                  <a:gd name="connsiteX3639" fmla="*/ 1611151 w 3862373"/>
                  <a:gd name="connsiteY3639" fmla="*/ 0 h 3682908"/>
                  <a:gd name="connsiteX3640" fmla="*/ 1516607 w 3862373"/>
                  <a:gd name="connsiteY3640" fmla="*/ 0 h 3682908"/>
                  <a:gd name="connsiteX3641" fmla="*/ 1555693 w 3862373"/>
                  <a:gd name="connsiteY3641" fmla="*/ 39087 h 3682908"/>
                  <a:gd name="connsiteX3642" fmla="*/ 1516607 w 3862373"/>
                  <a:gd name="connsiteY3642" fmla="*/ 78173 h 3682908"/>
                  <a:gd name="connsiteX3643" fmla="*/ 1477512 w 3862373"/>
                  <a:gd name="connsiteY3643" fmla="*/ 39087 h 3682908"/>
                  <a:gd name="connsiteX3644" fmla="*/ 1516607 w 3862373"/>
                  <a:gd name="connsiteY3644" fmla="*/ 0 h 3682908"/>
                  <a:gd name="connsiteX3645" fmla="*/ 1232692 w 3862373"/>
                  <a:gd name="connsiteY3645" fmla="*/ 0 h 3682908"/>
                  <a:gd name="connsiteX3646" fmla="*/ 1271765 w 3862373"/>
                  <a:gd name="connsiteY3646" fmla="*/ 39087 h 3682908"/>
                  <a:gd name="connsiteX3647" fmla="*/ 1232692 w 3862373"/>
                  <a:gd name="connsiteY3647" fmla="*/ 78173 h 3682908"/>
                  <a:gd name="connsiteX3648" fmla="*/ 1193607 w 3862373"/>
                  <a:gd name="connsiteY3648" fmla="*/ 39087 h 3682908"/>
                  <a:gd name="connsiteX3649" fmla="*/ 1232692 w 3862373"/>
                  <a:gd name="connsiteY3649" fmla="*/ 0 h 3682908"/>
                  <a:gd name="connsiteX3650" fmla="*/ 1142780 w 3862373"/>
                  <a:gd name="connsiteY3650" fmla="*/ 0 h 3682908"/>
                  <a:gd name="connsiteX3651" fmla="*/ 1181872 w 3862373"/>
                  <a:gd name="connsiteY3651" fmla="*/ 39087 h 3682908"/>
                  <a:gd name="connsiteX3652" fmla="*/ 1142780 w 3862373"/>
                  <a:gd name="connsiteY3652" fmla="*/ 78173 h 3682908"/>
                  <a:gd name="connsiteX3653" fmla="*/ 1103680 w 3862373"/>
                  <a:gd name="connsiteY3653" fmla="*/ 39087 h 3682908"/>
                  <a:gd name="connsiteX3654" fmla="*/ 1142780 w 3862373"/>
                  <a:gd name="connsiteY3654" fmla="*/ 0 h 3682908"/>
                  <a:gd name="connsiteX3655" fmla="*/ 1045753 w 3862373"/>
                  <a:gd name="connsiteY3655" fmla="*/ 0 h 3682908"/>
                  <a:gd name="connsiteX3656" fmla="*/ 1084842 w 3862373"/>
                  <a:gd name="connsiteY3656" fmla="*/ 39087 h 3682908"/>
                  <a:gd name="connsiteX3657" fmla="*/ 1045753 w 3862373"/>
                  <a:gd name="connsiteY3657" fmla="*/ 78173 h 3682908"/>
                  <a:gd name="connsiteX3658" fmla="*/ 1006670 w 3862373"/>
                  <a:gd name="connsiteY3658" fmla="*/ 39087 h 3682908"/>
                  <a:gd name="connsiteX3659" fmla="*/ 1045753 w 3862373"/>
                  <a:gd name="connsiteY3659" fmla="*/ 0 h 36829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 ang="0">
                    <a:pos x="connsiteX2048" y="connsiteY2048"/>
                  </a:cxn>
                  <a:cxn ang="0">
                    <a:pos x="connsiteX2049" y="connsiteY2049"/>
                  </a:cxn>
                  <a:cxn ang="0">
                    <a:pos x="connsiteX2050" y="connsiteY2050"/>
                  </a:cxn>
                  <a:cxn ang="0">
                    <a:pos x="connsiteX2051" y="connsiteY2051"/>
                  </a:cxn>
                  <a:cxn ang="0">
                    <a:pos x="connsiteX2052" y="connsiteY2052"/>
                  </a:cxn>
                  <a:cxn ang="0">
                    <a:pos x="connsiteX2053" y="connsiteY2053"/>
                  </a:cxn>
                  <a:cxn ang="0">
                    <a:pos x="connsiteX2054" y="connsiteY2054"/>
                  </a:cxn>
                  <a:cxn ang="0">
                    <a:pos x="connsiteX2055" y="connsiteY2055"/>
                  </a:cxn>
                  <a:cxn ang="0">
                    <a:pos x="connsiteX2056" y="connsiteY2056"/>
                  </a:cxn>
                  <a:cxn ang="0">
                    <a:pos x="connsiteX2057" y="connsiteY2057"/>
                  </a:cxn>
                  <a:cxn ang="0">
                    <a:pos x="connsiteX2058" y="connsiteY2058"/>
                  </a:cxn>
                  <a:cxn ang="0">
                    <a:pos x="connsiteX2059" y="connsiteY2059"/>
                  </a:cxn>
                  <a:cxn ang="0">
                    <a:pos x="connsiteX2060" y="connsiteY2060"/>
                  </a:cxn>
                  <a:cxn ang="0">
                    <a:pos x="connsiteX2061" y="connsiteY2061"/>
                  </a:cxn>
                  <a:cxn ang="0">
                    <a:pos x="connsiteX2062" y="connsiteY2062"/>
                  </a:cxn>
                  <a:cxn ang="0">
                    <a:pos x="connsiteX2063" y="connsiteY2063"/>
                  </a:cxn>
                  <a:cxn ang="0">
                    <a:pos x="connsiteX2064" y="connsiteY2064"/>
                  </a:cxn>
                  <a:cxn ang="0">
                    <a:pos x="connsiteX2065" y="connsiteY2065"/>
                  </a:cxn>
                  <a:cxn ang="0">
                    <a:pos x="connsiteX2066" y="connsiteY2066"/>
                  </a:cxn>
                  <a:cxn ang="0">
                    <a:pos x="connsiteX2067" y="connsiteY2067"/>
                  </a:cxn>
                  <a:cxn ang="0">
                    <a:pos x="connsiteX2068" y="connsiteY2068"/>
                  </a:cxn>
                  <a:cxn ang="0">
                    <a:pos x="connsiteX2069" y="connsiteY2069"/>
                  </a:cxn>
                  <a:cxn ang="0">
                    <a:pos x="connsiteX2070" y="connsiteY2070"/>
                  </a:cxn>
                  <a:cxn ang="0">
                    <a:pos x="connsiteX2071" y="connsiteY2071"/>
                  </a:cxn>
                  <a:cxn ang="0">
                    <a:pos x="connsiteX2072" y="connsiteY2072"/>
                  </a:cxn>
                  <a:cxn ang="0">
                    <a:pos x="connsiteX2073" y="connsiteY2073"/>
                  </a:cxn>
                  <a:cxn ang="0">
                    <a:pos x="connsiteX2074" y="connsiteY2074"/>
                  </a:cxn>
                  <a:cxn ang="0">
                    <a:pos x="connsiteX2075" y="connsiteY2075"/>
                  </a:cxn>
                  <a:cxn ang="0">
                    <a:pos x="connsiteX2076" y="connsiteY2076"/>
                  </a:cxn>
                  <a:cxn ang="0">
                    <a:pos x="connsiteX2077" y="connsiteY2077"/>
                  </a:cxn>
                  <a:cxn ang="0">
                    <a:pos x="connsiteX2078" y="connsiteY2078"/>
                  </a:cxn>
                  <a:cxn ang="0">
                    <a:pos x="connsiteX2079" y="connsiteY2079"/>
                  </a:cxn>
                  <a:cxn ang="0">
                    <a:pos x="connsiteX2080" y="connsiteY2080"/>
                  </a:cxn>
                  <a:cxn ang="0">
                    <a:pos x="connsiteX2081" y="connsiteY2081"/>
                  </a:cxn>
                  <a:cxn ang="0">
                    <a:pos x="connsiteX2082" y="connsiteY2082"/>
                  </a:cxn>
                  <a:cxn ang="0">
                    <a:pos x="connsiteX2083" y="connsiteY2083"/>
                  </a:cxn>
                  <a:cxn ang="0">
                    <a:pos x="connsiteX2084" y="connsiteY2084"/>
                  </a:cxn>
                  <a:cxn ang="0">
                    <a:pos x="connsiteX2085" y="connsiteY2085"/>
                  </a:cxn>
                  <a:cxn ang="0">
                    <a:pos x="connsiteX2086" y="connsiteY2086"/>
                  </a:cxn>
                  <a:cxn ang="0">
                    <a:pos x="connsiteX2087" y="connsiteY2087"/>
                  </a:cxn>
                  <a:cxn ang="0">
                    <a:pos x="connsiteX2088" y="connsiteY2088"/>
                  </a:cxn>
                  <a:cxn ang="0">
                    <a:pos x="connsiteX2089" y="connsiteY2089"/>
                  </a:cxn>
                  <a:cxn ang="0">
                    <a:pos x="connsiteX2090" y="connsiteY2090"/>
                  </a:cxn>
                  <a:cxn ang="0">
                    <a:pos x="connsiteX2091" y="connsiteY2091"/>
                  </a:cxn>
                  <a:cxn ang="0">
                    <a:pos x="connsiteX2092" y="connsiteY2092"/>
                  </a:cxn>
                  <a:cxn ang="0">
                    <a:pos x="connsiteX2093" y="connsiteY2093"/>
                  </a:cxn>
                  <a:cxn ang="0">
                    <a:pos x="connsiteX2094" y="connsiteY2094"/>
                  </a:cxn>
                  <a:cxn ang="0">
                    <a:pos x="connsiteX2095" y="connsiteY2095"/>
                  </a:cxn>
                  <a:cxn ang="0">
                    <a:pos x="connsiteX2096" y="connsiteY2096"/>
                  </a:cxn>
                  <a:cxn ang="0">
                    <a:pos x="connsiteX2097" y="connsiteY2097"/>
                  </a:cxn>
                  <a:cxn ang="0">
                    <a:pos x="connsiteX2098" y="connsiteY2098"/>
                  </a:cxn>
                  <a:cxn ang="0">
                    <a:pos x="connsiteX2099" y="connsiteY2099"/>
                  </a:cxn>
                  <a:cxn ang="0">
                    <a:pos x="connsiteX2100" y="connsiteY2100"/>
                  </a:cxn>
                  <a:cxn ang="0">
                    <a:pos x="connsiteX2101" y="connsiteY2101"/>
                  </a:cxn>
                  <a:cxn ang="0">
                    <a:pos x="connsiteX2102" y="connsiteY2102"/>
                  </a:cxn>
                  <a:cxn ang="0">
                    <a:pos x="connsiteX2103" y="connsiteY2103"/>
                  </a:cxn>
                  <a:cxn ang="0">
                    <a:pos x="connsiteX2104" y="connsiteY2104"/>
                  </a:cxn>
                  <a:cxn ang="0">
                    <a:pos x="connsiteX2105" y="connsiteY2105"/>
                  </a:cxn>
                  <a:cxn ang="0">
                    <a:pos x="connsiteX2106" y="connsiteY2106"/>
                  </a:cxn>
                  <a:cxn ang="0">
                    <a:pos x="connsiteX2107" y="connsiteY2107"/>
                  </a:cxn>
                  <a:cxn ang="0">
                    <a:pos x="connsiteX2108" y="connsiteY2108"/>
                  </a:cxn>
                  <a:cxn ang="0">
                    <a:pos x="connsiteX2109" y="connsiteY2109"/>
                  </a:cxn>
                  <a:cxn ang="0">
                    <a:pos x="connsiteX2110" y="connsiteY2110"/>
                  </a:cxn>
                  <a:cxn ang="0">
                    <a:pos x="connsiteX2111" y="connsiteY2111"/>
                  </a:cxn>
                  <a:cxn ang="0">
                    <a:pos x="connsiteX2112" y="connsiteY2112"/>
                  </a:cxn>
                  <a:cxn ang="0">
                    <a:pos x="connsiteX2113" y="connsiteY2113"/>
                  </a:cxn>
                  <a:cxn ang="0">
                    <a:pos x="connsiteX2114" y="connsiteY2114"/>
                  </a:cxn>
                  <a:cxn ang="0">
                    <a:pos x="connsiteX2115" y="connsiteY2115"/>
                  </a:cxn>
                  <a:cxn ang="0">
                    <a:pos x="connsiteX2116" y="connsiteY2116"/>
                  </a:cxn>
                  <a:cxn ang="0">
                    <a:pos x="connsiteX2117" y="connsiteY2117"/>
                  </a:cxn>
                  <a:cxn ang="0">
                    <a:pos x="connsiteX2118" y="connsiteY2118"/>
                  </a:cxn>
                  <a:cxn ang="0">
                    <a:pos x="connsiteX2119" y="connsiteY2119"/>
                  </a:cxn>
                  <a:cxn ang="0">
                    <a:pos x="connsiteX2120" y="connsiteY2120"/>
                  </a:cxn>
                  <a:cxn ang="0">
                    <a:pos x="connsiteX2121" y="connsiteY2121"/>
                  </a:cxn>
                  <a:cxn ang="0">
                    <a:pos x="connsiteX2122" y="connsiteY2122"/>
                  </a:cxn>
                  <a:cxn ang="0">
                    <a:pos x="connsiteX2123" y="connsiteY2123"/>
                  </a:cxn>
                  <a:cxn ang="0">
                    <a:pos x="connsiteX2124" y="connsiteY2124"/>
                  </a:cxn>
                  <a:cxn ang="0">
                    <a:pos x="connsiteX2125" y="connsiteY2125"/>
                  </a:cxn>
                  <a:cxn ang="0">
                    <a:pos x="connsiteX2126" y="connsiteY2126"/>
                  </a:cxn>
                  <a:cxn ang="0">
                    <a:pos x="connsiteX2127" y="connsiteY2127"/>
                  </a:cxn>
                  <a:cxn ang="0">
                    <a:pos x="connsiteX2128" y="connsiteY2128"/>
                  </a:cxn>
                  <a:cxn ang="0">
                    <a:pos x="connsiteX2129" y="connsiteY2129"/>
                  </a:cxn>
                  <a:cxn ang="0">
                    <a:pos x="connsiteX2130" y="connsiteY2130"/>
                  </a:cxn>
                  <a:cxn ang="0">
                    <a:pos x="connsiteX2131" y="connsiteY2131"/>
                  </a:cxn>
                  <a:cxn ang="0">
                    <a:pos x="connsiteX2132" y="connsiteY2132"/>
                  </a:cxn>
                  <a:cxn ang="0">
                    <a:pos x="connsiteX2133" y="connsiteY2133"/>
                  </a:cxn>
                  <a:cxn ang="0">
                    <a:pos x="connsiteX2134" y="connsiteY2134"/>
                  </a:cxn>
                  <a:cxn ang="0">
                    <a:pos x="connsiteX2135" y="connsiteY2135"/>
                  </a:cxn>
                  <a:cxn ang="0">
                    <a:pos x="connsiteX2136" y="connsiteY2136"/>
                  </a:cxn>
                  <a:cxn ang="0">
                    <a:pos x="connsiteX2137" y="connsiteY2137"/>
                  </a:cxn>
                  <a:cxn ang="0">
                    <a:pos x="connsiteX2138" y="connsiteY2138"/>
                  </a:cxn>
                  <a:cxn ang="0">
                    <a:pos x="connsiteX2139" y="connsiteY2139"/>
                  </a:cxn>
                  <a:cxn ang="0">
                    <a:pos x="connsiteX2140" y="connsiteY2140"/>
                  </a:cxn>
                  <a:cxn ang="0">
                    <a:pos x="connsiteX2141" y="connsiteY2141"/>
                  </a:cxn>
                  <a:cxn ang="0">
                    <a:pos x="connsiteX2142" y="connsiteY2142"/>
                  </a:cxn>
                  <a:cxn ang="0">
                    <a:pos x="connsiteX2143" y="connsiteY2143"/>
                  </a:cxn>
                  <a:cxn ang="0">
                    <a:pos x="connsiteX2144" y="connsiteY2144"/>
                  </a:cxn>
                  <a:cxn ang="0">
                    <a:pos x="connsiteX2145" y="connsiteY2145"/>
                  </a:cxn>
                  <a:cxn ang="0">
                    <a:pos x="connsiteX2146" y="connsiteY2146"/>
                  </a:cxn>
                  <a:cxn ang="0">
                    <a:pos x="connsiteX2147" y="connsiteY2147"/>
                  </a:cxn>
                  <a:cxn ang="0">
                    <a:pos x="connsiteX2148" y="connsiteY2148"/>
                  </a:cxn>
                  <a:cxn ang="0">
                    <a:pos x="connsiteX2149" y="connsiteY2149"/>
                  </a:cxn>
                  <a:cxn ang="0">
                    <a:pos x="connsiteX2150" y="connsiteY2150"/>
                  </a:cxn>
                  <a:cxn ang="0">
                    <a:pos x="connsiteX2151" y="connsiteY2151"/>
                  </a:cxn>
                  <a:cxn ang="0">
                    <a:pos x="connsiteX2152" y="connsiteY2152"/>
                  </a:cxn>
                  <a:cxn ang="0">
                    <a:pos x="connsiteX2153" y="connsiteY2153"/>
                  </a:cxn>
                  <a:cxn ang="0">
                    <a:pos x="connsiteX2154" y="connsiteY2154"/>
                  </a:cxn>
                  <a:cxn ang="0">
                    <a:pos x="connsiteX2155" y="connsiteY2155"/>
                  </a:cxn>
                  <a:cxn ang="0">
                    <a:pos x="connsiteX2156" y="connsiteY2156"/>
                  </a:cxn>
                  <a:cxn ang="0">
                    <a:pos x="connsiteX2157" y="connsiteY2157"/>
                  </a:cxn>
                  <a:cxn ang="0">
                    <a:pos x="connsiteX2158" y="connsiteY2158"/>
                  </a:cxn>
                  <a:cxn ang="0">
                    <a:pos x="connsiteX2159" y="connsiteY2159"/>
                  </a:cxn>
                  <a:cxn ang="0">
                    <a:pos x="connsiteX2160" y="connsiteY2160"/>
                  </a:cxn>
                  <a:cxn ang="0">
                    <a:pos x="connsiteX2161" y="connsiteY2161"/>
                  </a:cxn>
                  <a:cxn ang="0">
                    <a:pos x="connsiteX2162" y="connsiteY2162"/>
                  </a:cxn>
                  <a:cxn ang="0">
                    <a:pos x="connsiteX2163" y="connsiteY2163"/>
                  </a:cxn>
                  <a:cxn ang="0">
                    <a:pos x="connsiteX2164" y="connsiteY2164"/>
                  </a:cxn>
                  <a:cxn ang="0">
                    <a:pos x="connsiteX2165" y="connsiteY2165"/>
                  </a:cxn>
                  <a:cxn ang="0">
                    <a:pos x="connsiteX2166" y="connsiteY2166"/>
                  </a:cxn>
                  <a:cxn ang="0">
                    <a:pos x="connsiteX2167" y="connsiteY2167"/>
                  </a:cxn>
                  <a:cxn ang="0">
                    <a:pos x="connsiteX2168" y="connsiteY2168"/>
                  </a:cxn>
                  <a:cxn ang="0">
                    <a:pos x="connsiteX2169" y="connsiteY2169"/>
                  </a:cxn>
                  <a:cxn ang="0">
                    <a:pos x="connsiteX2170" y="connsiteY2170"/>
                  </a:cxn>
                  <a:cxn ang="0">
                    <a:pos x="connsiteX2171" y="connsiteY2171"/>
                  </a:cxn>
                  <a:cxn ang="0">
                    <a:pos x="connsiteX2172" y="connsiteY2172"/>
                  </a:cxn>
                  <a:cxn ang="0">
                    <a:pos x="connsiteX2173" y="connsiteY2173"/>
                  </a:cxn>
                  <a:cxn ang="0">
                    <a:pos x="connsiteX2174" y="connsiteY2174"/>
                  </a:cxn>
                  <a:cxn ang="0">
                    <a:pos x="connsiteX2175" y="connsiteY2175"/>
                  </a:cxn>
                  <a:cxn ang="0">
                    <a:pos x="connsiteX2176" y="connsiteY2176"/>
                  </a:cxn>
                  <a:cxn ang="0">
                    <a:pos x="connsiteX2177" y="connsiteY2177"/>
                  </a:cxn>
                  <a:cxn ang="0">
                    <a:pos x="connsiteX2178" y="connsiteY2178"/>
                  </a:cxn>
                  <a:cxn ang="0">
                    <a:pos x="connsiteX2179" y="connsiteY2179"/>
                  </a:cxn>
                  <a:cxn ang="0">
                    <a:pos x="connsiteX2180" y="connsiteY2180"/>
                  </a:cxn>
                  <a:cxn ang="0">
                    <a:pos x="connsiteX2181" y="connsiteY2181"/>
                  </a:cxn>
                  <a:cxn ang="0">
                    <a:pos x="connsiteX2182" y="connsiteY2182"/>
                  </a:cxn>
                  <a:cxn ang="0">
                    <a:pos x="connsiteX2183" y="connsiteY2183"/>
                  </a:cxn>
                  <a:cxn ang="0">
                    <a:pos x="connsiteX2184" y="connsiteY2184"/>
                  </a:cxn>
                  <a:cxn ang="0">
                    <a:pos x="connsiteX2185" y="connsiteY2185"/>
                  </a:cxn>
                  <a:cxn ang="0">
                    <a:pos x="connsiteX2186" y="connsiteY2186"/>
                  </a:cxn>
                  <a:cxn ang="0">
                    <a:pos x="connsiteX2187" y="connsiteY2187"/>
                  </a:cxn>
                  <a:cxn ang="0">
                    <a:pos x="connsiteX2188" y="connsiteY2188"/>
                  </a:cxn>
                  <a:cxn ang="0">
                    <a:pos x="connsiteX2189" y="connsiteY2189"/>
                  </a:cxn>
                  <a:cxn ang="0">
                    <a:pos x="connsiteX2190" y="connsiteY2190"/>
                  </a:cxn>
                  <a:cxn ang="0">
                    <a:pos x="connsiteX2191" y="connsiteY2191"/>
                  </a:cxn>
                  <a:cxn ang="0">
                    <a:pos x="connsiteX2192" y="connsiteY2192"/>
                  </a:cxn>
                  <a:cxn ang="0">
                    <a:pos x="connsiteX2193" y="connsiteY2193"/>
                  </a:cxn>
                  <a:cxn ang="0">
                    <a:pos x="connsiteX2194" y="connsiteY2194"/>
                  </a:cxn>
                  <a:cxn ang="0">
                    <a:pos x="connsiteX2195" y="connsiteY2195"/>
                  </a:cxn>
                  <a:cxn ang="0">
                    <a:pos x="connsiteX2196" y="connsiteY2196"/>
                  </a:cxn>
                  <a:cxn ang="0">
                    <a:pos x="connsiteX2197" y="connsiteY2197"/>
                  </a:cxn>
                  <a:cxn ang="0">
                    <a:pos x="connsiteX2198" y="connsiteY2198"/>
                  </a:cxn>
                  <a:cxn ang="0">
                    <a:pos x="connsiteX2199" y="connsiteY2199"/>
                  </a:cxn>
                  <a:cxn ang="0">
                    <a:pos x="connsiteX2200" y="connsiteY2200"/>
                  </a:cxn>
                  <a:cxn ang="0">
                    <a:pos x="connsiteX2201" y="connsiteY2201"/>
                  </a:cxn>
                  <a:cxn ang="0">
                    <a:pos x="connsiteX2202" y="connsiteY2202"/>
                  </a:cxn>
                  <a:cxn ang="0">
                    <a:pos x="connsiteX2203" y="connsiteY2203"/>
                  </a:cxn>
                  <a:cxn ang="0">
                    <a:pos x="connsiteX2204" y="connsiteY2204"/>
                  </a:cxn>
                  <a:cxn ang="0">
                    <a:pos x="connsiteX2205" y="connsiteY2205"/>
                  </a:cxn>
                  <a:cxn ang="0">
                    <a:pos x="connsiteX2206" y="connsiteY2206"/>
                  </a:cxn>
                  <a:cxn ang="0">
                    <a:pos x="connsiteX2207" y="connsiteY2207"/>
                  </a:cxn>
                  <a:cxn ang="0">
                    <a:pos x="connsiteX2208" y="connsiteY2208"/>
                  </a:cxn>
                  <a:cxn ang="0">
                    <a:pos x="connsiteX2209" y="connsiteY2209"/>
                  </a:cxn>
                  <a:cxn ang="0">
                    <a:pos x="connsiteX2210" y="connsiteY2210"/>
                  </a:cxn>
                  <a:cxn ang="0">
                    <a:pos x="connsiteX2211" y="connsiteY2211"/>
                  </a:cxn>
                  <a:cxn ang="0">
                    <a:pos x="connsiteX2212" y="connsiteY2212"/>
                  </a:cxn>
                  <a:cxn ang="0">
                    <a:pos x="connsiteX2213" y="connsiteY2213"/>
                  </a:cxn>
                  <a:cxn ang="0">
                    <a:pos x="connsiteX2214" y="connsiteY2214"/>
                  </a:cxn>
                  <a:cxn ang="0">
                    <a:pos x="connsiteX2215" y="connsiteY2215"/>
                  </a:cxn>
                  <a:cxn ang="0">
                    <a:pos x="connsiteX2216" y="connsiteY2216"/>
                  </a:cxn>
                  <a:cxn ang="0">
                    <a:pos x="connsiteX2217" y="connsiteY2217"/>
                  </a:cxn>
                  <a:cxn ang="0">
                    <a:pos x="connsiteX2218" y="connsiteY2218"/>
                  </a:cxn>
                  <a:cxn ang="0">
                    <a:pos x="connsiteX2219" y="connsiteY2219"/>
                  </a:cxn>
                  <a:cxn ang="0">
                    <a:pos x="connsiteX2220" y="connsiteY2220"/>
                  </a:cxn>
                  <a:cxn ang="0">
                    <a:pos x="connsiteX2221" y="connsiteY2221"/>
                  </a:cxn>
                  <a:cxn ang="0">
                    <a:pos x="connsiteX2222" y="connsiteY2222"/>
                  </a:cxn>
                  <a:cxn ang="0">
                    <a:pos x="connsiteX2223" y="connsiteY2223"/>
                  </a:cxn>
                  <a:cxn ang="0">
                    <a:pos x="connsiteX2224" y="connsiteY2224"/>
                  </a:cxn>
                  <a:cxn ang="0">
                    <a:pos x="connsiteX2225" y="connsiteY2225"/>
                  </a:cxn>
                  <a:cxn ang="0">
                    <a:pos x="connsiteX2226" y="connsiteY2226"/>
                  </a:cxn>
                  <a:cxn ang="0">
                    <a:pos x="connsiteX2227" y="connsiteY2227"/>
                  </a:cxn>
                  <a:cxn ang="0">
                    <a:pos x="connsiteX2228" y="connsiteY2228"/>
                  </a:cxn>
                  <a:cxn ang="0">
                    <a:pos x="connsiteX2229" y="connsiteY2229"/>
                  </a:cxn>
                  <a:cxn ang="0">
                    <a:pos x="connsiteX2230" y="connsiteY2230"/>
                  </a:cxn>
                  <a:cxn ang="0">
                    <a:pos x="connsiteX2231" y="connsiteY2231"/>
                  </a:cxn>
                  <a:cxn ang="0">
                    <a:pos x="connsiteX2232" y="connsiteY2232"/>
                  </a:cxn>
                  <a:cxn ang="0">
                    <a:pos x="connsiteX2233" y="connsiteY2233"/>
                  </a:cxn>
                  <a:cxn ang="0">
                    <a:pos x="connsiteX2234" y="connsiteY2234"/>
                  </a:cxn>
                  <a:cxn ang="0">
                    <a:pos x="connsiteX2235" y="connsiteY2235"/>
                  </a:cxn>
                  <a:cxn ang="0">
                    <a:pos x="connsiteX2236" y="connsiteY2236"/>
                  </a:cxn>
                  <a:cxn ang="0">
                    <a:pos x="connsiteX2237" y="connsiteY2237"/>
                  </a:cxn>
                  <a:cxn ang="0">
                    <a:pos x="connsiteX2238" y="connsiteY2238"/>
                  </a:cxn>
                  <a:cxn ang="0">
                    <a:pos x="connsiteX2239" y="connsiteY2239"/>
                  </a:cxn>
                  <a:cxn ang="0">
                    <a:pos x="connsiteX2240" y="connsiteY2240"/>
                  </a:cxn>
                  <a:cxn ang="0">
                    <a:pos x="connsiteX2241" y="connsiteY2241"/>
                  </a:cxn>
                  <a:cxn ang="0">
                    <a:pos x="connsiteX2242" y="connsiteY2242"/>
                  </a:cxn>
                  <a:cxn ang="0">
                    <a:pos x="connsiteX2243" y="connsiteY2243"/>
                  </a:cxn>
                  <a:cxn ang="0">
                    <a:pos x="connsiteX2244" y="connsiteY2244"/>
                  </a:cxn>
                  <a:cxn ang="0">
                    <a:pos x="connsiteX2245" y="connsiteY2245"/>
                  </a:cxn>
                  <a:cxn ang="0">
                    <a:pos x="connsiteX2246" y="connsiteY2246"/>
                  </a:cxn>
                  <a:cxn ang="0">
                    <a:pos x="connsiteX2247" y="connsiteY2247"/>
                  </a:cxn>
                  <a:cxn ang="0">
                    <a:pos x="connsiteX2248" y="connsiteY2248"/>
                  </a:cxn>
                  <a:cxn ang="0">
                    <a:pos x="connsiteX2249" y="connsiteY2249"/>
                  </a:cxn>
                  <a:cxn ang="0">
                    <a:pos x="connsiteX2250" y="connsiteY2250"/>
                  </a:cxn>
                  <a:cxn ang="0">
                    <a:pos x="connsiteX2251" y="connsiteY2251"/>
                  </a:cxn>
                  <a:cxn ang="0">
                    <a:pos x="connsiteX2252" y="connsiteY2252"/>
                  </a:cxn>
                  <a:cxn ang="0">
                    <a:pos x="connsiteX2253" y="connsiteY2253"/>
                  </a:cxn>
                  <a:cxn ang="0">
                    <a:pos x="connsiteX2254" y="connsiteY2254"/>
                  </a:cxn>
                  <a:cxn ang="0">
                    <a:pos x="connsiteX2255" y="connsiteY2255"/>
                  </a:cxn>
                  <a:cxn ang="0">
                    <a:pos x="connsiteX2256" y="connsiteY2256"/>
                  </a:cxn>
                  <a:cxn ang="0">
                    <a:pos x="connsiteX2257" y="connsiteY2257"/>
                  </a:cxn>
                  <a:cxn ang="0">
                    <a:pos x="connsiteX2258" y="connsiteY2258"/>
                  </a:cxn>
                  <a:cxn ang="0">
                    <a:pos x="connsiteX2259" y="connsiteY2259"/>
                  </a:cxn>
                  <a:cxn ang="0">
                    <a:pos x="connsiteX2260" y="connsiteY2260"/>
                  </a:cxn>
                  <a:cxn ang="0">
                    <a:pos x="connsiteX2261" y="connsiteY2261"/>
                  </a:cxn>
                  <a:cxn ang="0">
                    <a:pos x="connsiteX2262" y="connsiteY2262"/>
                  </a:cxn>
                  <a:cxn ang="0">
                    <a:pos x="connsiteX2263" y="connsiteY2263"/>
                  </a:cxn>
                  <a:cxn ang="0">
                    <a:pos x="connsiteX2264" y="connsiteY2264"/>
                  </a:cxn>
                  <a:cxn ang="0">
                    <a:pos x="connsiteX2265" y="connsiteY2265"/>
                  </a:cxn>
                  <a:cxn ang="0">
                    <a:pos x="connsiteX2266" y="connsiteY2266"/>
                  </a:cxn>
                  <a:cxn ang="0">
                    <a:pos x="connsiteX2267" y="connsiteY2267"/>
                  </a:cxn>
                  <a:cxn ang="0">
                    <a:pos x="connsiteX2268" y="connsiteY2268"/>
                  </a:cxn>
                  <a:cxn ang="0">
                    <a:pos x="connsiteX2269" y="connsiteY2269"/>
                  </a:cxn>
                  <a:cxn ang="0">
                    <a:pos x="connsiteX2270" y="connsiteY2270"/>
                  </a:cxn>
                  <a:cxn ang="0">
                    <a:pos x="connsiteX2271" y="connsiteY2271"/>
                  </a:cxn>
                  <a:cxn ang="0">
                    <a:pos x="connsiteX2272" y="connsiteY2272"/>
                  </a:cxn>
                  <a:cxn ang="0">
                    <a:pos x="connsiteX2273" y="connsiteY2273"/>
                  </a:cxn>
                  <a:cxn ang="0">
                    <a:pos x="connsiteX2274" y="connsiteY2274"/>
                  </a:cxn>
                  <a:cxn ang="0">
                    <a:pos x="connsiteX2275" y="connsiteY2275"/>
                  </a:cxn>
                  <a:cxn ang="0">
                    <a:pos x="connsiteX2276" y="connsiteY2276"/>
                  </a:cxn>
                  <a:cxn ang="0">
                    <a:pos x="connsiteX2277" y="connsiteY2277"/>
                  </a:cxn>
                  <a:cxn ang="0">
                    <a:pos x="connsiteX2278" y="connsiteY2278"/>
                  </a:cxn>
                  <a:cxn ang="0">
                    <a:pos x="connsiteX2279" y="connsiteY2279"/>
                  </a:cxn>
                  <a:cxn ang="0">
                    <a:pos x="connsiteX2280" y="connsiteY2280"/>
                  </a:cxn>
                  <a:cxn ang="0">
                    <a:pos x="connsiteX2281" y="connsiteY2281"/>
                  </a:cxn>
                  <a:cxn ang="0">
                    <a:pos x="connsiteX2282" y="connsiteY2282"/>
                  </a:cxn>
                  <a:cxn ang="0">
                    <a:pos x="connsiteX2283" y="connsiteY2283"/>
                  </a:cxn>
                  <a:cxn ang="0">
                    <a:pos x="connsiteX2284" y="connsiteY2284"/>
                  </a:cxn>
                  <a:cxn ang="0">
                    <a:pos x="connsiteX2285" y="connsiteY2285"/>
                  </a:cxn>
                  <a:cxn ang="0">
                    <a:pos x="connsiteX2286" y="connsiteY2286"/>
                  </a:cxn>
                  <a:cxn ang="0">
                    <a:pos x="connsiteX2287" y="connsiteY2287"/>
                  </a:cxn>
                  <a:cxn ang="0">
                    <a:pos x="connsiteX2288" y="connsiteY2288"/>
                  </a:cxn>
                  <a:cxn ang="0">
                    <a:pos x="connsiteX2289" y="connsiteY2289"/>
                  </a:cxn>
                  <a:cxn ang="0">
                    <a:pos x="connsiteX2290" y="connsiteY2290"/>
                  </a:cxn>
                  <a:cxn ang="0">
                    <a:pos x="connsiteX2291" y="connsiteY2291"/>
                  </a:cxn>
                  <a:cxn ang="0">
                    <a:pos x="connsiteX2292" y="connsiteY2292"/>
                  </a:cxn>
                  <a:cxn ang="0">
                    <a:pos x="connsiteX2293" y="connsiteY2293"/>
                  </a:cxn>
                  <a:cxn ang="0">
                    <a:pos x="connsiteX2294" y="connsiteY2294"/>
                  </a:cxn>
                  <a:cxn ang="0">
                    <a:pos x="connsiteX2295" y="connsiteY2295"/>
                  </a:cxn>
                  <a:cxn ang="0">
                    <a:pos x="connsiteX2296" y="connsiteY2296"/>
                  </a:cxn>
                  <a:cxn ang="0">
                    <a:pos x="connsiteX2297" y="connsiteY2297"/>
                  </a:cxn>
                  <a:cxn ang="0">
                    <a:pos x="connsiteX2298" y="connsiteY2298"/>
                  </a:cxn>
                  <a:cxn ang="0">
                    <a:pos x="connsiteX2299" y="connsiteY2299"/>
                  </a:cxn>
                  <a:cxn ang="0">
                    <a:pos x="connsiteX2300" y="connsiteY2300"/>
                  </a:cxn>
                  <a:cxn ang="0">
                    <a:pos x="connsiteX2301" y="connsiteY2301"/>
                  </a:cxn>
                  <a:cxn ang="0">
                    <a:pos x="connsiteX2302" y="connsiteY2302"/>
                  </a:cxn>
                  <a:cxn ang="0">
                    <a:pos x="connsiteX2303" y="connsiteY2303"/>
                  </a:cxn>
                  <a:cxn ang="0">
                    <a:pos x="connsiteX2304" y="connsiteY2304"/>
                  </a:cxn>
                  <a:cxn ang="0">
                    <a:pos x="connsiteX2305" y="connsiteY2305"/>
                  </a:cxn>
                  <a:cxn ang="0">
                    <a:pos x="connsiteX2306" y="connsiteY2306"/>
                  </a:cxn>
                  <a:cxn ang="0">
                    <a:pos x="connsiteX2307" y="connsiteY2307"/>
                  </a:cxn>
                  <a:cxn ang="0">
                    <a:pos x="connsiteX2308" y="connsiteY2308"/>
                  </a:cxn>
                  <a:cxn ang="0">
                    <a:pos x="connsiteX2309" y="connsiteY2309"/>
                  </a:cxn>
                  <a:cxn ang="0">
                    <a:pos x="connsiteX2310" y="connsiteY2310"/>
                  </a:cxn>
                  <a:cxn ang="0">
                    <a:pos x="connsiteX2311" y="connsiteY2311"/>
                  </a:cxn>
                  <a:cxn ang="0">
                    <a:pos x="connsiteX2312" y="connsiteY2312"/>
                  </a:cxn>
                  <a:cxn ang="0">
                    <a:pos x="connsiteX2313" y="connsiteY2313"/>
                  </a:cxn>
                  <a:cxn ang="0">
                    <a:pos x="connsiteX2314" y="connsiteY2314"/>
                  </a:cxn>
                  <a:cxn ang="0">
                    <a:pos x="connsiteX2315" y="connsiteY2315"/>
                  </a:cxn>
                  <a:cxn ang="0">
                    <a:pos x="connsiteX2316" y="connsiteY2316"/>
                  </a:cxn>
                  <a:cxn ang="0">
                    <a:pos x="connsiteX2317" y="connsiteY2317"/>
                  </a:cxn>
                  <a:cxn ang="0">
                    <a:pos x="connsiteX2318" y="connsiteY2318"/>
                  </a:cxn>
                  <a:cxn ang="0">
                    <a:pos x="connsiteX2319" y="connsiteY2319"/>
                  </a:cxn>
                  <a:cxn ang="0">
                    <a:pos x="connsiteX2320" y="connsiteY2320"/>
                  </a:cxn>
                  <a:cxn ang="0">
                    <a:pos x="connsiteX2321" y="connsiteY2321"/>
                  </a:cxn>
                  <a:cxn ang="0">
                    <a:pos x="connsiteX2322" y="connsiteY2322"/>
                  </a:cxn>
                  <a:cxn ang="0">
                    <a:pos x="connsiteX2323" y="connsiteY2323"/>
                  </a:cxn>
                  <a:cxn ang="0">
                    <a:pos x="connsiteX2324" y="connsiteY2324"/>
                  </a:cxn>
                  <a:cxn ang="0">
                    <a:pos x="connsiteX2325" y="connsiteY2325"/>
                  </a:cxn>
                  <a:cxn ang="0">
                    <a:pos x="connsiteX2326" y="connsiteY2326"/>
                  </a:cxn>
                  <a:cxn ang="0">
                    <a:pos x="connsiteX2327" y="connsiteY2327"/>
                  </a:cxn>
                  <a:cxn ang="0">
                    <a:pos x="connsiteX2328" y="connsiteY2328"/>
                  </a:cxn>
                  <a:cxn ang="0">
                    <a:pos x="connsiteX2329" y="connsiteY2329"/>
                  </a:cxn>
                  <a:cxn ang="0">
                    <a:pos x="connsiteX2330" y="connsiteY2330"/>
                  </a:cxn>
                  <a:cxn ang="0">
                    <a:pos x="connsiteX2331" y="connsiteY2331"/>
                  </a:cxn>
                  <a:cxn ang="0">
                    <a:pos x="connsiteX2332" y="connsiteY2332"/>
                  </a:cxn>
                  <a:cxn ang="0">
                    <a:pos x="connsiteX2333" y="connsiteY2333"/>
                  </a:cxn>
                  <a:cxn ang="0">
                    <a:pos x="connsiteX2334" y="connsiteY2334"/>
                  </a:cxn>
                  <a:cxn ang="0">
                    <a:pos x="connsiteX2335" y="connsiteY2335"/>
                  </a:cxn>
                  <a:cxn ang="0">
                    <a:pos x="connsiteX2336" y="connsiteY2336"/>
                  </a:cxn>
                  <a:cxn ang="0">
                    <a:pos x="connsiteX2337" y="connsiteY2337"/>
                  </a:cxn>
                  <a:cxn ang="0">
                    <a:pos x="connsiteX2338" y="connsiteY2338"/>
                  </a:cxn>
                  <a:cxn ang="0">
                    <a:pos x="connsiteX2339" y="connsiteY2339"/>
                  </a:cxn>
                  <a:cxn ang="0">
                    <a:pos x="connsiteX2340" y="connsiteY2340"/>
                  </a:cxn>
                  <a:cxn ang="0">
                    <a:pos x="connsiteX2341" y="connsiteY2341"/>
                  </a:cxn>
                  <a:cxn ang="0">
                    <a:pos x="connsiteX2342" y="connsiteY2342"/>
                  </a:cxn>
                  <a:cxn ang="0">
                    <a:pos x="connsiteX2343" y="connsiteY2343"/>
                  </a:cxn>
                  <a:cxn ang="0">
                    <a:pos x="connsiteX2344" y="connsiteY2344"/>
                  </a:cxn>
                  <a:cxn ang="0">
                    <a:pos x="connsiteX2345" y="connsiteY2345"/>
                  </a:cxn>
                  <a:cxn ang="0">
                    <a:pos x="connsiteX2346" y="connsiteY2346"/>
                  </a:cxn>
                  <a:cxn ang="0">
                    <a:pos x="connsiteX2347" y="connsiteY2347"/>
                  </a:cxn>
                  <a:cxn ang="0">
                    <a:pos x="connsiteX2348" y="connsiteY2348"/>
                  </a:cxn>
                  <a:cxn ang="0">
                    <a:pos x="connsiteX2349" y="connsiteY2349"/>
                  </a:cxn>
                  <a:cxn ang="0">
                    <a:pos x="connsiteX2350" y="connsiteY2350"/>
                  </a:cxn>
                  <a:cxn ang="0">
                    <a:pos x="connsiteX2351" y="connsiteY2351"/>
                  </a:cxn>
                  <a:cxn ang="0">
                    <a:pos x="connsiteX2352" y="connsiteY2352"/>
                  </a:cxn>
                  <a:cxn ang="0">
                    <a:pos x="connsiteX2353" y="connsiteY2353"/>
                  </a:cxn>
                  <a:cxn ang="0">
                    <a:pos x="connsiteX2354" y="connsiteY2354"/>
                  </a:cxn>
                  <a:cxn ang="0">
                    <a:pos x="connsiteX2355" y="connsiteY2355"/>
                  </a:cxn>
                  <a:cxn ang="0">
                    <a:pos x="connsiteX2356" y="connsiteY2356"/>
                  </a:cxn>
                  <a:cxn ang="0">
                    <a:pos x="connsiteX2357" y="connsiteY2357"/>
                  </a:cxn>
                  <a:cxn ang="0">
                    <a:pos x="connsiteX2358" y="connsiteY2358"/>
                  </a:cxn>
                  <a:cxn ang="0">
                    <a:pos x="connsiteX2359" y="connsiteY2359"/>
                  </a:cxn>
                  <a:cxn ang="0">
                    <a:pos x="connsiteX2360" y="connsiteY2360"/>
                  </a:cxn>
                  <a:cxn ang="0">
                    <a:pos x="connsiteX2361" y="connsiteY2361"/>
                  </a:cxn>
                  <a:cxn ang="0">
                    <a:pos x="connsiteX2362" y="connsiteY2362"/>
                  </a:cxn>
                  <a:cxn ang="0">
                    <a:pos x="connsiteX2363" y="connsiteY2363"/>
                  </a:cxn>
                  <a:cxn ang="0">
                    <a:pos x="connsiteX2364" y="connsiteY2364"/>
                  </a:cxn>
                  <a:cxn ang="0">
                    <a:pos x="connsiteX2365" y="connsiteY2365"/>
                  </a:cxn>
                  <a:cxn ang="0">
                    <a:pos x="connsiteX2366" y="connsiteY2366"/>
                  </a:cxn>
                  <a:cxn ang="0">
                    <a:pos x="connsiteX2367" y="connsiteY2367"/>
                  </a:cxn>
                  <a:cxn ang="0">
                    <a:pos x="connsiteX2368" y="connsiteY2368"/>
                  </a:cxn>
                  <a:cxn ang="0">
                    <a:pos x="connsiteX2369" y="connsiteY2369"/>
                  </a:cxn>
                  <a:cxn ang="0">
                    <a:pos x="connsiteX2370" y="connsiteY2370"/>
                  </a:cxn>
                  <a:cxn ang="0">
                    <a:pos x="connsiteX2371" y="connsiteY2371"/>
                  </a:cxn>
                  <a:cxn ang="0">
                    <a:pos x="connsiteX2372" y="connsiteY2372"/>
                  </a:cxn>
                  <a:cxn ang="0">
                    <a:pos x="connsiteX2373" y="connsiteY2373"/>
                  </a:cxn>
                  <a:cxn ang="0">
                    <a:pos x="connsiteX2374" y="connsiteY2374"/>
                  </a:cxn>
                  <a:cxn ang="0">
                    <a:pos x="connsiteX2375" y="connsiteY2375"/>
                  </a:cxn>
                  <a:cxn ang="0">
                    <a:pos x="connsiteX2376" y="connsiteY2376"/>
                  </a:cxn>
                  <a:cxn ang="0">
                    <a:pos x="connsiteX2377" y="connsiteY2377"/>
                  </a:cxn>
                  <a:cxn ang="0">
                    <a:pos x="connsiteX2378" y="connsiteY2378"/>
                  </a:cxn>
                  <a:cxn ang="0">
                    <a:pos x="connsiteX2379" y="connsiteY2379"/>
                  </a:cxn>
                  <a:cxn ang="0">
                    <a:pos x="connsiteX2380" y="connsiteY2380"/>
                  </a:cxn>
                  <a:cxn ang="0">
                    <a:pos x="connsiteX2381" y="connsiteY2381"/>
                  </a:cxn>
                  <a:cxn ang="0">
                    <a:pos x="connsiteX2382" y="connsiteY2382"/>
                  </a:cxn>
                  <a:cxn ang="0">
                    <a:pos x="connsiteX2383" y="connsiteY2383"/>
                  </a:cxn>
                  <a:cxn ang="0">
                    <a:pos x="connsiteX2384" y="connsiteY2384"/>
                  </a:cxn>
                  <a:cxn ang="0">
                    <a:pos x="connsiteX2385" y="connsiteY2385"/>
                  </a:cxn>
                  <a:cxn ang="0">
                    <a:pos x="connsiteX2386" y="connsiteY2386"/>
                  </a:cxn>
                  <a:cxn ang="0">
                    <a:pos x="connsiteX2387" y="connsiteY2387"/>
                  </a:cxn>
                  <a:cxn ang="0">
                    <a:pos x="connsiteX2388" y="connsiteY2388"/>
                  </a:cxn>
                  <a:cxn ang="0">
                    <a:pos x="connsiteX2389" y="connsiteY2389"/>
                  </a:cxn>
                  <a:cxn ang="0">
                    <a:pos x="connsiteX2390" y="connsiteY2390"/>
                  </a:cxn>
                  <a:cxn ang="0">
                    <a:pos x="connsiteX2391" y="connsiteY2391"/>
                  </a:cxn>
                  <a:cxn ang="0">
                    <a:pos x="connsiteX2392" y="connsiteY2392"/>
                  </a:cxn>
                  <a:cxn ang="0">
                    <a:pos x="connsiteX2393" y="connsiteY2393"/>
                  </a:cxn>
                  <a:cxn ang="0">
                    <a:pos x="connsiteX2394" y="connsiteY2394"/>
                  </a:cxn>
                  <a:cxn ang="0">
                    <a:pos x="connsiteX2395" y="connsiteY2395"/>
                  </a:cxn>
                  <a:cxn ang="0">
                    <a:pos x="connsiteX2396" y="connsiteY2396"/>
                  </a:cxn>
                  <a:cxn ang="0">
                    <a:pos x="connsiteX2397" y="connsiteY2397"/>
                  </a:cxn>
                  <a:cxn ang="0">
                    <a:pos x="connsiteX2398" y="connsiteY2398"/>
                  </a:cxn>
                  <a:cxn ang="0">
                    <a:pos x="connsiteX2399" y="connsiteY2399"/>
                  </a:cxn>
                  <a:cxn ang="0">
                    <a:pos x="connsiteX2400" y="connsiteY2400"/>
                  </a:cxn>
                  <a:cxn ang="0">
                    <a:pos x="connsiteX2401" y="connsiteY2401"/>
                  </a:cxn>
                  <a:cxn ang="0">
                    <a:pos x="connsiteX2402" y="connsiteY2402"/>
                  </a:cxn>
                  <a:cxn ang="0">
                    <a:pos x="connsiteX2403" y="connsiteY2403"/>
                  </a:cxn>
                  <a:cxn ang="0">
                    <a:pos x="connsiteX2404" y="connsiteY2404"/>
                  </a:cxn>
                  <a:cxn ang="0">
                    <a:pos x="connsiteX2405" y="connsiteY2405"/>
                  </a:cxn>
                  <a:cxn ang="0">
                    <a:pos x="connsiteX2406" y="connsiteY2406"/>
                  </a:cxn>
                  <a:cxn ang="0">
                    <a:pos x="connsiteX2407" y="connsiteY2407"/>
                  </a:cxn>
                  <a:cxn ang="0">
                    <a:pos x="connsiteX2408" y="connsiteY2408"/>
                  </a:cxn>
                  <a:cxn ang="0">
                    <a:pos x="connsiteX2409" y="connsiteY2409"/>
                  </a:cxn>
                  <a:cxn ang="0">
                    <a:pos x="connsiteX2410" y="connsiteY2410"/>
                  </a:cxn>
                  <a:cxn ang="0">
                    <a:pos x="connsiteX2411" y="connsiteY2411"/>
                  </a:cxn>
                  <a:cxn ang="0">
                    <a:pos x="connsiteX2412" y="connsiteY2412"/>
                  </a:cxn>
                  <a:cxn ang="0">
                    <a:pos x="connsiteX2413" y="connsiteY2413"/>
                  </a:cxn>
                  <a:cxn ang="0">
                    <a:pos x="connsiteX2414" y="connsiteY2414"/>
                  </a:cxn>
                  <a:cxn ang="0">
                    <a:pos x="connsiteX2415" y="connsiteY2415"/>
                  </a:cxn>
                  <a:cxn ang="0">
                    <a:pos x="connsiteX2416" y="connsiteY2416"/>
                  </a:cxn>
                  <a:cxn ang="0">
                    <a:pos x="connsiteX2417" y="connsiteY2417"/>
                  </a:cxn>
                  <a:cxn ang="0">
                    <a:pos x="connsiteX2418" y="connsiteY2418"/>
                  </a:cxn>
                  <a:cxn ang="0">
                    <a:pos x="connsiteX2419" y="connsiteY2419"/>
                  </a:cxn>
                  <a:cxn ang="0">
                    <a:pos x="connsiteX2420" y="connsiteY2420"/>
                  </a:cxn>
                  <a:cxn ang="0">
                    <a:pos x="connsiteX2421" y="connsiteY2421"/>
                  </a:cxn>
                  <a:cxn ang="0">
                    <a:pos x="connsiteX2422" y="connsiteY2422"/>
                  </a:cxn>
                  <a:cxn ang="0">
                    <a:pos x="connsiteX2423" y="connsiteY2423"/>
                  </a:cxn>
                  <a:cxn ang="0">
                    <a:pos x="connsiteX2424" y="connsiteY2424"/>
                  </a:cxn>
                  <a:cxn ang="0">
                    <a:pos x="connsiteX2425" y="connsiteY2425"/>
                  </a:cxn>
                  <a:cxn ang="0">
                    <a:pos x="connsiteX2426" y="connsiteY2426"/>
                  </a:cxn>
                  <a:cxn ang="0">
                    <a:pos x="connsiteX2427" y="connsiteY2427"/>
                  </a:cxn>
                  <a:cxn ang="0">
                    <a:pos x="connsiteX2428" y="connsiteY2428"/>
                  </a:cxn>
                  <a:cxn ang="0">
                    <a:pos x="connsiteX2429" y="connsiteY2429"/>
                  </a:cxn>
                  <a:cxn ang="0">
                    <a:pos x="connsiteX2430" y="connsiteY2430"/>
                  </a:cxn>
                  <a:cxn ang="0">
                    <a:pos x="connsiteX2431" y="connsiteY2431"/>
                  </a:cxn>
                  <a:cxn ang="0">
                    <a:pos x="connsiteX2432" y="connsiteY2432"/>
                  </a:cxn>
                  <a:cxn ang="0">
                    <a:pos x="connsiteX2433" y="connsiteY2433"/>
                  </a:cxn>
                  <a:cxn ang="0">
                    <a:pos x="connsiteX2434" y="connsiteY2434"/>
                  </a:cxn>
                  <a:cxn ang="0">
                    <a:pos x="connsiteX2435" y="connsiteY2435"/>
                  </a:cxn>
                  <a:cxn ang="0">
                    <a:pos x="connsiteX2436" y="connsiteY2436"/>
                  </a:cxn>
                  <a:cxn ang="0">
                    <a:pos x="connsiteX2437" y="connsiteY2437"/>
                  </a:cxn>
                  <a:cxn ang="0">
                    <a:pos x="connsiteX2438" y="connsiteY2438"/>
                  </a:cxn>
                  <a:cxn ang="0">
                    <a:pos x="connsiteX2439" y="connsiteY2439"/>
                  </a:cxn>
                  <a:cxn ang="0">
                    <a:pos x="connsiteX2440" y="connsiteY2440"/>
                  </a:cxn>
                  <a:cxn ang="0">
                    <a:pos x="connsiteX2441" y="connsiteY2441"/>
                  </a:cxn>
                  <a:cxn ang="0">
                    <a:pos x="connsiteX2442" y="connsiteY2442"/>
                  </a:cxn>
                  <a:cxn ang="0">
                    <a:pos x="connsiteX2443" y="connsiteY2443"/>
                  </a:cxn>
                  <a:cxn ang="0">
                    <a:pos x="connsiteX2444" y="connsiteY2444"/>
                  </a:cxn>
                  <a:cxn ang="0">
                    <a:pos x="connsiteX2445" y="connsiteY2445"/>
                  </a:cxn>
                  <a:cxn ang="0">
                    <a:pos x="connsiteX2446" y="connsiteY2446"/>
                  </a:cxn>
                  <a:cxn ang="0">
                    <a:pos x="connsiteX2447" y="connsiteY2447"/>
                  </a:cxn>
                  <a:cxn ang="0">
                    <a:pos x="connsiteX2448" y="connsiteY2448"/>
                  </a:cxn>
                  <a:cxn ang="0">
                    <a:pos x="connsiteX2449" y="connsiteY2449"/>
                  </a:cxn>
                  <a:cxn ang="0">
                    <a:pos x="connsiteX2450" y="connsiteY2450"/>
                  </a:cxn>
                  <a:cxn ang="0">
                    <a:pos x="connsiteX2451" y="connsiteY2451"/>
                  </a:cxn>
                  <a:cxn ang="0">
                    <a:pos x="connsiteX2452" y="connsiteY2452"/>
                  </a:cxn>
                  <a:cxn ang="0">
                    <a:pos x="connsiteX2453" y="connsiteY2453"/>
                  </a:cxn>
                  <a:cxn ang="0">
                    <a:pos x="connsiteX2454" y="connsiteY2454"/>
                  </a:cxn>
                  <a:cxn ang="0">
                    <a:pos x="connsiteX2455" y="connsiteY2455"/>
                  </a:cxn>
                  <a:cxn ang="0">
                    <a:pos x="connsiteX2456" y="connsiteY2456"/>
                  </a:cxn>
                  <a:cxn ang="0">
                    <a:pos x="connsiteX2457" y="connsiteY2457"/>
                  </a:cxn>
                  <a:cxn ang="0">
                    <a:pos x="connsiteX2458" y="connsiteY2458"/>
                  </a:cxn>
                  <a:cxn ang="0">
                    <a:pos x="connsiteX2459" y="connsiteY2459"/>
                  </a:cxn>
                  <a:cxn ang="0">
                    <a:pos x="connsiteX2460" y="connsiteY2460"/>
                  </a:cxn>
                  <a:cxn ang="0">
                    <a:pos x="connsiteX2461" y="connsiteY2461"/>
                  </a:cxn>
                  <a:cxn ang="0">
                    <a:pos x="connsiteX2462" y="connsiteY2462"/>
                  </a:cxn>
                  <a:cxn ang="0">
                    <a:pos x="connsiteX2463" y="connsiteY2463"/>
                  </a:cxn>
                  <a:cxn ang="0">
                    <a:pos x="connsiteX2464" y="connsiteY2464"/>
                  </a:cxn>
                  <a:cxn ang="0">
                    <a:pos x="connsiteX2465" y="connsiteY2465"/>
                  </a:cxn>
                  <a:cxn ang="0">
                    <a:pos x="connsiteX2466" y="connsiteY2466"/>
                  </a:cxn>
                  <a:cxn ang="0">
                    <a:pos x="connsiteX2467" y="connsiteY2467"/>
                  </a:cxn>
                  <a:cxn ang="0">
                    <a:pos x="connsiteX2468" y="connsiteY2468"/>
                  </a:cxn>
                  <a:cxn ang="0">
                    <a:pos x="connsiteX2469" y="connsiteY2469"/>
                  </a:cxn>
                  <a:cxn ang="0">
                    <a:pos x="connsiteX2470" y="connsiteY2470"/>
                  </a:cxn>
                  <a:cxn ang="0">
                    <a:pos x="connsiteX2471" y="connsiteY2471"/>
                  </a:cxn>
                  <a:cxn ang="0">
                    <a:pos x="connsiteX2472" y="connsiteY2472"/>
                  </a:cxn>
                  <a:cxn ang="0">
                    <a:pos x="connsiteX2473" y="connsiteY2473"/>
                  </a:cxn>
                  <a:cxn ang="0">
                    <a:pos x="connsiteX2474" y="connsiteY2474"/>
                  </a:cxn>
                  <a:cxn ang="0">
                    <a:pos x="connsiteX2475" y="connsiteY2475"/>
                  </a:cxn>
                  <a:cxn ang="0">
                    <a:pos x="connsiteX2476" y="connsiteY2476"/>
                  </a:cxn>
                  <a:cxn ang="0">
                    <a:pos x="connsiteX2477" y="connsiteY2477"/>
                  </a:cxn>
                  <a:cxn ang="0">
                    <a:pos x="connsiteX2478" y="connsiteY2478"/>
                  </a:cxn>
                  <a:cxn ang="0">
                    <a:pos x="connsiteX2479" y="connsiteY2479"/>
                  </a:cxn>
                  <a:cxn ang="0">
                    <a:pos x="connsiteX2480" y="connsiteY2480"/>
                  </a:cxn>
                  <a:cxn ang="0">
                    <a:pos x="connsiteX2481" y="connsiteY2481"/>
                  </a:cxn>
                  <a:cxn ang="0">
                    <a:pos x="connsiteX2482" y="connsiteY2482"/>
                  </a:cxn>
                  <a:cxn ang="0">
                    <a:pos x="connsiteX2483" y="connsiteY2483"/>
                  </a:cxn>
                  <a:cxn ang="0">
                    <a:pos x="connsiteX2484" y="connsiteY2484"/>
                  </a:cxn>
                  <a:cxn ang="0">
                    <a:pos x="connsiteX2485" y="connsiteY2485"/>
                  </a:cxn>
                  <a:cxn ang="0">
                    <a:pos x="connsiteX2486" y="connsiteY2486"/>
                  </a:cxn>
                  <a:cxn ang="0">
                    <a:pos x="connsiteX2487" y="connsiteY2487"/>
                  </a:cxn>
                  <a:cxn ang="0">
                    <a:pos x="connsiteX2488" y="connsiteY2488"/>
                  </a:cxn>
                  <a:cxn ang="0">
                    <a:pos x="connsiteX2489" y="connsiteY2489"/>
                  </a:cxn>
                  <a:cxn ang="0">
                    <a:pos x="connsiteX2490" y="connsiteY2490"/>
                  </a:cxn>
                  <a:cxn ang="0">
                    <a:pos x="connsiteX2491" y="connsiteY2491"/>
                  </a:cxn>
                  <a:cxn ang="0">
                    <a:pos x="connsiteX2492" y="connsiteY2492"/>
                  </a:cxn>
                  <a:cxn ang="0">
                    <a:pos x="connsiteX2493" y="connsiteY2493"/>
                  </a:cxn>
                  <a:cxn ang="0">
                    <a:pos x="connsiteX2494" y="connsiteY2494"/>
                  </a:cxn>
                  <a:cxn ang="0">
                    <a:pos x="connsiteX2495" y="connsiteY2495"/>
                  </a:cxn>
                  <a:cxn ang="0">
                    <a:pos x="connsiteX2496" y="connsiteY2496"/>
                  </a:cxn>
                  <a:cxn ang="0">
                    <a:pos x="connsiteX2497" y="connsiteY2497"/>
                  </a:cxn>
                  <a:cxn ang="0">
                    <a:pos x="connsiteX2498" y="connsiteY2498"/>
                  </a:cxn>
                  <a:cxn ang="0">
                    <a:pos x="connsiteX2499" y="connsiteY2499"/>
                  </a:cxn>
                  <a:cxn ang="0">
                    <a:pos x="connsiteX2500" y="connsiteY2500"/>
                  </a:cxn>
                  <a:cxn ang="0">
                    <a:pos x="connsiteX2501" y="connsiteY2501"/>
                  </a:cxn>
                  <a:cxn ang="0">
                    <a:pos x="connsiteX2502" y="connsiteY2502"/>
                  </a:cxn>
                  <a:cxn ang="0">
                    <a:pos x="connsiteX2503" y="connsiteY2503"/>
                  </a:cxn>
                  <a:cxn ang="0">
                    <a:pos x="connsiteX2504" y="connsiteY2504"/>
                  </a:cxn>
                  <a:cxn ang="0">
                    <a:pos x="connsiteX2505" y="connsiteY2505"/>
                  </a:cxn>
                  <a:cxn ang="0">
                    <a:pos x="connsiteX2506" y="connsiteY2506"/>
                  </a:cxn>
                  <a:cxn ang="0">
                    <a:pos x="connsiteX2507" y="connsiteY2507"/>
                  </a:cxn>
                  <a:cxn ang="0">
                    <a:pos x="connsiteX2508" y="connsiteY2508"/>
                  </a:cxn>
                  <a:cxn ang="0">
                    <a:pos x="connsiteX2509" y="connsiteY2509"/>
                  </a:cxn>
                  <a:cxn ang="0">
                    <a:pos x="connsiteX2510" y="connsiteY2510"/>
                  </a:cxn>
                  <a:cxn ang="0">
                    <a:pos x="connsiteX2511" y="connsiteY2511"/>
                  </a:cxn>
                  <a:cxn ang="0">
                    <a:pos x="connsiteX2512" y="connsiteY2512"/>
                  </a:cxn>
                  <a:cxn ang="0">
                    <a:pos x="connsiteX2513" y="connsiteY2513"/>
                  </a:cxn>
                  <a:cxn ang="0">
                    <a:pos x="connsiteX2514" y="connsiteY2514"/>
                  </a:cxn>
                  <a:cxn ang="0">
                    <a:pos x="connsiteX2515" y="connsiteY2515"/>
                  </a:cxn>
                  <a:cxn ang="0">
                    <a:pos x="connsiteX2516" y="connsiteY2516"/>
                  </a:cxn>
                  <a:cxn ang="0">
                    <a:pos x="connsiteX2517" y="connsiteY2517"/>
                  </a:cxn>
                  <a:cxn ang="0">
                    <a:pos x="connsiteX2518" y="connsiteY2518"/>
                  </a:cxn>
                  <a:cxn ang="0">
                    <a:pos x="connsiteX2519" y="connsiteY2519"/>
                  </a:cxn>
                  <a:cxn ang="0">
                    <a:pos x="connsiteX2520" y="connsiteY2520"/>
                  </a:cxn>
                  <a:cxn ang="0">
                    <a:pos x="connsiteX2521" y="connsiteY2521"/>
                  </a:cxn>
                  <a:cxn ang="0">
                    <a:pos x="connsiteX2522" y="connsiteY2522"/>
                  </a:cxn>
                  <a:cxn ang="0">
                    <a:pos x="connsiteX2523" y="connsiteY2523"/>
                  </a:cxn>
                  <a:cxn ang="0">
                    <a:pos x="connsiteX2524" y="connsiteY2524"/>
                  </a:cxn>
                  <a:cxn ang="0">
                    <a:pos x="connsiteX2525" y="connsiteY2525"/>
                  </a:cxn>
                  <a:cxn ang="0">
                    <a:pos x="connsiteX2526" y="connsiteY2526"/>
                  </a:cxn>
                  <a:cxn ang="0">
                    <a:pos x="connsiteX2527" y="connsiteY2527"/>
                  </a:cxn>
                  <a:cxn ang="0">
                    <a:pos x="connsiteX2528" y="connsiteY2528"/>
                  </a:cxn>
                  <a:cxn ang="0">
                    <a:pos x="connsiteX2529" y="connsiteY2529"/>
                  </a:cxn>
                  <a:cxn ang="0">
                    <a:pos x="connsiteX2530" y="connsiteY2530"/>
                  </a:cxn>
                  <a:cxn ang="0">
                    <a:pos x="connsiteX2531" y="connsiteY2531"/>
                  </a:cxn>
                  <a:cxn ang="0">
                    <a:pos x="connsiteX2532" y="connsiteY2532"/>
                  </a:cxn>
                  <a:cxn ang="0">
                    <a:pos x="connsiteX2533" y="connsiteY2533"/>
                  </a:cxn>
                  <a:cxn ang="0">
                    <a:pos x="connsiteX2534" y="connsiteY2534"/>
                  </a:cxn>
                  <a:cxn ang="0">
                    <a:pos x="connsiteX2535" y="connsiteY2535"/>
                  </a:cxn>
                  <a:cxn ang="0">
                    <a:pos x="connsiteX2536" y="connsiteY2536"/>
                  </a:cxn>
                  <a:cxn ang="0">
                    <a:pos x="connsiteX2537" y="connsiteY2537"/>
                  </a:cxn>
                  <a:cxn ang="0">
                    <a:pos x="connsiteX2538" y="connsiteY2538"/>
                  </a:cxn>
                  <a:cxn ang="0">
                    <a:pos x="connsiteX2539" y="connsiteY2539"/>
                  </a:cxn>
                  <a:cxn ang="0">
                    <a:pos x="connsiteX2540" y="connsiteY2540"/>
                  </a:cxn>
                  <a:cxn ang="0">
                    <a:pos x="connsiteX2541" y="connsiteY2541"/>
                  </a:cxn>
                  <a:cxn ang="0">
                    <a:pos x="connsiteX2542" y="connsiteY2542"/>
                  </a:cxn>
                  <a:cxn ang="0">
                    <a:pos x="connsiteX2543" y="connsiteY2543"/>
                  </a:cxn>
                  <a:cxn ang="0">
                    <a:pos x="connsiteX2544" y="connsiteY2544"/>
                  </a:cxn>
                  <a:cxn ang="0">
                    <a:pos x="connsiteX2545" y="connsiteY2545"/>
                  </a:cxn>
                  <a:cxn ang="0">
                    <a:pos x="connsiteX2546" y="connsiteY2546"/>
                  </a:cxn>
                  <a:cxn ang="0">
                    <a:pos x="connsiteX2547" y="connsiteY2547"/>
                  </a:cxn>
                  <a:cxn ang="0">
                    <a:pos x="connsiteX2548" y="connsiteY2548"/>
                  </a:cxn>
                  <a:cxn ang="0">
                    <a:pos x="connsiteX2549" y="connsiteY2549"/>
                  </a:cxn>
                  <a:cxn ang="0">
                    <a:pos x="connsiteX2550" y="connsiteY2550"/>
                  </a:cxn>
                  <a:cxn ang="0">
                    <a:pos x="connsiteX2551" y="connsiteY2551"/>
                  </a:cxn>
                  <a:cxn ang="0">
                    <a:pos x="connsiteX2552" y="connsiteY2552"/>
                  </a:cxn>
                  <a:cxn ang="0">
                    <a:pos x="connsiteX2553" y="connsiteY2553"/>
                  </a:cxn>
                  <a:cxn ang="0">
                    <a:pos x="connsiteX2554" y="connsiteY2554"/>
                  </a:cxn>
                  <a:cxn ang="0">
                    <a:pos x="connsiteX2555" y="connsiteY2555"/>
                  </a:cxn>
                  <a:cxn ang="0">
                    <a:pos x="connsiteX2556" y="connsiteY2556"/>
                  </a:cxn>
                  <a:cxn ang="0">
                    <a:pos x="connsiteX2557" y="connsiteY2557"/>
                  </a:cxn>
                  <a:cxn ang="0">
                    <a:pos x="connsiteX2558" y="connsiteY2558"/>
                  </a:cxn>
                  <a:cxn ang="0">
                    <a:pos x="connsiteX2559" y="connsiteY2559"/>
                  </a:cxn>
                  <a:cxn ang="0">
                    <a:pos x="connsiteX2560" y="connsiteY2560"/>
                  </a:cxn>
                  <a:cxn ang="0">
                    <a:pos x="connsiteX2561" y="connsiteY2561"/>
                  </a:cxn>
                  <a:cxn ang="0">
                    <a:pos x="connsiteX2562" y="connsiteY2562"/>
                  </a:cxn>
                  <a:cxn ang="0">
                    <a:pos x="connsiteX2563" y="connsiteY2563"/>
                  </a:cxn>
                  <a:cxn ang="0">
                    <a:pos x="connsiteX2564" y="connsiteY2564"/>
                  </a:cxn>
                  <a:cxn ang="0">
                    <a:pos x="connsiteX2565" y="connsiteY2565"/>
                  </a:cxn>
                  <a:cxn ang="0">
                    <a:pos x="connsiteX2566" y="connsiteY2566"/>
                  </a:cxn>
                  <a:cxn ang="0">
                    <a:pos x="connsiteX2567" y="connsiteY2567"/>
                  </a:cxn>
                  <a:cxn ang="0">
                    <a:pos x="connsiteX2568" y="connsiteY2568"/>
                  </a:cxn>
                  <a:cxn ang="0">
                    <a:pos x="connsiteX2569" y="connsiteY2569"/>
                  </a:cxn>
                  <a:cxn ang="0">
                    <a:pos x="connsiteX2570" y="connsiteY2570"/>
                  </a:cxn>
                  <a:cxn ang="0">
                    <a:pos x="connsiteX2571" y="connsiteY2571"/>
                  </a:cxn>
                  <a:cxn ang="0">
                    <a:pos x="connsiteX2572" y="connsiteY2572"/>
                  </a:cxn>
                  <a:cxn ang="0">
                    <a:pos x="connsiteX2573" y="connsiteY2573"/>
                  </a:cxn>
                  <a:cxn ang="0">
                    <a:pos x="connsiteX2574" y="connsiteY2574"/>
                  </a:cxn>
                  <a:cxn ang="0">
                    <a:pos x="connsiteX2575" y="connsiteY2575"/>
                  </a:cxn>
                  <a:cxn ang="0">
                    <a:pos x="connsiteX2576" y="connsiteY2576"/>
                  </a:cxn>
                  <a:cxn ang="0">
                    <a:pos x="connsiteX2577" y="connsiteY2577"/>
                  </a:cxn>
                  <a:cxn ang="0">
                    <a:pos x="connsiteX2578" y="connsiteY2578"/>
                  </a:cxn>
                  <a:cxn ang="0">
                    <a:pos x="connsiteX2579" y="connsiteY2579"/>
                  </a:cxn>
                  <a:cxn ang="0">
                    <a:pos x="connsiteX2580" y="connsiteY2580"/>
                  </a:cxn>
                  <a:cxn ang="0">
                    <a:pos x="connsiteX2581" y="connsiteY2581"/>
                  </a:cxn>
                  <a:cxn ang="0">
                    <a:pos x="connsiteX2582" y="connsiteY2582"/>
                  </a:cxn>
                  <a:cxn ang="0">
                    <a:pos x="connsiteX2583" y="connsiteY2583"/>
                  </a:cxn>
                  <a:cxn ang="0">
                    <a:pos x="connsiteX2584" y="connsiteY2584"/>
                  </a:cxn>
                  <a:cxn ang="0">
                    <a:pos x="connsiteX2585" y="connsiteY2585"/>
                  </a:cxn>
                  <a:cxn ang="0">
                    <a:pos x="connsiteX2586" y="connsiteY2586"/>
                  </a:cxn>
                  <a:cxn ang="0">
                    <a:pos x="connsiteX2587" y="connsiteY2587"/>
                  </a:cxn>
                  <a:cxn ang="0">
                    <a:pos x="connsiteX2588" y="connsiteY2588"/>
                  </a:cxn>
                  <a:cxn ang="0">
                    <a:pos x="connsiteX2589" y="connsiteY2589"/>
                  </a:cxn>
                  <a:cxn ang="0">
                    <a:pos x="connsiteX2590" y="connsiteY2590"/>
                  </a:cxn>
                  <a:cxn ang="0">
                    <a:pos x="connsiteX2591" y="connsiteY2591"/>
                  </a:cxn>
                  <a:cxn ang="0">
                    <a:pos x="connsiteX2592" y="connsiteY2592"/>
                  </a:cxn>
                  <a:cxn ang="0">
                    <a:pos x="connsiteX2593" y="connsiteY2593"/>
                  </a:cxn>
                  <a:cxn ang="0">
                    <a:pos x="connsiteX2594" y="connsiteY2594"/>
                  </a:cxn>
                  <a:cxn ang="0">
                    <a:pos x="connsiteX2595" y="connsiteY2595"/>
                  </a:cxn>
                  <a:cxn ang="0">
                    <a:pos x="connsiteX2596" y="connsiteY2596"/>
                  </a:cxn>
                  <a:cxn ang="0">
                    <a:pos x="connsiteX2597" y="connsiteY2597"/>
                  </a:cxn>
                  <a:cxn ang="0">
                    <a:pos x="connsiteX2598" y="connsiteY2598"/>
                  </a:cxn>
                  <a:cxn ang="0">
                    <a:pos x="connsiteX2599" y="connsiteY2599"/>
                  </a:cxn>
                  <a:cxn ang="0">
                    <a:pos x="connsiteX2600" y="connsiteY2600"/>
                  </a:cxn>
                  <a:cxn ang="0">
                    <a:pos x="connsiteX2601" y="connsiteY2601"/>
                  </a:cxn>
                  <a:cxn ang="0">
                    <a:pos x="connsiteX2602" y="connsiteY2602"/>
                  </a:cxn>
                  <a:cxn ang="0">
                    <a:pos x="connsiteX2603" y="connsiteY2603"/>
                  </a:cxn>
                  <a:cxn ang="0">
                    <a:pos x="connsiteX2604" y="connsiteY2604"/>
                  </a:cxn>
                  <a:cxn ang="0">
                    <a:pos x="connsiteX2605" y="connsiteY2605"/>
                  </a:cxn>
                  <a:cxn ang="0">
                    <a:pos x="connsiteX2606" y="connsiteY2606"/>
                  </a:cxn>
                  <a:cxn ang="0">
                    <a:pos x="connsiteX2607" y="connsiteY2607"/>
                  </a:cxn>
                  <a:cxn ang="0">
                    <a:pos x="connsiteX2608" y="connsiteY2608"/>
                  </a:cxn>
                  <a:cxn ang="0">
                    <a:pos x="connsiteX2609" y="connsiteY2609"/>
                  </a:cxn>
                  <a:cxn ang="0">
                    <a:pos x="connsiteX2610" y="connsiteY2610"/>
                  </a:cxn>
                  <a:cxn ang="0">
                    <a:pos x="connsiteX2611" y="connsiteY2611"/>
                  </a:cxn>
                  <a:cxn ang="0">
                    <a:pos x="connsiteX2612" y="connsiteY2612"/>
                  </a:cxn>
                  <a:cxn ang="0">
                    <a:pos x="connsiteX2613" y="connsiteY2613"/>
                  </a:cxn>
                  <a:cxn ang="0">
                    <a:pos x="connsiteX2614" y="connsiteY2614"/>
                  </a:cxn>
                  <a:cxn ang="0">
                    <a:pos x="connsiteX2615" y="connsiteY2615"/>
                  </a:cxn>
                  <a:cxn ang="0">
                    <a:pos x="connsiteX2616" y="connsiteY2616"/>
                  </a:cxn>
                  <a:cxn ang="0">
                    <a:pos x="connsiteX2617" y="connsiteY2617"/>
                  </a:cxn>
                  <a:cxn ang="0">
                    <a:pos x="connsiteX2618" y="connsiteY2618"/>
                  </a:cxn>
                  <a:cxn ang="0">
                    <a:pos x="connsiteX2619" y="connsiteY2619"/>
                  </a:cxn>
                  <a:cxn ang="0">
                    <a:pos x="connsiteX2620" y="connsiteY2620"/>
                  </a:cxn>
                  <a:cxn ang="0">
                    <a:pos x="connsiteX2621" y="connsiteY2621"/>
                  </a:cxn>
                  <a:cxn ang="0">
                    <a:pos x="connsiteX2622" y="connsiteY2622"/>
                  </a:cxn>
                  <a:cxn ang="0">
                    <a:pos x="connsiteX2623" y="connsiteY2623"/>
                  </a:cxn>
                  <a:cxn ang="0">
                    <a:pos x="connsiteX2624" y="connsiteY2624"/>
                  </a:cxn>
                  <a:cxn ang="0">
                    <a:pos x="connsiteX2625" y="connsiteY2625"/>
                  </a:cxn>
                  <a:cxn ang="0">
                    <a:pos x="connsiteX2626" y="connsiteY2626"/>
                  </a:cxn>
                  <a:cxn ang="0">
                    <a:pos x="connsiteX2627" y="connsiteY2627"/>
                  </a:cxn>
                  <a:cxn ang="0">
                    <a:pos x="connsiteX2628" y="connsiteY2628"/>
                  </a:cxn>
                  <a:cxn ang="0">
                    <a:pos x="connsiteX2629" y="connsiteY2629"/>
                  </a:cxn>
                  <a:cxn ang="0">
                    <a:pos x="connsiteX2630" y="connsiteY2630"/>
                  </a:cxn>
                  <a:cxn ang="0">
                    <a:pos x="connsiteX2631" y="connsiteY2631"/>
                  </a:cxn>
                  <a:cxn ang="0">
                    <a:pos x="connsiteX2632" y="connsiteY2632"/>
                  </a:cxn>
                  <a:cxn ang="0">
                    <a:pos x="connsiteX2633" y="connsiteY2633"/>
                  </a:cxn>
                  <a:cxn ang="0">
                    <a:pos x="connsiteX2634" y="connsiteY2634"/>
                  </a:cxn>
                  <a:cxn ang="0">
                    <a:pos x="connsiteX2635" y="connsiteY2635"/>
                  </a:cxn>
                  <a:cxn ang="0">
                    <a:pos x="connsiteX2636" y="connsiteY2636"/>
                  </a:cxn>
                  <a:cxn ang="0">
                    <a:pos x="connsiteX2637" y="connsiteY2637"/>
                  </a:cxn>
                  <a:cxn ang="0">
                    <a:pos x="connsiteX2638" y="connsiteY2638"/>
                  </a:cxn>
                  <a:cxn ang="0">
                    <a:pos x="connsiteX2639" y="connsiteY2639"/>
                  </a:cxn>
                  <a:cxn ang="0">
                    <a:pos x="connsiteX2640" y="connsiteY2640"/>
                  </a:cxn>
                  <a:cxn ang="0">
                    <a:pos x="connsiteX2641" y="connsiteY2641"/>
                  </a:cxn>
                  <a:cxn ang="0">
                    <a:pos x="connsiteX2642" y="connsiteY2642"/>
                  </a:cxn>
                  <a:cxn ang="0">
                    <a:pos x="connsiteX2643" y="connsiteY2643"/>
                  </a:cxn>
                  <a:cxn ang="0">
                    <a:pos x="connsiteX2644" y="connsiteY2644"/>
                  </a:cxn>
                  <a:cxn ang="0">
                    <a:pos x="connsiteX2645" y="connsiteY2645"/>
                  </a:cxn>
                  <a:cxn ang="0">
                    <a:pos x="connsiteX2646" y="connsiteY2646"/>
                  </a:cxn>
                  <a:cxn ang="0">
                    <a:pos x="connsiteX2647" y="connsiteY2647"/>
                  </a:cxn>
                  <a:cxn ang="0">
                    <a:pos x="connsiteX2648" y="connsiteY2648"/>
                  </a:cxn>
                  <a:cxn ang="0">
                    <a:pos x="connsiteX2649" y="connsiteY2649"/>
                  </a:cxn>
                  <a:cxn ang="0">
                    <a:pos x="connsiteX2650" y="connsiteY2650"/>
                  </a:cxn>
                  <a:cxn ang="0">
                    <a:pos x="connsiteX2651" y="connsiteY2651"/>
                  </a:cxn>
                  <a:cxn ang="0">
                    <a:pos x="connsiteX2652" y="connsiteY2652"/>
                  </a:cxn>
                  <a:cxn ang="0">
                    <a:pos x="connsiteX2653" y="connsiteY2653"/>
                  </a:cxn>
                  <a:cxn ang="0">
                    <a:pos x="connsiteX2654" y="connsiteY2654"/>
                  </a:cxn>
                  <a:cxn ang="0">
                    <a:pos x="connsiteX2655" y="connsiteY2655"/>
                  </a:cxn>
                  <a:cxn ang="0">
                    <a:pos x="connsiteX2656" y="connsiteY2656"/>
                  </a:cxn>
                  <a:cxn ang="0">
                    <a:pos x="connsiteX2657" y="connsiteY2657"/>
                  </a:cxn>
                  <a:cxn ang="0">
                    <a:pos x="connsiteX2658" y="connsiteY2658"/>
                  </a:cxn>
                  <a:cxn ang="0">
                    <a:pos x="connsiteX2659" y="connsiteY2659"/>
                  </a:cxn>
                  <a:cxn ang="0">
                    <a:pos x="connsiteX2660" y="connsiteY2660"/>
                  </a:cxn>
                  <a:cxn ang="0">
                    <a:pos x="connsiteX2661" y="connsiteY2661"/>
                  </a:cxn>
                  <a:cxn ang="0">
                    <a:pos x="connsiteX2662" y="connsiteY2662"/>
                  </a:cxn>
                  <a:cxn ang="0">
                    <a:pos x="connsiteX2663" y="connsiteY2663"/>
                  </a:cxn>
                  <a:cxn ang="0">
                    <a:pos x="connsiteX2664" y="connsiteY2664"/>
                  </a:cxn>
                  <a:cxn ang="0">
                    <a:pos x="connsiteX2665" y="connsiteY2665"/>
                  </a:cxn>
                  <a:cxn ang="0">
                    <a:pos x="connsiteX2666" y="connsiteY2666"/>
                  </a:cxn>
                  <a:cxn ang="0">
                    <a:pos x="connsiteX2667" y="connsiteY2667"/>
                  </a:cxn>
                  <a:cxn ang="0">
                    <a:pos x="connsiteX2668" y="connsiteY2668"/>
                  </a:cxn>
                  <a:cxn ang="0">
                    <a:pos x="connsiteX2669" y="connsiteY2669"/>
                  </a:cxn>
                  <a:cxn ang="0">
                    <a:pos x="connsiteX2670" y="connsiteY2670"/>
                  </a:cxn>
                  <a:cxn ang="0">
                    <a:pos x="connsiteX2671" y="connsiteY2671"/>
                  </a:cxn>
                  <a:cxn ang="0">
                    <a:pos x="connsiteX2672" y="connsiteY2672"/>
                  </a:cxn>
                  <a:cxn ang="0">
                    <a:pos x="connsiteX2673" y="connsiteY2673"/>
                  </a:cxn>
                  <a:cxn ang="0">
                    <a:pos x="connsiteX2674" y="connsiteY2674"/>
                  </a:cxn>
                  <a:cxn ang="0">
                    <a:pos x="connsiteX2675" y="connsiteY2675"/>
                  </a:cxn>
                  <a:cxn ang="0">
                    <a:pos x="connsiteX2676" y="connsiteY2676"/>
                  </a:cxn>
                  <a:cxn ang="0">
                    <a:pos x="connsiteX2677" y="connsiteY2677"/>
                  </a:cxn>
                  <a:cxn ang="0">
                    <a:pos x="connsiteX2678" y="connsiteY2678"/>
                  </a:cxn>
                  <a:cxn ang="0">
                    <a:pos x="connsiteX2679" y="connsiteY2679"/>
                  </a:cxn>
                  <a:cxn ang="0">
                    <a:pos x="connsiteX2680" y="connsiteY2680"/>
                  </a:cxn>
                  <a:cxn ang="0">
                    <a:pos x="connsiteX2681" y="connsiteY2681"/>
                  </a:cxn>
                  <a:cxn ang="0">
                    <a:pos x="connsiteX2682" y="connsiteY2682"/>
                  </a:cxn>
                  <a:cxn ang="0">
                    <a:pos x="connsiteX2683" y="connsiteY2683"/>
                  </a:cxn>
                  <a:cxn ang="0">
                    <a:pos x="connsiteX2684" y="connsiteY2684"/>
                  </a:cxn>
                  <a:cxn ang="0">
                    <a:pos x="connsiteX2685" y="connsiteY2685"/>
                  </a:cxn>
                  <a:cxn ang="0">
                    <a:pos x="connsiteX2686" y="connsiteY2686"/>
                  </a:cxn>
                  <a:cxn ang="0">
                    <a:pos x="connsiteX2687" y="connsiteY2687"/>
                  </a:cxn>
                  <a:cxn ang="0">
                    <a:pos x="connsiteX2688" y="connsiteY2688"/>
                  </a:cxn>
                  <a:cxn ang="0">
                    <a:pos x="connsiteX2689" y="connsiteY2689"/>
                  </a:cxn>
                  <a:cxn ang="0">
                    <a:pos x="connsiteX2690" y="connsiteY2690"/>
                  </a:cxn>
                  <a:cxn ang="0">
                    <a:pos x="connsiteX2691" y="connsiteY2691"/>
                  </a:cxn>
                  <a:cxn ang="0">
                    <a:pos x="connsiteX2692" y="connsiteY2692"/>
                  </a:cxn>
                  <a:cxn ang="0">
                    <a:pos x="connsiteX2693" y="connsiteY2693"/>
                  </a:cxn>
                  <a:cxn ang="0">
                    <a:pos x="connsiteX2694" y="connsiteY2694"/>
                  </a:cxn>
                  <a:cxn ang="0">
                    <a:pos x="connsiteX2695" y="connsiteY2695"/>
                  </a:cxn>
                  <a:cxn ang="0">
                    <a:pos x="connsiteX2696" y="connsiteY2696"/>
                  </a:cxn>
                  <a:cxn ang="0">
                    <a:pos x="connsiteX2697" y="connsiteY2697"/>
                  </a:cxn>
                  <a:cxn ang="0">
                    <a:pos x="connsiteX2698" y="connsiteY2698"/>
                  </a:cxn>
                  <a:cxn ang="0">
                    <a:pos x="connsiteX2699" y="connsiteY2699"/>
                  </a:cxn>
                  <a:cxn ang="0">
                    <a:pos x="connsiteX2700" y="connsiteY2700"/>
                  </a:cxn>
                  <a:cxn ang="0">
                    <a:pos x="connsiteX2701" y="connsiteY2701"/>
                  </a:cxn>
                  <a:cxn ang="0">
                    <a:pos x="connsiteX2702" y="connsiteY2702"/>
                  </a:cxn>
                  <a:cxn ang="0">
                    <a:pos x="connsiteX2703" y="connsiteY2703"/>
                  </a:cxn>
                  <a:cxn ang="0">
                    <a:pos x="connsiteX2704" y="connsiteY2704"/>
                  </a:cxn>
                  <a:cxn ang="0">
                    <a:pos x="connsiteX2705" y="connsiteY2705"/>
                  </a:cxn>
                  <a:cxn ang="0">
                    <a:pos x="connsiteX2706" y="connsiteY2706"/>
                  </a:cxn>
                  <a:cxn ang="0">
                    <a:pos x="connsiteX2707" y="connsiteY2707"/>
                  </a:cxn>
                  <a:cxn ang="0">
                    <a:pos x="connsiteX2708" y="connsiteY2708"/>
                  </a:cxn>
                  <a:cxn ang="0">
                    <a:pos x="connsiteX2709" y="connsiteY2709"/>
                  </a:cxn>
                  <a:cxn ang="0">
                    <a:pos x="connsiteX2710" y="connsiteY2710"/>
                  </a:cxn>
                  <a:cxn ang="0">
                    <a:pos x="connsiteX2711" y="connsiteY2711"/>
                  </a:cxn>
                  <a:cxn ang="0">
                    <a:pos x="connsiteX2712" y="connsiteY2712"/>
                  </a:cxn>
                  <a:cxn ang="0">
                    <a:pos x="connsiteX2713" y="connsiteY2713"/>
                  </a:cxn>
                  <a:cxn ang="0">
                    <a:pos x="connsiteX2714" y="connsiteY2714"/>
                  </a:cxn>
                  <a:cxn ang="0">
                    <a:pos x="connsiteX2715" y="connsiteY2715"/>
                  </a:cxn>
                  <a:cxn ang="0">
                    <a:pos x="connsiteX2716" y="connsiteY2716"/>
                  </a:cxn>
                  <a:cxn ang="0">
                    <a:pos x="connsiteX2717" y="connsiteY2717"/>
                  </a:cxn>
                  <a:cxn ang="0">
                    <a:pos x="connsiteX2718" y="connsiteY2718"/>
                  </a:cxn>
                  <a:cxn ang="0">
                    <a:pos x="connsiteX2719" y="connsiteY2719"/>
                  </a:cxn>
                  <a:cxn ang="0">
                    <a:pos x="connsiteX2720" y="connsiteY2720"/>
                  </a:cxn>
                  <a:cxn ang="0">
                    <a:pos x="connsiteX2721" y="connsiteY2721"/>
                  </a:cxn>
                  <a:cxn ang="0">
                    <a:pos x="connsiteX2722" y="connsiteY2722"/>
                  </a:cxn>
                  <a:cxn ang="0">
                    <a:pos x="connsiteX2723" y="connsiteY2723"/>
                  </a:cxn>
                  <a:cxn ang="0">
                    <a:pos x="connsiteX2724" y="connsiteY2724"/>
                  </a:cxn>
                  <a:cxn ang="0">
                    <a:pos x="connsiteX2725" y="connsiteY2725"/>
                  </a:cxn>
                  <a:cxn ang="0">
                    <a:pos x="connsiteX2726" y="connsiteY2726"/>
                  </a:cxn>
                  <a:cxn ang="0">
                    <a:pos x="connsiteX2727" y="connsiteY2727"/>
                  </a:cxn>
                  <a:cxn ang="0">
                    <a:pos x="connsiteX2728" y="connsiteY2728"/>
                  </a:cxn>
                  <a:cxn ang="0">
                    <a:pos x="connsiteX2729" y="connsiteY2729"/>
                  </a:cxn>
                  <a:cxn ang="0">
                    <a:pos x="connsiteX2730" y="connsiteY2730"/>
                  </a:cxn>
                  <a:cxn ang="0">
                    <a:pos x="connsiteX2731" y="connsiteY2731"/>
                  </a:cxn>
                  <a:cxn ang="0">
                    <a:pos x="connsiteX2732" y="connsiteY2732"/>
                  </a:cxn>
                  <a:cxn ang="0">
                    <a:pos x="connsiteX2733" y="connsiteY2733"/>
                  </a:cxn>
                  <a:cxn ang="0">
                    <a:pos x="connsiteX2734" y="connsiteY2734"/>
                  </a:cxn>
                  <a:cxn ang="0">
                    <a:pos x="connsiteX2735" y="connsiteY2735"/>
                  </a:cxn>
                  <a:cxn ang="0">
                    <a:pos x="connsiteX2736" y="connsiteY2736"/>
                  </a:cxn>
                  <a:cxn ang="0">
                    <a:pos x="connsiteX2737" y="connsiteY2737"/>
                  </a:cxn>
                  <a:cxn ang="0">
                    <a:pos x="connsiteX2738" y="connsiteY2738"/>
                  </a:cxn>
                  <a:cxn ang="0">
                    <a:pos x="connsiteX2739" y="connsiteY2739"/>
                  </a:cxn>
                  <a:cxn ang="0">
                    <a:pos x="connsiteX2740" y="connsiteY2740"/>
                  </a:cxn>
                  <a:cxn ang="0">
                    <a:pos x="connsiteX2741" y="connsiteY2741"/>
                  </a:cxn>
                  <a:cxn ang="0">
                    <a:pos x="connsiteX2742" y="connsiteY2742"/>
                  </a:cxn>
                  <a:cxn ang="0">
                    <a:pos x="connsiteX2743" y="connsiteY2743"/>
                  </a:cxn>
                  <a:cxn ang="0">
                    <a:pos x="connsiteX2744" y="connsiteY2744"/>
                  </a:cxn>
                  <a:cxn ang="0">
                    <a:pos x="connsiteX2745" y="connsiteY2745"/>
                  </a:cxn>
                  <a:cxn ang="0">
                    <a:pos x="connsiteX2746" y="connsiteY2746"/>
                  </a:cxn>
                  <a:cxn ang="0">
                    <a:pos x="connsiteX2747" y="connsiteY2747"/>
                  </a:cxn>
                  <a:cxn ang="0">
                    <a:pos x="connsiteX2748" y="connsiteY2748"/>
                  </a:cxn>
                  <a:cxn ang="0">
                    <a:pos x="connsiteX2749" y="connsiteY2749"/>
                  </a:cxn>
                  <a:cxn ang="0">
                    <a:pos x="connsiteX2750" y="connsiteY2750"/>
                  </a:cxn>
                  <a:cxn ang="0">
                    <a:pos x="connsiteX2751" y="connsiteY2751"/>
                  </a:cxn>
                  <a:cxn ang="0">
                    <a:pos x="connsiteX2752" y="connsiteY2752"/>
                  </a:cxn>
                  <a:cxn ang="0">
                    <a:pos x="connsiteX2753" y="connsiteY2753"/>
                  </a:cxn>
                  <a:cxn ang="0">
                    <a:pos x="connsiteX2754" y="connsiteY2754"/>
                  </a:cxn>
                  <a:cxn ang="0">
                    <a:pos x="connsiteX2755" y="connsiteY2755"/>
                  </a:cxn>
                  <a:cxn ang="0">
                    <a:pos x="connsiteX2756" y="connsiteY2756"/>
                  </a:cxn>
                  <a:cxn ang="0">
                    <a:pos x="connsiteX2757" y="connsiteY2757"/>
                  </a:cxn>
                  <a:cxn ang="0">
                    <a:pos x="connsiteX2758" y="connsiteY2758"/>
                  </a:cxn>
                  <a:cxn ang="0">
                    <a:pos x="connsiteX2759" y="connsiteY2759"/>
                  </a:cxn>
                  <a:cxn ang="0">
                    <a:pos x="connsiteX2760" y="connsiteY2760"/>
                  </a:cxn>
                  <a:cxn ang="0">
                    <a:pos x="connsiteX2761" y="connsiteY2761"/>
                  </a:cxn>
                  <a:cxn ang="0">
                    <a:pos x="connsiteX2762" y="connsiteY2762"/>
                  </a:cxn>
                  <a:cxn ang="0">
                    <a:pos x="connsiteX2763" y="connsiteY2763"/>
                  </a:cxn>
                  <a:cxn ang="0">
                    <a:pos x="connsiteX2764" y="connsiteY2764"/>
                  </a:cxn>
                  <a:cxn ang="0">
                    <a:pos x="connsiteX2765" y="connsiteY2765"/>
                  </a:cxn>
                  <a:cxn ang="0">
                    <a:pos x="connsiteX2766" y="connsiteY2766"/>
                  </a:cxn>
                  <a:cxn ang="0">
                    <a:pos x="connsiteX2767" y="connsiteY2767"/>
                  </a:cxn>
                  <a:cxn ang="0">
                    <a:pos x="connsiteX2768" y="connsiteY2768"/>
                  </a:cxn>
                  <a:cxn ang="0">
                    <a:pos x="connsiteX2769" y="connsiteY2769"/>
                  </a:cxn>
                  <a:cxn ang="0">
                    <a:pos x="connsiteX2770" y="connsiteY2770"/>
                  </a:cxn>
                  <a:cxn ang="0">
                    <a:pos x="connsiteX2771" y="connsiteY2771"/>
                  </a:cxn>
                  <a:cxn ang="0">
                    <a:pos x="connsiteX2772" y="connsiteY2772"/>
                  </a:cxn>
                  <a:cxn ang="0">
                    <a:pos x="connsiteX2773" y="connsiteY2773"/>
                  </a:cxn>
                  <a:cxn ang="0">
                    <a:pos x="connsiteX2774" y="connsiteY2774"/>
                  </a:cxn>
                  <a:cxn ang="0">
                    <a:pos x="connsiteX2775" y="connsiteY2775"/>
                  </a:cxn>
                  <a:cxn ang="0">
                    <a:pos x="connsiteX2776" y="connsiteY2776"/>
                  </a:cxn>
                  <a:cxn ang="0">
                    <a:pos x="connsiteX2777" y="connsiteY2777"/>
                  </a:cxn>
                  <a:cxn ang="0">
                    <a:pos x="connsiteX2778" y="connsiteY2778"/>
                  </a:cxn>
                  <a:cxn ang="0">
                    <a:pos x="connsiteX2779" y="connsiteY2779"/>
                  </a:cxn>
                  <a:cxn ang="0">
                    <a:pos x="connsiteX2780" y="connsiteY2780"/>
                  </a:cxn>
                  <a:cxn ang="0">
                    <a:pos x="connsiteX2781" y="connsiteY2781"/>
                  </a:cxn>
                  <a:cxn ang="0">
                    <a:pos x="connsiteX2782" y="connsiteY2782"/>
                  </a:cxn>
                  <a:cxn ang="0">
                    <a:pos x="connsiteX2783" y="connsiteY2783"/>
                  </a:cxn>
                  <a:cxn ang="0">
                    <a:pos x="connsiteX2784" y="connsiteY2784"/>
                  </a:cxn>
                  <a:cxn ang="0">
                    <a:pos x="connsiteX2785" y="connsiteY2785"/>
                  </a:cxn>
                  <a:cxn ang="0">
                    <a:pos x="connsiteX2786" y="connsiteY2786"/>
                  </a:cxn>
                  <a:cxn ang="0">
                    <a:pos x="connsiteX2787" y="connsiteY2787"/>
                  </a:cxn>
                  <a:cxn ang="0">
                    <a:pos x="connsiteX2788" y="connsiteY2788"/>
                  </a:cxn>
                  <a:cxn ang="0">
                    <a:pos x="connsiteX2789" y="connsiteY2789"/>
                  </a:cxn>
                  <a:cxn ang="0">
                    <a:pos x="connsiteX2790" y="connsiteY2790"/>
                  </a:cxn>
                  <a:cxn ang="0">
                    <a:pos x="connsiteX2791" y="connsiteY2791"/>
                  </a:cxn>
                  <a:cxn ang="0">
                    <a:pos x="connsiteX2792" y="connsiteY2792"/>
                  </a:cxn>
                  <a:cxn ang="0">
                    <a:pos x="connsiteX2793" y="connsiteY2793"/>
                  </a:cxn>
                  <a:cxn ang="0">
                    <a:pos x="connsiteX2794" y="connsiteY2794"/>
                  </a:cxn>
                  <a:cxn ang="0">
                    <a:pos x="connsiteX2795" y="connsiteY2795"/>
                  </a:cxn>
                  <a:cxn ang="0">
                    <a:pos x="connsiteX2796" y="connsiteY2796"/>
                  </a:cxn>
                  <a:cxn ang="0">
                    <a:pos x="connsiteX2797" y="connsiteY2797"/>
                  </a:cxn>
                  <a:cxn ang="0">
                    <a:pos x="connsiteX2798" y="connsiteY2798"/>
                  </a:cxn>
                  <a:cxn ang="0">
                    <a:pos x="connsiteX2799" y="connsiteY2799"/>
                  </a:cxn>
                  <a:cxn ang="0">
                    <a:pos x="connsiteX2800" y="connsiteY2800"/>
                  </a:cxn>
                  <a:cxn ang="0">
                    <a:pos x="connsiteX2801" y="connsiteY2801"/>
                  </a:cxn>
                  <a:cxn ang="0">
                    <a:pos x="connsiteX2802" y="connsiteY2802"/>
                  </a:cxn>
                  <a:cxn ang="0">
                    <a:pos x="connsiteX2803" y="connsiteY2803"/>
                  </a:cxn>
                  <a:cxn ang="0">
                    <a:pos x="connsiteX2804" y="connsiteY2804"/>
                  </a:cxn>
                  <a:cxn ang="0">
                    <a:pos x="connsiteX2805" y="connsiteY2805"/>
                  </a:cxn>
                  <a:cxn ang="0">
                    <a:pos x="connsiteX2806" y="connsiteY2806"/>
                  </a:cxn>
                  <a:cxn ang="0">
                    <a:pos x="connsiteX2807" y="connsiteY2807"/>
                  </a:cxn>
                  <a:cxn ang="0">
                    <a:pos x="connsiteX2808" y="connsiteY2808"/>
                  </a:cxn>
                  <a:cxn ang="0">
                    <a:pos x="connsiteX2809" y="connsiteY2809"/>
                  </a:cxn>
                  <a:cxn ang="0">
                    <a:pos x="connsiteX2810" y="connsiteY2810"/>
                  </a:cxn>
                  <a:cxn ang="0">
                    <a:pos x="connsiteX2811" y="connsiteY2811"/>
                  </a:cxn>
                  <a:cxn ang="0">
                    <a:pos x="connsiteX2812" y="connsiteY2812"/>
                  </a:cxn>
                  <a:cxn ang="0">
                    <a:pos x="connsiteX2813" y="connsiteY2813"/>
                  </a:cxn>
                  <a:cxn ang="0">
                    <a:pos x="connsiteX2814" y="connsiteY2814"/>
                  </a:cxn>
                  <a:cxn ang="0">
                    <a:pos x="connsiteX2815" y="connsiteY2815"/>
                  </a:cxn>
                  <a:cxn ang="0">
                    <a:pos x="connsiteX2816" y="connsiteY2816"/>
                  </a:cxn>
                  <a:cxn ang="0">
                    <a:pos x="connsiteX2817" y="connsiteY2817"/>
                  </a:cxn>
                  <a:cxn ang="0">
                    <a:pos x="connsiteX2818" y="connsiteY2818"/>
                  </a:cxn>
                  <a:cxn ang="0">
                    <a:pos x="connsiteX2819" y="connsiteY2819"/>
                  </a:cxn>
                  <a:cxn ang="0">
                    <a:pos x="connsiteX2820" y="connsiteY2820"/>
                  </a:cxn>
                  <a:cxn ang="0">
                    <a:pos x="connsiteX2821" y="connsiteY2821"/>
                  </a:cxn>
                  <a:cxn ang="0">
                    <a:pos x="connsiteX2822" y="connsiteY2822"/>
                  </a:cxn>
                  <a:cxn ang="0">
                    <a:pos x="connsiteX2823" y="connsiteY2823"/>
                  </a:cxn>
                  <a:cxn ang="0">
                    <a:pos x="connsiteX2824" y="connsiteY2824"/>
                  </a:cxn>
                  <a:cxn ang="0">
                    <a:pos x="connsiteX2825" y="connsiteY2825"/>
                  </a:cxn>
                  <a:cxn ang="0">
                    <a:pos x="connsiteX2826" y="connsiteY2826"/>
                  </a:cxn>
                  <a:cxn ang="0">
                    <a:pos x="connsiteX2827" y="connsiteY2827"/>
                  </a:cxn>
                  <a:cxn ang="0">
                    <a:pos x="connsiteX2828" y="connsiteY2828"/>
                  </a:cxn>
                  <a:cxn ang="0">
                    <a:pos x="connsiteX2829" y="connsiteY2829"/>
                  </a:cxn>
                  <a:cxn ang="0">
                    <a:pos x="connsiteX2830" y="connsiteY2830"/>
                  </a:cxn>
                  <a:cxn ang="0">
                    <a:pos x="connsiteX2831" y="connsiteY2831"/>
                  </a:cxn>
                  <a:cxn ang="0">
                    <a:pos x="connsiteX2832" y="connsiteY2832"/>
                  </a:cxn>
                  <a:cxn ang="0">
                    <a:pos x="connsiteX2833" y="connsiteY2833"/>
                  </a:cxn>
                  <a:cxn ang="0">
                    <a:pos x="connsiteX2834" y="connsiteY2834"/>
                  </a:cxn>
                  <a:cxn ang="0">
                    <a:pos x="connsiteX2835" y="connsiteY2835"/>
                  </a:cxn>
                  <a:cxn ang="0">
                    <a:pos x="connsiteX2836" y="connsiteY2836"/>
                  </a:cxn>
                  <a:cxn ang="0">
                    <a:pos x="connsiteX2837" y="connsiteY2837"/>
                  </a:cxn>
                  <a:cxn ang="0">
                    <a:pos x="connsiteX2838" y="connsiteY2838"/>
                  </a:cxn>
                  <a:cxn ang="0">
                    <a:pos x="connsiteX2839" y="connsiteY2839"/>
                  </a:cxn>
                  <a:cxn ang="0">
                    <a:pos x="connsiteX2840" y="connsiteY2840"/>
                  </a:cxn>
                  <a:cxn ang="0">
                    <a:pos x="connsiteX2841" y="connsiteY2841"/>
                  </a:cxn>
                  <a:cxn ang="0">
                    <a:pos x="connsiteX2842" y="connsiteY2842"/>
                  </a:cxn>
                  <a:cxn ang="0">
                    <a:pos x="connsiteX2843" y="connsiteY2843"/>
                  </a:cxn>
                  <a:cxn ang="0">
                    <a:pos x="connsiteX2844" y="connsiteY2844"/>
                  </a:cxn>
                  <a:cxn ang="0">
                    <a:pos x="connsiteX2845" y="connsiteY2845"/>
                  </a:cxn>
                  <a:cxn ang="0">
                    <a:pos x="connsiteX2846" y="connsiteY2846"/>
                  </a:cxn>
                  <a:cxn ang="0">
                    <a:pos x="connsiteX2847" y="connsiteY2847"/>
                  </a:cxn>
                  <a:cxn ang="0">
                    <a:pos x="connsiteX2848" y="connsiteY2848"/>
                  </a:cxn>
                  <a:cxn ang="0">
                    <a:pos x="connsiteX2849" y="connsiteY2849"/>
                  </a:cxn>
                  <a:cxn ang="0">
                    <a:pos x="connsiteX2850" y="connsiteY2850"/>
                  </a:cxn>
                  <a:cxn ang="0">
                    <a:pos x="connsiteX2851" y="connsiteY2851"/>
                  </a:cxn>
                  <a:cxn ang="0">
                    <a:pos x="connsiteX2852" y="connsiteY2852"/>
                  </a:cxn>
                  <a:cxn ang="0">
                    <a:pos x="connsiteX2853" y="connsiteY2853"/>
                  </a:cxn>
                  <a:cxn ang="0">
                    <a:pos x="connsiteX2854" y="connsiteY2854"/>
                  </a:cxn>
                  <a:cxn ang="0">
                    <a:pos x="connsiteX2855" y="connsiteY2855"/>
                  </a:cxn>
                  <a:cxn ang="0">
                    <a:pos x="connsiteX2856" y="connsiteY2856"/>
                  </a:cxn>
                  <a:cxn ang="0">
                    <a:pos x="connsiteX2857" y="connsiteY2857"/>
                  </a:cxn>
                  <a:cxn ang="0">
                    <a:pos x="connsiteX2858" y="connsiteY2858"/>
                  </a:cxn>
                  <a:cxn ang="0">
                    <a:pos x="connsiteX2859" y="connsiteY2859"/>
                  </a:cxn>
                  <a:cxn ang="0">
                    <a:pos x="connsiteX2860" y="connsiteY2860"/>
                  </a:cxn>
                  <a:cxn ang="0">
                    <a:pos x="connsiteX2861" y="connsiteY2861"/>
                  </a:cxn>
                  <a:cxn ang="0">
                    <a:pos x="connsiteX2862" y="connsiteY2862"/>
                  </a:cxn>
                  <a:cxn ang="0">
                    <a:pos x="connsiteX2863" y="connsiteY2863"/>
                  </a:cxn>
                  <a:cxn ang="0">
                    <a:pos x="connsiteX2864" y="connsiteY2864"/>
                  </a:cxn>
                  <a:cxn ang="0">
                    <a:pos x="connsiteX2865" y="connsiteY2865"/>
                  </a:cxn>
                  <a:cxn ang="0">
                    <a:pos x="connsiteX2866" y="connsiteY2866"/>
                  </a:cxn>
                  <a:cxn ang="0">
                    <a:pos x="connsiteX2867" y="connsiteY2867"/>
                  </a:cxn>
                  <a:cxn ang="0">
                    <a:pos x="connsiteX2868" y="connsiteY2868"/>
                  </a:cxn>
                  <a:cxn ang="0">
                    <a:pos x="connsiteX2869" y="connsiteY2869"/>
                  </a:cxn>
                  <a:cxn ang="0">
                    <a:pos x="connsiteX2870" y="connsiteY2870"/>
                  </a:cxn>
                  <a:cxn ang="0">
                    <a:pos x="connsiteX2871" y="connsiteY2871"/>
                  </a:cxn>
                  <a:cxn ang="0">
                    <a:pos x="connsiteX2872" y="connsiteY2872"/>
                  </a:cxn>
                  <a:cxn ang="0">
                    <a:pos x="connsiteX2873" y="connsiteY2873"/>
                  </a:cxn>
                  <a:cxn ang="0">
                    <a:pos x="connsiteX2874" y="connsiteY2874"/>
                  </a:cxn>
                  <a:cxn ang="0">
                    <a:pos x="connsiteX2875" y="connsiteY2875"/>
                  </a:cxn>
                  <a:cxn ang="0">
                    <a:pos x="connsiteX2876" y="connsiteY2876"/>
                  </a:cxn>
                  <a:cxn ang="0">
                    <a:pos x="connsiteX2877" y="connsiteY2877"/>
                  </a:cxn>
                  <a:cxn ang="0">
                    <a:pos x="connsiteX2878" y="connsiteY2878"/>
                  </a:cxn>
                  <a:cxn ang="0">
                    <a:pos x="connsiteX2879" y="connsiteY2879"/>
                  </a:cxn>
                  <a:cxn ang="0">
                    <a:pos x="connsiteX2880" y="connsiteY2880"/>
                  </a:cxn>
                  <a:cxn ang="0">
                    <a:pos x="connsiteX2881" y="connsiteY2881"/>
                  </a:cxn>
                  <a:cxn ang="0">
                    <a:pos x="connsiteX2882" y="connsiteY2882"/>
                  </a:cxn>
                  <a:cxn ang="0">
                    <a:pos x="connsiteX2883" y="connsiteY2883"/>
                  </a:cxn>
                  <a:cxn ang="0">
                    <a:pos x="connsiteX2884" y="connsiteY2884"/>
                  </a:cxn>
                  <a:cxn ang="0">
                    <a:pos x="connsiteX2885" y="connsiteY2885"/>
                  </a:cxn>
                  <a:cxn ang="0">
                    <a:pos x="connsiteX2886" y="connsiteY2886"/>
                  </a:cxn>
                  <a:cxn ang="0">
                    <a:pos x="connsiteX2887" y="connsiteY2887"/>
                  </a:cxn>
                  <a:cxn ang="0">
                    <a:pos x="connsiteX2888" y="connsiteY2888"/>
                  </a:cxn>
                  <a:cxn ang="0">
                    <a:pos x="connsiteX2889" y="connsiteY2889"/>
                  </a:cxn>
                  <a:cxn ang="0">
                    <a:pos x="connsiteX2890" y="connsiteY2890"/>
                  </a:cxn>
                  <a:cxn ang="0">
                    <a:pos x="connsiteX2891" y="connsiteY2891"/>
                  </a:cxn>
                  <a:cxn ang="0">
                    <a:pos x="connsiteX2892" y="connsiteY2892"/>
                  </a:cxn>
                  <a:cxn ang="0">
                    <a:pos x="connsiteX2893" y="connsiteY2893"/>
                  </a:cxn>
                  <a:cxn ang="0">
                    <a:pos x="connsiteX2894" y="connsiteY2894"/>
                  </a:cxn>
                  <a:cxn ang="0">
                    <a:pos x="connsiteX2895" y="connsiteY2895"/>
                  </a:cxn>
                  <a:cxn ang="0">
                    <a:pos x="connsiteX2896" y="connsiteY2896"/>
                  </a:cxn>
                  <a:cxn ang="0">
                    <a:pos x="connsiteX2897" y="connsiteY2897"/>
                  </a:cxn>
                  <a:cxn ang="0">
                    <a:pos x="connsiteX2898" y="connsiteY2898"/>
                  </a:cxn>
                  <a:cxn ang="0">
                    <a:pos x="connsiteX2899" y="connsiteY2899"/>
                  </a:cxn>
                  <a:cxn ang="0">
                    <a:pos x="connsiteX2900" y="connsiteY2900"/>
                  </a:cxn>
                  <a:cxn ang="0">
                    <a:pos x="connsiteX2901" y="connsiteY2901"/>
                  </a:cxn>
                  <a:cxn ang="0">
                    <a:pos x="connsiteX2902" y="connsiteY2902"/>
                  </a:cxn>
                  <a:cxn ang="0">
                    <a:pos x="connsiteX2903" y="connsiteY2903"/>
                  </a:cxn>
                  <a:cxn ang="0">
                    <a:pos x="connsiteX2904" y="connsiteY2904"/>
                  </a:cxn>
                  <a:cxn ang="0">
                    <a:pos x="connsiteX2905" y="connsiteY2905"/>
                  </a:cxn>
                  <a:cxn ang="0">
                    <a:pos x="connsiteX2906" y="connsiteY2906"/>
                  </a:cxn>
                  <a:cxn ang="0">
                    <a:pos x="connsiteX2907" y="connsiteY2907"/>
                  </a:cxn>
                  <a:cxn ang="0">
                    <a:pos x="connsiteX2908" y="connsiteY2908"/>
                  </a:cxn>
                  <a:cxn ang="0">
                    <a:pos x="connsiteX2909" y="connsiteY2909"/>
                  </a:cxn>
                  <a:cxn ang="0">
                    <a:pos x="connsiteX2910" y="connsiteY2910"/>
                  </a:cxn>
                  <a:cxn ang="0">
                    <a:pos x="connsiteX2911" y="connsiteY2911"/>
                  </a:cxn>
                  <a:cxn ang="0">
                    <a:pos x="connsiteX2912" y="connsiteY2912"/>
                  </a:cxn>
                  <a:cxn ang="0">
                    <a:pos x="connsiteX2913" y="connsiteY2913"/>
                  </a:cxn>
                  <a:cxn ang="0">
                    <a:pos x="connsiteX2914" y="connsiteY2914"/>
                  </a:cxn>
                  <a:cxn ang="0">
                    <a:pos x="connsiteX2915" y="connsiteY2915"/>
                  </a:cxn>
                  <a:cxn ang="0">
                    <a:pos x="connsiteX2916" y="connsiteY2916"/>
                  </a:cxn>
                  <a:cxn ang="0">
                    <a:pos x="connsiteX2917" y="connsiteY2917"/>
                  </a:cxn>
                  <a:cxn ang="0">
                    <a:pos x="connsiteX2918" y="connsiteY2918"/>
                  </a:cxn>
                  <a:cxn ang="0">
                    <a:pos x="connsiteX2919" y="connsiteY2919"/>
                  </a:cxn>
                  <a:cxn ang="0">
                    <a:pos x="connsiteX2920" y="connsiteY2920"/>
                  </a:cxn>
                  <a:cxn ang="0">
                    <a:pos x="connsiteX2921" y="connsiteY2921"/>
                  </a:cxn>
                  <a:cxn ang="0">
                    <a:pos x="connsiteX2922" y="connsiteY2922"/>
                  </a:cxn>
                  <a:cxn ang="0">
                    <a:pos x="connsiteX2923" y="connsiteY2923"/>
                  </a:cxn>
                  <a:cxn ang="0">
                    <a:pos x="connsiteX2924" y="connsiteY2924"/>
                  </a:cxn>
                  <a:cxn ang="0">
                    <a:pos x="connsiteX2925" y="connsiteY2925"/>
                  </a:cxn>
                  <a:cxn ang="0">
                    <a:pos x="connsiteX2926" y="connsiteY2926"/>
                  </a:cxn>
                  <a:cxn ang="0">
                    <a:pos x="connsiteX2927" y="connsiteY2927"/>
                  </a:cxn>
                  <a:cxn ang="0">
                    <a:pos x="connsiteX2928" y="connsiteY2928"/>
                  </a:cxn>
                  <a:cxn ang="0">
                    <a:pos x="connsiteX2929" y="connsiteY2929"/>
                  </a:cxn>
                  <a:cxn ang="0">
                    <a:pos x="connsiteX2930" y="connsiteY2930"/>
                  </a:cxn>
                  <a:cxn ang="0">
                    <a:pos x="connsiteX2931" y="connsiteY2931"/>
                  </a:cxn>
                  <a:cxn ang="0">
                    <a:pos x="connsiteX2932" y="connsiteY2932"/>
                  </a:cxn>
                  <a:cxn ang="0">
                    <a:pos x="connsiteX2933" y="connsiteY2933"/>
                  </a:cxn>
                  <a:cxn ang="0">
                    <a:pos x="connsiteX2934" y="connsiteY2934"/>
                  </a:cxn>
                  <a:cxn ang="0">
                    <a:pos x="connsiteX2935" y="connsiteY2935"/>
                  </a:cxn>
                  <a:cxn ang="0">
                    <a:pos x="connsiteX2936" y="connsiteY2936"/>
                  </a:cxn>
                  <a:cxn ang="0">
                    <a:pos x="connsiteX2937" y="connsiteY2937"/>
                  </a:cxn>
                  <a:cxn ang="0">
                    <a:pos x="connsiteX2938" y="connsiteY2938"/>
                  </a:cxn>
                  <a:cxn ang="0">
                    <a:pos x="connsiteX2939" y="connsiteY2939"/>
                  </a:cxn>
                  <a:cxn ang="0">
                    <a:pos x="connsiteX2940" y="connsiteY2940"/>
                  </a:cxn>
                  <a:cxn ang="0">
                    <a:pos x="connsiteX2941" y="connsiteY2941"/>
                  </a:cxn>
                  <a:cxn ang="0">
                    <a:pos x="connsiteX2942" y="connsiteY2942"/>
                  </a:cxn>
                  <a:cxn ang="0">
                    <a:pos x="connsiteX2943" y="connsiteY2943"/>
                  </a:cxn>
                  <a:cxn ang="0">
                    <a:pos x="connsiteX2944" y="connsiteY2944"/>
                  </a:cxn>
                  <a:cxn ang="0">
                    <a:pos x="connsiteX2945" y="connsiteY2945"/>
                  </a:cxn>
                  <a:cxn ang="0">
                    <a:pos x="connsiteX2946" y="connsiteY2946"/>
                  </a:cxn>
                  <a:cxn ang="0">
                    <a:pos x="connsiteX2947" y="connsiteY2947"/>
                  </a:cxn>
                  <a:cxn ang="0">
                    <a:pos x="connsiteX2948" y="connsiteY2948"/>
                  </a:cxn>
                  <a:cxn ang="0">
                    <a:pos x="connsiteX2949" y="connsiteY2949"/>
                  </a:cxn>
                  <a:cxn ang="0">
                    <a:pos x="connsiteX2950" y="connsiteY2950"/>
                  </a:cxn>
                  <a:cxn ang="0">
                    <a:pos x="connsiteX2951" y="connsiteY2951"/>
                  </a:cxn>
                  <a:cxn ang="0">
                    <a:pos x="connsiteX2952" y="connsiteY2952"/>
                  </a:cxn>
                  <a:cxn ang="0">
                    <a:pos x="connsiteX2953" y="connsiteY2953"/>
                  </a:cxn>
                  <a:cxn ang="0">
                    <a:pos x="connsiteX2954" y="connsiteY2954"/>
                  </a:cxn>
                  <a:cxn ang="0">
                    <a:pos x="connsiteX2955" y="connsiteY2955"/>
                  </a:cxn>
                  <a:cxn ang="0">
                    <a:pos x="connsiteX2956" y="connsiteY2956"/>
                  </a:cxn>
                  <a:cxn ang="0">
                    <a:pos x="connsiteX2957" y="connsiteY2957"/>
                  </a:cxn>
                  <a:cxn ang="0">
                    <a:pos x="connsiteX2958" y="connsiteY2958"/>
                  </a:cxn>
                  <a:cxn ang="0">
                    <a:pos x="connsiteX2959" y="connsiteY2959"/>
                  </a:cxn>
                  <a:cxn ang="0">
                    <a:pos x="connsiteX2960" y="connsiteY2960"/>
                  </a:cxn>
                  <a:cxn ang="0">
                    <a:pos x="connsiteX2961" y="connsiteY2961"/>
                  </a:cxn>
                  <a:cxn ang="0">
                    <a:pos x="connsiteX2962" y="connsiteY2962"/>
                  </a:cxn>
                  <a:cxn ang="0">
                    <a:pos x="connsiteX2963" y="connsiteY2963"/>
                  </a:cxn>
                  <a:cxn ang="0">
                    <a:pos x="connsiteX2964" y="connsiteY2964"/>
                  </a:cxn>
                  <a:cxn ang="0">
                    <a:pos x="connsiteX2965" y="connsiteY2965"/>
                  </a:cxn>
                  <a:cxn ang="0">
                    <a:pos x="connsiteX2966" y="connsiteY2966"/>
                  </a:cxn>
                  <a:cxn ang="0">
                    <a:pos x="connsiteX2967" y="connsiteY2967"/>
                  </a:cxn>
                  <a:cxn ang="0">
                    <a:pos x="connsiteX2968" y="connsiteY2968"/>
                  </a:cxn>
                  <a:cxn ang="0">
                    <a:pos x="connsiteX2969" y="connsiteY2969"/>
                  </a:cxn>
                  <a:cxn ang="0">
                    <a:pos x="connsiteX2970" y="connsiteY2970"/>
                  </a:cxn>
                  <a:cxn ang="0">
                    <a:pos x="connsiteX2971" y="connsiteY2971"/>
                  </a:cxn>
                  <a:cxn ang="0">
                    <a:pos x="connsiteX2972" y="connsiteY2972"/>
                  </a:cxn>
                  <a:cxn ang="0">
                    <a:pos x="connsiteX2973" y="connsiteY2973"/>
                  </a:cxn>
                  <a:cxn ang="0">
                    <a:pos x="connsiteX2974" y="connsiteY2974"/>
                  </a:cxn>
                  <a:cxn ang="0">
                    <a:pos x="connsiteX2975" y="connsiteY2975"/>
                  </a:cxn>
                  <a:cxn ang="0">
                    <a:pos x="connsiteX2976" y="connsiteY2976"/>
                  </a:cxn>
                  <a:cxn ang="0">
                    <a:pos x="connsiteX2977" y="connsiteY2977"/>
                  </a:cxn>
                  <a:cxn ang="0">
                    <a:pos x="connsiteX2978" y="connsiteY2978"/>
                  </a:cxn>
                  <a:cxn ang="0">
                    <a:pos x="connsiteX2979" y="connsiteY2979"/>
                  </a:cxn>
                  <a:cxn ang="0">
                    <a:pos x="connsiteX2980" y="connsiteY2980"/>
                  </a:cxn>
                  <a:cxn ang="0">
                    <a:pos x="connsiteX2981" y="connsiteY2981"/>
                  </a:cxn>
                  <a:cxn ang="0">
                    <a:pos x="connsiteX2982" y="connsiteY2982"/>
                  </a:cxn>
                  <a:cxn ang="0">
                    <a:pos x="connsiteX2983" y="connsiteY2983"/>
                  </a:cxn>
                  <a:cxn ang="0">
                    <a:pos x="connsiteX2984" y="connsiteY2984"/>
                  </a:cxn>
                  <a:cxn ang="0">
                    <a:pos x="connsiteX2985" y="connsiteY2985"/>
                  </a:cxn>
                  <a:cxn ang="0">
                    <a:pos x="connsiteX2986" y="connsiteY2986"/>
                  </a:cxn>
                  <a:cxn ang="0">
                    <a:pos x="connsiteX2987" y="connsiteY2987"/>
                  </a:cxn>
                  <a:cxn ang="0">
                    <a:pos x="connsiteX2988" y="connsiteY2988"/>
                  </a:cxn>
                  <a:cxn ang="0">
                    <a:pos x="connsiteX2989" y="connsiteY2989"/>
                  </a:cxn>
                  <a:cxn ang="0">
                    <a:pos x="connsiteX2990" y="connsiteY2990"/>
                  </a:cxn>
                  <a:cxn ang="0">
                    <a:pos x="connsiteX2991" y="connsiteY2991"/>
                  </a:cxn>
                  <a:cxn ang="0">
                    <a:pos x="connsiteX2992" y="connsiteY2992"/>
                  </a:cxn>
                  <a:cxn ang="0">
                    <a:pos x="connsiteX2993" y="connsiteY2993"/>
                  </a:cxn>
                  <a:cxn ang="0">
                    <a:pos x="connsiteX2994" y="connsiteY2994"/>
                  </a:cxn>
                  <a:cxn ang="0">
                    <a:pos x="connsiteX2995" y="connsiteY2995"/>
                  </a:cxn>
                  <a:cxn ang="0">
                    <a:pos x="connsiteX2996" y="connsiteY2996"/>
                  </a:cxn>
                  <a:cxn ang="0">
                    <a:pos x="connsiteX2997" y="connsiteY2997"/>
                  </a:cxn>
                  <a:cxn ang="0">
                    <a:pos x="connsiteX2998" y="connsiteY2998"/>
                  </a:cxn>
                  <a:cxn ang="0">
                    <a:pos x="connsiteX2999" y="connsiteY2999"/>
                  </a:cxn>
                  <a:cxn ang="0">
                    <a:pos x="connsiteX3000" y="connsiteY3000"/>
                  </a:cxn>
                  <a:cxn ang="0">
                    <a:pos x="connsiteX3001" y="connsiteY3001"/>
                  </a:cxn>
                  <a:cxn ang="0">
                    <a:pos x="connsiteX3002" y="connsiteY3002"/>
                  </a:cxn>
                  <a:cxn ang="0">
                    <a:pos x="connsiteX3003" y="connsiteY3003"/>
                  </a:cxn>
                  <a:cxn ang="0">
                    <a:pos x="connsiteX3004" y="connsiteY3004"/>
                  </a:cxn>
                  <a:cxn ang="0">
                    <a:pos x="connsiteX3005" y="connsiteY3005"/>
                  </a:cxn>
                  <a:cxn ang="0">
                    <a:pos x="connsiteX3006" y="connsiteY3006"/>
                  </a:cxn>
                  <a:cxn ang="0">
                    <a:pos x="connsiteX3007" y="connsiteY3007"/>
                  </a:cxn>
                  <a:cxn ang="0">
                    <a:pos x="connsiteX3008" y="connsiteY3008"/>
                  </a:cxn>
                  <a:cxn ang="0">
                    <a:pos x="connsiteX3009" y="connsiteY3009"/>
                  </a:cxn>
                  <a:cxn ang="0">
                    <a:pos x="connsiteX3010" y="connsiteY3010"/>
                  </a:cxn>
                  <a:cxn ang="0">
                    <a:pos x="connsiteX3011" y="connsiteY3011"/>
                  </a:cxn>
                  <a:cxn ang="0">
                    <a:pos x="connsiteX3012" y="connsiteY3012"/>
                  </a:cxn>
                  <a:cxn ang="0">
                    <a:pos x="connsiteX3013" y="connsiteY3013"/>
                  </a:cxn>
                  <a:cxn ang="0">
                    <a:pos x="connsiteX3014" y="connsiteY3014"/>
                  </a:cxn>
                  <a:cxn ang="0">
                    <a:pos x="connsiteX3015" y="connsiteY3015"/>
                  </a:cxn>
                  <a:cxn ang="0">
                    <a:pos x="connsiteX3016" y="connsiteY3016"/>
                  </a:cxn>
                  <a:cxn ang="0">
                    <a:pos x="connsiteX3017" y="connsiteY3017"/>
                  </a:cxn>
                  <a:cxn ang="0">
                    <a:pos x="connsiteX3018" y="connsiteY3018"/>
                  </a:cxn>
                  <a:cxn ang="0">
                    <a:pos x="connsiteX3019" y="connsiteY3019"/>
                  </a:cxn>
                  <a:cxn ang="0">
                    <a:pos x="connsiteX3020" y="connsiteY3020"/>
                  </a:cxn>
                  <a:cxn ang="0">
                    <a:pos x="connsiteX3021" y="connsiteY3021"/>
                  </a:cxn>
                  <a:cxn ang="0">
                    <a:pos x="connsiteX3022" y="connsiteY3022"/>
                  </a:cxn>
                  <a:cxn ang="0">
                    <a:pos x="connsiteX3023" y="connsiteY3023"/>
                  </a:cxn>
                  <a:cxn ang="0">
                    <a:pos x="connsiteX3024" y="connsiteY3024"/>
                  </a:cxn>
                  <a:cxn ang="0">
                    <a:pos x="connsiteX3025" y="connsiteY3025"/>
                  </a:cxn>
                  <a:cxn ang="0">
                    <a:pos x="connsiteX3026" y="connsiteY3026"/>
                  </a:cxn>
                  <a:cxn ang="0">
                    <a:pos x="connsiteX3027" y="connsiteY3027"/>
                  </a:cxn>
                  <a:cxn ang="0">
                    <a:pos x="connsiteX3028" y="connsiteY3028"/>
                  </a:cxn>
                  <a:cxn ang="0">
                    <a:pos x="connsiteX3029" y="connsiteY3029"/>
                  </a:cxn>
                  <a:cxn ang="0">
                    <a:pos x="connsiteX3030" y="connsiteY3030"/>
                  </a:cxn>
                  <a:cxn ang="0">
                    <a:pos x="connsiteX3031" y="connsiteY3031"/>
                  </a:cxn>
                  <a:cxn ang="0">
                    <a:pos x="connsiteX3032" y="connsiteY3032"/>
                  </a:cxn>
                  <a:cxn ang="0">
                    <a:pos x="connsiteX3033" y="connsiteY3033"/>
                  </a:cxn>
                  <a:cxn ang="0">
                    <a:pos x="connsiteX3034" y="connsiteY3034"/>
                  </a:cxn>
                  <a:cxn ang="0">
                    <a:pos x="connsiteX3035" y="connsiteY3035"/>
                  </a:cxn>
                  <a:cxn ang="0">
                    <a:pos x="connsiteX3036" y="connsiteY3036"/>
                  </a:cxn>
                  <a:cxn ang="0">
                    <a:pos x="connsiteX3037" y="connsiteY3037"/>
                  </a:cxn>
                  <a:cxn ang="0">
                    <a:pos x="connsiteX3038" y="connsiteY3038"/>
                  </a:cxn>
                  <a:cxn ang="0">
                    <a:pos x="connsiteX3039" y="connsiteY3039"/>
                  </a:cxn>
                  <a:cxn ang="0">
                    <a:pos x="connsiteX3040" y="connsiteY3040"/>
                  </a:cxn>
                  <a:cxn ang="0">
                    <a:pos x="connsiteX3041" y="connsiteY3041"/>
                  </a:cxn>
                  <a:cxn ang="0">
                    <a:pos x="connsiteX3042" y="connsiteY3042"/>
                  </a:cxn>
                  <a:cxn ang="0">
                    <a:pos x="connsiteX3043" y="connsiteY3043"/>
                  </a:cxn>
                  <a:cxn ang="0">
                    <a:pos x="connsiteX3044" y="connsiteY3044"/>
                  </a:cxn>
                  <a:cxn ang="0">
                    <a:pos x="connsiteX3045" y="connsiteY3045"/>
                  </a:cxn>
                  <a:cxn ang="0">
                    <a:pos x="connsiteX3046" y="connsiteY3046"/>
                  </a:cxn>
                  <a:cxn ang="0">
                    <a:pos x="connsiteX3047" y="connsiteY3047"/>
                  </a:cxn>
                  <a:cxn ang="0">
                    <a:pos x="connsiteX3048" y="connsiteY3048"/>
                  </a:cxn>
                  <a:cxn ang="0">
                    <a:pos x="connsiteX3049" y="connsiteY3049"/>
                  </a:cxn>
                  <a:cxn ang="0">
                    <a:pos x="connsiteX3050" y="connsiteY3050"/>
                  </a:cxn>
                  <a:cxn ang="0">
                    <a:pos x="connsiteX3051" y="connsiteY3051"/>
                  </a:cxn>
                  <a:cxn ang="0">
                    <a:pos x="connsiteX3052" y="connsiteY3052"/>
                  </a:cxn>
                  <a:cxn ang="0">
                    <a:pos x="connsiteX3053" y="connsiteY3053"/>
                  </a:cxn>
                  <a:cxn ang="0">
                    <a:pos x="connsiteX3054" y="connsiteY3054"/>
                  </a:cxn>
                  <a:cxn ang="0">
                    <a:pos x="connsiteX3055" y="connsiteY3055"/>
                  </a:cxn>
                  <a:cxn ang="0">
                    <a:pos x="connsiteX3056" y="connsiteY3056"/>
                  </a:cxn>
                  <a:cxn ang="0">
                    <a:pos x="connsiteX3057" y="connsiteY3057"/>
                  </a:cxn>
                  <a:cxn ang="0">
                    <a:pos x="connsiteX3058" y="connsiteY3058"/>
                  </a:cxn>
                  <a:cxn ang="0">
                    <a:pos x="connsiteX3059" y="connsiteY3059"/>
                  </a:cxn>
                  <a:cxn ang="0">
                    <a:pos x="connsiteX3060" y="connsiteY3060"/>
                  </a:cxn>
                  <a:cxn ang="0">
                    <a:pos x="connsiteX3061" y="connsiteY3061"/>
                  </a:cxn>
                  <a:cxn ang="0">
                    <a:pos x="connsiteX3062" y="connsiteY3062"/>
                  </a:cxn>
                  <a:cxn ang="0">
                    <a:pos x="connsiteX3063" y="connsiteY3063"/>
                  </a:cxn>
                  <a:cxn ang="0">
                    <a:pos x="connsiteX3064" y="connsiteY3064"/>
                  </a:cxn>
                  <a:cxn ang="0">
                    <a:pos x="connsiteX3065" y="connsiteY3065"/>
                  </a:cxn>
                  <a:cxn ang="0">
                    <a:pos x="connsiteX3066" y="connsiteY3066"/>
                  </a:cxn>
                  <a:cxn ang="0">
                    <a:pos x="connsiteX3067" y="connsiteY3067"/>
                  </a:cxn>
                  <a:cxn ang="0">
                    <a:pos x="connsiteX3068" y="connsiteY3068"/>
                  </a:cxn>
                  <a:cxn ang="0">
                    <a:pos x="connsiteX3069" y="connsiteY3069"/>
                  </a:cxn>
                  <a:cxn ang="0">
                    <a:pos x="connsiteX3070" y="connsiteY3070"/>
                  </a:cxn>
                  <a:cxn ang="0">
                    <a:pos x="connsiteX3071" y="connsiteY3071"/>
                  </a:cxn>
                  <a:cxn ang="0">
                    <a:pos x="connsiteX3072" y="connsiteY3072"/>
                  </a:cxn>
                  <a:cxn ang="0">
                    <a:pos x="connsiteX3073" y="connsiteY3073"/>
                  </a:cxn>
                  <a:cxn ang="0">
                    <a:pos x="connsiteX3074" y="connsiteY3074"/>
                  </a:cxn>
                  <a:cxn ang="0">
                    <a:pos x="connsiteX3075" y="connsiteY3075"/>
                  </a:cxn>
                  <a:cxn ang="0">
                    <a:pos x="connsiteX3076" y="connsiteY3076"/>
                  </a:cxn>
                  <a:cxn ang="0">
                    <a:pos x="connsiteX3077" y="connsiteY3077"/>
                  </a:cxn>
                  <a:cxn ang="0">
                    <a:pos x="connsiteX3078" y="connsiteY3078"/>
                  </a:cxn>
                  <a:cxn ang="0">
                    <a:pos x="connsiteX3079" y="connsiteY3079"/>
                  </a:cxn>
                  <a:cxn ang="0">
                    <a:pos x="connsiteX3080" y="connsiteY3080"/>
                  </a:cxn>
                  <a:cxn ang="0">
                    <a:pos x="connsiteX3081" y="connsiteY3081"/>
                  </a:cxn>
                  <a:cxn ang="0">
                    <a:pos x="connsiteX3082" y="connsiteY3082"/>
                  </a:cxn>
                  <a:cxn ang="0">
                    <a:pos x="connsiteX3083" y="connsiteY3083"/>
                  </a:cxn>
                  <a:cxn ang="0">
                    <a:pos x="connsiteX3084" y="connsiteY3084"/>
                  </a:cxn>
                  <a:cxn ang="0">
                    <a:pos x="connsiteX3085" y="connsiteY3085"/>
                  </a:cxn>
                  <a:cxn ang="0">
                    <a:pos x="connsiteX3086" y="connsiteY3086"/>
                  </a:cxn>
                  <a:cxn ang="0">
                    <a:pos x="connsiteX3087" y="connsiteY3087"/>
                  </a:cxn>
                  <a:cxn ang="0">
                    <a:pos x="connsiteX3088" y="connsiteY3088"/>
                  </a:cxn>
                  <a:cxn ang="0">
                    <a:pos x="connsiteX3089" y="connsiteY3089"/>
                  </a:cxn>
                  <a:cxn ang="0">
                    <a:pos x="connsiteX3090" y="connsiteY3090"/>
                  </a:cxn>
                  <a:cxn ang="0">
                    <a:pos x="connsiteX3091" y="connsiteY3091"/>
                  </a:cxn>
                  <a:cxn ang="0">
                    <a:pos x="connsiteX3092" y="connsiteY3092"/>
                  </a:cxn>
                  <a:cxn ang="0">
                    <a:pos x="connsiteX3093" y="connsiteY3093"/>
                  </a:cxn>
                  <a:cxn ang="0">
                    <a:pos x="connsiteX3094" y="connsiteY3094"/>
                  </a:cxn>
                  <a:cxn ang="0">
                    <a:pos x="connsiteX3095" y="connsiteY3095"/>
                  </a:cxn>
                  <a:cxn ang="0">
                    <a:pos x="connsiteX3096" y="connsiteY3096"/>
                  </a:cxn>
                  <a:cxn ang="0">
                    <a:pos x="connsiteX3097" y="connsiteY3097"/>
                  </a:cxn>
                  <a:cxn ang="0">
                    <a:pos x="connsiteX3098" y="connsiteY3098"/>
                  </a:cxn>
                  <a:cxn ang="0">
                    <a:pos x="connsiteX3099" y="connsiteY3099"/>
                  </a:cxn>
                  <a:cxn ang="0">
                    <a:pos x="connsiteX3100" y="connsiteY3100"/>
                  </a:cxn>
                  <a:cxn ang="0">
                    <a:pos x="connsiteX3101" y="connsiteY3101"/>
                  </a:cxn>
                  <a:cxn ang="0">
                    <a:pos x="connsiteX3102" y="connsiteY3102"/>
                  </a:cxn>
                  <a:cxn ang="0">
                    <a:pos x="connsiteX3103" y="connsiteY3103"/>
                  </a:cxn>
                  <a:cxn ang="0">
                    <a:pos x="connsiteX3104" y="connsiteY3104"/>
                  </a:cxn>
                  <a:cxn ang="0">
                    <a:pos x="connsiteX3105" y="connsiteY3105"/>
                  </a:cxn>
                  <a:cxn ang="0">
                    <a:pos x="connsiteX3106" y="connsiteY3106"/>
                  </a:cxn>
                  <a:cxn ang="0">
                    <a:pos x="connsiteX3107" y="connsiteY3107"/>
                  </a:cxn>
                  <a:cxn ang="0">
                    <a:pos x="connsiteX3108" y="connsiteY3108"/>
                  </a:cxn>
                  <a:cxn ang="0">
                    <a:pos x="connsiteX3109" y="connsiteY3109"/>
                  </a:cxn>
                  <a:cxn ang="0">
                    <a:pos x="connsiteX3110" y="connsiteY3110"/>
                  </a:cxn>
                  <a:cxn ang="0">
                    <a:pos x="connsiteX3111" y="connsiteY3111"/>
                  </a:cxn>
                  <a:cxn ang="0">
                    <a:pos x="connsiteX3112" y="connsiteY3112"/>
                  </a:cxn>
                  <a:cxn ang="0">
                    <a:pos x="connsiteX3113" y="connsiteY3113"/>
                  </a:cxn>
                  <a:cxn ang="0">
                    <a:pos x="connsiteX3114" y="connsiteY3114"/>
                  </a:cxn>
                  <a:cxn ang="0">
                    <a:pos x="connsiteX3115" y="connsiteY3115"/>
                  </a:cxn>
                  <a:cxn ang="0">
                    <a:pos x="connsiteX3116" y="connsiteY3116"/>
                  </a:cxn>
                  <a:cxn ang="0">
                    <a:pos x="connsiteX3117" y="connsiteY3117"/>
                  </a:cxn>
                  <a:cxn ang="0">
                    <a:pos x="connsiteX3118" y="connsiteY3118"/>
                  </a:cxn>
                  <a:cxn ang="0">
                    <a:pos x="connsiteX3119" y="connsiteY3119"/>
                  </a:cxn>
                  <a:cxn ang="0">
                    <a:pos x="connsiteX3120" y="connsiteY3120"/>
                  </a:cxn>
                  <a:cxn ang="0">
                    <a:pos x="connsiteX3121" y="connsiteY3121"/>
                  </a:cxn>
                  <a:cxn ang="0">
                    <a:pos x="connsiteX3122" y="connsiteY3122"/>
                  </a:cxn>
                  <a:cxn ang="0">
                    <a:pos x="connsiteX3123" y="connsiteY3123"/>
                  </a:cxn>
                  <a:cxn ang="0">
                    <a:pos x="connsiteX3124" y="connsiteY3124"/>
                  </a:cxn>
                  <a:cxn ang="0">
                    <a:pos x="connsiteX3125" y="connsiteY3125"/>
                  </a:cxn>
                  <a:cxn ang="0">
                    <a:pos x="connsiteX3126" y="connsiteY3126"/>
                  </a:cxn>
                  <a:cxn ang="0">
                    <a:pos x="connsiteX3127" y="connsiteY3127"/>
                  </a:cxn>
                  <a:cxn ang="0">
                    <a:pos x="connsiteX3128" y="connsiteY3128"/>
                  </a:cxn>
                  <a:cxn ang="0">
                    <a:pos x="connsiteX3129" y="connsiteY3129"/>
                  </a:cxn>
                  <a:cxn ang="0">
                    <a:pos x="connsiteX3130" y="connsiteY3130"/>
                  </a:cxn>
                  <a:cxn ang="0">
                    <a:pos x="connsiteX3131" y="connsiteY3131"/>
                  </a:cxn>
                  <a:cxn ang="0">
                    <a:pos x="connsiteX3132" y="connsiteY3132"/>
                  </a:cxn>
                  <a:cxn ang="0">
                    <a:pos x="connsiteX3133" y="connsiteY3133"/>
                  </a:cxn>
                  <a:cxn ang="0">
                    <a:pos x="connsiteX3134" y="connsiteY3134"/>
                  </a:cxn>
                  <a:cxn ang="0">
                    <a:pos x="connsiteX3135" y="connsiteY3135"/>
                  </a:cxn>
                  <a:cxn ang="0">
                    <a:pos x="connsiteX3136" y="connsiteY3136"/>
                  </a:cxn>
                  <a:cxn ang="0">
                    <a:pos x="connsiteX3137" y="connsiteY3137"/>
                  </a:cxn>
                  <a:cxn ang="0">
                    <a:pos x="connsiteX3138" y="connsiteY3138"/>
                  </a:cxn>
                  <a:cxn ang="0">
                    <a:pos x="connsiteX3139" y="connsiteY3139"/>
                  </a:cxn>
                  <a:cxn ang="0">
                    <a:pos x="connsiteX3140" y="connsiteY3140"/>
                  </a:cxn>
                  <a:cxn ang="0">
                    <a:pos x="connsiteX3141" y="connsiteY3141"/>
                  </a:cxn>
                  <a:cxn ang="0">
                    <a:pos x="connsiteX3142" y="connsiteY3142"/>
                  </a:cxn>
                  <a:cxn ang="0">
                    <a:pos x="connsiteX3143" y="connsiteY3143"/>
                  </a:cxn>
                  <a:cxn ang="0">
                    <a:pos x="connsiteX3144" y="connsiteY3144"/>
                  </a:cxn>
                  <a:cxn ang="0">
                    <a:pos x="connsiteX3145" y="connsiteY3145"/>
                  </a:cxn>
                  <a:cxn ang="0">
                    <a:pos x="connsiteX3146" y="connsiteY3146"/>
                  </a:cxn>
                  <a:cxn ang="0">
                    <a:pos x="connsiteX3147" y="connsiteY3147"/>
                  </a:cxn>
                  <a:cxn ang="0">
                    <a:pos x="connsiteX3148" y="connsiteY3148"/>
                  </a:cxn>
                  <a:cxn ang="0">
                    <a:pos x="connsiteX3149" y="connsiteY3149"/>
                  </a:cxn>
                  <a:cxn ang="0">
                    <a:pos x="connsiteX3150" y="connsiteY3150"/>
                  </a:cxn>
                  <a:cxn ang="0">
                    <a:pos x="connsiteX3151" y="connsiteY3151"/>
                  </a:cxn>
                  <a:cxn ang="0">
                    <a:pos x="connsiteX3152" y="connsiteY3152"/>
                  </a:cxn>
                  <a:cxn ang="0">
                    <a:pos x="connsiteX3153" y="connsiteY3153"/>
                  </a:cxn>
                  <a:cxn ang="0">
                    <a:pos x="connsiteX3154" y="connsiteY3154"/>
                  </a:cxn>
                  <a:cxn ang="0">
                    <a:pos x="connsiteX3155" y="connsiteY3155"/>
                  </a:cxn>
                  <a:cxn ang="0">
                    <a:pos x="connsiteX3156" y="connsiteY3156"/>
                  </a:cxn>
                  <a:cxn ang="0">
                    <a:pos x="connsiteX3157" y="connsiteY3157"/>
                  </a:cxn>
                  <a:cxn ang="0">
                    <a:pos x="connsiteX3158" y="connsiteY3158"/>
                  </a:cxn>
                  <a:cxn ang="0">
                    <a:pos x="connsiteX3159" y="connsiteY3159"/>
                  </a:cxn>
                  <a:cxn ang="0">
                    <a:pos x="connsiteX3160" y="connsiteY3160"/>
                  </a:cxn>
                  <a:cxn ang="0">
                    <a:pos x="connsiteX3161" y="connsiteY3161"/>
                  </a:cxn>
                  <a:cxn ang="0">
                    <a:pos x="connsiteX3162" y="connsiteY3162"/>
                  </a:cxn>
                  <a:cxn ang="0">
                    <a:pos x="connsiteX3163" y="connsiteY3163"/>
                  </a:cxn>
                  <a:cxn ang="0">
                    <a:pos x="connsiteX3164" y="connsiteY3164"/>
                  </a:cxn>
                  <a:cxn ang="0">
                    <a:pos x="connsiteX3165" y="connsiteY3165"/>
                  </a:cxn>
                  <a:cxn ang="0">
                    <a:pos x="connsiteX3166" y="connsiteY3166"/>
                  </a:cxn>
                  <a:cxn ang="0">
                    <a:pos x="connsiteX3167" y="connsiteY3167"/>
                  </a:cxn>
                  <a:cxn ang="0">
                    <a:pos x="connsiteX3168" y="connsiteY3168"/>
                  </a:cxn>
                  <a:cxn ang="0">
                    <a:pos x="connsiteX3169" y="connsiteY3169"/>
                  </a:cxn>
                  <a:cxn ang="0">
                    <a:pos x="connsiteX3170" y="connsiteY3170"/>
                  </a:cxn>
                  <a:cxn ang="0">
                    <a:pos x="connsiteX3171" y="connsiteY3171"/>
                  </a:cxn>
                  <a:cxn ang="0">
                    <a:pos x="connsiteX3172" y="connsiteY3172"/>
                  </a:cxn>
                  <a:cxn ang="0">
                    <a:pos x="connsiteX3173" y="connsiteY3173"/>
                  </a:cxn>
                  <a:cxn ang="0">
                    <a:pos x="connsiteX3174" y="connsiteY3174"/>
                  </a:cxn>
                  <a:cxn ang="0">
                    <a:pos x="connsiteX3175" y="connsiteY3175"/>
                  </a:cxn>
                  <a:cxn ang="0">
                    <a:pos x="connsiteX3176" y="connsiteY3176"/>
                  </a:cxn>
                  <a:cxn ang="0">
                    <a:pos x="connsiteX3177" y="connsiteY3177"/>
                  </a:cxn>
                  <a:cxn ang="0">
                    <a:pos x="connsiteX3178" y="connsiteY3178"/>
                  </a:cxn>
                  <a:cxn ang="0">
                    <a:pos x="connsiteX3179" y="connsiteY3179"/>
                  </a:cxn>
                  <a:cxn ang="0">
                    <a:pos x="connsiteX3180" y="connsiteY3180"/>
                  </a:cxn>
                  <a:cxn ang="0">
                    <a:pos x="connsiteX3181" y="connsiteY3181"/>
                  </a:cxn>
                  <a:cxn ang="0">
                    <a:pos x="connsiteX3182" y="connsiteY3182"/>
                  </a:cxn>
                  <a:cxn ang="0">
                    <a:pos x="connsiteX3183" y="connsiteY3183"/>
                  </a:cxn>
                  <a:cxn ang="0">
                    <a:pos x="connsiteX3184" y="connsiteY3184"/>
                  </a:cxn>
                  <a:cxn ang="0">
                    <a:pos x="connsiteX3185" y="connsiteY3185"/>
                  </a:cxn>
                  <a:cxn ang="0">
                    <a:pos x="connsiteX3186" y="connsiteY3186"/>
                  </a:cxn>
                  <a:cxn ang="0">
                    <a:pos x="connsiteX3187" y="connsiteY3187"/>
                  </a:cxn>
                  <a:cxn ang="0">
                    <a:pos x="connsiteX3188" y="connsiteY3188"/>
                  </a:cxn>
                  <a:cxn ang="0">
                    <a:pos x="connsiteX3189" y="connsiteY3189"/>
                  </a:cxn>
                  <a:cxn ang="0">
                    <a:pos x="connsiteX3190" y="connsiteY3190"/>
                  </a:cxn>
                  <a:cxn ang="0">
                    <a:pos x="connsiteX3191" y="connsiteY3191"/>
                  </a:cxn>
                  <a:cxn ang="0">
                    <a:pos x="connsiteX3192" y="connsiteY3192"/>
                  </a:cxn>
                  <a:cxn ang="0">
                    <a:pos x="connsiteX3193" y="connsiteY3193"/>
                  </a:cxn>
                  <a:cxn ang="0">
                    <a:pos x="connsiteX3194" y="connsiteY3194"/>
                  </a:cxn>
                  <a:cxn ang="0">
                    <a:pos x="connsiteX3195" y="connsiteY3195"/>
                  </a:cxn>
                  <a:cxn ang="0">
                    <a:pos x="connsiteX3196" y="connsiteY3196"/>
                  </a:cxn>
                  <a:cxn ang="0">
                    <a:pos x="connsiteX3197" y="connsiteY3197"/>
                  </a:cxn>
                  <a:cxn ang="0">
                    <a:pos x="connsiteX3198" y="connsiteY3198"/>
                  </a:cxn>
                  <a:cxn ang="0">
                    <a:pos x="connsiteX3199" y="connsiteY3199"/>
                  </a:cxn>
                  <a:cxn ang="0">
                    <a:pos x="connsiteX3200" y="connsiteY3200"/>
                  </a:cxn>
                  <a:cxn ang="0">
                    <a:pos x="connsiteX3201" y="connsiteY3201"/>
                  </a:cxn>
                  <a:cxn ang="0">
                    <a:pos x="connsiteX3202" y="connsiteY3202"/>
                  </a:cxn>
                  <a:cxn ang="0">
                    <a:pos x="connsiteX3203" y="connsiteY3203"/>
                  </a:cxn>
                  <a:cxn ang="0">
                    <a:pos x="connsiteX3204" y="connsiteY3204"/>
                  </a:cxn>
                  <a:cxn ang="0">
                    <a:pos x="connsiteX3205" y="connsiteY3205"/>
                  </a:cxn>
                  <a:cxn ang="0">
                    <a:pos x="connsiteX3206" y="connsiteY3206"/>
                  </a:cxn>
                  <a:cxn ang="0">
                    <a:pos x="connsiteX3207" y="connsiteY3207"/>
                  </a:cxn>
                  <a:cxn ang="0">
                    <a:pos x="connsiteX3208" y="connsiteY3208"/>
                  </a:cxn>
                  <a:cxn ang="0">
                    <a:pos x="connsiteX3209" y="connsiteY3209"/>
                  </a:cxn>
                  <a:cxn ang="0">
                    <a:pos x="connsiteX3210" y="connsiteY3210"/>
                  </a:cxn>
                  <a:cxn ang="0">
                    <a:pos x="connsiteX3211" y="connsiteY3211"/>
                  </a:cxn>
                  <a:cxn ang="0">
                    <a:pos x="connsiteX3212" y="connsiteY3212"/>
                  </a:cxn>
                  <a:cxn ang="0">
                    <a:pos x="connsiteX3213" y="connsiteY3213"/>
                  </a:cxn>
                  <a:cxn ang="0">
                    <a:pos x="connsiteX3214" y="connsiteY3214"/>
                  </a:cxn>
                  <a:cxn ang="0">
                    <a:pos x="connsiteX3215" y="connsiteY3215"/>
                  </a:cxn>
                  <a:cxn ang="0">
                    <a:pos x="connsiteX3216" y="connsiteY3216"/>
                  </a:cxn>
                  <a:cxn ang="0">
                    <a:pos x="connsiteX3217" y="connsiteY3217"/>
                  </a:cxn>
                  <a:cxn ang="0">
                    <a:pos x="connsiteX3218" y="connsiteY3218"/>
                  </a:cxn>
                  <a:cxn ang="0">
                    <a:pos x="connsiteX3219" y="connsiteY3219"/>
                  </a:cxn>
                  <a:cxn ang="0">
                    <a:pos x="connsiteX3220" y="connsiteY3220"/>
                  </a:cxn>
                  <a:cxn ang="0">
                    <a:pos x="connsiteX3221" y="connsiteY3221"/>
                  </a:cxn>
                  <a:cxn ang="0">
                    <a:pos x="connsiteX3222" y="connsiteY3222"/>
                  </a:cxn>
                  <a:cxn ang="0">
                    <a:pos x="connsiteX3223" y="connsiteY3223"/>
                  </a:cxn>
                  <a:cxn ang="0">
                    <a:pos x="connsiteX3224" y="connsiteY3224"/>
                  </a:cxn>
                  <a:cxn ang="0">
                    <a:pos x="connsiteX3225" y="connsiteY3225"/>
                  </a:cxn>
                  <a:cxn ang="0">
                    <a:pos x="connsiteX3226" y="connsiteY3226"/>
                  </a:cxn>
                  <a:cxn ang="0">
                    <a:pos x="connsiteX3227" y="connsiteY3227"/>
                  </a:cxn>
                  <a:cxn ang="0">
                    <a:pos x="connsiteX3228" y="connsiteY3228"/>
                  </a:cxn>
                  <a:cxn ang="0">
                    <a:pos x="connsiteX3229" y="connsiteY3229"/>
                  </a:cxn>
                  <a:cxn ang="0">
                    <a:pos x="connsiteX3230" y="connsiteY3230"/>
                  </a:cxn>
                  <a:cxn ang="0">
                    <a:pos x="connsiteX3231" y="connsiteY3231"/>
                  </a:cxn>
                  <a:cxn ang="0">
                    <a:pos x="connsiteX3232" y="connsiteY3232"/>
                  </a:cxn>
                  <a:cxn ang="0">
                    <a:pos x="connsiteX3233" y="connsiteY3233"/>
                  </a:cxn>
                  <a:cxn ang="0">
                    <a:pos x="connsiteX3234" y="connsiteY3234"/>
                  </a:cxn>
                  <a:cxn ang="0">
                    <a:pos x="connsiteX3235" y="connsiteY3235"/>
                  </a:cxn>
                  <a:cxn ang="0">
                    <a:pos x="connsiteX3236" y="connsiteY3236"/>
                  </a:cxn>
                  <a:cxn ang="0">
                    <a:pos x="connsiteX3237" y="connsiteY3237"/>
                  </a:cxn>
                  <a:cxn ang="0">
                    <a:pos x="connsiteX3238" y="connsiteY3238"/>
                  </a:cxn>
                  <a:cxn ang="0">
                    <a:pos x="connsiteX3239" y="connsiteY3239"/>
                  </a:cxn>
                  <a:cxn ang="0">
                    <a:pos x="connsiteX3240" y="connsiteY3240"/>
                  </a:cxn>
                  <a:cxn ang="0">
                    <a:pos x="connsiteX3241" y="connsiteY3241"/>
                  </a:cxn>
                  <a:cxn ang="0">
                    <a:pos x="connsiteX3242" y="connsiteY3242"/>
                  </a:cxn>
                  <a:cxn ang="0">
                    <a:pos x="connsiteX3243" y="connsiteY3243"/>
                  </a:cxn>
                  <a:cxn ang="0">
                    <a:pos x="connsiteX3244" y="connsiteY3244"/>
                  </a:cxn>
                  <a:cxn ang="0">
                    <a:pos x="connsiteX3245" y="connsiteY3245"/>
                  </a:cxn>
                  <a:cxn ang="0">
                    <a:pos x="connsiteX3246" y="connsiteY3246"/>
                  </a:cxn>
                  <a:cxn ang="0">
                    <a:pos x="connsiteX3247" y="connsiteY3247"/>
                  </a:cxn>
                  <a:cxn ang="0">
                    <a:pos x="connsiteX3248" y="connsiteY3248"/>
                  </a:cxn>
                  <a:cxn ang="0">
                    <a:pos x="connsiteX3249" y="connsiteY3249"/>
                  </a:cxn>
                  <a:cxn ang="0">
                    <a:pos x="connsiteX3250" y="connsiteY3250"/>
                  </a:cxn>
                  <a:cxn ang="0">
                    <a:pos x="connsiteX3251" y="connsiteY3251"/>
                  </a:cxn>
                  <a:cxn ang="0">
                    <a:pos x="connsiteX3252" y="connsiteY3252"/>
                  </a:cxn>
                  <a:cxn ang="0">
                    <a:pos x="connsiteX3253" y="connsiteY3253"/>
                  </a:cxn>
                  <a:cxn ang="0">
                    <a:pos x="connsiteX3254" y="connsiteY3254"/>
                  </a:cxn>
                  <a:cxn ang="0">
                    <a:pos x="connsiteX3255" y="connsiteY3255"/>
                  </a:cxn>
                  <a:cxn ang="0">
                    <a:pos x="connsiteX3256" y="connsiteY3256"/>
                  </a:cxn>
                  <a:cxn ang="0">
                    <a:pos x="connsiteX3257" y="connsiteY3257"/>
                  </a:cxn>
                  <a:cxn ang="0">
                    <a:pos x="connsiteX3258" y="connsiteY3258"/>
                  </a:cxn>
                  <a:cxn ang="0">
                    <a:pos x="connsiteX3259" y="connsiteY3259"/>
                  </a:cxn>
                  <a:cxn ang="0">
                    <a:pos x="connsiteX3260" y="connsiteY3260"/>
                  </a:cxn>
                  <a:cxn ang="0">
                    <a:pos x="connsiteX3261" y="connsiteY3261"/>
                  </a:cxn>
                  <a:cxn ang="0">
                    <a:pos x="connsiteX3262" y="connsiteY3262"/>
                  </a:cxn>
                  <a:cxn ang="0">
                    <a:pos x="connsiteX3263" y="connsiteY3263"/>
                  </a:cxn>
                  <a:cxn ang="0">
                    <a:pos x="connsiteX3264" y="connsiteY3264"/>
                  </a:cxn>
                  <a:cxn ang="0">
                    <a:pos x="connsiteX3265" y="connsiteY3265"/>
                  </a:cxn>
                  <a:cxn ang="0">
                    <a:pos x="connsiteX3266" y="connsiteY3266"/>
                  </a:cxn>
                  <a:cxn ang="0">
                    <a:pos x="connsiteX3267" y="connsiteY3267"/>
                  </a:cxn>
                  <a:cxn ang="0">
                    <a:pos x="connsiteX3268" y="connsiteY3268"/>
                  </a:cxn>
                  <a:cxn ang="0">
                    <a:pos x="connsiteX3269" y="connsiteY3269"/>
                  </a:cxn>
                  <a:cxn ang="0">
                    <a:pos x="connsiteX3270" y="connsiteY3270"/>
                  </a:cxn>
                  <a:cxn ang="0">
                    <a:pos x="connsiteX3271" y="connsiteY3271"/>
                  </a:cxn>
                  <a:cxn ang="0">
                    <a:pos x="connsiteX3272" y="connsiteY3272"/>
                  </a:cxn>
                  <a:cxn ang="0">
                    <a:pos x="connsiteX3273" y="connsiteY3273"/>
                  </a:cxn>
                  <a:cxn ang="0">
                    <a:pos x="connsiteX3274" y="connsiteY3274"/>
                  </a:cxn>
                  <a:cxn ang="0">
                    <a:pos x="connsiteX3275" y="connsiteY3275"/>
                  </a:cxn>
                  <a:cxn ang="0">
                    <a:pos x="connsiteX3276" y="connsiteY3276"/>
                  </a:cxn>
                  <a:cxn ang="0">
                    <a:pos x="connsiteX3277" y="connsiteY3277"/>
                  </a:cxn>
                  <a:cxn ang="0">
                    <a:pos x="connsiteX3278" y="connsiteY3278"/>
                  </a:cxn>
                  <a:cxn ang="0">
                    <a:pos x="connsiteX3279" y="connsiteY3279"/>
                  </a:cxn>
                  <a:cxn ang="0">
                    <a:pos x="connsiteX3280" y="connsiteY3280"/>
                  </a:cxn>
                  <a:cxn ang="0">
                    <a:pos x="connsiteX3281" y="connsiteY3281"/>
                  </a:cxn>
                  <a:cxn ang="0">
                    <a:pos x="connsiteX3282" y="connsiteY3282"/>
                  </a:cxn>
                  <a:cxn ang="0">
                    <a:pos x="connsiteX3283" y="connsiteY3283"/>
                  </a:cxn>
                  <a:cxn ang="0">
                    <a:pos x="connsiteX3284" y="connsiteY3284"/>
                  </a:cxn>
                  <a:cxn ang="0">
                    <a:pos x="connsiteX3285" y="connsiteY3285"/>
                  </a:cxn>
                  <a:cxn ang="0">
                    <a:pos x="connsiteX3286" y="connsiteY3286"/>
                  </a:cxn>
                  <a:cxn ang="0">
                    <a:pos x="connsiteX3287" y="connsiteY3287"/>
                  </a:cxn>
                  <a:cxn ang="0">
                    <a:pos x="connsiteX3288" y="connsiteY3288"/>
                  </a:cxn>
                  <a:cxn ang="0">
                    <a:pos x="connsiteX3289" y="connsiteY3289"/>
                  </a:cxn>
                  <a:cxn ang="0">
                    <a:pos x="connsiteX3290" y="connsiteY3290"/>
                  </a:cxn>
                  <a:cxn ang="0">
                    <a:pos x="connsiteX3291" y="connsiteY3291"/>
                  </a:cxn>
                  <a:cxn ang="0">
                    <a:pos x="connsiteX3292" y="connsiteY3292"/>
                  </a:cxn>
                  <a:cxn ang="0">
                    <a:pos x="connsiteX3293" y="connsiteY3293"/>
                  </a:cxn>
                  <a:cxn ang="0">
                    <a:pos x="connsiteX3294" y="connsiteY3294"/>
                  </a:cxn>
                  <a:cxn ang="0">
                    <a:pos x="connsiteX3295" y="connsiteY3295"/>
                  </a:cxn>
                  <a:cxn ang="0">
                    <a:pos x="connsiteX3296" y="connsiteY3296"/>
                  </a:cxn>
                  <a:cxn ang="0">
                    <a:pos x="connsiteX3297" y="connsiteY3297"/>
                  </a:cxn>
                  <a:cxn ang="0">
                    <a:pos x="connsiteX3298" y="connsiteY3298"/>
                  </a:cxn>
                  <a:cxn ang="0">
                    <a:pos x="connsiteX3299" y="connsiteY3299"/>
                  </a:cxn>
                  <a:cxn ang="0">
                    <a:pos x="connsiteX3300" y="connsiteY3300"/>
                  </a:cxn>
                  <a:cxn ang="0">
                    <a:pos x="connsiteX3301" y="connsiteY3301"/>
                  </a:cxn>
                  <a:cxn ang="0">
                    <a:pos x="connsiteX3302" y="connsiteY3302"/>
                  </a:cxn>
                  <a:cxn ang="0">
                    <a:pos x="connsiteX3303" y="connsiteY3303"/>
                  </a:cxn>
                  <a:cxn ang="0">
                    <a:pos x="connsiteX3304" y="connsiteY3304"/>
                  </a:cxn>
                  <a:cxn ang="0">
                    <a:pos x="connsiteX3305" y="connsiteY3305"/>
                  </a:cxn>
                  <a:cxn ang="0">
                    <a:pos x="connsiteX3306" y="connsiteY3306"/>
                  </a:cxn>
                  <a:cxn ang="0">
                    <a:pos x="connsiteX3307" y="connsiteY3307"/>
                  </a:cxn>
                  <a:cxn ang="0">
                    <a:pos x="connsiteX3308" y="connsiteY3308"/>
                  </a:cxn>
                  <a:cxn ang="0">
                    <a:pos x="connsiteX3309" y="connsiteY3309"/>
                  </a:cxn>
                  <a:cxn ang="0">
                    <a:pos x="connsiteX3310" y="connsiteY3310"/>
                  </a:cxn>
                  <a:cxn ang="0">
                    <a:pos x="connsiteX3311" y="connsiteY3311"/>
                  </a:cxn>
                  <a:cxn ang="0">
                    <a:pos x="connsiteX3312" y="connsiteY3312"/>
                  </a:cxn>
                  <a:cxn ang="0">
                    <a:pos x="connsiteX3313" y="connsiteY3313"/>
                  </a:cxn>
                  <a:cxn ang="0">
                    <a:pos x="connsiteX3314" y="connsiteY3314"/>
                  </a:cxn>
                  <a:cxn ang="0">
                    <a:pos x="connsiteX3315" y="connsiteY3315"/>
                  </a:cxn>
                  <a:cxn ang="0">
                    <a:pos x="connsiteX3316" y="connsiteY3316"/>
                  </a:cxn>
                  <a:cxn ang="0">
                    <a:pos x="connsiteX3317" y="connsiteY3317"/>
                  </a:cxn>
                  <a:cxn ang="0">
                    <a:pos x="connsiteX3318" y="connsiteY3318"/>
                  </a:cxn>
                  <a:cxn ang="0">
                    <a:pos x="connsiteX3319" y="connsiteY3319"/>
                  </a:cxn>
                  <a:cxn ang="0">
                    <a:pos x="connsiteX3320" y="connsiteY3320"/>
                  </a:cxn>
                  <a:cxn ang="0">
                    <a:pos x="connsiteX3321" y="connsiteY3321"/>
                  </a:cxn>
                  <a:cxn ang="0">
                    <a:pos x="connsiteX3322" y="connsiteY3322"/>
                  </a:cxn>
                  <a:cxn ang="0">
                    <a:pos x="connsiteX3323" y="connsiteY3323"/>
                  </a:cxn>
                  <a:cxn ang="0">
                    <a:pos x="connsiteX3324" y="connsiteY3324"/>
                  </a:cxn>
                  <a:cxn ang="0">
                    <a:pos x="connsiteX3325" y="connsiteY3325"/>
                  </a:cxn>
                  <a:cxn ang="0">
                    <a:pos x="connsiteX3326" y="connsiteY3326"/>
                  </a:cxn>
                  <a:cxn ang="0">
                    <a:pos x="connsiteX3327" y="connsiteY3327"/>
                  </a:cxn>
                  <a:cxn ang="0">
                    <a:pos x="connsiteX3328" y="connsiteY3328"/>
                  </a:cxn>
                  <a:cxn ang="0">
                    <a:pos x="connsiteX3329" y="connsiteY3329"/>
                  </a:cxn>
                  <a:cxn ang="0">
                    <a:pos x="connsiteX3330" y="connsiteY3330"/>
                  </a:cxn>
                  <a:cxn ang="0">
                    <a:pos x="connsiteX3331" y="connsiteY3331"/>
                  </a:cxn>
                  <a:cxn ang="0">
                    <a:pos x="connsiteX3332" y="connsiteY3332"/>
                  </a:cxn>
                  <a:cxn ang="0">
                    <a:pos x="connsiteX3333" y="connsiteY3333"/>
                  </a:cxn>
                  <a:cxn ang="0">
                    <a:pos x="connsiteX3334" y="connsiteY3334"/>
                  </a:cxn>
                  <a:cxn ang="0">
                    <a:pos x="connsiteX3335" y="connsiteY3335"/>
                  </a:cxn>
                  <a:cxn ang="0">
                    <a:pos x="connsiteX3336" y="connsiteY3336"/>
                  </a:cxn>
                  <a:cxn ang="0">
                    <a:pos x="connsiteX3337" y="connsiteY3337"/>
                  </a:cxn>
                  <a:cxn ang="0">
                    <a:pos x="connsiteX3338" y="connsiteY3338"/>
                  </a:cxn>
                  <a:cxn ang="0">
                    <a:pos x="connsiteX3339" y="connsiteY3339"/>
                  </a:cxn>
                  <a:cxn ang="0">
                    <a:pos x="connsiteX3340" y="connsiteY3340"/>
                  </a:cxn>
                  <a:cxn ang="0">
                    <a:pos x="connsiteX3341" y="connsiteY3341"/>
                  </a:cxn>
                  <a:cxn ang="0">
                    <a:pos x="connsiteX3342" y="connsiteY3342"/>
                  </a:cxn>
                  <a:cxn ang="0">
                    <a:pos x="connsiteX3343" y="connsiteY3343"/>
                  </a:cxn>
                  <a:cxn ang="0">
                    <a:pos x="connsiteX3344" y="connsiteY3344"/>
                  </a:cxn>
                  <a:cxn ang="0">
                    <a:pos x="connsiteX3345" y="connsiteY3345"/>
                  </a:cxn>
                  <a:cxn ang="0">
                    <a:pos x="connsiteX3346" y="connsiteY3346"/>
                  </a:cxn>
                  <a:cxn ang="0">
                    <a:pos x="connsiteX3347" y="connsiteY3347"/>
                  </a:cxn>
                  <a:cxn ang="0">
                    <a:pos x="connsiteX3348" y="connsiteY3348"/>
                  </a:cxn>
                  <a:cxn ang="0">
                    <a:pos x="connsiteX3349" y="connsiteY3349"/>
                  </a:cxn>
                  <a:cxn ang="0">
                    <a:pos x="connsiteX3350" y="connsiteY3350"/>
                  </a:cxn>
                  <a:cxn ang="0">
                    <a:pos x="connsiteX3351" y="connsiteY3351"/>
                  </a:cxn>
                  <a:cxn ang="0">
                    <a:pos x="connsiteX3352" y="connsiteY3352"/>
                  </a:cxn>
                  <a:cxn ang="0">
                    <a:pos x="connsiteX3353" y="connsiteY3353"/>
                  </a:cxn>
                  <a:cxn ang="0">
                    <a:pos x="connsiteX3354" y="connsiteY3354"/>
                  </a:cxn>
                  <a:cxn ang="0">
                    <a:pos x="connsiteX3355" y="connsiteY3355"/>
                  </a:cxn>
                  <a:cxn ang="0">
                    <a:pos x="connsiteX3356" y="connsiteY3356"/>
                  </a:cxn>
                  <a:cxn ang="0">
                    <a:pos x="connsiteX3357" y="connsiteY3357"/>
                  </a:cxn>
                  <a:cxn ang="0">
                    <a:pos x="connsiteX3358" y="connsiteY3358"/>
                  </a:cxn>
                  <a:cxn ang="0">
                    <a:pos x="connsiteX3359" y="connsiteY3359"/>
                  </a:cxn>
                  <a:cxn ang="0">
                    <a:pos x="connsiteX3360" y="connsiteY3360"/>
                  </a:cxn>
                  <a:cxn ang="0">
                    <a:pos x="connsiteX3361" y="connsiteY3361"/>
                  </a:cxn>
                  <a:cxn ang="0">
                    <a:pos x="connsiteX3362" y="connsiteY3362"/>
                  </a:cxn>
                  <a:cxn ang="0">
                    <a:pos x="connsiteX3363" y="connsiteY3363"/>
                  </a:cxn>
                  <a:cxn ang="0">
                    <a:pos x="connsiteX3364" y="connsiteY3364"/>
                  </a:cxn>
                  <a:cxn ang="0">
                    <a:pos x="connsiteX3365" y="connsiteY3365"/>
                  </a:cxn>
                  <a:cxn ang="0">
                    <a:pos x="connsiteX3366" y="connsiteY3366"/>
                  </a:cxn>
                  <a:cxn ang="0">
                    <a:pos x="connsiteX3367" y="connsiteY3367"/>
                  </a:cxn>
                  <a:cxn ang="0">
                    <a:pos x="connsiteX3368" y="connsiteY3368"/>
                  </a:cxn>
                  <a:cxn ang="0">
                    <a:pos x="connsiteX3369" y="connsiteY3369"/>
                  </a:cxn>
                  <a:cxn ang="0">
                    <a:pos x="connsiteX3370" y="connsiteY3370"/>
                  </a:cxn>
                  <a:cxn ang="0">
                    <a:pos x="connsiteX3371" y="connsiteY3371"/>
                  </a:cxn>
                  <a:cxn ang="0">
                    <a:pos x="connsiteX3372" y="connsiteY3372"/>
                  </a:cxn>
                  <a:cxn ang="0">
                    <a:pos x="connsiteX3373" y="connsiteY3373"/>
                  </a:cxn>
                  <a:cxn ang="0">
                    <a:pos x="connsiteX3374" y="connsiteY3374"/>
                  </a:cxn>
                  <a:cxn ang="0">
                    <a:pos x="connsiteX3375" y="connsiteY3375"/>
                  </a:cxn>
                  <a:cxn ang="0">
                    <a:pos x="connsiteX3376" y="connsiteY3376"/>
                  </a:cxn>
                  <a:cxn ang="0">
                    <a:pos x="connsiteX3377" y="connsiteY3377"/>
                  </a:cxn>
                  <a:cxn ang="0">
                    <a:pos x="connsiteX3378" y="connsiteY3378"/>
                  </a:cxn>
                  <a:cxn ang="0">
                    <a:pos x="connsiteX3379" y="connsiteY3379"/>
                  </a:cxn>
                  <a:cxn ang="0">
                    <a:pos x="connsiteX3380" y="connsiteY3380"/>
                  </a:cxn>
                  <a:cxn ang="0">
                    <a:pos x="connsiteX3381" y="connsiteY3381"/>
                  </a:cxn>
                  <a:cxn ang="0">
                    <a:pos x="connsiteX3382" y="connsiteY3382"/>
                  </a:cxn>
                  <a:cxn ang="0">
                    <a:pos x="connsiteX3383" y="connsiteY3383"/>
                  </a:cxn>
                  <a:cxn ang="0">
                    <a:pos x="connsiteX3384" y="connsiteY3384"/>
                  </a:cxn>
                  <a:cxn ang="0">
                    <a:pos x="connsiteX3385" y="connsiteY3385"/>
                  </a:cxn>
                  <a:cxn ang="0">
                    <a:pos x="connsiteX3386" y="connsiteY3386"/>
                  </a:cxn>
                  <a:cxn ang="0">
                    <a:pos x="connsiteX3387" y="connsiteY3387"/>
                  </a:cxn>
                  <a:cxn ang="0">
                    <a:pos x="connsiteX3388" y="connsiteY3388"/>
                  </a:cxn>
                  <a:cxn ang="0">
                    <a:pos x="connsiteX3389" y="connsiteY3389"/>
                  </a:cxn>
                  <a:cxn ang="0">
                    <a:pos x="connsiteX3390" y="connsiteY3390"/>
                  </a:cxn>
                  <a:cxn ang="0">
                    <a:pos x="connsiteX3391" y="connsiteY3391"/>
                  </a:cxn>
                  <a:cxn ang="0">
                    <a:pos x="connsiteX3392" y="connsiteY3392"/>
                  </a:cxn>
                  <a:cxn ang="0">
                    <a:pos x="connsiteX3393" y="connsiteY3393"/>
                  </a:cxn>
                  <a:cxn ang="0">
                    <a:pos x="connsiteX3394" y="connsiteY3394"/>
                  </a:cxn>
                  <a:cxn ang="0">
                    <a:pos x="connsiteX3395" y="connsiteY3395"/>
                  </a:cxn>
                  <a:cxn ang="0">
                    <a:pos x="connsiteX3396" y="connsiteY3396"/>
                  </a:cxn>
                  <a:cxn ang="0">
                    <a:pos x="connsiteX3397" y="connsiteY3397"/>
                  </a:cxn>
                  <a:cxn ang="0">
                    <a:pos x="connsiteX3398" y="connsiteY3398"/>
                  </a:cxn>
                  <a:cxn ang="0">
                    <a:pos x="connsiteX3399" y="connsiteY3399"/>
                  </a:cxn>
                  <a:cxn ang="0">
                    <a:pos x="connsiteX3400" y="connsiteY3400"/>
                  </a:cxn>
                  <a:cxn ang="0">
                    <a:pos x="connsiteX3401" y="connsiteY3401"/>
                  </a:cxn>
                  <a:cxn ang="0">
                    <a:pos x="connsiteX3402" y="connsiteY3402"/>
                  </a:cxn>
                  <a:cxn ang="0">
                    <a:pos x="connsiteX3403" y="connsiteY3403"/>
                  </a:cxn>
                  <a:cxn ang="0">
                    <a:pos x="connsiteX3404" y="connsiteY3404"/>
                  </a:cxn>
                  <a:cxn ang="0">
                    <a:pos x="connsiteX3405" y="connsiteY3405"/>
                  </a:cxn>
                  <a:cxn ang="0">
                    <a:pos x="connsiteX3406" y="connsiteY3406"/>
                  </a:cxn>
                  <a:cxn ang="0">
                    <a:pos x="connsiteX3407" y="connsiteY3407"/>
                  </a:cxn>
                  <a:cxn ang="0">
                    <a:pos x="connsiteX3408" y="connsiteY3408"/>
                  </a:cxn>
                  <a:cxn ang="0">
                    <a:pos x="connsiteX3409" y="connsiteY3409"/>
                  </a:cxn>
                  <a:cxn ang="0">
                    <a:pos x="connsiteX3410" y="connsiteY3410"/>
                  </a:cxn>
                  <a:cxn ang="0">
                    <a:pos x="connsiteX3411" y="connsiteY3411"/>
                  </a:cxn>
                  <a:cxn ang="0">
                    <a:pos x="connsiteX3412" y="connsiteY3412"/>
                  </a:cxn>
                  <a:cxn ang="0">
                    <a:pos x="connsiteX3413" y="connsiteY3413"/>
                  </a:cxn>
                  <a:cxn ang="0">
                    <a:pos x="connsiteX3414" y="connsiteY3414"/>
                  </a:cxn>
                  <a:cxn ang="0">
                    <a:pos x="connsiteX3415" y="connsiteY3415"/>
                  </a:cxn>
                  <a:cxn ang="0">
                    <a:pos x="connsiteX3416" y="connsiteY3416"/>
                  </a:cxn>
                  <a:cxn ang="0">
                    <a:pos x="connsiteX3417" y="connsiteY3417"/>
                  </a:cxn>
                  <a:cxn ang="0">
                    <a:pos x="connsiteX3418" y="connsiteY3418"/>
                  </a:cxn>
                  <a:cxn ang="0">
                    <a:pos x="connsiteX3419" y="connsiteY3419"/>
                  </a:cxn>
                  <a:cxn ang="0">
                    <a:pos x="connsiteX3420" y="connsiteY3420"/>
                  </a:cxn>
                  <a:cxn ang="0">
                    <a:pos x="connsiteX3421" y="connsiteY3421"/>
                  </a:cxn>
                  <a:cxn ang="0">
                    <a:pos x="connsiteX3422" y="connsiteY3422"/>
                  </a:cxn>
                  <a:cxn ang="0">
                    <a:pos x="connsiteX3423" y="connsiteY3423"/>
                  </a:cxn>
                  <a:cxn ang="0">
                    <a:pos x="connsiteX3424" y="connsiteY3424"/>
                  </a:cxn>
                  <a:cxn ang="0">
                    <a:pos x="connsiteX3425" y="connsiteY3425"/>
                  </a:cxn>
                  <a:cxn ang="0">
                    <a:pos x="connsiteX3426" y="connsiteY3426"/>
                  </a:cxn>
                  <a:cxn ang="0">
                    <a:pos x="connsiteX3427" y="connsiteY3427"/>
                  </a:cxn>
                  <a:cxn ang="0">
                    <a:pos x="connsiteX3428" y="connsiteY3428"/>
                  </a:cxn>
                  <a:cxn ang="0">
                    <a:pos x="connsiteX3429" y="connsiteY3429"/>
                  </a:cxn>
                  <a:cxn ang="0">
                    <a:pos x="connsiteX3430" y="connsiteY3430"/>
                  </a:cxn>
                  <a:cxn ang="0">
                    <a:pos x="connsiteX3431" y="connsiteY3431"/>
                  </a:cxn>
                  <a:cxn ang="0">
                    <a:pos x="connsiteX3432" y="connsiteY3432"/>
                  </a:cxn>
                  <a:cxn ang="0">
                    <a:pos x="connsiteX3433" y="connsiteY3433"/>
                  </a:cxn>
                  <a:cxn ang="0">
                    <a:pos x="connsiteX3434" y="connsiteY3434"/>
                  </a:cxn>
                  <a:cxn ang="0">
                    <a:pos x="connsiteX3435" y="connsiteY3435"/>
                  </a:cxn>
                  <a:cxn ang="0">
                    <a:pos x="connsiteX3436" y="connsiteY3436"/>
                  </a:cxn>
                  <a:cxn ang="0">
                    <a:pos x="connsiteX3437" y="connsiteY3437"/>
                  </a:cxn>
                  <a:cxn ang="0">
                    <a:pos x="connsiteX3438" y="connsiteY3438"/>
                  </a:cxn>
                  <a:cxn ang="0">
                    <a:pos x="connsiteX3439" y="connsiteY3439"/>
                  </a:cxn>
                  <a:cxn ang="0">
                    <a:pos x="connsiteX3440" y="connsiteY3440"/>
                  </a:cxn>
                  <a:cxn ang="0">
                    <a:pos x="connsiteX3441" y="connsiteY3441"/>
                  </a:cxn>
                  <a:cxn ang="0">
                    <a:pos x="connsiteX3442" y="connsiteY3442"/>
                  </a:cxn>
                  <a:cxn ang="0">
                    <a:pos x="connsiteX3443" y="connsiteY3443"/>
                  </a:cxn>
                  <a:cxn ang="0">
                    <a:pos x="connsiteX3444" y="connsiteY3444"/>
                  </a:cxn>
                  <a:cxn ang="0">
                    <a:pos x="connsiteX3445" y="connsiteY3445"/>
                  </a:cxn>
                  <a:cxn ang="0">
                    <a:pos x="connsiteX3446" y="connsiteY3446"/>
                  </a:cxn>
                  <a:cxn ang="0">
                    <a:pos x="connsiteX3447" y="connsiteY3447"/>
                  </a:cxn>
                  <a:cxn ang="0">
                    <a:pos x="connsiteX3448" y="connsiteY3448"/>
                  </a:cxn>
                  <a:cxn ang="0">
                    <a:pos x="connsiteX3449" y="connsiteY3449"/>
                  </a:cxn>
                  <a:cxn ang="0">
                    <a:pos x="connsiteX3450" y="connsiteY3450"/>
                  </a:cxn>
                  <a:cxn ang="0">
                    <a:pos x="connsiteX3451" y="connsiteY3451"/>
                  </a:cxn>
                  <a:cxn ang="0">
                    <a:pos x="connsiteX3452" y="connsiteY3452"/>
                  </a:cxn>
                  <a:cxn ang="0">
                    <a:pos x="connsiteX3453" y="connsiteY3453"/>
                  </a:cxn>
                  <a:cxn ang="0">
                    <a:pos x="connsiteX3454" y="connsiteY3454"/>
                  </a:cxn>
                  <a:cxn ang="0">
                    <a:pos x="connsiteX3455" y="connsiteY3455"/>
                  </a:cxn>
                  <a:cxn ang="0">
                    <a:pos x="connsiteX3456" y="connsiteY3456"/>
                  </a:cxn>
                  <a:cxn ang="0">
                    <a:pos x="connsiteX3457" y="connsiteY3457"/>
                  </a:cxn>
                  <a:cxn ang="0">
                    <a:pos x="connsiteX3458" y="connsiteY3458"/>
                  </a:cxn>
                  <a:cxn ang="0">
                    <a:pos x="connsiteX3459" y="connsiteY3459"/>
                  </a:cxn>
                  <a:cxn ang="0">
                    <a:pos x="connsiteX3460" y="connsiteY3460"/>
                  </a:cxn>
                  <a:cxn ang="0">
                    <a:pos x="connsiteX3461" y="connsiteY3461"/>
                  </a:cxn>
                  <a:cxn ang="0">
                    <a:pos x="connsiteX3462" y="connsiteY3462"/>
                  </a:cxn>
                  <a:cxn ang="0">
                    <a:pos x="connsiteX3463" y="connsiteY3463"/>
                  </a:cxn>
                  <a:cxn ang="0">
                    <a:pos x="connsiteX3464" y="connsiteY3464"/>
                  </a:cxn>
                  <a:cxn ang="0">
                    <a:pos x="connsiteX3465" y="connsiteY3465"/>
                  </a:cxn>
                  <a:cxn ang="0">
                    <a:pos x="connsiteX3466" y="connsiteY3466"/>
                  </a:cxn>
                  <a:cxn ang="0">
                    <a:pos x="connsiteX3467" y="connsiteY3467"/>
                  </a:cxn>
                  <a:cxn ang="0">
                    <a:pos x="connsiteX3468" y="connsiteY3468"/>
                  </a:cxn>
                  <a:cxn ang="0">
                    <a:pos x="connsiteX3469" y="connsiteY3469"/>
                  </a:cxn>
                  <a:cxn ang="0">
                    <a:pos x="connsiteX3470" y="connsiteY3470"/>
                  </a:cxn>
                  <a:cxn ang="0">
                    <a:pos x="connsiteX3471" y="connsiteY3471"/>
                  </a:cxn>
                  <a:cxn ang="0">
                    <a:pos x="connsiteX3472" y="connsiteY3472"/>
                  </a:cxn>
                  <a:cxn ang="0">
                    <a:pos x="connsiteX3473" y="connsiteY3473"/>
                  </a:cxn>
                  <a:cxn ang="0">
                    <a:pos x="connsiteX3474" y="connsiteY3474"/>
                  </a:cxn>
                  <a:cxn ang="0">
                    <a:pos x="connsiteX3475" y="connsiteY3475"/>
                  </a:cxn>
                  <a:cxn ang="0">
                    <a:pos x="connsiteX3476" y="connsiteY3476"/>
                  </a:cxn>
                  <a:cxn ang="0">
                    <a:pos x="connsiteX3477" y="connsiteY3477"/>
                  </a:cxn>
                  <a:cxn ang="0">
                    <a:pos x="connsiteX3478" y="connsiteY3478"/>
                  </a:cxn>
                  <a:cxn ang="0">
                    <a:pos x="connsiteX3479" y="connsiteY3479"/>
                  </a:cxn>
                  <a:cxn ang="0">
                    <a:pos x="connsiteX3480" y="connsiteY3480"/>
                  </a:cxn>
                  <a:cxn ang="0">
                    <a:pos x="connsiteX3481" y="connsiteY3481"/>
                  </a:cxn>
                  <a:cxn ang="0">
                    <a:pos x="connsiteX3482" y="connsiteY3482"/>
                  </a:cxn>
                  <a:cxn ang="0">
                    <a:pos x="connsiteX3483" y="connsiteY3483"/>
                  </a:cxn>
                  <a:cxn ang="0">
                    <a:pos x="connsiteX3484" y="connsiteY3484"/>
                  </a:cxn>
                  <a:cxn ang="0">
                    <a:pos x="connsiteX3485" y="connsiteY3485"/>
                  </a:cxn>
                  <a:cxn ang="0">
                    <a:pos x="connsiteX3486" y="connsiteY3486"/>
                  </a:cxn>
                  <a:cxn ang="0">
                    <a:pos x="connsiteX3487" y="connsiteY3487"/>
                  </a:cxn>
                  <a:cxn ang="0">
                    <a:pos x="connsiteX3488" y="connsiteY3488"/>
                  </a:cxn>
                  <a:cxn ang="0">
                    <a:pos x="connsiteX3489" y="connsiteY3489"/>
                  </a:cxn>
                  <a:cxn ang="0">
                    <a:pos x="connsiteX3490" y="connsiteY3490"/>
                  </a:cxn>
                  <a:cxn ang="0">
                    <a:pos x="connsiteX3491" y="connsiteY3491"/>
                  </a:cxn>
                  <a:cxn ang="0">
                    <a:pos x="connsiteX3492" y="connsiteY3492"/>
                  </a:cxn>
                  <a:cxn ang="0">
                    <a:pos x="connsiteX3493" y="connsiteY3493"/>
                  </a:cxn>
                  <a:cxn ang="0">
                    <a:pos x="connsiteX3494" y="connsiteY3494"/>
                  </a:cxn>
                  <a:cxn ang="0">
                    <a:pos x="connsiteX3495" y="connsiteY3495"/>
                  </a:cxn>
                  <a:cxn ang="0">
                    <a:pos x="connsiteX3496" y="connsiteY3496"/>
                  </a:cxn>
                  <a:cxn ang="0">
                    <a:pos x="connsiteX3497" y="connsiteY3497"/>
                  </a:cxn>
                  <a:cxn ang="0">
                    <a:pos x="connsiteX3498" y="connsiteY3498"/>
                  </a:cxn>
                  <a:cxn ang="0">
                    <a:pos x="connsiteX3499" y="connsiteY3499"/>
                  </a:cxn>
                  <a:cxn ang="0">
                    <a:pos x="connsiteX3500" y="connsiteY3500"/>
                  </a:cxn>
                  <a:cxn ang="0">
                    <a:pos x="connsiteX3501" y="connsiteY3501"/>
                  </a:cxn>
                  <a:cxn ang="0">
                    <a:pos x="connsiteX3502" y="connsiteY3502"/>
                  </a:cxn>
                  <a:cxn ang="0">
                    <a:pos x="connsiteX3503" y="connsiteY3503"/>
                  </a:cxn>
                  <a:cxn ang="0">
                    <a:pos x="connsiteX3504" y="connsiteY3504"/>
                  </a:cxn>
                  <a:cxn ang="0">
                    <a:pos x="connsiteX3505" y="connsiteY3505"/>
                  </a:cxn>
                  <a:cxn ang="0">
                    <a:pos x="connsiteX3506" y="connsiteY3506"/>
                  </a:cxn>
                  <a:cxn ang="0">
                    <a:pos x="connsiteX3507" y="connsiteY3507"/>
                  </a:cxn>
                  <a:cxn ang="0">
                    <a:pos x="connsiteX3508" y="connsiteY3508"/>
                  </a:cxn>
                  <a:cxn ang="0">
                    <a:pos x="connsiteX3509" y="connsiteY3509"/>
                  </a:cxn>
                  <a:cxn ang="0">
                    <a:pos x="connsiteX3510" y="connsiteY3510"/>
                  </a:cxn>
                  <a:cxn ang="0">
                    <a:pos x="connsiteX3511" y="connsiteY3511"/>
                  </a:cxn>
                  <a:cxn ang="0">
                    <a:pos x="connsiteX3512" y="connsiteY3512"/>
                  </a:cxn>
                  <a:cxn ang="0">
                    <a:pos x="connsiteX3513" y="connsiteY3513"/>
                  </a:cxn>
                  <a:cxn ang="0">
                    <a:pos x="connsiteX3514" y="connsiteY3514"/>
                  </a:cxn>
                  <a:cxn ang="0">
                    <a:pos x="connsiteX3515" y="connsiteY3515"/>
                  </a:cxn>
                  <a:cxn ang="0">
                    <a:pos x="connsiteX3516" y="connsiteY3516"/>
                  </a:cxn>
                  <a:cxn ang="0">
                    <a:pos x="connsiteX3517" y="connsiteY3517"/>
                  </a:cxn>
                  <a:cxn ang="0">
                    <a:pos x="connsiteX3518" y="connsiteY3518"/>
                  </a:cxn>
                  <a:cxn ang="0">
                    <a:pos x="connsiteX3519" y="connsiteY3519"/>
                  </a:cxn>
                  <a:cxn ang="0">
                    <a:pos x="connsiteX3520" y="connsiteY3520"/>
                  </a:cxn>
                  <a:cxn ang="0">
                    <a:pos x="connsiteX3521" y="connsiteY3521"/>
                  </a:cxn>
                  <a:cxn ang="0">
                    <a:pos x="connsiteX3522" y="connsiteY3522"/>
                  </a:cxn>
                  <a:cxn ang="0">
                    <a:pos x="connsiteX3523" y="connsiteY3523"/>
                  </a:cxn>
                  <a:cxn ang="0">
                    <a:pos x="connsiteX3524" y="connsiteY3524"/>
                  </a:cxn>
                  <a:cxn ang="0">
                    <a:pos x="connsiteX3525" y="connsiteY3525"/>
                  </a:cxn>
                  <a:cxn ang="0">
                    <a:pos x="connsiteX3526" y="connsiteY3526"/>
                  </a:cxn>
                  <a:cxn ang="0">
                    <a:pos x="connsiteX3527" y="connsiteY3527"/>
                  </a:cxn>
                  <a:cxn ang="0">
                    <a:pos x="connsiteX3528" y="connsiteY3528"/>
                  </a:cxn>
                  <a:cxn ang="0">
                    <a:pos x="connsiteX3529" y="connsiteY3529"/>
                  </a:cxn>
                  <a:cxn ang="0">
                    <a:pos x="connsiteX3530" y="connsiteY3530"/>
                  </a:cxn>
                  <a:cxn ang="0">
                    <a:pos x="connsiteX3531" y="connsiteY3531"/>
                  </a:cxn>
                  <a:cxn ang="0">
                    <a:pos x="connsiteX3532" y="connsiteY3532"/>
                  </a:cxn>
                  <a:cxn ang="0">
                    <a:pos x="connsiteX3533" y="connsiteY3533"/>
                  </a:cxn>
                  <a:cxn ang="0">
                    <a:pos x="connsiteX3534" y="connsiteY3534"/>
                  </a:cxn>
                  <a:cxn ang="0">
                    <a:pos x="connsiteX3535" y="connsiteY3535"/>
                  </a:cxn>
                  <a:cxn ang="0">
                    <a:pos x="connsiteX3536" y="connsiteY3536"/>
                  </a:cxn>
                  <a:cxn ang="0">
                    <a:pos x="connsiteX3537" y="connsiteY3537"/>
                  </a:cxn>
                  <a:cxn ang="0">
                    <a:pos x="connsiteX3538" y="connsiteY3538"/>
                  </a:cxn>
                  <a:cxn ang="0">
                    <a:pos x="connsiteX3539" y="connsiteY3539"/>
                  </a:cxn>
                  <a:cxn ang="0">
                    <a:pos x="connsiteX3540" y="connsiteY3540"/>
                  </a:cxn>
                  <a:cxn ang="0">
                    <a:pos x="connsiteX3541" y="connsiteY3541"/>
                  </a:cxn>
                  <a:cxn ang="0">
                    <a:pos x="connsiteX3542" y="connsiteY3542"/>
                  </a:cxn>
                  <a:cxn ang="0">
                    <a:pos x="connsiteX3543" y="connsiteY3543"/>
                  </a:cxn>
                  <a:cxn ang="0">
                    <a:pos x="connsiteX3544" y="connsiteY3544"/>
                  </a:cxn>
                  <a:cxn ang="0">
                    <a:pos x="connsiteX3545" y="connsiteY3545"/>
                  </a:cxn>
                  <a:cxn ang="0">
                    <a:pos x="connsiteX3546" y="connsiteY3546"/>
                  </a:cxn>
                  <a:cxn ang="0">
                    <a:pos x="connsiteX3547" y="connsiteY3547"/>
                  </a:cxn>
                  <a:cxn ang="0">
                    <a:pos x="connsiteX3548" y="connsiteY3548"/>
                  </a:cxn>
                  <a:cxn ang="0">
                    <a:pos x="connsiteX3549" y="connsiteY3549"/>
                  </a:cxn>
                  <a:cxn ang="0">
                    <a:pos x="connsiteX3550" y="connsiteY3550"/>
                  </a:cxn>
                  <a:cxn ang="0">
                    <a:pos x="connsiteX3551" y="connsiteY3551"/>
                  </a:cxn>
                  <a:cxn ang="0">
                    <a:pos x="connsiteX3552" y="connsiteY3552"/>
                  </a:cxn>
                  <a:cxn ang="0">
                    <a:pos x="connsiteX3553" y="connsiteY3553"/>
                  </a:cxn>
                  <a:cxn ang="0">
                    <a:pos x="connsiteX3554" y="connsiteY3554"/>
                  </a:cxn>
                  <a:cxn ang="0">
                    <a:pos x="connsiteX3555" y="connsiteY3555"/>
                  </a:cxn>
                  <a:cxn ang="0">
                    <a:pos x="connsiteX3556" y="connsiteY3556"/>
                  </a:cxn>
                  <a:cxn ang="0">
                    <a:pos x="connsiteX3557" y="connsiteY3557"/>
                  </a:cxn>
                  <a:cxn ang="0">
                    <a:pos x="connsiteX3558" y="connsiteY3558"/>
                  </a:cxn>
                  <a:cxn ang="0">
                    <a:pos x="connsiteX3559" y="connsiteY3559"/>
                  </a:cxn>
                  <a:cxn ang="0">
                    <a:pos x="connsiteX3560" y="connsiteY3560"/>
                  </a:cxn>
                  <a:cxn ang="0">
                    <a:pos x="connsiteX3561" y="connsiteY3561"/>
                  </a:cxn>
                  <a:cxn ang="0">
                    <a:pos x="connsiteX3562" y="connsiteY3562"/>
                  </a:cxn>
                  <a:cxn ang="0">
                    <a:pos x="connsiteX3563" y="connsiteY3563"/>
                  </a:cxn>
                  <a:cxn ang="0">
                    <a:pos x="connsiteX3564" y="connsiteY3564"/>
                  </a:cxn>
                  <a:cxn ang="0">
                    <a:pos x="connsiteX3565" y="connsiteY3565"/>
                  </a:cxn>
                  <a:cxn ang="0">
                    <a:pos x="connsiteX3566" y="connsiteY3566"/>
                  </a:cxn>
                  <a:cxn ang="0">
                    <a:pos x="connsiteX3567" y="connsiteY3567"/>
                  </a:cxn>
                  <a:cxn ang="0">
                    <a:pos x="connsiteX3568" y="connsiteY3568"/>
                  </a:cxn>
                  <a:cxn ang="0">
                    <a:pos x="connsiteX3569" y="connsiteY3569"/>
                  </a:cxn>
                  <a:cxn ang="0">
                    <a:pos x="connsiteX3570" y="connsiteY3570"/>
                  </a:cxn>
                  <a:cxn ang="0">
                    <a:pos x="connsiteX3571" y="connsiteY3571"/>
                  </a:cxn>
                  <a:cxn ang="0">
                    <a:pos x="connsiteX3572" y="connsiteY3572"/>
                  </a:cxn>
                  <a:cxn ang="0">
                    <a:pos x="connsiteX3573" y="connsiteY3573"/>
                  </a:cxn>
                  <a:cxn ang="0">
                    <a:pos x="connsiteX3574" y="connsiteY3574"/>
                  </a:cxn>
                  <a:cxn ang="0">
                    <a:pos x="connsiteX3575" y="connsiteY3575"/>
                  </a:cxn>
                  <a:cxn ang="0">
                    <a:pos x="connsiteX3576" y="connsiteY3576"/>
                  </a:cxn>
                  <a:cxn ang="0">
                    <a:pos x="connsiteX3577" y="connsiteY3577"/>
                  </a:cxn>
                  <a:cxn ang="0">
                    <a:pos x="connsiteX3578" y="connsiteY3578"/>
                  </a:cxn>
                  <a:cxn ang="0">
                    <a:pos x="connsiteX3579" y="connsiteY3579"/>
                  </a:cxn>
                  <a:cxn ang="0">
                    <a:pos x="connsiteX3580" y="connsiteY3580"/>
                  </a:cxn>
                  <a:cxn ang="0">
                    <a:pos x="connsiteX3581" y="connsiteY3581"/>
                  </a:cxn>
                  <a:cxn ang="0">
                    <a:pos x="connsiteX3582" y="connsiteY3582"/>
                  </a:cxn>
                  <a:cxn ang="0">
                    <a:pos x="connsiteX3583" y="connsiteY3583"/>
                  </a:cxn>
                  <a:cxn ang="0">
                    <a:pos x="connsiteX3584" y="connsiteY3584"/>
                  </a:cxn>
                  <a:cxn ang="0">
                    <a:pos x="connsiteX3585" y="connsiteY3585"/>
                  </a:cxn>
                  <a:cxn ang="0">
                    <a:pos x="connsiteX3586" y="connsiteY3586"/>
                  </a:cxn>
                  <a:cxn ang="0">
                    <a:pos x="connsiteX3587" y="connsiteY3587"/>
                  </a:cxn>
                  <a:cxn ang="0">
                    <a:pos x="connsiteX3588" y="connsiteY3588"/>
                  </a:cxn>
                  <a:cxn ang="0">
                    <a:pos x="connsiteX3589" y="connsiteY3589"/>
                  </a:cxn>
                  <a:cxn ang="0">
                    <a:pos x="connsiteX3590" y="connsiteY3590"/>
                  </a:cxn>
                  <a:cxn ang="0">
                    <a:pos x="connsiteX3591" y="connsiteY3591"/>
                  </a:cxn>
                  <a:cxn ang="0">
                    <a:pos x="connsiteX3592" y="connsiteY3592"/>
                  </a:cxn>
                  <a:cxn ang="0">
                    <a:pos x="connsiteX3593" y="connsiteY3593"/>
                  </a:cxn>
                  <a:cxn ang="0">
                    <a:pos x="connsiteX3594" y="connsiteY3594"/>
                  </a:cxn>
                  <a:cxn ang="0">
                    <a:pos x="connsiteX3595" y="connsiteY3595"/>
                  </a:cxn>
                  <a:cxn ang="0">
                    <a:pos x="connsiteX3596" y="connsiteY3596"/>
                  </a:cxn>
                  <a:cxn ang="0">
                    <a:pos x="connsiteX3597" y="connsiteY3597"/>
                  </a:cxn>
                  <a:cxn ang="0">
                    <a:pos x="connsiteX3598" y="connsiteY3598"/>
                  </a:cxn>
                  <a:cxn ang="0">
                    <a:pos x="connsiteX3599" y="connsiteY3599"/>
                  </a:cxn>
                  <a:cxn ang="0">
                    <a:pos x="connsiteX3600" y="connsiteY3600"/>
                  </a:cxn>
                  <a:cxn ang="0">
                    <a:pos x="connsiteX3601" y="connsiteY3601"/>
                  </a:cxn>
                  <a:cxn ang="0">
                    <a:pos x="connsiteX3602" y="connsiteY3602"/>
                  </a:cxn>
                  <a:cxn ang="0">
                    <a:pos x="connsiteX3603" y="connsiteY3603"/>
                  </a:cxn>
                  <a:cxn ang="0">
                    <a:pos x="connsiteX3604" y="connsiteY3604"/>
                  </a:cxn>
                  <a:cxn ang="0">
                    <a:pos x="connsiteX3605" y="connsiteY3605"/>
                  </a:cxn>
                  <a:cxn ang="0">
                    <a:pos x="connsiteX3606" y="connsiteY3606"/>
                  </a:cxn>
                  <a:cxn ang="0">
                    <a:pos x="connsiteX3607" y="connsiteY3607"/>
                  </a:cxn>
                  <a:cxn ang="0">
                    <a:pos x="connsiteX3608" y="connsiteY3608"/>
                  </a:cxn>
                  <a:cxn ang="0">
                    <a:pos x="connsiteX3609" y="connsiteY3609"/>
                  </a:cxn>
                  <a:cxn ang="0">
                    <a:pos x="connsiteX3610" y="connsiteY3610"/>
                  </a:cxn>
                  <a:cxn ang="0">
                    <a:pos x="connsiteX3611" y="connsiteY3611"/>
                  </a:cxn>
                  <a:cxn ang="0">
                    <a:pos x="connsiteX3612" y="connsiteY3612"/>
                  </a:cxn>
                  <a:cxn ang="0">
                    <a:pos x="connsiteX3613" y="connsiteY3613"/>
                  </a:cxn>
                  <a:cxn ang="0">
                    <a:pos x="connsiteX3614" y="connsiteY3614"/>
                  </a:cxn>
                  <a:cxn ang="0">
                    <a:pos x="connsiteX3615" y="connsiteY3615"/>
                  </a:cxn>
                  <a:cxn ang="0">
                    <a:pos x="connsiteX3616" y="connsiteY3616"/>
                  </a:cxn>
                  <a:cxn ang="0">
                    <a:pos x="connsiteX3617" y="connsiteY3617"/>
                  </a:cxn>
                  <a:cxn ang="0">
                    <a:pos x="connsiteX3618" y="connsiteY3618"/>
                  </a:cxn>
                  <a:cxn ang="0">
                    <a:pos x="connsiteX3619" y="connsiteY3619"/>
                  </a:cxn>
                  <a:cxn ang="0">
                    <a:pos x="connsiteX3620" y="connsiteY3620"/>
                  </a:cxn>
                  <a:cxn ang="0">
                    <a:pos x="connsiteX3621" y="connsiteY3621"/>
                  </a:cxn>
                  <a:cxn ang="0">
                    <a:pos x="connsiteX3622" y="connsiteY3622"/>
                  </a:cxn>
                  <a:cxn ang="0">
                    <a:pos x="connsiteX3623" y="connsiteY3623"/>
                  </a:cxn>
                  <a:cxn ang="0">
                    <a:pos x="connsiteX3624" y="connsiteY3624"/>
                  </a:cxn>
                  <a:cxn ang="0">
                    <a:pos x="connsiteX3625" y="connsiteY3625"/>
                  </a:cxn>
                  <a:cxn ang="0">
                    <a:pos x="connsiteX3626" y="connsiteY3626"/>
                  </a:cxn>
                  <a:cxn ang="0">
                    <a:pos x="connsiteX3627" y="connsiteY3627"/>
                  </a:cxn>
                  <a:cxn ang="0">
                    <a:pos x="connsiteX3628" y="connsiteY3628"/>
                  </a:cxn>
                  <a:cxn ang="0">
                    <a:pos x="connsiteX3629" y="connsiteY3629"/>
                  </a:cxn>
                  <a:cxn ang="0">
                    <a:pos x="connsiteX3630" y="connsiteY3630"/>
                  </a:cxn>
                  <a:cxn ang="0">
                    <a:pos x="connsiteX3631" y="connsiteY3631"/>
                  </a:cxn>
                  <a:cxn ang="0">
                    <a:pos x="connsiteX3632" y="connsiteY3632"/>
                  </a:cxn>
                  <a:cxn ang="0">
                    <a:pos x="connsiteX3633" y="connsiteY3633"/>
                  </a:cxn>
                  <a:cxn ang="0">
                    <a:pos x="connsiteX3634" y="connsiteY3634"/>
                  </a:cxn>
                  <a:cxn ang="0">
                    <a:pos x="connsiteX3635" y="connsiteY3635"/>
                  </a:cxn>
                  <a:cxn ang="0">
                    <a:pos x="connsiteX3636" y="connsiteY3636"/>
                  </a:cxn>
                  <a:cxn ang="0">
                    <a:pos x="connsiteX3637" y="connsiteY3637"/>
                  </a:cxn>
                  <a:cxn ang="0">
                    <a:pos x="connsiteX3638" y="connsiteY3638"/>
                  </a:cxn>
                  <a:cxn ang="0">
                    <a:pos x="connsiteX3639" y="connsiteY3639"/>
                  </a:cxn>
                  <a:cxn ang="0">
                    <a:pos x="connsiteX3640" y="connsiteY3640"/>
                  </a:cxn>
                  <a:cxn ang="0">
                    <a:pos x="connsiteX3641" y="connsiteY3641"/>
                  </a:cxn>
                  <a:cxn ang="0">
                    <a:pos x="connsiteX3642" y="connsiteY3642"/>
                  </a:cxn>
                  <a:cxn ang="0">
                    <a:pos x="connsiteX3643" y="connsiteY3643"/>
                  </a:cxn>
                  <a:cxn ang="0">
                    <a:pos x="connsiteX3644" y="connsiteY3644"/>
                  </a:cxn>
                  <a:cxn ang="0">
                    <a:pos x="connsiteX3645" y="connsiteY3645"/>
                  </a:cxn>
                  <a:cxn ang="0">
                    <a:pos x="connsiteX3646" y="connsiteY3646"/>
                  </a:cxn>
                  <a:cxn ang="0">
                    <a:pos x="connsiteX3647" y="connsiteY3647"/>
                  </a:cxn>
                  <a:cxn ang="0">
                    <a:pos x="connsiteX3648" y="connsiteY3648"/>
                  </a:cxn>
                  <a:cxn ang="0">
                    <a:pos x="connsiteX3649" y="connsiteY3649"/>
                  </a:cxn>
                  <a:cxn ang="0">
                    <a:pos x="connsiteX3650" y="connsiteY3650"/>
                  </a:cxn>
                  <a:cxn ang="0">
                    <a:pos x="connsiteX3651" y="connsiteY3651"/>
                  </a:cxn>
                  <a:cxn ang="0">
                    <a:pos x="connsiteX3652" y="connsiteY3652"/>
                  </a:cxn>
                  <a:cxn ang="0">
                    <a:pos x="connsiteX3653" y="connsiteY3653"/>
                  </a:cxn>
                  <a:cxn ang="0">
                    <a:pos x="connsiteX3654" y="connsiteY3654"/>
                  </a:cxn>
                  <a:cxn ang="0">
                    <a:pos x="connsiteX3655" y="connsiteY3655"/>
                  </a:cxn>
                  <a:cxn ang="0">
                    <a:pos x="connsiteX3656" y="connsiteY3656"/>
                  </a:cxn>
                  <a:cxn ang="0">
                    <a:pos x="connsiteX3657" y="connsiteY3657"/>
                  </a:cxn>
                  <a:cxn ang="0">
                    <a:pos x="connsiteX3658" y="connsiteY3658"/>
                  </a:cxn>
                  <a:cxn ang="0">
                    <a:pos x="connsiteX3659" y="connsiteY3659"/>
                  </a:cxn>
                </a:cxnLst>
                <a:rect l="l" t="t" r="r" b="b"/>
                <a:pathLst>
                  <a:path w="3862373" h="3682908">
                    <a:moveTo>
                      <a:pt x="1142662" y="3605757"/>
                    </a:moveTo>
                    <a:cubicBezTo>
                      <a:pt x="1164249" y="3605757"/>
                      <a:pt x="1181749" y="3623257"/>
                      <a:pt x="1181749" y="3644844"/>
                    </a:cubicBezTo>
                    <a:lnTo>
                      <a:pt x="1175073" y="3660960"/>
                    </a:lnTo>
                    <a:lnTo>
                      <a:pt x="1107191" y="3636115"/>
                    </a:lnTo>
                    <a:lnTo>
                      <a:pt x="1115023" y="3617205"/>
                    </a:lnTo>
                    <a:cubicBezTo>
                      <a:pt x="1122096" y="3610132"/>
                      <a:pt x="1131868" y="3605757"/>
                      <a:pt x="1142662" y="3605757"/>
                    </a:cubicBezTo>
                    <a:close/>
                    <a:moveTo>
                      <a:pt x="1232571" y="3605756"/>
                    </a:moveTo>
                    <a:cubicBezTo>
                      <a:pt x="1254158" y="3605756"/>
                      <a:pt x="1271658" y="3623256"/>
                      <a:pt x="1271658" y="3644843"/>
                    </a:cubicBezTo>
                    <a:cubicBezTo>
                      <a:pt x="1271658" y="3655637"/>
                      <a:pt x="1267283" y="3665408"/>
                      <a:pt x="1260210" y="3672482"/>
                    </a:cubicBezTo>
                    <a:lnTo>
                      <a:pt x="1235039" y="3682908"/>
                    </a:lnTo>
                    <a:lnTo>
                      <a:pt x="1204643" y="3671783"/>
                    </a:lnTo>
                    <a:lnTo>
                      <a:pt x="1193484" y="3644843"/>
                    </a:lnTo>
                    <a:cubicBezTo>
                      <a:pt x="1193484" y="3623256"/>
                      <a:pt x="1210984" y="3605756"/>
                      <a:pt x="1232571" y="3605756"/>
                    </a:cubicBezTo>
                    <a:close/>
                    <a:moveTo>
                      <a:pt x="1232571" y="3520580"/>
                    </a:moveTo>
                    <a:cubicBezTo>
                      <a:pt x="1254158" y="3520580"/>
                      <a:pt x="1271658" y="3538080"/>
                      <a:pt x="1271658" y="3559667"/>
                    </a:cubicBezTo>
                    <a:cubicBezTo>
                      <a:pt x="1271658" y="3581254"/>
                      <a:pt x="1254158" y="3598754"/>
                      <a:pt x="1232571" y="3598754"/>
                    </a:cubicBezTo>
                    <a:cubicBezTo>
                      <a:pt x="1210984" y="3598754"/>
                      <a:pt x="1193484" y="3581254"/>
                      <a:pt x="1193484" y="3559667"/>
                    </a:cubicBezTo>
                    <a:cubicBezTo>
                      <a:pt x="1193484" y="3538080"/>
                      <a:pt x="1210984" y="3520580"/>
                      <a:pt x="1232571" y="3520580"/>
                    </a:cubicBezTo>
                    <a:close/>
                    <a:moveTo>
                      <a:pt x="1142662" y="3520580"/>
                    </a:moveTo>
                    <a:cubicBezTo>
                      <a:pt x="1164249" y="3520580"/>
                      <a:pt x="1181749" y="3538080"/>
                      <a:pt x="1181749" y="3559667"/>
                    </a:cubicBezTo>
                    <a:cubicBezTo>
                      <a:pt x="1181749" y="3581254"/>
                      <a:pt x="1164249" y="3598754"/>
                      <a:pt x="1142662" y="3598754"/>
                    </a:cubicBezTo>
                    <a:cubicBezTo>
                      <a:pt x="1121074" y="3598754"/>
                      <a:pt x="1103575" y="3581254"/>
                      <a:pt x="1103575" y="3559667"/>
                    </a:cubicBezTo>
                    <a:cubicBezTo>
                      <a:pt x="1103575" y="3538080"/>
                      <a:pt x="1121074" y="3520580"/>
                      <a:pt x="1142662" y="3520580"/>
                    </a:cubicBezTo>
                    <a:close/>
                    <a:moveTo>
                      <a:pt x="1232572" y="3435404"/>
                    </a:moveTo>
                    <a:cubicBezTo>
                      <a:pt x="1254159" y="3435404"/>
                      <a:pt x="1271659" y="3452904"/>
                      <a:pt x="1271659" y="3474491"/>
                    </a:cubicBezTo>
                    <a:cubicBezTo>
                      <a:pt x="1271659" y="3496078"/>
                      <a:pt x="1254159" y="3513578"/>
                      <a:pt x="1232572" y="3513578"/>
                    </a:cubicBezTo>
                    <a:cubicBezTo>
                      <a:pt x="1210985" y="3513578"/>
                      <a:pt x="1193485" y="3496078"/>
                      <a:pt x="1193485" y="3474491"/>
                    </a:cubicBezTo>
                    <a:cubicBezTo>
                      <a:pt x="1193485" y="3452904"/>
                      <a:pt x="1210985" y="3435404"/>
                      <a:pt x="1232572" y="3435404"/>
                    </a:cubicBezTo>
                    <a:close/>
                    <a:moveTo>
                      <a:pt x="1142662" y="3435404"/>
                    </a:moveTo>
                    <a:cubicBezTo>
                      <a:pt x="1164249" y="3435404"/>
                      <a:pt x="1181749" y="3452904"/>
                      <a:pt x="1181749" y="3474491"/>
                    </a:cubicBezTo>
                    <a:cubicBezTo>
                      <a:pt x="1181749" y="3496078"/>
                      <a:pt x="1164249" y="3513578"/>
                      <a:pt x="1142662" y="3513578"/>
                    </a:cubicBezTo>
                    <a:cubicBezTo>
                      <a:pt x="1121074" y="3513578"/>
                      <a:pt x="1103575" y="3496078"/>
                      <a:pt x="1103575" y="3474491"/>
                    </a:cubicBezTo>
                    <a:cubicBezTo>
                      <a:pt x="1103575" y="3452904"/>
                      <a:pt x="1121074" y="3435404"/>
                      <a:pt x="1142662" y="3435404"/>
                    </a:cubicBezTo>
                    <a:close/>
                    <a:moveTo>
                      <a:pt x="1329578" y="3347862"/>
                    </a:moveTo>
                    <a:cubicBezTo>
                      <a:pt x="1351165" y="3347862"/>
                      <a:pt x="1368665" y="3365362"/>
                      <a:pt x="1368665" y="3386950"/>
                    </a:cubicBezTo>
                    <a:cubicBezTo>
                      <a:pt x="1368665" y="3408537"/>
                      <a:pt x="1351165" y="3426037"/>
                      <a:pt x="1329578" y="3426037"/>
                    </a:cubicBezTo>
                    <a:cubicBezTo>
                      <a:pt x="1307990" y="3426037"/>
                      <a:pt x="1290490" y="3408537"/>
                      <a:pt x="1290490" y="3386950"/>
                    </a:cubicBezTo>
                    <a:cubicBezTo>
                      <a:pt x="1290490" y="3365362"/>
                      <a:pt x="1307990" y="3347862"/>
                      <a:pt x="1329578" y="3347862"/>
                    </a:cubicBezTo>
                    <a:close/>
                    <a:moveTo>
                      <a:pt x="1142664" y="3347862"/>
                    </a:moveTo>
                    <a:cubicBezTo>
                      <a:pt x="1164251" y="3347862"/>
                      <a:pt x="1181751" y="3365362"/>
                      <a:pt x="1181751" y="3386950"/>
                    </a:cubicBezTo>
                    <a:cubicBezTo>
                      <a:pt x="1181751" y="3408537"/>
                      <a:pt x="1164251" y="3426037"/>
                      <a:pt x="1142664" y="3426037"/>
                    </a:cubicBezTo>
                    <a:cubicBezTo>
                      <a:pt x="1121077" y="3426037"/>
                      <a:pt x="1103576" y="3408537"/>
                      <a:pt x="1103576" y="3386950"/>
                    </a:cubicBezTo>
                    <a:cubicBezTo>
                      <a:pt x="1103576" y="3365362"/>
                      <a:pt x="1121077" y="3347862"/>
                      <a:pt x="1142664" y="3347862"/>
                    </a:cubicBezTo>
                    <a:close/>
                    <a:moveTo>
                      <a:pt x="1232572" y="3347861"/>
                    </a:moveTo>
                    <a:cubicBezTo>
                      <a:pt x="1254160" y="3347861"/>
                      <a:pt x="1271660" y="3365361"/>
                      <a:pt x="1271660" y="3386948"/>
                    </a:cubicBezTo>
                    <a:cubicBezTo>
                      <a:pt x="1271660" y="3408536"/>
                      <a:pt x="1254160" y="3426035"/>
                      <a:pt x="1232572" y="3426035"/>
                    </a:cubicBezTo>
                    <a:cubicBezTo>
                      <a:pt x="1210985" y="3426035"/>
                      <a:pt x="1193485" y="3408536"/>
                      <a:pt x="1193485" y="3386948"/>
                    </a:cubicBezTo>
                    <a:cubicBezTo>
                      <a:pt x="1193485" y="3365361"/>
                      <a:pt x="1210985" y="3347861"/>
                      <a:pt x="1232572" y="3347861"/>
                    </a:cubicBezTo>
                    <a:close/>
                    <a:moveTo>
                      <a:pt x="2924263" y="3265052"/>
                    </a:moveTo>
                    <a:cubicBezTo>
                      <a:pt x="2945850" y="3265052"/>
                      <a:pt x="2963349" y="3282551"/>
                      <a:pt x="2963349" y="3304139"/>
                    </a:cubicBezTo>
                    <a:cubicBezTo>
                      <a:pt x="2963349" y="3325726"/>
                      <a:pt x="2945850" y="3343226"/>
                      <a:pt x="2924263" y="3343226"/>
                    </a:cubicBezTo>
                    <a:cubicBezTo>
                      <a:pt x="2902675" y="3343226"/>
                      <a:pt x="2885175" y="3325726"/>
                      <a:pt x="2885175" y="3304139"/>
                    </a:cubicBezTo>
                    <a:cubicBezTo>
                      <a:pt x="2885175" y="3282551"/>
                      <a:pt x="2902675" y="3265052"/>
                      <a:pt x="2924263" y="3265052"/>
                    </a:cubicBezTo>
                    <a:close/>
                    <a:moveTo>
                      <a:pt x="1419487" y="3265052"/>
                    </a:moveTo>
                    <a:cubicBezTo>
                      <a:pt x="1441074" y="3265052"/>
                      <a:pt x="1458574" y="3282551"/>
                      <a:pt x="1458574" y="3304139"/>
                    </a:cubicBezTo>
                    <a:cubicBezTo>
                      <a:pt x="1458574" y="3325726"/>
                      <a:pt x="1441074" y="3343226"/>
                      <a:pt x="1419487" y="3343226"/>
                    </a:cubicBezTo>
                    <a:cubicBezTo>
                      <a:pt x="1397899" y="3343226"/>
                      <a:pt x="1380399" y="3325726"/>
                      <a:pt x="1380399" y="3304139"/>
                    </a:cubicBezTo>
                    <a:cubicBezTo>
                      <a:pt x="1380399" y="3282551"/>
                      <a:pt x="1397899" y="3265052"/>
                      <a:pt x="1419487" y="3265052"/>
                    </a:cubicBezTo>
                    <a:close/>
                    <a:moveTo>
                      <a:pt x="1329578" y="3265052"/>
                    </a:moveTo>
                    <a:cubicBezTo>
                      <a:pt x="1351165" y="3265052"/>
                      <a:pt x="1368666" y="3282551"/>
                      <a:pt x="1368666" y="3304139"/>
                    </a:cubicBezTo>
                    <a:cubicBezTo>
                      <a:pt x="1368666" y="3325726"/>
                      <a:pt x="1351165" y="3343226"/>
                      <a:pt x="1329578" y="3343226"/>
                    </a:cubicBezTo>
                    <a:cubicBezTo>
                      <a:pt x="1307991" y="3343226"/>
                      <a:pt x="1290491" y="3325726"/>
                      <a:pt x="1290491" y="3304139"/>
                    </a:cubicBezTo>
                    <a:cubicBezTo>
                      <a:pt x="1290491" y="3282551"/>
                      <a:pt x="1307991" y="3265052"/>
                      <a:pt x="1329578" y="3265052"/>
                    </a:cubicBezTo>
                    <a:close/>
                    <a:moveTo>
                      <a:pt x="1232574" y="3265052"/>
                    </a:moveTo>
                    <a:cubicBezTo>
                      <a:pt x="1254160" y="3265052"/>
                      <a:pt x="1271661" y="3282551"/>
                      <a:pt x="1271661" y="3304139"/>
                    </a:cubicBezTo>
                    <a:cubicBezTo>
                      <a:pt x="1271661" y="3325726"/>
                      <a:pt x="1254160" y="3343226"/>
                      <a:pt x="1232574" y="3343226"/>
                    </a:cubicBezTo>
                    <a:cubicBezTo>
                      <a:pt x="1210986" y="3343226"/>
                      <a:pt x="1193487" y="3325726"/>
                      <a:pt x="1193487" y="3304139"/>
                    </a:cubicBezTo>
                    <a:cubicBezTo>
                      <a:pt x="1193487" y="3282551"/>
                      <a:pt x="1210986" y="3265052"/>
                      <a:pt x="1232574" y="3265052"/>
                    </a:cubicBezTo>
                    <a:close/>
                    <a:moveTo>
                      <a:pt x="1142665" y="3265052"/>
                    </a:moveTo>
                    <a:cubicBezTo>
                      <a:pt x="1164252" y="3265052"/>
                      <a:pt x="1181752" y="3282551"/>
                      <a:pt x="1181752" y="3304139"/>
                    </a:cubicBezTo>
                    <a:cubicBezTo>
                      <a:pt x="1181752" y="3325726"/>
                      <a:pt x="1164252" y="3343226"/>
                      <a:pt x="1142665" y="3343226"/>
                    </a:cubicBezTo>
                    <a:cubicBezTo>
                      <a:pt x="1121078" y="3343226"/>
                      <a:pt x="1103578" y="3325726"/>
                      <a:pt x="1103578" y="3304139"/>
                    </a:cubicBezTo>
                    <a:cubicBezTo>
                      <a:pt x="1103578" y="3282551"/>
                      <a:pt x="1121078" y="3265052"/>
                      <a:pt x="1142665" y="3265052"/>
                    </a:cubicBezTo>
                    <a:close/>
                    <a:moveTo>
                      <a:pt x="3111177" y="3177510"/>
                    </a:moveTo>
                    <a:cubicBezTo>
                      <a:pt x="3132764" y="3177510"/>
                      <a:pt x="3150264" y="3195010"/>
                      <a:pt x="3150264" y="3216597"/>
                    </a:cubicBezTo>
                    <a:cubicBezTo>
                      <a:pt x="3150264" y="3238185"/>
                      <a:pt x="3132764" y="3255684"/>
                      <a:pt x="3111177" y="3255684"/>
                    </a:cubicBezTo>
                    <a:cubicBezTo>
                      <a:pt x="3089589" y="3255684"/>
                      <a:pt x="3072089" y="3238185"/>
                      <a:pt x="3072089" y="3216597"/>
                    </a:cubicBezTo>
                    <a:cubicBezTo>
                      <a:pt x="3072089" y="3195010"/>
                      <a:pt x="3089589" y="3177510"/>
                      <a:pt x="3111177" y="3177510"/>
                    </a:cubicBezTo>
                    <a:close/>
                    <a:moveTo>
                      <a:pt x="3018903" y="3177510"/>
                    </a:moveTo>
                    <a:cubicBezTo>
                      <a:pt x="3040490" y="3177510"/>
                      <a:pt x="3057989" y="3195010"/>
                      <a:pt x="3057989" y="3216597"/>
                    </a:cubicBezTo>
                    <a:cubicBezTo>
                      <a:pt x="3057989" y="3238185"/>
                      <a:pt x="3040490" y="3255684"/>
                      <a:pt x="3018903" y="3255684"/>
                    </a:cubicBezTo>
                    <a:cubicBezTo>
                      <a:pt x="2997315" y="3255684"/>
                      <a:pt x="2979815" y="3238185"/>
                      <a:pt x="2979815" y="3216597"/>
                    </a:cubicBezTo>
                    <a:cubicBezTo>
                      <a:pt x="2979815" y="3195010"/>
                      <a:pt x="2997315" y="3177510"/>
                      <a:pt x="3018903" y="3177510"/>
                    </a:cubicBezTo>
                    <a:close/>
                    <a:moveTo>
                      <a:pt x="1516493" y="3177510"/>
                    </a:moveTo>
                    <a:cubicBezTo>
                      <a:pt x="1538080" y="3177510"/>
                      <a:pt x="1555581" y="3195010"/>
                      <a:pt x="1555581" y="3216597"/>
                    </a:cubicBezTo>
                    <a:cubicBezTo>
                      <a:pt x="1555581" y="3238185"/>
                      <a:pt x="1538080" y="3255684"/>
                      <a:pt x="1516493" y="3255684"/>
                    </a:cubicBezTo>
                    <a:cubicBezTo>
                      <a:pt x="1494906" y="3255684"/>
                      <a:pt x="1477406" y="3238185"/>
                      <a:pt x="1477406" y="3216597"/>
                    </a:cubicBezTo>
                    <a:cubicBezTo>
                      <a:pt x="1477406" y="3195010"/>
                      <a:pt x="1494906" y="3177510"/>
                      <a:pt x="1516493" y="3177510"/>
                    </a:cubicBezTo>
                    <a:close/>
                    <a:moveTo>
                      <a:pt x="1329579" y="3177510"/>
                    </a:moveTo>
                    <a:cubicBezTo>
                      <a:pt x="1351167" y="3177510"/>
                      <a:pt x="1368667" y="3195010"/>
                      <a:pt x="1368667" y="3216597"/>
                    </a:cubicBezTo>
                    <a:cubicBezTo>
                      <a:pt x="1368667" y="3238185"/>
                      <a:pt x="1351167" y="3255684"/>
                      <a:pt x="1329579" y="3255684"/>
                    </a:cubicBezTo>
                    <a:cubicBezTo>
                      <a:pt x="1307993" y="3255684"/>
                      <a:pt x="1290493" y="3238185"/>
                      <a:pt x="1290493" y="3216597"/>
                    </a:cubicBezTo>
                    <a:cubicBezTo>
                      <a:pt x="1290493" y="3195010"/>
                      <a:pt x="1307993" y="3177510"/>
                      <a:pt x="1329579" y="3177510"/>
                    </a:cubicBezTo>
                    <a:close/>
                    <a:moveTo>
                      <a:pt x="1142666" y="3177510"/>
                    </a:moveTo>
                    <a:cubicBezTo>
                      <a:pt x="1164254" y="3177510"/>
                      <a:pt x="1181753" y="3195010"/>
                      <a:pt x="1181753" y="3216597"/>
                    </a:cubicBezTo>
                    <a:cubicBezTo>
                      <a:pt x="1181753" y="3238185"/>
                      <a:pt x="1164254" y="3255684"/>
                      <a:pt x="1142666" y="3255684"/>
                    </a:cubicBezTo>
                    <a:cubicBezTo>
                      <a:pt x="1121079" y="3255684"/>
                      <a:pt x="1103578" y="3238185"/>
                      <a:pt x="1103578" y="3216597"/>
                    </a:cubicBezTo>
                    <a:cubicBezTo>
                      <a:pt x="1103578" y="3195010"/>
                      <a:pt x="1121079" y="3177510"/>
                      <a:pt x="1142666" y="3177510"/>
                    </a:cubicBezTo>
                    <a:close/>
                    <a:moveTo>
                      <a:pt x="2924263" y="3177510"/>
                    </a:moveTo>
                    <a:cubicBezTo>
                      <a:pt x="2945850" y="3177510"/>
                      <a:pt x="2963349" y="3195010"/>
                      <a:pt x="2963349" y="3216597"/>
                    </a:cubicBezTo>
                    <a:cubicBezTo>
                      <a:pt x="2963349" y="3238184"/>
                      <a:pt x="2945850" y="3255684"/>
                      <a:pt x="2924263" y="3255684"/>
                    </a:cubicBezTo>
                    <a:cubicBezTo>
                      <a:pt x="2902675" y="3255684"/>
                      <a:pt x="2885175" y="3238184"/>
                      <a:pt x="2885175" y="3216597"/>
                    </a:cubicBezTo>
                    <a:cubicBezTo>
                      <a:pt x="2885175" y="3195010"/>
                      <a:pt x="2902675" y="3177510"/>
                      <a:pt x="2924263" y="3177510"/>
                    </a:cubicBezTo>
                    <a:close/>
                    <a:moveTo>
                      <a:pt x="1419488" y="3177510"/>
                    </a:moveTo>
                    <a:cubicBezTo>
                      <a:pt x="1441076" y="3177510"/>
                      <a:pt x="1458575" y="3195010"/>
                      <a:pt x="1458575" y="3216597"/>
                    </a:cubicBezTo>
                    <a:cubicBezTo>
                      <a:pt x="1458575" y="3238184"/>
                      <a:pt x="1441076" y="3255684"/>
                      <a:pt x="1419488" y="3255684"/>
                    </a:cubicBezTo>
                    <a:cubicBezTo>
                      <a:pt x="1397901" y="3255684"/>
                      <a:pt x="1380401" y="3238184"/>
                      <a:pt x="1380401" y="3216597"/>
                    </a:cubicBezTo>
                    <a:cubicBezTo>
                      <a:pt x="1380401" y="3195010"/>
                      <a:pt x="1397901" y="3177510"/>
                      <a:pt x="1419488" y="3177510"/>
                    </a:cubicBezTo>
                    <a:close/>
                    <a:moveTo>
                      <a:pt x="1232575" y="3177510"/>
                    </a:moveTo>
                    <a:cubicBezTo>
                      <a:pt x="1254162" y="3177510"/>
                      <a:pt x="1271661" y="3195010"/>
                      <a:pt x="1271661" y="3216597"/>
                    </a:cubicBezTo>
                    <a:cubicBezTo>
                      <a:pt x="1271661" y="3238184"/>
                      <a:pt x="1254162" y="3255684"/>
                      <a:pt x="1232575" y="3255684"/>
                    </a:cubicBezTo>
                    <a:cubicBezTo>
                      <a:pt x="1210988" y="3255684"/>
                      <a:pt x="1193488" y="3238184"/>
                      <a:pt x="1193488" y="3216597"/>
                    </a:cubicBezTo>
                    <a:cubicBezTo>
                      <a:pt x="1193488" y="3195010"/>
                      <a:pt x="1210988" y="3177510"/>
                      <a:pt x="1232575" y="3177510"/>
                    </a:cubicBezTo>
                    <a:close/>
                    <a:moveTo>
                      <a:pt x="3111177" y="3092334"/>
                    </a:moveTo>
                    <a:cubicBezTo>
                      <a:pt x="3132764" y="3092334"/>
                      <a:pt x="3150264" y="3109834"/>
                      <a:pt x="3150264" y="3131421"/>
                    </a:cubicBezTo>
                    <a:cubicBezTo>
                      <a:pt x="3150264" y="3153008"/>
                      <a:pt x="3132764" y="3170508"/>
                      <a:pt x="3111177" y="3170508"/>
                    </a:cubicBezTo>
                    <a:cubicBezTo>
                      <a:pt x="3089589" y="3170508"/>
                      <a:pt x="3072089" y="3153008"/>
                      <a:pt x="3072089" y="3131421"/>
                    </a:cubicBezTo>
                    <a:cubicBezTo>
                      <a:pt x="3072089" y="3109834"/>
                      <a:pt x="3089589" y="3092334"/>
                      <a:pt x="3111177" y="3092334"/>
                    </a:cubicBezTo>
                    <a:close/>
                    <a:moveTo>
                      <a:pt x="3018903" y="3092334"/>
                    </a:moveTo>
                    <a:cubicBezTo>
                      <a:pt x="3040490" y="3092334"/>
                      <a:pt x="3057989" y="3109834"/>
                      <a:pt x="3057989" y="3131421"/>
                    </a:cubicBezTo>
                    <a:cubicBezTo>
                      <a:pt x="3057989" y="3153008"/>
                      <a:pt x="3040490" y="3170508"/>
                      <a:pt x="3018903" y="3170508"/>
                    </a:cubicBezTo>
                    <a:cubicBezTo>
                      <a:pt x="2997315" y="3170508"/>
                      <a:pt x="2979815" y="3153008"/>
                      <a:pt x="2979815" y="3131421"/>
                    </a:cubicBezTo>
                    <a:cubicBezTo>
                      <a:pt x="2979815" y="3109834"/>
                      <a:pt x="2997315" y="3092334"/>
                      <a:pt x="3018903" y="3092334"/>
                    </a:cubicBezTo>
                    <a:close/>
                    <a:moveTo>
                      <a:pt x="2831988" y="3092334"/>
                    </a:moveTo>
                    <a:cubicBezTo>
                      <a:pt x="2853575" y="3092334"/>
                      <a:pt x="2871075" y="3109834"/>
                      <a:pt x="2871075" y="3131421"/>
                    </a:cubicBezTo>
                    <a:cubicBezTo>
                      <a:pt x="2871075" y="3153008"/>
                      <a:pt x="2853575" y="3170508"/>
                      <a:pt x="2831988" y="3170508"/>
                    </a:cubicBezTo>
                    <a:cubicBezTo>
                      <a:pt x="2810401" y="3170508"/>
                      <a:pt x="2792901" y="3153008"/>
                      <a:pt x="2792901" y="3131421"/>
                    </a:cubicBezTo>
                    <a:cubicBezTo>
                      <a:pt x="2792901" y="3109834"/>
                      <a:pt x="2810401" y="3092334"/>
                      <a:pt x="2831988" y="3092334"/>
                    </a:cubicBezTo>
                    <a:close/>
                    <a:moveTo>
                      <a:pt x="1516495" y="3092334"/>
                    </a:moveTo>
                    <a:cubicBezTo>
                      <a:pt x="1538082" y="3092334"/>
                      <a:pt x="1555583" y="3109834"/>
                      <a:pt x="1555583" y="3131421"/>
                    </a:cubicBezTo>
                    <a:cubicBezTo>
                      <a:pt x="1555583" y="3153008"/>
                      <a:pt x="1538082" y="3170508"/>
                      <a:pt x="1516495" y="3170508"/>
                    </a:cubicBezTo>
                    <a:cubicBezTo>
                      <a:pt x="1494907" y="3170508"/>
                      <a:pt x="1477407" y="3153008"/>
                      <a:pt x="1477407" y="3131421"/>
                    </a:cubicBezTo>
                    <a:cubicBezTo>
                      <a:pt x="1477407" y="3109834"/>
                      <a:pt x="1494907" y="3092334"/>
                      <a:pt x="1516495" y="3092334"/>
                    </a:cubicBezTo>
                    <a:close/>
                    <a:moveTo>
                      <a:pt x="1329581" y="3092334"/>
                    </a:moveTo>
                    <a:cubicBezTo>
                      <a:pt x="1351168" y="3092334"/>
                      <a:pt x="1368669" y="3109834"/>
                      <a:pt x="1368669" y="3131421"/>
                    </a:cubicBezTo>
                    <a:cubicBezTo>
                      <a:pt x="1368669" y="3153008"/>
                      <a:pt x="1351168" y="3170508"/>
                      <a:pt x="1329581" y="3170508"/>
                    </a:cubicBezTo>
                    <a:cubicBezTo>
                      <a:pt x="1307994" y="3170508"/>
                      <a:pt x="1290494" y="3153008"/>
                      <a:pt x="1290494" y="3131421"/>
                    </a:cubicBezTo>
                    <a:cubicBezTo>
                      <a:pt x="1290494" y="3109834"/>
                      <a:pt x="1307994" y="3092334"/>
                      <a:pt x="1329581" y="3092334"/>
                    </a:cubicBezTo>
                    <a:close/>
                    <a:moveTo>
                      <a:pt x="1142668" y="3092334"/>
                    </a:moveTo>
                    <a:cubicBezTo>
                      <a:pt x="1164256" y="3092334"/>
                      <a:pt x="1181756" y="3109834"/>
                      <a:pt x="1181756" y="3131421"/>
                    </a:cubicBezTo>
                    <a:cubicBezTo>
                      <a:pt x="1181756" y="3153008"/>
                      <a:pt x="1164256" y="3170508"/>
                      <a:pt x="1142668" y="3170508"/>
                    </a:cubicBezTo>
                    <a:cubicBezTo>
                      <a:pt x="1121081" y="3170508"/>
                      <a:pt x="1103581" y="3153008"/>
                      <a:pt x="1103581" y="3131421"/>
                    </a:cubicBezTo>
                    <a:cubicBezTo>
                      <a:pt x="1103581" y="3109834"/>
                      <a:pt x="1121081" y="3092334"/>
                      <a:pt x="1142668" y="3092334"/>
                    </a:cubicBezTo>
                    <a:close/>
                    <a:moveTo>
                      <a:pt x="2924263" y="3092334"/>
                    </a:moveTo>
                    <a:cubicBezTo>
                      <a:pt x="2945850" y="3092334"/>
                      <a:pt x="2963349" y="3109833"/>
                      <a:pt x="2963349" y="3131421"/>
                    </a:cubicBezTo>
                    <a:cubicBezTo>
                      <a:pt x="2963349" y="3153008"/>
                      <a:pt x="2945850" y="3170508"/>
                      <a:pt x="2924263" y="3170508"/>
                    </a:cubicBezTo>
                    <a:cubicBezTo>
                      <a:pt x="2902675" y="3170508"/>
                      <a:pt x="2885175" y="3153008"/>
                      <a:pt x="2885175" y="3131421"/>
                    </a:cubicBezTo>
                    <a:cubicBezTo>
                      <a:pt x="2885175" y="3109833"/>
                      <a:pt x="2902675" y="3092334"/>
                      <a:pt x="2924263" y="3092334"/>
                    </a:cubicBezTo>
                    <a:close/>
                    <a:moveTo>
                      <a:pt x="1419490" y="3092334"/>
                    </a:moveTo>
                    <a:cubicBezTo>
                      <a:pt x="1441077" y="3092334"/>
                      <a:pt x="1458576" y="3109833"/>
                      <a:pt x="1458576" y="3131421"/>
                    </a:cubicBezTo>
                    <a:cubicBezTo>
                      <a:pt x="1458576" y="3153008"/>
                      <a:pt x="1441077" y="3170508"/>
                      <a:pt x="1419490" y="3170508"/>
                    </a:cubicBezTo>
                    <a:cubicBezTo>
                      <a:pt x="1397902" y="3170508"/>
                      <a:pt x="1380402" y="3153008"/>
                      <a:pt x="1380402" y="3131421"/>
                    </a:cubicBezTo>
                    <a:cubicBezTo>
                      <a:pt x="1380402" y="3109833"/>
                      <a:pt x="1397902" y="3092334"/>
                      <a:pt x="1419490" y="3092334"/>
                    </a:cubicBezTo>
                    <a:close/>
                    <a:moveTo>
                      <a:pt x="1232576" y="3092334"/>
                    </a:moveTo>
                    <a:cubicBezTo>
                      <a:pt x="1254165" y="3092334"/>
                      <a:pt x="1271664" y="3109833"/>
                      <a:pt x="1271664" y="3131421"/>
                    </a:cubicBezTo>
                    <a:cubicBezTo>
                      <a:pt x="1271664" y="3153008"/>
                      <a:pt x="1254165" y="3170508"/>
                      <a:pt x="1232576" y="3170508"/>
                    </a:cubicBezTo>
                    <a:cubicBezTo>
                      <a:pt x="1210990" y="3170508"/>
                      <a:pt x="1193489" y="3153008"/>
                      <a:pt x="1193489" y="3131421"/>
                    </a:cubicBezTo>
                    <a:cubicBezTo>
                      <a:pt x="1193489" y="3109833"/>
                      <a:pt x="1210990" y="3092334"/>
                      <a:pt x="1232576" y="3092334"/>
                    </a:cubicBezTo>
                    <a:close/>
                    <a:moveTo>
                      <a:pt x="3205817" y="3007157"/>
                    </a:moveTo>
                    <a:cubicBezTo>
                      <a:pt x="3227404" y="3007157"/>
                      <a:pt x="3244904" y="3024657"/>
                      <a:pt x="3244904" y="3046245"/>
                    </a:cubicBezTo>
                    <a:cubicBezTo>
                      <a:pt x="3244904" y="3067832"/>
                      <a:pt x="3227404" y="3085332"/>
                      <a:pt x="3205817" y="3085332"/>
                    </a:cubicBezTo>
                    <a:cubicBezTo>
                      <a:pt x="3184229" y="3085332"/>
                      <a:pt x="3166729" y="3067832"/>
                      <a:pt x="3166729" y="3046245"/>
                    </a:cubicBezTo>
                    <a:cubicBezTo>
                      <a:pt x="3166729" y="3024657"/>
                      <a:pt x="3184229" y="3007157"/>
                      <a:pt x="3205817" y="3007157"/>
                    </a:cubicBezTo>
                    <a:close/>
                    <a:moveTo>
                      <a:pt x="3111177" y="3007157"/>
                    </a:moveTo>
                    <a:cubicBezTo>
                      <a:pt x="3132764" y="3007157"/>
                      <a:pt x="3150264" y="3024657"/>
                      <a:pt x="3150264" y="3046245"/>
                    </a:cubicBezTo>
                    <a:cubicBezTo>
                      <a:pt x="3150264" y="3067832"/>
                      <a:pt x="3132764" y="3085332"/>
                      <a:pt x="3111177" y="3085332"/>
                    </a:cubicBezTo>
                    <a:cubicBezTo>
                      <a:pt x="3089589" y="3085332"/>
                      <a:pt x="3072089" y="3067832"/>
                      <a:pt x="3072089" y="3046245"/>
                    </a:cubicBezTo>
                    <a:cubicBezTo>
                      <a:pt x="3072089" y="3024657"/>
                      <a:pt x="3089589" y="3007157"/>
                      <a:pt x="3111177" y="3007157"/>
                    </a:cubicBezTo>
                    <a:close/>
                    <a:moveTo>
                      <a:pt x="3018903" y="3007157"/>
                    </a:moveTo>
                    <a:cubicBezTo>
                      <a:pt x="3040490" y="3007157"/>
                      <a:pt x="3057989" y="3024657"/>
                      <a:pt x="3057989" y="3046245"/>
                    </a:cubicBezTo>
                    <a:cubicBezTo>
                      <a:pt x="3057989" y="3067832"/>
                      <a:pt x="3040490" y="3085332"/>
                      <a:pt x="3018903" y="3085332"/>
                    </a:cubicBezTo>
                    <a:cubicBezTo>
                      <a:pt x="2997315" y="3085332"/>
                      <a:pt x="2979815" y="3067832"/>
                      <a:pt x="2979815" y="3046245"/>
                    </a:cubicBezTo>
                    <a:cubicBezTo>
                      <a:pt x="2979815" y="3024657"/>
                      <a:pt x="2997315" y="3007157"/>
                      <a:pt x="3018903" y="3007157"/>
                    </a:cubicBezTo>
                    <a:close/>
                    <a:moveTo>
                      <a:pt x="2924263" y="3007157"/>
                    </a:moveTo>
                    <a:cubicBezTo>
                      <a:pt x="2945850" y="3007157"/>
                      <a:pt x="2963349" y="3024657"/>
                      <a:pt x="2963349" y="3046245"/>
                    </a:cubicBezTo>
                    <a:cubicBezTo>
                      <a:pt x="2963349" y="3067832"/>
                      <a:pt x="2945850" y="3085332"/>
                      <a:pt x="2924263" y="3085332"/>
                    </a:cubicBezTo>
                    <a:cubicBezTo>
                      <a:pt x="2902675" y="3085332"/>
                      <a:pt x="2885175" y="3067832"/>
                      <a:pt x="2885175" y="3046245"/>
                    </a:cubicBezTo>
                    <a:cubicBezTo>
                      <a:pt x="2885175" y="3024657"/>
                      <a:pt x="2902675" y="3007157"/>
                      <a:pt x="2924263" y="3007157"/>
                    </a:cubicBezTo>
                    <a:close/>
                    <a:moveTo>
                      <a:pt x="2831988" y="3007157"/>
                    </a:moveTo>
                    <a:cubicBezTo>
                      <a:pt x="2853575" y="3007157"/>
                      <a:pt x="2871075" y="3024657"/>
                      <a:pt x="2871075" y="3046245"/>
                    </a:cubicBezTo>
                    <a:cubicBezTo>
                      <a:pt x="2871075" y="3067832"/>
                      <a:pt x="2853575" y="3085332"/>
                      <a:pt x="2831988" y="3085332"/>
                    </a:cubicBezTo>
                    <a:cubicBezTo>
                      <a:pt x="2810401" y="3085332"/>
                      <a:pt x="2792901" y="3067832"/>
                      <a:pt x="2792901" y="3046245"/>
                    </a:cubicBezTo>
                    <a:cubicBezTo>
                      <a:pt x="2792901" y="3024657"/>
                      <a:pt x="2810401" y="3007157"/>
                      <a:pt x="2831988" y="3007157"/>
                    </a:cubicBezTo>
                    <a:close/>
                    <a:moveTo>
                      <a:pt x="1611133" y="3007157"/>
                    </a:moveTo>
                    <a:cubicBezTo>
                      <a:pt x="1632719" y="3007157"/>
                      <a:pt x="1650221" y="3024657"/>
                      <a:pt x="1650221" y="3046245"/>
                    </a:cubicBezTo>
                    <a:cubicBezTo>
                      <a:pt x="1650221" y="3067832"/>
                      <a:pt x="1632719" y="3085332"/>
                      <a:pt x="1611133" y="3085332"/>
                    </a:cubicBezTo>
                    <a:cubicBezTo>
                      <a:pt x="1589551" y="3085332"/>
                      <a:pt x="1572051" y="3067832"/>
                      <a:pt x="1572051" y="3046245"/>
                    </a:cubicBezTo>
                    <a:cubicBezTo>
                      <a:pt x="1572051" y="3024657"/>
                      <a:pt x="1589551" y="3007157"/>
                      <a:pt x="1611133" y="3007157"/>
                    </a:cubicBezTo>
                    <a:close/>
                    <a:moveTo>
                      <a:pt x="1516497" y="3007157"/>
                    </a:moveTo>
                    <a:cubicBezTo>
                      <a:pt x="1538084" y="3007157"/>
                      <a:pt x="1555584" y="3024657"/>
                      <a:pt x="1555584" y="3046245"/>
                    </a:cubicBezTo>
                    <a:cubicBezTo>
                      <a:pt x="1555584" y="3067832"/>
                      <a:pt x="1538084" y="3085332"/>
                      <a:pt x="1516497" y="3085332"/>
                    </a:cubicBezTo>
                    <a:cubicBezTo>
                      <a:pt x="1494909" y="3085332"/>
                      <a:pt x="1477409" y="3067832"/>
                      <a:pt x="1477409" y="3046245"/>
                    </a:cubicBezTo>
                    <a:cubicBezTo>
                      <a:pt x="1477409" y="3024657"/>
                      <a:pt x="1494909" y="3007157"/>
                      <a:pt x="1516497" y="3007157"/>
                    </a:cubicBezTo>
                    <a:close/>
                    <a:moveTo>
                      <a:pt x="1419492" y="3007157"/>
                    </a:moveTo>
                    <a:cubicBezTo>
                      <a:pt x="1441079" y="3007157"/>
                      <a:pt x="1458579" y="3024657"/>
                      <a:pt x="1458579" y="3046245"/>
                    </a:cubicBezTo>
                    <a:cubicBezTo>
                      <a:pt x="1458579" y="3067832"/>
                      <a:pt x="1441079" y="3085332"/>
                      <a:pt x="1419492" y="3085332"/>
                    </a:cubicBezTo>
                    <a:cubicBezTo>
                      <a:pt x="1397905" y="3085332"/>
                      <a:pt x="1380404" y="3067832"/>
                      <a:pt x="1380404" y="3046245"/>
                    </a:cubicBezTo>
                    <a:cubicBezTo>
                      <a:pt x="1380404" y="3024657"/>
                      <a:pt x="1397905" y="3007157"/>
                      <a:pt x="1419492" y="3007157"/>
                    </a:cubicBezTo>
                    <a:close/>
                    <a:moveTo>
                      <a:pt x="1329583" y="3007157"/>
                    </a:moveTo>
                    <a:cubicBezTo>
                      <a:pt x="1351171" y="3007157"/>
                      <a:pt x="1368670" y="3024657"/>
                      <a:pt x="1368670" y="3046245"/>
                    </a:cubicBezTo>
                    <a:cubicBezTo>
                      <a:pt x="1368670" y="3067832"/>
                      <a:pt x="1351171" y="3085332"/>
                      <a:pt x="1329583" y="3085332"/>
                    </a:cubicBezTo>
                    <a:cubicBezTo>
                      <a:pt x="1307997" y="3085332"/>
                      <a:pt x="1290496" y="3067832"/>
                      <a:pt x="1290496" y="3046245"/>
                    </a:cubicBezTo>
                    <a:cubicBezTo>
                      <a:pt x="1290496" y="3024657"/>
                      <a:pt x="1307997" y="3007157"/>
                      <a:pt x="1329583" y="3007157"/>
                    </a:cubicBezTo>
                    <a:close/>
                    <a:moveTo>
                      <a:pt x="1232579" y="3007157"/>
                    </a:moveTo>
                    <a:cubicBezTo>
                      <a:pt x="1254166" y="3007157"/>
                      <a:pt x="1271666" y="3024657"/>
                      <a:pt x="1271666" y="3046245"/>
                    </a:cubicBezTo>
                    <a:cubicBezTo>
                      <a:pt x="1271666" y="3067832"/>
                      <a:pt x="1254166" y="3085332"/>
                      <a:pt x="1232579" y="3085332"/>
                    </a:cubicBezTo>
                    <a:cubicBezTo>
                      <a:pt x="1210991" y="3085332"/>
                      <a:pt x="1193493" y="3067832"/>
                      <a:pt x="1193493" y="3046245"/>
                    </a:cubicBezTo>
                    <a:cubicBezTo>
                      <a:pt x="1193493" y="3024657"/>
                      <a:pt x="1210991" y="3007157"/>
                      <a:pt x="1232579" y="3007157"/>
                    </a:cubicBezTo>
                    <a:close/>
                    <a:moveTo>
                      <a:pt x="1142670" y="3007157"/>
                    </a:moveTo>
                    <a:cubicBezTo>
                      <a:pt x="1164257" y="3007157"/>
                      <a:pt x="1181758" y="3024657"/>
                      <a:pt x="1181758" y="3046245"/>
                    </a:cubicBezTo>
                    <a:cubicBezTo>
                      <a:pt x="1181758" y="3067832"/>
                      <a:pt x="1164257" y="3085332"/>
                      <a:pt x="1142670" y="3085332"/>
                    </a:cubicBezTo>
                    <a:cubicBezTo>
                      <a:pt x="1121082" y="3085332"/>
                      <a:pt x="1103582" y="3067832"/>
                      <a:pt x="1103582" y="3046245"/>
                    </a:cubicBezTo>
                    <a:cubicBezTo>
                      <a:pt x="1103582" y="3024657"/>
                      <a:pt x="1121082" y="3007157"/>
                      <a:pt x="1142670" y="3007157"/>
                    </a:cubicBezTo>
                    <a:close/>
                    <a:moveTo>
                      <a:pt x="3111177" y="2919617"/>
                    </a:moveTo>
                    <a:cubicBezTo>
                      <a:pt x="3132764" y="2919617"/>
                      <a:pt x="3150264" y="2937117"/>
                      <a:pt x="3150264" y="2958704"/>
                    </a:cubicBezTo>
                    <a:cubicBezTo>
                      <a:pt x="3150264" y="2980291"/>
                      <a:pt x="3132764" y="2997791"/>
                      <a:pt x="3111177" y="2997791"/>
                    </a:cubicBezTo>
                    <a:cubicBezTo>
                      <a:pt x="3089589" y="2997791"/>
                      <a:pt x="3072089" y="2980291"/>
                      <a:pt x="3072089" y="2958704"/>
                    </a:cubicBezTo>
                    <a:cubicBezTo>
                      <a:pt x="3072089" y="2937117"/>
                      <a:pt x="3089589" y="2919617"/>
                      <a:pt x="3111177" y="2919617"/>
                    </a:cubicBezTo>
                    <a:close/>
                    <a:moveTo>
                      <a:pt x="3018902" y="2919617"/>
                    </a:moveTo>
                    <a:cubicBezTo>
                      <a:pt x="3040489" y="2919617"/>
                      <a:pt x="3057989" y="2937117"/>
                      <a:pt x="3057989" y="2958704"/>
                    </a:cubicBezTo>
                    <a:cubicBezTo>
                      <a:pt x="3057989" y="2980291"/>
                      <a:pt x="3040489" y="2997791"/>
                      <a:pt x="3018902" y="2997791"/>
                    </a:cubicBezTo>
                    <a:cubicBezTo>
                      <a:pt x="2997315" y="2997791"/>
                      <a:pt x="2979815" y="2980291"/>
                      <a:pt x="2979815" y="2958704"/>
                    </a:cubicBezTo>
                    <a:cubicBezTo>
                      <a:pt x="2979815" y="2937117"/>
                      <a:pt x="2997315" y="2919617"/>
                      <a:pt x="3018902" y="2919617"/>
                    </a:cubicBezTo>
                    <a:close/>
                    <a:moveTo>
                      <a:pt x="2831988" y="2919617"/>
                    </a:moveTo>
                    <a:cubicBezTo>
                      <a:pt x="2853575" y="2919617"/>
                      <a:pt x="2871075" y="2937117"/>
                      <a:pt x="2871075" y="2958704"/>
                    </a:cubicBezTo>
                    <a:cubicBezTo>
                      <a:pt x="2871075" y="2980291"/>
                      <a:pt x="2853575" y="2997791"/>
                      <a:pt x="2831988" y="2997791"/>
                    </a:cubicBezTo>
                    <a:cubicBezTo>
                      <a:pt x="2810401" y="2997791"/>
                      <a:pt x="2792901" y="2980291"/>
                      <a:pt x="2792901" y="2958704"/>
                    </a:cubicBezTo>
                    <a:cubicBezTo>
                      <a:pt x="2792901" y="2937117"/>
                      <a:pt x="2810401" y="2919617"/>
                      <a:pt x="2831988" y="2919617"/>
                    </a:cubicBezTo>
                    <a:close/>
                    <a:moveTo>
                      <a:pt x="1611133" y="2919617"/>
                    </a:moveTo>
                    <a:cubicBezTo>
                      <a:pt x="1632719" y="2919617"/>
                      <a:pt x="1650221" y="2937117"/>
                      <a:pt x="1650221" y="2958704"/>
                    </a:cubicBezTo>
                    <a:cubicBezTo>
                      <a:pt x="1650221" y="2980291"/>
                      <a:pt x="1632719" y="2997791"/>
                      <a:pt x="1611133" y="2997791"/>
                    </a:cubicBezTo>
                    <a:cubicBezTo>
                      <a:pt x="1589553" y="2997791"/>
                      <a:pt x="1572053" y="2980291"/>
                      <a:pt x="1572053" y="2958704"/>
                    </a:cubicBezTo>
                    <a:cubicBezTo>
                      <a:pt x="1572053" y="2937117"/>
                      <a:pt x="1589553" y="2919617"/>
                      <a:pt x="1611133" y="2919617"/>
                    </a:cubicBezTo>
                    <a:close/>
                    <a:moveTo>
                      <a:pt x="1516498" y="2919617"/>
                    </a:moveTo>
                    <a:cubicBezTo>
                      <a:pt x="1538086" y="2919617"/>
                      <a:pt x="1555586" y="2937117"/>
                      <a:pt x="1555586" y="2958704"/>
                    </a:cubicBezTo>
                    <a:cubicBezTo>
                      <a:pt x="1555586" y="2980291"/>
                      <a:pt x="1538086" y="2997791"/>
                      <a:pt x="1516498" y="2997791"/>
                    </a:cubicBezTo>
                    <a:cubicBezTo>
                      <a:pt x="1494911" y="2997791"/>
                      <a:pt x="1477411" y="2980291"/>
                      <a:pt x="1477411" y="2958704"/>
                    </a:cubicBezTo>
                    <a:cubicBezTo>
                      <a:pt x="1477411" y="2937117"/>
                      <a:pt x="1494911" y="2919617"/>
                      <a:pt x="1516498" y="2919617"/>
                    </a:cubicBezTo>
                    <a:close/>
                    <a:moveTo>
                      <a:pt x="1329585" y="2919617"/>
                    </a:moveTo>
                    <a:cubicBezTo>
                      <a:pt x="1351172" y="2919617"/>
                      <a:pt x="1368672" y="2937117"/>
                      <a:pt x="1368672" y="2958704"/>
                    </a:cubicBezTo>
                    <a:cubicBezTo>
                      <a:pt x="1368672" y="2980291"/>
                      <a:pt x="1351172" y="2997791"/>
                      <a:pt x="1329585" y="2997791"/>
                    </a:cubicBezTo>
                    <a:cubicBezTo>
                      <a:pt x="1307998" y="2997791"/>
                      <a:pt x="1290499" y="2980291"/>
                      <a:pt x="1290499" y="2958704"/>
                    </a:cubicBezTo>
                    <a:cubicBezTo>
                      <a:pt x="1290499" y="2937117"/>
                      <a:pt x="1307998" y="2919617"/>
                      <a:pt x="1329585" y="2919617"/>
                    </a:cubicBezTo>
                    <a:close/>
                    <a:moveTo>
                      <a:pt x="3489737" y="2919616"/>
                    </a:moveTo>
                    <a:lnTo>
                      <a:pt x="3508003" y="2927183"/>
                    </a:lnTo>
                    <a:lnTo>
                      <a:pt x="3463371" y="2986869"/>
                    </a:lnTo>
                    <a:lnTo>
                      <a:pt x="3462097" y="2986342"/>
                    </a:lnTo>
                    <a:cubicBezTo>
                      <a:pt x="3455024" y="2979269"/>
                      <a:pt x="3450649" y="2969497"/>
                      <a:pt x="3450649" y="2958703"/>
                    </a:cubicBezTo>
                    <a:cubicBezTo>
                      <a:pt x="3450649" y="2937116"/>
                      <a:pt x="3468149" y="2919616"/>
                      <a:pt x="3489737" y="2919616"/>
                    </a:cubicBezTo>
                    <a:close/>
                    <a:moveTo>
                      <a:pt x="3205817" y="2919616"/>
                    </a:moveTo>
                    <a:cubicBezTo>
                      <a:pt x="3227404" y="2919616"/>
                      <a:pt x="3244904" y="2937116"/>
                      <a:pt x="3244904" y="2958703"/>
                    </a:cubicBezTo>
                    <a:cubicBezTo>
                      <a:pt x="3244904" y="2980290"/>
                      <a:pt x="3227404" y="2997790"/>
                      <a:pt x="3205817" y="2997790"/>
                    </a:cubicBezTo>
                    <a:cubicBezTo>
                      <a:pt x="3184229" y="2997790"/>
                      <a:pt x="3166729" y="2980290"/>
                      <a:pt x="3166729" y="2958703"/>
                    </a:cubicBezTo>
                    <a:cubicBezTo>
                      <a:pt x="3166729" y="2937116"/>
                      <a:pt x="3184229" y="2919616"/>
                      <a:pt x="3205817" y="2919616"/>
                    </a:cubicBezTo>
                    <a:close/>
                    <a:moveTo>
                      <a:pt x="2924263" y="2919616"/>
                    </a:moveTo>
                    <a:cubicBezTo>
                      <a:pt x="2945850" y="2919616"/>
                      <a:pt x="2963349" y="2937116"/>
                      <a:pt x="2963349" y="2958703"/>
                    </a:cubicBezTo>
                    <a:cubicBezTo>
                      <a:pt x="2963349" y="2980290"/>
                      <a:pt x="2945850" y="2997790"/>
                      <a:pt x="2924263" y="2997790"/>
                    </a:cubicBezTo>
                    <a:cubicBezTo>
                      <a:pt x="2902675" y="2997790"/>
                      <a:pt x="2885175" y="2980290"/>
                      <a:pt x="2885175" y="2958703"/>
                    </a:cubicBezTo>
                    <a:cubicBezTo>
                      <a:pt x="2885175" y="2937116"/>
                      <a:pt x="2902675" y="2919616"/>
                      <a:pt x="2924263" y="2919616"/>
                    </a:cubicBezTo>
                    <a:close/>
                    <a:moveTo>
                      <a:pt x="1703408" y="2919616"/>
                    </a:moveTo>
                    <a:cubicBezTo>
                      <a:pt x="1724994" y="2919616"/>
                      <a:pt x="1742495" y="2937116"/>
                      <a:pt x="1742495" y="2958703"/>
                    </a:cubicBezTo>
                    <a:cubicBezTo>
                      <a:pt x="1742495" y="2980290"/>
                      <a:pt x="1724994" y="2997790"/>
                      <a:pt x="1703408" y="2997790"/>
                    </a:cubicBezTo>
                    <a:cubicBezTo>
                      <a:pt x="1681820" y="2997790"/>
                      <a:pt x="1664321" y="2980290"/>
                      <a:pt x="1664321" y="2958703"/>
                    </a:cubicBezTo>
                    <a:cubicBezTo>
                      <a:pt x="1664321" y="2937116"/>
                      <a:pt x="1681820" y="2919616"/>
                      <a:pt x="1703408" y="2919616"/>
                    </a:cubicBezTo>
                    <a:close/>
                    <a:moveTo>
                      <a:pt x="1419494" y="2919616"/>
                    </a:moveTo>
                    <a:cubicBezTo>
                      <a:pt x="1441081" y="2919616"/>
                      <a:pt x="1458581" y="2937116"/>
                      <a:pt x="1458581" y="2958703"/>
                    </a:cubicBezTo>
                    <a:cubicBezTo>
                      <a:pt x="1458581" y="2980290"/>
                      <a:pt x="1441081" y="2997790"/>
                      <a:pt x="1419494" y="2997790"/>
                    </a:cubicBezTo>
                    <a:cubicBezTo>
                      <a:pt x="1397906" y="2997790"/>
                      <a:pt x="1380407" y="2980290"/>
                      <a:pt x="1380407" y="2958703"/>
                    </a:cubicBezTo>
                    <a:cubicBezTo>
                      <a:pt x="1380407" y="2937116"/>
                      <a:pt x="1397906" y="2919616"/>
                      <a:pt x="1419494" y="2919616"/>
                    </a:cubicBezTo>
                    <a:close/>
                    <a:moveTo>
                      <a:pt x="1232582" y="2919616"/>
                    </a:moveTo>
                    <a:cubicBezTo>
                      <a:pt x="1254169" y="2919616"/>
                      <a:pt x="1271667" y="2937116"/>
                      <a:pt x="1271667" y="2958703"/>
                    </a:cubicBezTo>
                    <a:cubicBezTo>
                      <a:pt x="1271667" y="2980290"/>
                      <a:pt x="1254169" y="2997790"/>
                      <a:pt x="1232582" y="2997790"/>
                    </a:cubicBezTo>
                    <a:cubicBezTo>
                      <a:pt x="1210994" y="2997790"/>
                      <a:pt x="1193494" y="2980290"/>
                      <a:pt x="1193494" y="2958703"/>
                    </a:cubicBezTo>
                    <a:cubicBezTo>
                      <a:pt x="1193494" y="2937116"/>
                      <a:pt x="1210994" y="2919616"/>
                      <a:pt x="1232582" y="2919616"/>
                    </a:cubicBezTo>
                    <a:close/>
                    <a:moveTo>
                      <a:pt x="3489737" y="2832075"/>
                    </a:moveTo>
                    <a:cubicBezTo>
                      <a:pt x="3511324" y="2832075"/>
                      <a:pt x="3528823" y="2849575"/>
                      <a:pt x="3528823" y="2871162"/>
                    </a:cubicBezTo>
                    <a:cubicBezTo>
                      <a:pt x="3528823" y="2892749"/>
                      <a:pt x="3511324" y="2910249"/>
                      <a:pt x="3489737" y="2910249"/>
                    </a:cubicBezTo>
                    <a:cubicBezTo>
                      <a:pt x="3468149" y="2910249"/>
                      <a:pt x="3450649" y="2892749"/>
                      <a:pt x="3450649" y="2871162"/>
                    </a:cubicBezTo>
                    <a:cubicBezTo>
                      <a:pt x="3450649" y="2849575"/>
                      <a:pt x="3468149" y="2832075"/>
                      <a:pt x="3489737" y="2832075"/>
                    </a:cubicBezTo>
                    <a:close/>
                    <a:moveTo>
                      <a:pt x="3300457" y="2832075"/>
                    </a:moveTo>
                    <a:cubicBezTo>
                      <a:pt x="3322044" y="2832075"/>
                      <a:pt x="3339544" y="2849575"/>
                      <a:pt x="3339544" y="2871162"/>
                    </a:cubicBezTo>
                    <a:cubicBezTo>
                      <a:pt x="3339544" y="2892749"/>
                      <a:pt x="3322044" y="2910249"/>
                      <a:pt x="3300457" y="2910249"/>
                    </a:cubicBezTo>
                    <a:cubicBezTo>
                      <a:pt x="3278869" y="2910249"/>
                      <a:pt x="3261369" y="2892749"/>
                      <a:pt x="3261369" y="2871162"/>
                    </a:cubicBezTo>
                    <a:cubicBezTo>
                      <a:pt x="3261369" y="2849575"/>
                      <a:pt x="3278869" y="2832075"/>
                      <a:pt x="3300457" y="2832075"/>
                    </a:cubicBezTo>
                    <a:close/>
                    <a:moveTo>
                      <a:pt x="3205817" y="2832075"/>
                    </a:moveTo>
                    <a:cubicBezTo>
                      <a:pt x="3227404" y="2832075"/>
                      <a:pt x="3244904" y="2849575"/>
                      <a:pt x="3244904" y="2871162"/>
                    </a:cubicBezTo>
                    <a:cubicBezTo>
                      <a:pt x="3244904" y="2892749"/>
                      <a:pt x="3227404" y="2910249"/>
                      <a:pt x="3205817" y="2910249"/>
                    </a:cubicBezTo>
                    <a:cubicBezTo>
                      <a:pt x="3184229" y="2910249"/>
                      <a:pt x="3166729" y="2892749"/>
                      <a:pt x="3166729" y="2871162"/>
                    </a:cubicBezTo>
                    <a:cubicBezTo>
                      <a:pt x="3166729" y="2849575"/>
                      <a:pt x="3184229" y="2832075"/>
                      <a:pt x="3205817" y="2832075"/>
                    </a:cubicBezTo>
                    <a:close/>
                    <a:moveTo>
                      <a:pt x="3111177" y="2832075"/>
                    </a:moveTo>
                    <a:cubicBezTo>
                      <a:pt x="3132764" y="2832075"/>
                      <a:pt x="3150264" y="2849575"/>
                      <a:pt x="3150264" y="2871162"/>
                    </a:cubicBezTo>
                    <a:cubicBezTo>
                      <a:pt x="3150264" y="2892749"/>
                      <a:pt x="3132764" y="2910249"/>
                      <a:pt x="3111177" y="2910249"/>
                    </a:cubicBezTo>
                    <a:cubicBezTo>
                      <a:pt x="3089589" y="2910249"/>
                      <a:pt x="3072089" y="2892749"/>
                      <a:pt x="3072089" y="2871162"/>
                    </a:cubicBezTo>
                    <a:cubicBezTo>
                      <a:pt x="3072089" y="2849575"/>
                      <a:pt x="3089589" y="2832075"/>
                      <a:pt x="3111177" y="2832075"/>
                    </a:cubicBezTo>
                    <a:close/>
                    <a:moveTo>
                      <a:pt x="3018902" y="2832075"/>
                    </a:moveTo>
                    <a:cubicBezTo>
                      <a:pt x="3040489" y="2832075"/>
                      <a:pt x="3057989" y="2849575"/>
                      <a:pt x="3057989" y="2871162"/>
                    </a:cubicBezTo>
                    <a:cubicBezTo>
                      <a:pt x="3057989" y="2892749"/>
                      <a:pt x="3040489" y="2910249"/>
                      <a:pt x="3018902" y="2910249"/>
                    </a:cubicBezTo>
                    <a:cubicBezTo>
                      <a:pt x="2997315" y="2910249"/>
                      <a:pt x="2979815" y="2892749"/>
                      <a:pt x="2979815" y="2871162"/>
                    </a:cubicBezTo>
                    <a:cubicBezTo>
                      <a:pt x="2979815" y="2849575"/>
                      <a:pt x="2997315" y="2832075"/>
                      <a:pt x="3018902" y="2832075"/>
                    </a:cubicBezTo>
                    <a:close/>
                    <a:moveTo>
                      <a:pt x="2924263" y="2832075"/>
                    </a:moveTo>
                    <a:cubicBezTo>
                      <a:pt x="2945850" y="2832075"/>
                      <a:pt x="2963349" y="2849575"/>
                      <a:pt x="2963349" y="2871162"/>
                    </a:cubicBezTo>
                    <a:cubicBezTo>
                      <a:pt x="2963349" y="2892749"/>
                      <a:pt x="2945850" y="2910249"/>
                      <a:pt x="2924263" y="2910249"/>
                    </a:cubicBezTo>
                    <a:cubicBezTo>
                      <a:pt x="2902675" y="2910249"/>
                      <a:pt x="2885175" y="2892749"/>
                      <a:pt x="2885175" y="2871162"/>
                    </a:cubicBezTo>
                    <a:cubicBezTo>
                      <a:pt x="2885175" y="2849575"/>
                      <a:pt x="2902675" y="2832075"/>
                      <a:pt x="2924263" y="2832075"/>
                    </a:cubicBezTo>
                    <a:close/>
                    <a:moveTo>
                      <a:pt x="2831988" y="2832075"/>
                    </a:moveTo>
                    <a:cubicBezTo>
                      <a:pt x="2853575" y="2832075"/>
                      <a:pt x="2871075" y="2849575"/>
                      <a:pt x="2871075" y="2871162"/>
                    </a:cubicBezTo>
                    <a:cubicBezTo>
                      <a:pt x="2871075" y="2892749"/>
                      <a:pt x="2853575" y="2910249"/>
                      <a:pt x="2831988" y="2910249"/>
                    </a:cubicBezTo>
                    <a:cubicBezTo>
                      <a:pt x="2810401" y="2910249"/>
                      <a:pt x="2792901" y="2892749"/>
                      <a:pt x="2792901" y="2871162"/>
                    </a:cubicBezTo>
                    <a:cubicBezTo>
                      <a:pt x="2792901" y="2849575"/>
                      <a:pt x="2810401" y="2832075"/>
                      <a:pt x="2831988" y="2832075"/>
                    </a:cubicBezTo>
                    <a:close/>
                    <a:moveTo>
                      <a:pt x="1703409" y="2832075"/>
                    </a:moveTo>
                    <a:cubicBezTo>
                      <a:pt x="1724996" y="2832075"/>
                      <a:pt x="1742495" y="2849575"/>
                      <a:pt x="1742495" y="2871162"/>
                    </a:cubicBezTo>
                    <a:cubicBezTo>
                      <a:pt x="1742495" y="2892749"/>
                      <a:pt x="1724996" y="2910249"/>
                      <a:pt x="1703409" y="2910249"/>
                    </a:cubicBezTo>
                    <a:cubicBezTo>
                      <a:pt x="1681822" y="2910249"/>
                      <a:pt x="1664321" y="2892749"/>
                      <a:pt x="1664321" y="2871162"/>
                    </a:cubicBezTo>
                    <a:cubicBezTo>
                      <a:pt x="1664321" y="2849575"/>
                      <a:pt x="1681822" y="2832075"/>
                      <a:pt x="1703409" y="2832075"/>
                    </a:cubicBezTo>
                    <a:close/>
                    <a:moveTo>
                      <a:pt x="1611133" y="2832075"/>
                    </a:moveTo>
                    <a:cubicBezTo>
                      <a:pt x="1632721" y="2832075"/>
                      <a:pt x="1650221" y="2849575"/>
                      <a:pt x="1650221" y="2871162"/>
                    </a:cubicBezTo>
                    <a:cubicBezTo>
                      <a:pt x="1650221" y="2892749"/>
                      <a:pt x="1632721" y="2910249"/>
                      <a:pt x="1611133" y="2910249"/>
                    </a:cubicBezTo>
                    <a:cubicBezTo>
                      <a:pt x="1589554" y="2910249"/>
                      <a:pt x="1572054" y="2892749"/>
                      <a:pt x="1572054" y="2871162"/>
                    </a:cubicBezTo>
                    <a:cubicBezTo>
                      <a:pt x="1572054" y="2849575"/>
                      <a:pt x="1589554" y="2832075"/>
                      <a:pt x="1611133" y="2832075"/>
                    </a:cubicBezTo>
                    <a:close/>
                    <a:moveTo>
                      <a:pt x="1516501" y="2832075"/>
                    </a:moveTo>
                    <a:cubicBezTo>
                      <a:pt x="1538087" y="2832075"/>
                      <a:pt x="1555588" y="2849575"/>
                      <a:pt x="1555588" y="2871162"/>
                    </a:cubicBezTo>
                    <a:cubicBezTo>
                      <a:pt x="1555588" y="2892749"/>
                      <a:pt x="1538087" y="2910249"/>
                      <a:pt x="1516501" y="2910249"/>
                    </a:cubicBezTo>
                    <a:cubicBezTo>
                      <a:pt x="1494913" y="2910249"/>
                      <a:pt x="1477413" y="2892749"/>
                      <a:pt x="1477413" y="2871162"/>
                    </a:cubicBezTo>
                    <a:cubicBezTo>
                      <a:pt x="1477413" y="2849575"/>
                      <a:pt x="1494913" y="2832075"/>
                      <a:pt x="1516501" y="2832075"/>
                    </a:cubicBezTo>
                    <a:close/>
                    <a:moveTo>
                      <a:pt x="1419496" y="2832075"/>
                    </a:moveTo>
                    <a:cubicBezTo>
                      <a:pt x="1441083" y="2832075"/>
                      <a:pt x="1458583" y="2849575"/>
                      <a:pt x="1458583" y="2871162"/>
                    </a:cubicBezTo>
                    <a:cubicBezTo>
                      <a:pt x="1458583" y="2892749"/>
                      <a:pt x="1441083" y="2910249"/>
                      <a:pt x="1419496" y="2910249"/>
                    </a:cubicBezTo>
                    <a:cubicBezTo>
                      <a:pt x="1397907" y="2910249"/>
                      <a:pt x="1380408" y="2892749"/>
                      <a:pt x="1380408" y="2871162"/>
                    </a:cubicBezTo>
                    <a:cubicBezTo>
                      <a:pt x="1380408" y="2849575"/>
                      <a:pt x="1397907" y="2832075"/>
                      <a:pt x="1419496" y="2832075"/>
                    </a:cubicBezTo>
                    <a:close/>
                    <a:moveTo>
                      <a:pt x="1329587" y="2832075"/>
                    </a:moveTo>
                    <a:cubicBezTo>
                      <a:pt x="1351174" y="2832075"/>
                      <a:pt x="1368674" y="2849575"/>
                      <a:pt x="1368674" y="2871162"/>
                    </a:cubicBezTo>
                    <a:cubicBezTo>
                      <a:pt x="1368674" y="2892749"/>
                      <a:pt x="1351174" y="2910249"/>
                      <a:pt x="1329587" y="2910249"/>
                    </a:cubicBezTo>
                    <a:cubicBezTo>
                      <a:pt x="1308000" y="2910249"/>
                      <a:pt x="1290500" y="2892749"/>
                      <a:pt x="1290500" y="2871162"/>
                    </a:cubicBezTo>
                    <a:cubicBezTo>
                      <a:pt x="1290500" y="2849575"/>
                      <a:pt x="1308000" y="2832075"/>
                      <a:pt x="1329587" y="2832075"/>
                    </a:cubicBezTo>
                    <a:close/>
                    <a:moveTo>
                      <a:pt x="1232583" y="2832075"/>
                    </a:moveTo>
                    <a:cubicBezTo>
                      <a:pt x="1254171" y="2832075"/>
                      <a:pt x="1271669" y="2849575"/>
                      <a:pt x="1271669" y="2871162"/>
                    </a:cubicBezTo>
                    <a:cubicBezTo>
                      <a:pt x="1271669" y="2892749"/>
                      <a:pt x="1254171" y="2910249"/>
                      <a:pt x="1232583" y="2910249"/>
                    </a:cubicBezTo>
                    <a:cubicBezTo>
                      <a:pt x="1210996" y="2910249"/>
                      <a:pt x="1193496" y="2892749"/>
                      <a:pt x="1193496" y="2871162"/>
                    </a:cubicBezTo>
                    <a:cubicBezTo>
                      <a:pt x="1193496" y="2849575"/>
                      <a:pt x="1210996" y="2832075"/>
                      <a:pt x="1232583" y="2832075"/>
                    </a:cubicBezTo>
                    <a:close/>
                    <a:moveTo>
                      <a:pt x="3489737" y="2742165"/>
                    </a:moveTo>
                    <a:cubicBezTo>
                      <a:pt x="3511324" y="2742165"/>
                      <a:pt x="3528823" y="2759665"/>
                      <a:pt x="3528823" y="2781252"/>
                    </a:cubicBezTo>
                    <a:cubicBezTo>
                      <a:pt x="3528823" y="2802840"/>
                      <a:pt x="3511324" y="2820339"/>
                      <a:pt x="3489737" y="2820339"/>
                    </a:cubicBezTo>
                    <a:cubicBezTo>
                      <a:pt x="3468149" y="2820339"/>
                      <a:pt x="3450649" y="2802840"/>
                      <a:pt x="3450649" y="2781252"/>
                    </a:cubicBezTo>
                    <a:cubicBezTo>
                      <a:pt x="3450649" y="2759665"/>
                      <a:pt x="3468149" y="2742165"/>
                      <a:pt x="3489737" y="2742165"/>
                    </a:cubicBezTo>
                    <a:close/>
                    <a:moveTo>
                      <a:pt x="3300457" y="2664088"/>
                    </a:moveTo>
                    <a:cubicBezTo>
                      <a:pt x="3322044" y="2664088"/>
                      <a:pt x="3339544" y="2681588"/>
                      <a:pt x="3339544" y="2703175"/>
                    </a:cubicBezTo>
                    <a:cubicBezTo>
                      <a:pt x="3339544" y="2719366"/>
                      <a:pt x="3329700" y="2733257"/>
                      <a:pt x="3315671" y="2739190"/>
                    </a:cubicBezTo>
                    <a:lnTo>
                      <a:pt x="3300696" y="2742214"/>
                    </a:lnTo>
                    <a:lnTo>
                      <a:pt x="3315671" y="2745237"/>
                    </a:lnTo>
                    <a:cubicBezTo>
                      <a:pt x="3329700" y="2751171"/>
                      <a:pt x="3339544" y="2765062"/>
                      <a:pt x="3339544" y="2781252"/>
                    </a:cubicBezTo>
                    <a:cubicBezTo>
                      <a:pt x="3339544" y="2802840"/>
                      <a:pt x="3322044" y="2820339"/>
                      <a:pt x="3300457" y="2820339"/>
                    </a:cubicBezTo>
                    <a:cubicBezTo>
                      <a:pt x="3278869" y="2820339"/>
                      <a:pt x="3261369" y="2802840"/>
                      <a:pt x="3261369" y="2781252"/>
                    </a:cubicBezTo>
                    <a:cubicBezTo>
                      <a:pt x="3261369" y="2765062"/>
                      <a:pt x="3271213" y="2751171"/>
                      <a:pt x="3285242" y="2745237"/>
                    </a:cubicBezTo>
                    <a:lnTo>
                      <a:pt x="3300217" y="2742214"/>
                    </a:lnTo>
                    <a:lnTo>
                      <a:pt x="3285242" y="2739190"/>
                    </a:lnTo>
                    <a:cubicBezTo>
                      <a:pt x="3271213" y="2733257"/>
                      <a:pt x="3261369" y="2719366"/>
                      <a:pt x="3261369" y="2703175"/>
                    </a:cubicBezTo>
                    <a:cubicBezTo>
                      <a:pt x="3261369" y="2681588"/>
                      <a:pt x="3278869" y="2664088"/>
                      <a:pt x="3300457" y="2664088"/>
                    </a:cubicBezTo>
                    <a:close/>
                    <a:moveTo>
                      <a:pt x="3111177" y="2664088"/>
                    </a:moveTo>
                    <a:cubicBezTo>
                      <a:pt x="3132764" y="2664088"/>
                      <a:pt x="3150264" y="2681588"/>
                      <a:pt x="3150264" y="2703175"/>
                    </a:cubicBezTo>
                    <a:cubicBezTo>
                      <a:pt x="3150264" y="2719366"/>
                      <a:pt x="3140420" y="2733257"/>
                      <a:pt x="3126391" y="2739190"/>
                    </a:cubicBezTo>
                    <a:lnTo>
                      <a:pt x="3111417" y="2742214"/>
                    </a:lnTo>
                    <a:lnTo>
                      <a:pt x="3126391" y="2745237"/>
                    </a:lnTo>
                    <a:cubicBezTo>
                      <a:pt x="3140420" y="2751171"/>
                      <a:pt x="3150264" y="2765062"/>
                      <a:pt x="3150264" y="2781252"/>
                    </a:cubicBezTo>
                    <a:cubicBezTo>
                      <a:pt x="3150264" y="2802840"/>
                      <a:pt x="3132764" y="2820339"/>
                      <a:pt x="3111177" y="2820339"/>
                    </a:cubicBezTo>
                    <a:cubicBezTo>
                      <a:pt x="3089589" y="2820339"/>
                      <a:pt x="3072089" y="2802840"/>
                      <a:pt x="3072089" y="2781252"/>
                    </a:cubicBezTo>
                    <a:cubicBezTo>
                      <a:pt x="3072089" y="2765062"/>
                      <a:pt x="3081933" y="2751171"/>
                      <a:pt x="3095962" y="2745237"/>
                    </a:cubicBezTo>
                    <a:lnTo>
                      <a:pt x="3110937" y="2742214"/>
                    </a:lnTo>
                    <a:lnTo>
                      <a:pt x="3095962" y="2739190"/>
                    </a:lnTo>
                    <a:cubicBezTo>
                      <a:pt x="3081933" y="2733257"/>
                      <a:pt x="3072089" y="2719366"/>
                      <a:pt x="3072089" y="2703175"/>
                    </a:cubicBezTo>
                    <a:cubicBezTo>
                      <a:pt x="3072089" y="2681588"/>
                      <a:pt x="3089589" y="2664088"/>
                      <a:pt x="3111177" y="2664088"/>
                    </a:cubicBezTo>
                    <a:close/>
                    <a:moveTo>
                      <a:pt x="3018902" y="2664088"/>
                    </a:moveTo>
                    <a:cubicBezTo>
                      <a:pt x="3040489" y="2664088"/>
                      <a:pt x="3057989" y="2681588"/>
                      <a:pt x="3057989" y="2703175"/>
                    </a:cubicBezTo>
                    <a:cubicBezTo>
                      <a:pt x="3057989" y="2719366"/>
                      <a:pt x="3048145" y="2733257"/>
                      <a:pt x="3034117" y="2739190"/>
                    </a:cubicBezTo>
                    <a:lnTo>
                      <a:pt x="3019142" y="2742214"/>
                    </a:lnTo>
                    <a:lnTo>
                      <a:pt x="3034117" y="2745237"/>
                    </a:lnTo>
                    <a:cubicBezTo>
                      <a:pt x="3048145" y="2751171"/>
                      <a:pt x="3057989" y="2765062"/>
                      <a:pt x="3057989" y="2781252"/>
                    </a:cubicBezTo>
                    <a:cubicBezTo>
                      <a:pt x="3057989" y="2802840"/>
                      <a:pt x="3040489" y="2820339"/>
                      <a:pt x="3018902" y="2820339"/>
                    </a:cubicBezTo>
                    <a:cubicBezTo>
                      <a:pt x="2997315" y="2820339"/>
                      <a:pt x="2979815" y="2802840"/>
                      <a:pt x="2979815" y="2781252"/>
                    </a:cubicBezTo>
                    <a:cubicBezTo>
                      <a:pt x="2979815" y="2765062"/>
                      <a:pt x="2989659" y="2751171"/>
                      <a:pt x="3003687" y="2745237"/>
                    </a:cubicBezTo>
                    <a:lnTo>
                      <a:pt x="3018663" y="2742214"/>
                    </a:lnTo>
                    <a:lnTo>
                      <a:pt x="3003687" y="2739190"/>
                    </a:lnTo>
                    <a:cubicBezTo>
                      <a:pt x="2989659" y="2733257"/>
                      <a:pt x="2979815" y="2719366"/>
                      <a:pt x="2979815" y="2703175"/>
                    </a:cubicBezTo>
                    <a:cubicBezTo>
                      <a:pt x="2979815" y="2681588"/>
                      <a:pt x="2997315" y="2664088"/>
                      <a:pt x="3018902" y="2664088"/>
                    </a:cubicBezTo>
                    <a:close/>
                    <a:moveTo>
                      <a:pt x="2831988" y="2664088"/>
                    </a:moveTo>
                    <a:cubicBezTo>
                      <a:pt x="2853575" y="2664088"/>
                      <a:pt x="2871075" y="2681588"/>
                      <a:pt x="2871075" y="2703175"/>
                    </a:cubicBezTo>
                    <a:cubicBezTo>
                      <a:pt x="2871075" y="2719366"/>
                      <a:pt x="2861231" y="2733257"/>
                      <a:pt x="2847202" y="2739190"/>
                    </a:cubicBezTo>
                    <a:lnTo>
                      <a:pt x="2832228" y="2742214"/>
                    </a:lnTo>
                    <a:lnTo>
                      <a:pt x="2847202" y="2745237"/>
                    </a:lnTo>
                    <a:cubicBezTo>
                      <a:pt x="2861231" y="2751171"/>
                      <a:pt x="2871075" y="2765062"/>
                      <a:pt x="2871075" y="2781252"/>
                    </a:cubicBezTo>
                    <a:cubicBezTo>
                      <a:pt x="2871075" y="2802840"/>
                      <a:pt x="2853575" y="2820339"/>
                      <a:pt x="2831988" y="2820339"/>
                    </a:cubicBezTo>
                    <a:cubicBezTo>
                      <a:pt x="2810401" y="2820339"/>
                      <a:pt x="2792901" y="2802840"/>
                      <a:pt x="2792901" y="2781252"/>
                    </a:cubicBezTo>
                    <a:cubicBezTo>
                      <a:pt x="2792901" y="2765062"/>
                      <a:pt x="2802745" y="2751171"/>
                      <a:pt x="2816773" y="2745237"/>
                    </a:cubicBezTo>
                    <a:lnTo>
                      <a:pt x="2831748" y="2742214"/>
                    </a:lnTo>
                    <a:lnTo>
                      <a:pt x="2816773" y="2739190"/>
                    </a:lnTo>
                    <a:cubicBezTo>
                      <a:pt x="2802745" y="2733257"/>
                      <a:pt x="2792901" y="2719366"/>
                      <a:pt x="2792901" y="2703175"/>
                    </a:cubicBezTo>
                    <a:cubicBezTo>
                      <a:pt x="2792901" y="2681588"/>
                      <a:pt x="2810401" y="2664088"/>
                      <a:pt x="2831988" y="2664088"/>
                    </a:cubicBezTo>
                    <a:close/>
                    <a:moveTo>
                      <a:pt x="1798047" y="2664088"/>
                    </a:moveTo>
                    <a:cubicBezTo>
                      <a:pt x="1819637" y="2664088"/>
                      <a:pt x="1837135" y="2681588"/>
                      <a:pt x="1837135" y="2703175"/>
                    </a:cubicBezTo>
                    <a:cubicBezTo>
                      <a:pt x="1837135" y="2724762"/>
                      <a:pt x="1819637" y="2742262"/>
                      <a:pt x="1798047" y="2742262"/>
                    </a:cubicBezTo>
                    <a:cubicBezTo>
                      <a:pt x="1776460" y="2742262"/>
                      <a:pt x="1758959" y="2724762"/>
                      <a:pt x="1758959" y="2703175"/>
                    </a:cubicBezTo>
                    <a:cubicBezTo>
                      <a:pt x="1758959" y="2681588"/>
                      <a:pt x="1776460" y="2664088"/>
                      <a:pt x="1798047" y="2664088"/>
                    </a:cubicBezTo>
                    <a:close/>
                    <a:moveTo>
                      <a:pt x="1611133" y="2664088"/>
                    </a:moveTo>
                    <a:cubicBezTo>
                      <a:pt x="1632721" y="2664088"/>
                      <a:pt x="1650221" y="2681588"/>
                      <a:pt x="1650221" y="2703175"/>
                    </a:cubicBezTo>
                    <a:cubicBezTo>
                      <a:pt x="1650221" y="2719366"/>
                      <a:pt x="1640376" y="2733257"/>
                      <a:pt x="1626349" y="2739190"/>
                    </a:cubicBezTo>
                    <a:lnTo>
                      <a:pt x="1611371" y="2742214"/>
                    </a:lnTo>
                    <a:lnTo>
                      <a:pt x="1626347" y="2745237"/>
                    </a:lnTo>
                    <a:cubicBezTo>
                      <a:pt x="1640376" y="2751171"/>
                      <a:pt x="1650221" y="2765062"/>
                      <a:pt x="1650221" y="2781252"/>
                    </a:cubicBezTo>
                    <a:cubicBezTo>
                      <a:pt x="1650221" y="2802840"/>
                      <a:pt x="1632721" y="2820339"/>
                      <a:pt x="1611133" y="2820339"/>
                    </a:cubicBezTo>
                    <a:cubicBezTo>
                      <a:pt x="1589556" y="2820339"/>
                      <a:pt x="1572057" y="2802840"/>
                      <a:pt x="1572057" y="2781252"/>
                    </a:cubicBezTo>
                    <a:cubicBezTo>
                      <a:pt x="1572057" y="2765062"/>
                      <a:pt x="1581899" y="2751171"/>
                      <a:pt x="1595929" y="2745237"/>
                    </a:cubicBezTo>
                    <a:lnTo>
                      <a:pt x="1610892" y="2742214"/>
                    </a:lnTo>
                    <a:lnTo>
                      <a:pt x="1595930" y="2739190"/>
                    </a:lnTo>
                    <a:cubicBezTo>
                      <a:pt x="1581901" y="2733257"/>
                      <a:pt x="1572058" y="2719366"/>
                      <a:pt x="1572058" y="2703175"/>
                    </a:cubicBezTo>
                    <a:cubicBezTo>
                      <a:pt x="1572058" y="2681588"/>
                      <a:pt x="1589557" y="2664088"/>
                      <a:pt x="1611133" y="2664088"/>
                    </a:cubicBezTo>
                    <a:close/>
                    <a:moveTo>
                      <a:pt x="1516504" y="2664088"/>
                    </a:moveTo>
                    <a:cubicBezTo>
                      <a:pt x="1538090" y="2664088"/>
                      <a:pt x="1555592" y="2681588"/>
                      <a:pt x="1555592" y="2703175"/>
                    </a:cubicBezTo>
                    <a:cubicBezTo>
                      <a:pt x="1555592" y="2719366"/>
                      <a:pt x="1545748" y="2733257"/>
                      <a:pt x="1531719" y="2739190"/>
                    </a:cubicBezTo>
                    <a:lnTo>
                      <a:pt x="1516743" y="2742214"/>
                    </a:lnTo>
                    <a:lnTo>
                      <a:pt x="1531717" y="2745237"/>
                    </a:lnTo>
                    <a:cubicBezTo>
                      <a:pt x="1545746" y="2751171"/>
                      <a:pt x="1555589" y="2765062"/>
                      <a:pt x="1555589" y="2781252"/>
                    </a:cubicBezTo>
                    <a:cubicBezTo>
                      <a:pt x="1555589" y="2802840"/>
                      <a:pt x="1538089" y="2820339"/>
                      <a:pt x="1516503" y="2820339"/>
                    </a:cubicBezTo>
                    <a:cubicBezTo>
                      <a:pt x="1494914" y="2820339"/>
                      <a:pt x="1477414" y="2802840"/>
                      <a:pt x="1477414" y="2781252"/>
                    </a:cubicBezTo>
                    <a:cubicBezTo>
                      <a:pt x="1477414" y="2765062"/>
                      <a:pt x="1487258" y="2751171"/>
                      <a:pt x="1501288" y="2745237"/>
                    </a:cubicBezTo>
                    <a:lnTo>
                      <a:pt x="1516264" y="2742214"/>
                    </a:lnTo>
                    <a:lnTo>
                      <a:pt x="1501289" y="2739190"/>
                    </a:lnTo>
                    <a:cubicBezTo>
                      <a:pt x="1487259" y="2733257"/>
                      <a:pt x="1477416" y="2719366"/>
                      <a:pt x="1477416" y="2703175"/>
                    </a:cubicBezTo>
                    <a:cubicBezTo>
                      <a:pt x="1477416" y="2681588"/>
                      <a:pt x="1494916" y="2664088"/>
                      <a:pt x="1516504" y="2664088"/>
                    </a:cubicBezTo>
                    <a:close/>
                    <a:moveTo>
                      <a:pt x="1329588" y="2664088"/>
                    </a:moveTo>
                    <a:cubicBezTo>
                      <a:pt x="1351176" y="2664088"/>
                      <a:pt x="1368676" y="2681588"/>
                      <a:pt x="1368676" y="2703175"/>
                    </a:cubicBezTo>
                    <a:cubicBezTo>
                      <a:pt x="1368676" y="2719366"/>
                      <a:pt x="1358832" y="2733257"/>
                      <a:pt x="1344802" y="2739190"/>
                    </a:cubicBezTo>
                    <a:lnTo>
                      <a:pt x="1329828" y="2742214"/>
                    </a:lnTo>
                    <a:lnTo>
                      <a:pt x="1344802" y="2745237"/>
                    </a:lnTo>
                    <a:cubicBezTo>
                      <a:pt x="1358831" y="2751171"/>
                      <a:pt x="1368676" y="2765062"/>
                      <a:pt x="1368676" y="2781252"/>
                    </a:cubicBezTo>
                    <a:cubicBezTo>
                      <a:pt x="1368676" y="2802840"/>
                      <a:pt x="1351176" y="2820339"/>
                      <a:pt x="1329588" y="2820339"/>
                    </a:cubicBezTo>
                    <a:cubicBezTo>
                      <a:pt x="1308003" y="2820339"/>
                      <a:pt x="1290502" y="2802840"/>
                      <a:pt x="1290502" y="2781252"/>
                    </a:cubicBezTo>
                    <a:cubicBezTo>
                      <a:pt x="1290502" y="2765062"/>
                      <a:pt x="1300346" y="2751171"/>
                      <a:pt x="1314375" y="2745237"/>
                    </a:cubicBezTo>
                    <a:lnTo>
                      <a:pt x="1329349" y="2742214"/>
                    </a:lnTo>
                    <a:lnTo>
                      <a:pt x="1314375" y="2739190"/>
                    </a:lnTo>
                    <a:cubicBezTo>
                      <a:pt x="1300346" y="2733257"/>
                      <a:pt x="1290503" y="2719366"/>
                      <a:pt x="1290503" y="2703175"/>
                    </a:cubicBezTo>
                    <a:cubicBezTo>
                      <a:pt x="1290503" y="2681588"/>
                      <a:pt x="1308003" y="2664088"/>
                      <a:pt x="1329588" y="2664088"/>
                    </a:cubicBezTo>
                    <a:close/>
                    <a:moveTo>
                      <a:pt x="1142676" y="2664088"/>
                    </a:moveTo>
                    <a:cubicBezTo>
                      <a:pt x="1164264" y="2664088"/>
                      <a:pt x="1181763" y="2681588"/>
                      <a:pt x="1181763" y="2703175"/>
                    </a:cubicBezTo>
                    <a:cubicBezTo>
                      <a:pt x="1181763" y="2719366"/>
                      <a:pt x="1171919" y="2733257"/>
                      <a:pt x="1157890" y="2739190"/>
                    </a:cubicBezTo>
                    <a:lnTo>
                      <a:pt x="1142916" y="2742214"/>
                    </a:lnTo>
                    <a:lnTo>
                      <a:pt x="1157891" y="2745237"/>
                    </a:lnTo>
                    <a:cubicBezTo>
                      <a:pt x="1171919" y="2751171"/>
                      <a:pt x="1181764" y="2765062"/>
                      <a:pt x="1181764" y="2781252"/>
                    </a:cubicBezTo>
                    <a:cubicBezTo>
                      <a:pt x="1181764" y="2802840"/>
                      <a:pt x="1164265" y="2820339"/>
                      <a:pt x="1142676" y="2820339"/>
                    </a:cubicBezTo>
                    <a:cubicBezTo>
                      <a:pt x="1121088" y="2820339"/>
                      <a:pt x="1103587" y="2802840"/>
                      <a:pt x="1103587" y="2781252"/>
                    </a:cubicBezTo>
                    <a:cubicBezTo>
                      <a:pt x="1103587" y="2765062"/>
                      <a:pt x="1113432" y="2751171"/>
                      <a:pt x="1127461" y="2745237"/>
                    </a:cubicBezTo>
                    <a:lnTo>
                      <a:pt x="1142436" y="2742214"/>
                    </a:lnTo>
                    <a:lnTo>
                      <a:pt x="1127460" y="2739190"/>
                    </a:lnTo>
                    <a:cubicBezTo>
                      <a:pt x="1113430" y="2733257"/>
                      <a:pt x="1103585" y="2719366"/>
                      <a:pt x="1103585" y="2703175"/>
                    </a:cubicBezTo>
                    <a:cubicBezTo>
                      <a:pt x="1103585" y="2681588"/>
                      <a:pt x="1121087" y="2664088"/>
                      <a:pt x="1142676" y="2664088"/>
                    </a:cubicBezTo>
                    <a:close/>
                    <a:moveTo>
                      <a:pt x="3205817" y="2664086"/>
                    </a:moveTo>
                    <a:cubicBezTo>
                      <a:pt x="3227404" y="2664086"/>
                      <a:pt x="3244904" y="2681586"/>
                      <a:pt x="3244904" y="2703174"/>
                    </a:cubicBezTo>
                    <a:cubicBezTo>
                      <a:pt x="3244904" y="2719364"/>
                      <a:pt x="3235060" y="2733256"/>
                      <a:pt x="3221031" y="2739189"/>
                    </a:cubicBezTo>
                    <a:lnTo>
                      <a:pt x="3206053" y="2742213"/>
                    </a:lnTo>
                    <a:lnTo>
                      <a:pt x="3221031" y="2745237"/>
                    </a:lnTo>
                    <a:cubicBezTo>
                      <a:pt x="3235060" y="2751171"/>
                      <a:pt x="3244904" y="2765062"/>
                      <a:pt x="3244904" y="2781252"/>
                    </a:cubicBezTo>
                    <a:cubicBezTo>
                      <a:pt x="3244904" y="2802840"/>
                      <a:pt x="3227404" y="2820339"/>
                      <a:pt x="3205817" y="2820339"/>
                    </a:cubicBezTo>
                    <a:cubicBezTo>
                      <a:pt x="3184229" y="2820339"/>
                      <a:pt x="3166729" y="2802840"/>
                      <a:pt x="3166729" y="2781252"/>
                    </a:cubicBezTo>
                    <a:cubicBezTo>
                      <a:pt x="3166729" y="2765062"/>
                      <a:pt x="3176573" y="2751171"/>
                      <a:pt x="3190602" y="2745237"/>
                    </a:cubicBezTo>
                    <a:lnTo>
                      <a:pt x="3205580" y="2742213"/>
                    </a:lnTo>
                    <a:lnTo>
                      <a:pt x="3190602" y="2739189"/>
                    </a:lnTo>
                    <a:cubicBezTo>
                      <a:pt x="3176573" y="2733256"/>
                      <a:pt x="3166729" y="2719364"/>
                      <a:pt x="3166729" y="2703174"/>
                    </a:cubicBezTo>
                    <a:cubicBezTo>
                      <a:pt x="3166729" y="2681586"/>
                      <a:pt x="3184229" y="2664086"/>
                      <a:pt x="3205817" y="2664086"/>
                    </a:cubicBezTo>
                    <a:close/>
                    <a:moveTo>
                      <a:pt x="2924263" y="2664086"/>
                    </a:moveTo>
                    <a:cubicBezTo>
                      <a:pt x="2945850" y="2664086"/>
                      <a:pt x="2963349" y="2681586"/>
                      <a:pt x="2963349" y="2703174"/>
                    </a:cubicBezTo>
                    <a:cubicBezTo>
                      <a:pt x="2963349" y="2719364"/>
                      <a:pt x="2953506" y="2733256"/>
                      <a:pt x="2939477" y="2739189"/>
                    </a:cubicBezTo>
                    <a:lnTo>
                      <a:pt x="2924499" y="2742213"/>
                    </a:lnTo>
                    <a:lnTo>
                      <a:pt x="2939477" y="2745237"/>
                    </a:lnTo>
                    <a:cubicBezTo>
                      <a:pt x="2953506" y="2751171"/>
                      <a:pt x="2963349" y="2765062"/>
                      <a:pt x="2963349" y="2781252"/>
                    </a:cubicBezTo>
                    <a:cubicBezTo>
                      <a:pt x="2963349" y="2802840"/>
                      <a:pt x="2945850" y="2820339"/>
                      <a:pt x="2924263" y="2820339"/>
                    </a:cubicBezTo>
                    <a:cubicBezTo>
                      <a:pt x="2902675" y="2820339"/>
                      <a:pt x="2885175" y="2802840"/>
                      <a:pt x="2885175" y="2781252"/>
                    </a:cubicBezTo>
                    <a:cubicBezTo>
                      <a:pt x="2885175" y="2765062"/>
                      <a:pt x="2895019" y="2751171"/>
                      <a:pt x="2909048" y="2745237"/>
                    </a:cubicBezTo>
                    <a:lnTo>
                      <a:pt x="2924026" y="2742213"/>
                    </a:lnTo>
                    <a:lnTo>
                      <a:pt x="2909048" y="2739189"/>
                    </a:lnTo>
                    <a:cubicBezTo>
                      <a:pt x="2895019" y="2733256"/>
                      <a:pt x="2885175" y="2719364"/>
                      <a:pt x="2885175" y="2703174"/>
                    </a:cubicBezTo>
                    <a:cubicBezTo>
                      <a:pt x="2885175" y="2681586"/>
                      <a:pt x="2902675" y="2664086"/>
                      <a:pt x="2924263" y="2664086"/>
                    </a:cubicBezTo>
                    <a:close/>
                    <a:moveTo>
                      <a:pt x="1703410" y="2664086"/>
                    </a:moveTo>
                    <a:cubicBezTo>
                      <a:pt x="1724996" y="2664086"/>
                      <a:pt x="1742497" y="2681586"/>
                      <a:pt x="1742497" y="2703174"/>
                    </a:cubicBezTo>
                    <a:cubicBezTo>
                      <a:pt x="1742497" y="2719364"/>
                      <a:pt x="1732653" y="2733256"/>
                      <a:pt x="1718624" y="2739189"/>
                    </a:cubicBezTo>
                    <a:lnTo>
                      <a:pt x="1703646" y="2742213"/>
                    </a:lnTo>
                    <a:lnTo>
                      <a:pt x="1718624" y="2745237"/>
                    </a:lnTo>
                    <a:cubicBezTo>
                      <a:pt x="1732653" y="2751171"/>
                      <a:pt x="1742495" y="2765062"/>
                      <a:pt x="1742495" y="2781252"/>
                    </a:cubicBezTo>
                    <a:cubicBezTo>
                      <a:pt x="1742495" y="2802840"/>
                      <a:pt x="1724996" y="2820339"/>
                      <a:pt x="1703409" y="2820339"/>
                    </a:cubicBezTo>
                    <a:cubicBezTo>
                      <a:pt x="1681822" y="2820339"/>
                      <a:pt x="1664323" y="2802840"/>
                      <a:pt x="1664323" y="2781252"/>
                    </a:cubicBezTo>
                    <a:cubicBezTo>
                      <a:pt x="1664323" y="2765062"/>
                      <a:pt x="1674166" y="2751171"/>
                      <a:pt x="1688193" y="2745237"/>
                    </a:cubicBezTo>
                    <a:lnTo>
                      <a:pt x="1703173" y="2742213"/>
                    </a:lnTo>
                    <a:lnTo>
                      <a:pt x="1688194" y="2739189"/>
                    </a:lnTo>
                    <a:cubicBezTo>
                      <a:pt x="1674166" y="2733256"/>
                      <a:pt x="1664323" y="2719364"/>
                      <a:pt x="1664323" y="2703174"/>
                    </a:cubicBezTo>
                    <a:cubicBezTo>
                      <a:pt x="1664323" y="2681586"/>
                      <a:pt x="1681822" y="2664086"/>
                      <a:pt x="1703410" y="2664086"/>
                    </a:cubicBezTo>
                    <a:close/>
                    <a:moveTo>
                      <a:pt x="1419499" y="2664086"/>
                    </a:moveTo>
                    <a:cubicBezTo>
                      <a:pt x="1441086" y="2664086"/>
                      <a:pt x="1458586" y="2681586"/>
                      <a:pt x="1458586" y="2703174"/>
                    </a:cubicBezTo>
                    <a:cubicBezTo>
                      <a:pt x="1458586" y="2719364"/>
                      <a:pt x="1448742" y="2733256"/>
                      <a:pt x="1434713" y="2739189"/>
                    </a:cubicBezTo>
                    <a:lnTo>
                      <a:pt x="1419735" y="2742214"/>
                    </a:lnTo>
                    <a:lnTo>
                      <a:pt x="1434712" y="2745237"/>
                    </a:lnTo>
                    <a:cubicBezTo>
                      <a:pt x="1448741" y="2751171"/>
                      <a:pt x="1458584" y="2765062"/>
                      <a:pt x="1458584" y="2781252"/>
                    </a:cubicBezTo>
                    <a:cubicBezTo>
                      <a:pt x="1458584" y="2802840"/>
                      <a:pt x="1441084" y="2820339"/>
                      <a:pt x="1419497" y="2820339"/>
                    </a:cubicBezTo>
                    <a:cubicBezTo>
                      <a:pt x="1397909" y="2820339"/>
                      <a:pt x="1380409" y="2802840"/>
                      <a:pt x="1380409" y="2781252"/>
                    </a:cubicBezTo>
                    <a:cubicBezTo>
                      <a:pt x="1380409" y="2765062"/>
                      <a:pt x="1390253" y="2751171"/>
                      <a:pt x="1404282" y="2745237"/>
                    </a:cubicBezTo>
                    <a:lnTo>
                      <a:pt x="1419262" y="2742213"/>
                    </a:lnTo>
                    <a:lnTo>
                      <a:pt x="1404283" y="2739189"/>
                    </a:lnTo>
                    <a:cubicBezTo>
                      <a:pt x="1390254" y="2733256"/>
                      <a:pt x="1380411" y="2719364"/>
                      <a:pt x="1380411" y="2703174"/>
                    </a:cubicBezTo>
                    <a:cubicBezTo>
                      <a:pt x="1380411" y="2681586"/>
                      <a:pt x="1397910" y="2664086"/>
                      <a:pt x="1419499" y="2664086"/>
                    </a:cubicBezTo>
                    <a:close/>
                    <a:moveTo>
                      <a:pt x="1232585" y="2664086"/>
                    </a:moveTo>
                    <a:cubicBezTo>
                      <a:pt x="1254172" y="2664086"/>
                      <a:pt x="1271670" y="2681586"/>
                      <a:pt x="1271670" y="2703174"/>
                    </a:cubicBezTo>
                    <a:cubicBezTo>
                      <a:pt x="1271670" y="2719364"/>
                      <a:pt x="1261828" y="2733256"/>
                      <a:pt x="1247799" y="2739189"/>
                    </a:cubicBezTo>
                    <a:lnTo>
                      <a:pt x="1232822" y="2742213"/>
                    </a:lnTo>
                    <a:lnTo>
                      <a:pt x="1247798" y="2745237"/>
                    </a:lnTo>
                    <a:cubicBezTo>
                      <a:pt x="1261828" y="2751171"/>
                      <a:pt x="1271670" y="2765062"/>
                      <a:pt x="1271670" y="2781252"/>
                    </a:cubicBezTo>
                    <a:cubicBezTo>
                      <a:pt x="1271670" y="2802840"/>
                      <a:pt x="1254172" y="2820339"/>
                      <a:pt x="1232585" y="2820339"/>
                    </a:cubicBezTo>
                    <a:cubicBezTo>
                      <a:pt x="1210997" y="2820339"/>
                      <a:pt x="1193499" y="2802840"/>
                      <a:pt x="1193499" y="2781252"/>
                    </a:cubicBezTo>
                    <a:cubicBezTo>
                      <a:pt x="1193499" y="2765062"/>
                      <a:pt x="1203342" y="2751171"/>
                      <a:pt x="1217369" y="2745237"/>
                    </a:cubicBezTo>
                    <a:lnTo>
                      <a:pt x="1232349" y="2742213"/>
                    </a:lnTo>
                    <a:lnTo>
                      <a:pt x="1217369" y="2739189"/>
                    </a:lnTo>
                    <a:cubicBezTo>
                      <a:pt x="1203342" y="2733256"/>
                      <a:pt x="1193499" y="2719364"/>
                      <a:pt x="1193499" y="2703174"/>
                    </a:cubicBezTo>
                    <a:cubicBezTo>
                      <a:pt x="1193499" y="2681586"/>
                      <a:pt x="1210997" y="2664086"/>
                      <a:pt x="1232585" y="2664086"/>
                    </a:cubicBezTo>
                    <a:close/>
                    <a:moveTo>
                      <a:pt x="1045666" y="2664086"/>
                    </a:moveTo>
                    <a:cubicBezTo>
                      <a:pt x="1067253" y="2664086"/>
                      <a:pt x="1084754" y="2681586"/>
                      <a:pt x="1084754" y="2703174"/>
                    </a:cubicBezTo>
                    <a:cubicBezTo>
                      <a:pt x="1084754" y="2724761"/>
                      <a:pt x="1067253" y="2742261"/>
                      <a:pt x="1045666" y="2742261"/>
                    </a:cubicBezTo>
                    <a:cubicBezTo>
                      <a:pt x="1024080" y="2742261"/>
                      <a:pt x="1006580" y="2724761"/>
                      <a:pt x="1006580" y="2703174"/>
                    </a:cubicBezTo>
                    <a:cubicBezTo>
                      <a:pt x="1006580" y="2681586"/>
                      <a:pt x="1024080" y="2664086"/>
                      <a:pt x="1045666" y="2664086"/>
                    </a:cubicBezTo>
                    <a:close/>
                    <a:moveTo>
                      <a:pt x="3300455" y="2578910"/>
                    </a:moveTo>
                    <a:cubicBezTo>
                      <a:pt x="3322043" y="2578910"/>
                      <a:pt x="3339543" y="2596410"/>
                      <a:pt x="3339543" y="2617997"/>
                    </a:cubicBezTo>
                    <a:cubicBezTo>
                      <a:pt x="3339543" y="2639585"/>
                      <a:pt x="3322043" y="2657085"/>
                      <a:pt x="3300455" y="2657085"/>
                    </a:cubicBezTo>
                    <a:cubicBezTo>
                      <a:pt x="3278868" y="2657085"/>
                      <a:pt x="3261368" y="2639585"/>
                      <a:pt x="3261368" y="2617997"/>
                    </a:cubicBezTo>
                    <a:cubicBezTo>
                      <a:pt x="3261368" y="2596410"/>
                      <a:pt x="3278868" y="2578910"/>
                      <a:pt x="3300455" y="2578910"/>
                    </a:cubicBezTo>
                    <a:close/>
                    <a:moveTo>
                      <a:pt x="3205815" y="2578910"/>
                    </a:moveTo>
                    <a:cubicBezTo>
                      <a:pt x="3227403" y="2578910"/>
                      <a:pt x="3244903" y="2596410"/>
                      <a:pt x="3244903" y="2617997"/>
                    </a:cubicBezTo>
                    <a:cubicBezTo>
                      <a:pt x="3244903" y="2639585"/>
                      <a:pt x="3227403" y="2657085"/>
                      <a:pt x="3205815" y="2657085"/>
                    </a:cubicBezTo>
                    <a:cubicBezTo>
                      <a:pt x="3184228" y="2657085"/>
                      <a:pt x="3166728" y="2639585"/>
                      <a:pt x="3166728" y="2617997"/>
                    </a:cubicBezTo>
                    <a:cubicBezTo>
                      <a:pt x="3166728" y="2596410"/>
                      <a:pt x="3184228" y="2578910"/>
                      <a:pt x="3205815" y="2578910"/>
                    </a:cubicBezTo>
                    <a:close/>
                    <a:moveTo>
                      <a:pt x="3111175" y="2578910"/>
                    </a:moveTo>
                    <a:cubicBezTo>
                      <a:pt x="3132762" y="2578910"/>
                      <a:pt x="3150262" y="2596410"/>
                      <a:pt x="3150262" y="2617997"/>
                    </a:cubicBezTo>
                    <a:cubicBezTo>
                      <a:pt x="3150262" y="2639585"/>
                      <a:pt x="3132762" y="2657085"/>
                      <a:pt x="3111175" y="2657085"/>
                    </a:cubicBezTo>
                    <a:cubicBezTo>
                      <a:pt x="3089588" y="2657085"/>
                      <a:pt x="3072088" y="2639585"/>
                      <a:pt x="3072088" y="2617997"/>
                    </a:cubicBezTo>
                    <a:cubicBezTo>
                      <a:pt x="3072088" y="2596410"/>
                      <a:pt x="3089588" y="2578910"/>
                      <a:pt x="3111175" y="2578910"/>
                    </a:cubicBezTo>
                    <a:close/>
                    <a:moveTo>
                      <a:pt x="3018901" y="2578910"/>
                    </a:moveTo>
                    <a:cubicBezTo>
                      <a:pt x="3040488" y="2578910"/>
                      <a:pt x="3057988" y="2596410"/>
                      <a:pt x="3057988" y="2617997"/>
                    </a:cubicBezTo>
                    <a:cubicBezTo>
                      <a:pt x="3057988" y="2639585"/>
                      <a:pt x="3040488" y="2657085"/>
                      <a:pt x="3018901" y="2657085"/>
                    </a:cubicBezTo>
                    <a:cubicBezTo>
                      <a:pt x="2997313" y="2657085"/>
                      <a:pt x="2979813" y="2639585"/>
                      <a:pt x="2979813" y="2617997"/>
                    </a:cubicBezTo>
                    <a:cubicBezTo>
                      <a:pt x="2979813" y="2596410"/>
                      <a:pt x="2997313" y="2578910"/>
                      <a:pt x="3018901" y="2578910"/>
                    </a:cubicBezTo>
                    <a:close/>
                    <a:moveTo>
                      <a:pt x="2924262" y="2578910"/>
                    </a:moveTo>
                    <a:cubicBezTo>
                      <a:pt x="2945849" y="2578910"/>
                      <a:pt x="2963349" y="2596410"/>
                      <a:pt x="2963349" y="2617997"/>
                    </a:cubicBezTo>
                    <a:cubicBezTo>
                      <a:pt x="2963349" y="2639585"/>
                      <a:pt x="2945849" y="2657085"/>
                      <a:pt x="2924262" y="2657085"/>
                    </a:cubicBezTo>
                    <a:cubicBezTo>
                      <a:pt x="2902675" y="2657085"/>
                      <a:pt x="2885175" y="2639585"/>
                      <a:pt x="2885175" y="2617997"/>
                    </a:cubicBezTo>
                    <a:cubicBezTo>
                      <a:pt x="2885175" y="2596410"/>
                      <a:pt x="2902675" y="2578910"/>
                      <a:pt x="2924262" y="2578910"/>
                    </a:cubicBezTo>
                    <a:close/>
                    <a:moveTo>
                      <a:pt x="2831987" y="2578910"/>
                    </a:moveTo>
                    <a:cubicBezTo>
                      <a:pt x="2853574" y="2578910"/>
                      <a:pt x="2871074" y="2596410"/>
                      <a:pt x="2871074" y="2617997"/>
                    </a:cubicBezTo>
                    <a:cubicBezTo>
                      <a:pt x="2871074" y="2639585"/>
                      <a:pt x="2853574" y="2657085"/>
                      <a:pt x="2831987" y="2657085"/>
                    </a:cubicBezTo>
                    <a:cubicBezTo>
                      <a:pt x="2810400" y="2657085"/>
                      <a:pt x="2792900" y="2639585"/>
                      <a:pt x="2792900" y="2617997"/>
                    </a:cubicBezTo>
                    <a:cubicBezTo>
                      <a:pt x="2792900" y="2596410"/>
                      <a:pt x="2810400" y="2578910"/>
                      <a:pt x="2831987" y="2578910"/>
                    </a:cubicBezTo>
                    <a:close/>
                    <a:moveTo>
                      <a:pt x="1798047" y="2578910"/>
                    </a:moveTo>
                    <a:cubicBezTo>
                      <a:pt x="1819637" y="2578910"/>
                      <a:pt x="1837133" y="2596410"/>
                      <a:pt x="1837133" y="2617997"/>
                    </a:cubicBezTo>
                    <a:cubicBezTo>
                      <a:pt x="1837133" y="2639585"/>
                      <a:pt x="1819637" y="2657085"/>
                      <a:pt x="1798047" y="2657085"/>
                    </a:cubicBezTo>
                    <a:cubicBezTo>
                      <a:pt x="1776460" y="2657085"/>
                      <a:pt x="1758959" y="2639585"/>
                      <a:pt x="1758959" y="2617997"/>
                    </a:cubicBezTo>
                    <a:cubicBezTo>
                      <a:pt x="1758959" y="2596410"/>
                      <a:pt x="1776460" y="2578910"/>
                      <a:pt x="1798047" y="2578910"/>
                    </a:cubicBezTo>
                    <a:close/>
                    <a:moveTo>
                      <a:pt x="1703409" y="2578910"/>
                    </a:moveTo>
                    <a:cubicBezTo>
                      <a:pt x="1724994" y="2578910"/>
                      <a:pt x="1742497" y="2596410"/>
                      <a:pt x="1742497" y="2617997"/>
                    </a:cubicBezTo>
                    <a:cubicBezTo>
                      <a:pt x="1742497" y="2639585"/>
                      <a:pt x="1724994" y="2657085"/>
                      <a:pt x="1703409" y="2657085"/>
                    </a:cubicBezTo>
                    <a:cubicBezTo>
                      <a:pt x="1681822" y="2657085"/>
                      <a:pt x="1664323" y="2639585"/>
                      <a:pt x="1664323" y="2617997"/>
                    </a:cubicBezTo>
                    <a:cubicBezTo>
                      <a:pt x="1664323" y="2596410"/>
                      <a:pt x="1681822" y="2578910"/>
                      <a:pt x="1703409" y="2578910"/>
                    </a:cubicBezTo>
                    <a:close/>
                    <a:moveTo>
                      <a:pt x="1611131" y="2578910"/>
                    </a:moveTo>
                    <a:cubicBezTo>
                      <a:pt x="1632719" y="2578910"/>
                      <a:pt x="1650221" y="2596410"/>
                      <a:pt x="1650221" y="2617997"/>
                    </a:cubicBezTo>
                    <a:cubicBezTo>
                      <a:pt x="1650221" y="2639585"/>
                      <a:pt x="1632719" y="2657085"/>
                      <a:pt x="1611131" y="2657085"/>
                    </a:cubicBezTo>
                    <a:cubicBezTo>
                      <a:pt x="1589557" y="2657085"/>
                      <a:pt x="1572058" y="2639585"/>
                      <a:pt x="1572058" y="2617997"/>
                    </a:cubicBezTo>
                    <a:cubicBezTo>
                      <a:pt x="1572058" y="2596410"/>
                      <a:pt x="1589557" y="2578910"/>
                      <a:pt x="1611131" y="2578910"/>
                    </a:cubicBezTo>
                    <a:close/>
                    <a:moveTo>
                      <a:pt x="1516504" y="2578910"/>
                    </a:moveTo>
                    <a:cubicBezTo>
                      <a:pt x="1538092" y="2578910"/>
                      <a:pt x="1555592" y="2596410"/>
                      <a:pt x="1555592" y="2617997"/>
                    </a:cubicBezTo>
                    <a:cubicBezTo>
                      <a:pt x="1555592" y="2639585"/>
                      <a:pt x="1538092" y="2657085"/>
                      <a:pt x="1516504" y="2657085"/>
                    </a:cubicBezTo>
                    <a:cubicBezTo>
                      <a:pt x="1494917" y="2657085"/>
                      <a:pt x="1477417" y="2639585"/>
                      <a:pt x="1477417" y="2617997"/>
                    </a:cubicBezTo>
                    <a:cubicBezTo>
                      <a:pt x="1477417" y="2596410"/>
                      <a:pt x="1494917" y="2578910"/>
                      <a:pt x="1516504" y="2578910"/>
                    </a:cubicBezTo>
                    <a:close/>
                    <a:moveTo>
                      <a:pt x="1419499" y="2578910"/>
                    </a:moveTo>
                    <a:cubicBezTo>
                      <a:pt x="1441086" y="2578910"/>
                      <a:pt x="1458586" y="2596410"/>
                      <a:pt x="1458586" y="2617997"/>
                    </a:cubicBezTo>
                    <a:cubicBezTo>
                      <a:pt x="1458586" y="2639585"/>
                      <a:pt x="1441086" y="2657085"/>
                      <a:pt x="1419499" y="2657085"/>
                    </a:cubicBezTo>
                    <a:cubicBezTo>
                      <a:pt x="1397910" y="2657085"/>
                      <a:pt x="1380410" y="2639585"/>
                      <a:pt x="1380410" y="2617997"/>
                    </a:cubicBezTo>
                    <a:cubicBezTo>
                      <a:pt x="1380410" y="2596410"/>
                      <a:pt x="1397910" y="2578910"/>
                      <a:pt x="1419499" y="2578910"/>
                    </a:cubicBezTo>
                    <a:close/>
                    <a:moveTo>
                      <a:pt x="1329590" y="2578910"/>
                    </a:moveTo>
                    <a:cubicBezTo>
                      <a:pt x="1351176" y="2578910"/>
                      <a:pt x="1368677" y="2596410"/>
                      <a:pt x="1368677" y="2617997"/>
                    </a:cubicBezTo>
                    <a:cubicBezTo>
                      <a:pt x="1368677" y="2639585"/>
                      <a:pt x="1351176" y="2657085"/>
                      <a:pt x="1329590" y="2657085"/>
                    </a:cubicBezTo>
                    <a:cubicBezTo>
                      <a:pt x="1308004" y="2657085"/>
                      <a:pt x="1290504" y="2639585"/>
                      <a:pt x="1290504" y="2617997"/>
                    </a:cubicBezTo>
                    <a:cubicBezTo>
                      <a:pt x="1290504" y="2596410"/>
                      <a:pt x="1308004" y="2578910"/>
                      <a:pt x="1329590" y="2578910"/>
                    </a:cubicBezTo>
                    <a:close/>
                    <a:moveTo>
                      <a:pt x="1232588" y="2578910"/>
                    </a:moveTo>
                    <a:cubicBezTo>
                      <a:pt x="1254175" y="2578910"/>
                      <a:pt x="1271672" y="2596410"/>
                      <a:pt x="1271672" y="2617997"/>
                    </a:cubicBezTo>
                    <a:cubicBezTo>
                      <a:pt x="1271672" y="2639585"/>
                      <a:pt x="1254175" y="2657085"/>
                      <a:pt x="1232588" y="2657085"/>
                    </a:cubicBezTo>
                    <a:cubicBezTo>
                      <a:pt x="1211000" y="2657085"/>
                      <a:pt x="1193502" y="2639585"/>
                      <a:pt x="1193502" y="2617997"/>
                    </a:cubicBezTo>
                    <a:cubicBezTo>
                      <a:pt x="1193502" y="2596410"/>
                      <a:pt x="1211000" y="2578910"/>
                      <a:pt x="1232588" y="2578910"/>
                    </a:cubicBezTo>
                    <a:close/>
                    <a:moveTo>
                      <a:pt x="1142677" y="2578910"/>
                    </a:moveTo>
                    <a:cubicBezTo>
                      <a:pt x="1164265" y="2578910"/>
                      <a:pt x="1181764" y="2596410"/>
                      <a:pt x="1181764" y="2617997"/>
                    </a:cubicBezTo>
                    <a:cubicBezTo>
                      <a:pt x="1181764" y="2639585"/>
                      <a:pt x="1164265" y="2657085"/>
                      <a:pt x="1142677" y="2657085"/>
                    </a:cubicBezTo>
                    <a:cubicBezTo>
                      <a:pt x="1121088" y="2657085"/>
                      <a:pt x="1103588" y="2639585"/>
                      <a:pt x="1103588" y="2617997"/>
                    </a:cubicBezTo>
                    <a:cubicBezTo>
                      <a:pt x="1103588" y="2596410"/>
                      <a:pt x="1121088" y="2578910"/>
                      <a:pt x="1142677" y="2578910"/>
                    </a:cubicBezTo>
                    <a:close/>
                    <a:moveTo>
                      <a:pt x="1045667" y="2578910"/>
                    </a:moveTo>
                    <a:cubicBezTo>
                      <a:pt x="1067254" y="2578910"/>
                      <a:pt x="1084755" y="2596410"/>
                      <a:pt x="1084755" y="2617997"/>
                    </a:cubicBezTo>
                    <a:cubicBezTo>
                      <a:pt x="1084755" y="2639585"/>
                      <a:pt x="1067254" y="2657085"/>
                      <a:pt x="1045667" y="2657085"/>
                    </a:cubicBezTo>
                    <a:cubicBezTo>
                      <a:pt x="1024081" y="2657085"/>
                      <a:pt x="1006581" y="2639585"/>
                      <a:pt x="1006581" y="2617997"/>
                    </a:cubicBezTo>
                    <a:cubicBezTo>
                      <a:pt x="1006581" y="2596410"/>
                      <a:pt x="1024081" y="2578910"/>
                      <a:pt x="1045667" y="2578910"/>
                    </a:cubicBezTo>
                    <a:close/>
                    <a:moveTo>
                      <a:pt x="3300455" y="2486637"/>
                    </a:moveTo>
                    <a:cubicBezTo>
                      <a:pt x="3322043" y="2486637"/>
                      <a:pt x="3339543" y="2504137"/>
                      <a:pt x="3339543" y="2525724"/>
                    </a:cubicBezTo>
                    <a:cubicBezTo>
                      <a:pt x="3339543" y="2547311"/>
                      <a:pt x="3322043" y="2564811"/>
                      <a:pt x="3300455" y="2564811"/>
                    </a:cubicBezTo>
                    <a:cubicBezTo>
                      <a:pt x="3278868" y="2564811"/>
                      <a:pt x="3261368" y="2547311"/>
                      <a:pt x="3261368" y="2525724"/>
                    </a:cubicBezTo>
                    <a:cubicBezTo>
                      <a:pt x="3261368" y="2504137"/>
                      <a:pt x="3278868" y="2486637"/>
                      <a:pt x="3300455" y="2486637"/>
                    </a:cubicBezTo>
                    <a:close/>
                    <a:moveTo>
                      <a:pt x="3205815" y="2486637"/>
                    </a:moveTo>
                    <a:cubicBezTo>
                      <a:pt x="3227403" y="2486637"/>
                      <a:pt x="3244903" y="2504137"/>
                      <a:pt x="3244903" y="2525724"/>
                    </a:cubicBezTo>
                    <a:cubicBezTo>
                      <a:pt x="3244903" y="2547311"/>
                      <a:pt x="3227403" y="2564811"/>
                      <a:pt x="3205815" y="2564811"/>
                    </a:cubicBezTo>
                    <a:cubicBezTo>
                      <a:pt x="3184228" y="2564811"/>
                      <a:pt x="3166728" y="2547311"/>
                      <a:pt x="3166728" y="2525724"/>
                    </a:cubicBezTo>
                    <a:cubicBezTo>
                      <a:pt x="3166728" y="2504137"/>
                      <a:pt x="3184228" y="2486637"/>
                      <a:pt x="3205815" y="2486637"/>
                    </a:cubicBezTo>
                    <a:close/>
                    <a:moveTo>
                      <a:pt x="3111175" y="2486637"/>
                    </a:moveTo>
                    <a:cubicBezTo>
                      <a:pt x="3132762" y="2486637"/>
                      <a:pt x="3150262" y="2504137"/>
                      <a:pt x="3150262" y="2525724"/>
                    </a:cubicBezTo>
                    <a:cubicBezTo>
                      <a:pt x="3150262" y="2547311"/>
                      <a:pt x="3132762" y="2564811"/>
                      <a:pt x="3111175" y="2564811"/>
                    </a:cubicBezTo>
                    <a:cubicBezTo>
                      <a:pt x="3089588" y="2564811"/>
                      <a:pt x="3072088" y="2547311"/>
                      <a:pt x="3072088" y="2525724"/>
                    </a:cubicBezTo>
                    <a:cubicBezTo>
                      <a:pt x="3072088" y="2504137"/>
                      <a:pt x="3089588" y="2486637"/>
                      <a:pt x="3111175" y="2486637"/>
                    </a:cubicBezTo>
                    <a:close/>
                    <a:moveTo>
                      <a:pt x="3018901" y="2486637"/>
                    </a:moveTo>
                    <a:cubicBezTo>
                      <a:pt x="3040488" y="2486637"/>
                      <a:pt x="3057988" y="2504137"/>
                      <a:pt x="3057988" y="2525724"/>
                    </a:cubicBezTo>
                    <a:cubicBezTo>
                      <a:pt x="3057988" y="2547311"/>
                      <a:pt x="3040488" y="2564811"/>
                      <a:pt x="3018901" y="2564811"/>
                    </a:cubicBezTo>
                    <a:cubicBezTo>
                      <a:pt x="2997313" y="2564811"/>
                      <a:pt x="2979813" y="2547311"/>
                      <a:pt x="2979813" y="2525724"/>
                    </a:cubicBezTo>
                    <a:cubicBezTo>
                      <a:pt x="2979813" y="2504137"/>
                      <a:pt x="2997313" y="2486637"/>
                      <a:pt x="3018901" y="2486637"/>
                    </a:cubicBezTo>
                    <a:close/>
                    <a:moveTo>
                      <a:pt x="2924262" y="2486637"/>
                    </a:moveTo>
                    <a:cubicBezTo>
                      <a:pt x="2945849" y="2486637"/>
                      <a:pt x="2963349" y="2504137"/>
                      <a:pt x="2963349" y="2525724"/>
                    </a:cubicBezTo>
                    <a:cubicBezTo>
                      <a:pt x="2963349" y="2547311"/>
                      <a:pt x="2945849" y="2564811"/>
                      <a:pt x="2924262" y="2564811"/>
                    </a:cubicBezTo>
                    <a:cubicBezTo>
                      <a:pt x="2902675" y="2564811"/>
                      <a:pt x="2885175" y="2547311"/>
                      <a:pt x="2885175" y="2525724"/>
                    </a:cubicBezTo>
                    <a:cubicBezTo>
                      <a:pt x="2885175" y="2504137"/>
                      <a:pt x="2902675" y="2486637"/>
                      <a:pt x="2924262" y="2486637"/>
                    </a:cubicBezTo>
                    <a:close/>
                    <a:moveTo>
                      <a:pt x="2831987" y="2486637"/>
                    </a:moveTo>
                    <a:cubicBezTo>
                      <a:pt x="2853574" y="2486637"/>
                      <a:pt x="2871074" y="2504137"/>
                      <a:pt x="2871074" y="2525724"/>
                    </a:cubicBezTo>
                    <a:cubicBezTo>
                      <a:pt x="2871074" y="2547311"/>
                      <a:pt x="2853574" y="2564811"/>
                      <a:pt x="2831987" y="2564811"/>
                    </a:cubicBezTo>
                    <a:cubicBezTo>
                      <a:pt x="2810400" y="2564811"/>
                      <a:pt x="2792900" y="2547311"/>
                      <a:pt x="2792900" y="2525724"/>
                    </a:cubicBezTo>
                    <a:cubicBezTo>
                      <a:pt x="2792900" y="2504137"/>
                      <a:pt x="2810400" y="2486637"/>
                      <a:pt x="2831987" y="2486637"/>
                    </a:cubicBezTo>
                    <a:close/>
                    <a:moveTo>
                      <a:pt x="1798047" y="2486637"/>
                    </a:moveTo>
                    <a:cubicBezTo>
                      <a:pt x="1819637" y="2486637"/>
                      <a:pt x="1837133" y="2504137"/>
                      <a:pt x="1837133" y="2525724"/>
                    </a:cubicBezTo>
                    <a:cubicBezTo>
                      <a:pt x="1837133" y="2547311"/>
                      <a:pt x="1819637" y="2564811"/>
                      <a:pt x="1798047" y="2564811"/>
                    </a:cubicBezTo>
                    <a:cubicBezTo>
                      <a:pt x="1776460" y="2564811"/>
                      <a:pt x="1758962" y="2547311"/>
                      <a:pt x="1758962" y="2525724"/>
                    </a:cubicBezTo>
                    <a:cubicBezTo>
                      <a:pt x="1758962" y="2504137"/>
                      <a:pt x="1776460" y="2486637"/>
                      <a:pt x="1798047" y="2486637"/>
                    </a:cubicBezTo>
                    <a:close/>
                    <a:moveTo>
                      <a:pt x="1703410" y="2486637"/>
                    </a:moveTo>
                    <a:cubicBezTo>
                      <a:pt x="1724996" y="2486637"/>
                      <a:pt x="1742497" y="2504137"/>
                      <a:pt x="1742497" y="2525724"/>
                    </a:cubicBezTo>
                    <a:cubicBezTo>
                      <a:pt x="1742497" y="2547311"/>
                      <a:pt x="1724996" y="2564811"/>
                      <a:pt x="1703410" y="2564811"/>
                    </a:cubicBezTo>
                    <a:cubicBezTo>
                      <a:pt x="1681822" y="2564811"/>
                      <a:pt x="1664323" y="2547311"/>
                      <a:pt x="1664323" y="2525724"/>
                    </a:cubicBezTo>
                    <a:cubicBezTo>
                      <a:pt x="1664323" y="2504137"/>
                      <a:pt x="1681822" y="2486637"/>
                      <a:pt x="1703410" y="2486637"/>
                    </a:cubicBezTo>
                    <a:close/>
                    <a:moveTo>
                      <a:pt x="1611133" y="2486637"/>
                    </a:moveTo>
                    <a:cubicBezTo>
                      <a:pt x="1632721" y="2486637"/>
                      <a:pt x="1650221" y="2504137"/>
                      <a:pt x="1650221" y="2525724"/>
                    </a:cubicBezTo>
                    <a:cubicBezTo>
                      <a:pt x="1650221" y="2547311"/>
                      <a:pt x="1632721" y="2564811"/>
                      <a:pt x="1611133" y="2564811"/>
                    </a:cubicBezTo>
                    <a:cubicBezTo>
                      <a:pt x="1589559" y="2564811"/>
                      <a:pt x="1572059" y="2547311"/>
                      <a:pt x="1572059" y="2525724"/>
                    </a:cubicBezTo>
                    <a:cubicBezTo>
                      <a:pt x="1572059" y="2504137"/>
                      <a:pt x="1589559" y="2486637"/>
                      <a:pt x="1611133" y="2486637"/>
                    </a:cubicBezTo>
                    <a:close/>
                    <a:moveTo>
                      <a:pt x="1516507" y="2486637"/>
                    </a:moveTo>
                    <a:cubicBezTo>
                      <a:pt x="1538093" y="2486637"/>
                      <a:pt x="1555594" y="2504137"/>
                      <a:pt x="1555594" y="2525724"/>
                    </a:cubicBezTo>
                    <a:cubicBezTo>
                      <a:pt x="1555594" y="2547311"/>
                      <a:pt x="1538093" y="2564811"/>
                      <a:pt x="1516507" y="2564811"/>
                    </a:cubicBezTo>
                    <a:cubicBezTo>
                      <a:pt x="1494919" y="2564811"/>
                      <a:pt x="1477419" y="2547311"/>
                      <a:pt x="1477419" y="2525724"/>
                    </a:cubicBezTo>
                    <a:cubicBezTo>
                      <a:pt x="1477419" y="2504137"/>
                      <a:pt x="1494919" y="2486637"/>
                      <a:pt x="1516507" y="2486637"/>
                    </a:cubicBezTo>
                    <a:close/>
                    <a:moveTo>
                      <a:pt x="1419502" y="2486637"/>
                    </a:moveTo>
                    <a:cubicBezTo>
                      <a:pt x="1441088" y="2486637"/>
                      <a:pt x="1458588" y="2504137"/>
                      <a:pt x="1458588" y="2525724"/>
                    </a:cubicBezTo>
                    <a:cubicBezTo>
                      <a:pt x="1458588" y="2547311"/>
                      <a:pt x="1441088" y="2564811"/>
                      <a:pt x="1419502" y="2564811"/>
                    </a:cubicBezTo>
                    <a:cubicBezTo>
                      <a:pt x="1397913" y="2564811"/>
                      <a:pt x="1380412" y="2547311"/>
                      <a:pt x="1380412" y="2525724"/>
                    </a:cubicBezTo>
                    <a:cubicBezTo>
                      <a:pt x="1380412" y="2504137"/>
                      <a:pt x="1397913" y="2486637"/>
                      <a:pt x="1419502" y="2486637"/>
                    </a:cubicBezTo>
                    <a:close/>
                    <a:moveTo>
                      <a:pt x="1329592" y="2486637"/>
                    </a:moveTo>
                    <a:cubicBezTo>
                      <a:pt x="1351178" y="2486637"/>
                      <a:pt x="1368679" y="2504137"/>
                      <a:pt x="1368679" y="2525724"/>
                    </a:cubicBezTo>
                    <a:cubicBezTo>
                      <a:pt x="1368679" y="2547311"/>
                      <a:pt x="1351178" y="2564811"/>
                      <a:pt x="1329592" y="2564811"/>
                    </a:cubicBezTo>
                    <a:cubicBezTo>
                      <a:pt x="1308006" y="2564811"/>
                      <a:pt x="1290506" y="2547311"/>
                      <a:pt x="1290506" y="2525724"/>
                    </a:cubicBezTo>
                    <a:cubicBezTo>
                      <a:pt x="1290506" y="2504137"/>
                      <a:pt x="1308006" y="2486637"/>
                      <a:pt x="1329592" y="2486637"/>
                    </a:cubicBezTo>
                    <a:close/>
                    <a:moveTo>
                      <a:pt x="1232589" y="2486637"/>
                    </a:moveTo>
                    <a:cubicBezTo>
                      <a:pt x="1254178" y="2486637"/>
                      <a:pt x="1271673" y="2504137"/>
                      <a:pt x="1271673" y="2525724"/>
                    </a:cubicBezTo>
                    <a:cubicBezTo>
                      <a:pt x="1271673" y="2547311"/>
                      <a:pt x="1254178" y="2564811"/>
                      <a:pt x="1232589" y="2564811"/>
                    </a:cubicBezTo>
                    <a:cubicBezTo>
                      <a:pt x="1211001" y="2564811"/>
                      <a:pt x="1193504" y="2547311"/>
                      <a:pt x="1193504" y="2525724"/>
                    </a:cubicBezTo>
                    <a:cubicBezTo>
                      <a:pt x="1193504" y="2504137"/>
                      <a:pt x="1211001" y="2486637"/>
                      <a:pt x="1232589" y="2486637"/>
                    </a:cubicBezTo>
                    <a:close/>
                    <a:moveTo>
                      <a:pt x="1142679" y="2486637"/>
                    </a:moveTo>
                    <a:cubicBezTo>
                      <a:pt x="1164267" y="2486637"/>
                      <a:pt x="1181766" y="2504137"/>
                      <a:pt x="1181766" y="2525724"/>
                    </a:cubicBezTo>
                    <a:cubicBezTo>
                      <a:pt x="1181766" y="2547311"/>
                      <a:pt x="1164267" y="2564811"/>
                      <a:pt x="1142679" y="2564811"/>
                    </a:cubicBezTo>
                    <a:cubicBezTo>
                      <a:pt x="1121091" y="2564811"/>
                      <a:pt x="1103589" y="2547311"/>
                      <a:pt x="1103589" y="2525724"/>
                    </a:cubicBezTo>
                    <a:cubicBezTo>
                      <a:pt x="1103589" y="2504137"/>
                      <a:pt x="1121091" y="2486637"/>
                      <a:pt x="1142679" y="2486637"/>
                    </a:cubicBezTo>
                    <a:close/>
                    <a:moveTo>
                      <a:pt x="1045669" y="2486637"/>
                    </a:moveTo>
                    <a:cubicBezTo>
                      <a:pt x="1067255" y="2486637"/>
                      <a:pt x="1084757" y="2504137"/>
                      <a:pt x="1084757" y="2525724"/>
                    </a:cubicBezTo>
                    <a:cubicBezTo>
                      <a:pt x="1084757" y="2547311"/>
                      <a:pt x="1067255" y="2564811"/>
                      <a:pt x="1045669" y="2564811"/>
                    </a:cubicBezTo>
                    <a:cubicBezTo>
                      <a:pt x="1024083" y="2564811"/>
                      <a:pt x="1006583" y="2547311"/>
                      <a:pt x="1006583" y="2525724"/>
                    </a:cubicBezTo>
                    <a:cubicBezTo>
                      <a:pt x="1006583" y="2504137"/>
                      <a:pt x="1024083" y="2486637"/>
                      <a:pt x="1045669" y="2486637"/>
                    </a:cubicBezTo>
                    <a:close/>
                    <a:moveTo>
                      <a:pt x="951032" y="2486637"/>
                    </a:moveTo>
                    <a:cubicBezTo>
                      <a:pt x="972619" y="2486637"/>
                      <a:pt x="990118" y="2504137"/>
                      <a:pt x="990118" y="2525724"/>
                    </a:cubicBezTo>
                    <a:cubicBezTo>
                      <a:pt x="990118" y="2547311"/>
                      <a:pt x="972619" y="2564811"/>
                      <a:pt x="951032" y="2564811"/>
                    </a:cubicBezTo>
                    <a:cubicBezTo>
                      <a:pt x="929446" y="2564811"/>
                      <a:pt x="911947" y="2547311"/>
                      <a:pt x="911947" y="2525724"/>
                    </a:cubicBezTo>
                    <a:cubicBezTo>
                      <a:pt x="911947" y="2504137"/>
                      <a:pt x="929446" y="2486637"/>
                      <a:pt x="951032" y="2486637"/>
                    </a:cubicBezTo>
                    <a:close/>
                    <a:moveTo>
                      <a:pt x="3392730" y="2401461"/>
                    </a:moveTo>
                    <a:cubicBezTo>
                      <a:pt x="3414317" y="2401461"/>
                      <a:pt x="3431817" y="2418961"/>
                      <a:pt x="3431817" y="2440548"/>
                    </a:cubicBezTo>
                    <a:cubicBezTo>
                      <a:pt x="3431817" y="2462135"/>
                      <a:pt x="3414317" y="2479635"/>
                      <a:pt x="3392730" y="2479635"/>
                    </a:cubicBezTo>
                    <a:cubicBezTo>
                      <a:pt x="3371143" y="2479635"/>
                      <a:pt x="3353643" y="2462135"/>
                      <a:pt x="3353643" y="2440548"/>
                    </a:cubicBezTo>
                    <a:cubicBezTo>
                      <a:pt x="3353643" y="2418961"/>
                      <a:pt x="3371143" y="2401461"/>
                      <a:pt x="3392730" y="2401461"/>
                    </a:cubicBezTo>
                    <a:close/>
                    <a:moveTo>
                      <a:pt x="3300455" y="2401461"/>
                    </a:moveTo>
                    <a:cubicBezTo>
                      <a:pt x="3322043" y="2401461"/>
                      <a:pt x="3339543" y="2418961"/>
                      <a:pt x="3339543" y="2440548"/>
                    </a:cubicBezTo>
                    <a:cubicBezTo>
                      <a:pt x="3339543" y="2462135"/>
                      <a:pt x="3322043" y="2479635"/>
                      <a:pt x="3300455" y="2479635"/>
                    </a:cubicBezTo>
                    <a:cubicBezTo>
                      <a:pt x="3278868" y="2479635"/>
                      <a:pt x="3261368" y="2462135"/>
                      <a:pt x="3261368" y="2440548"/>
                    </a:cubicBezTo>
                    <a:cubicBezTo>
                      <a:pt x="3261368" y="2418961"/>
                      <a:pt x="3278868" y="2401461"/>
                      <a:pt x="3300455" y="2401461"/>
                    </a:cubicBezTo>
                    <a:close/>
                    <a:moveTo>
                      <a:pt x="3205815" y="2401461"/>
                    </a:moveTo>
                    <a:cubicBezTo>
                      <a:pt x="3227403" y="2401461"/>
                      <a:pt x="3244903" y="2418961"/>
                      <a:pt x="3244903" y="2440548"/>
                    </a:cubicBezTo>
                    <a:cubicBezTo>
                      <a:pt x="3244903" y="2462135"/>
                      <a:pt x="3227403" y="2479635"/>
                      <a:pt x="3205815" y="2479635"/>
                    </a:cubicBezTo>
                    <a:cubicBezTo>
                      <a:pt x="3184228" y="2479635"/>
                      <a:pt x="3166728" y="2462135"/>
                      <a:pt x="3166728" y="2440548"/>
                    </a:cubicBezTo>
                    <a:cubicBezTo>
                      <a:pt x="3166728" y="2418961"/>
                      <a:pt x="3184228" y="2401461"/>
                      <a:pt x="3205815" y="2401461"/>
                    </a:cubicBezTo>
                    <a:close/>
                    <a:moveTo>
                      <a:pt x="3111175" y="2401461"/>
                    </a:moveTo>
                    <a:cubicBezTo>
                      <a:pt x="3132762" y="2401461"/>
                      <a:pt x="3150262" y="2418961"/>
                      <a:pt x="3150262" y="2440548"/>
                    </a:cubicBezTo>
                    <a:cubicBezTo>
                      <a:pt x="3150262" y="2462135"/>
                      <a:pt x="3132762" y="2479635"/>
                      <a:pt x="3111175" y="2479635"/>
                    </a:cubicBezTo>
                    <a:cubicBezTo>
                      <a:pt x="3089588" y="2479635"/>
                      <a:pt x="3072088" y="2462135"/>
                      <a:pt x="3072088" y="2440548"/>
                    </a:cubicBezTo>
                    <a:cubicBezTo>
                      <a:pt x="3072088" y="2418961"/>
                      <a:pt x="3089588" y="2401461"/>
                      <a:pt x="3111175" y="2401461"/>
                    </a:cubicBezTo>
                    <a:close/>
                    <a:moveTo>
                      <a:pt x="3018901" y="2401461"/>
                    </a:moveTo>
                    <a:cubicBezTo>
                      <a:pt x="3040488" y="2401461"/>
                      <a:pt x="3057988" y="2418961"/>
                      <a:pt x="3057988" y="2440548"/>
                    </a:cubicBezTo>
                    <a:cubicBezTo>
                      <a:pt x="3057988" y="2462135"/>
                      <a:pt x="3040488" y="2479635"/>
                      <a:pt x="3018901" y="2479635"/>
                    </a:cubicBezTo>
                    <a:cubicBezTo>
                      <a:pt x="2997313" y="2479635"/>
                      <a:pt x="2979813" y="2462135"/>
                      <a:pt x="2979813" y="2440548"/>
                    </a:cubicBezTo>
                    <a:cubicBezTo>
                      <a:pt x="2979813" y="2418961"/>
                      <a:pt x="2997313" y="2401461"/>
                      <a:pt x="3018901" y="2401461"/>
                    </a:cubicBezTo>
                    <a:close/>
                    <a:moveTo>
                      <a:pt x="2924262" y="2401461"/>
                    </a:moveTo>
                    <a:cubicBezTo>
                      <a:pt x="2945849" y="2401461"/>
                      <a:pt x="2963349" y="2418961"/>
                      <a:pt x="2963349" y="2440548"/>
                    </a:cubicBezTo>
                    <a:cubicBezTo>
                      <a:pt x="2963349" y="2462135"/>
                      <a:pt x="2945849" y="2479635"/>
                      <a:pt x="2924262" y="2479635"/>
                    </a:cubicBezTo>
                    <a:cubicBezTo>
                      <a:pt x="2902675" y="2479635"/>
                      <a:pt x="2885175" y="2462135"/>
                      <a:pt x="2885175" y="2440548"/>
                    </a:cubicBezTo>
                    <a:cubicBezTo>
                      <a:pt x="2885175" y="2418961"/>
                      <a:pt x="2902675" y="2401461"/>
                      <a:pt x="2924262" y="2401461"/>
                    </a:cubicBezTo>
                    <a:close/>
                    <a:moveTo>
                      <a:pt x="2831987" y="2401461"/>
                    </a:moveTo>
                    <a:cubicBezTo>
                      <a:pt x="2853574" y="2401461"/>
                      <a:pt x="2871074" y="2418961"/>
                      <a:pt x="2871074" y="2440548"/>
                    </a:cubicBezTo>
                    <a:cubicBezTo>
                      <a:pt x="2871074" y="2462135"/>
                      <a:pt x="2853574" y="2479635"/>
                      <a:pt x="2831987" y="2479635"/>
                    </a:cubicBezTo>
                    <a:cubicBezTo>
                      <a:pt x="2810400" y="2479635"/>
                      <a:pt x="2792900" y="2462135"/>
                      <a:pt x="2792900" y="2440548"/>
                    </a:cubicBezTo>
                    <a:cubicBezTo>
                      <a:pt x="2792900" y="2418961"/>
                      <a:pt x="2810400" y="2401461"/>
                      <a:pt x="2831987" y="2401461"/>
                    </a:cubicBezTo>
                    <a:close/>
                    <a:moveTo>
                      <a:pt x="2737353" y="2401461"/>
                    </a:moveTo>
                    <a:cubicBezTo>
                      <a:pt x="2758934" y="2401461"/>
                      <a:pt x="2776434" y="2418961"/>
                      <a:pt x="2776434" y="2440548"/>
                    </a:cubicBezTo>
                    <a:cubicBezTo>
                      <a:pt x="2776434" y="2462135"/>
                      <a:pt x="2758934" y="2479635"/>
                      <a:pt x="2737353" y="2479635"/>
                    </a:cubicBezTo>
                    <a:cubicBezTo>
                      <a:pt x="2715763" y="2479635"/>
                      <a:pt x="2698263" y="2462135"/>
                      <a:pt x="2698263" y="2440548"/>
                    </a:cubicBezTo>
                    <a:cubicBezTo>
                      <a:pt x="2698263" y="2418961"/>
                      <a:pt x="2715763" y="2401461"/>
                      <a:pt x="2737353" y="2401461"/>
                    </a:cubicBezTo>
                    <a:close/>
                    <a:moveTo>
                      <a:pt x="1611133" y="2401461"/>
                    </a:moveTo>
                    <a:cubicBezTo>
                      <a:pt x="1632721" y="2401461"/>
                      <a:pt x="1650223" y="2418961"/>
                      <a:pt x="1650223" y="2440548"/>
                    </a:cubicBezTo>
                    <a:cubicBezTo>
                      <a:pt x="1650223" y="2462135"/>
                      <a:pt x="1632721" y="2479635"/>
                      <a:pt x="1611133" y="2479635"/>
                    </a:cubicBezTo>
                    <a:cubicBezTo>
                      <a:pt x="1589561" y="2479635"/>
                      <a:pt x="1572061" y="2462135"/>
                      <a:pt x="1572061" y="2440548"/>
                    </a:cubicBezTo>
                    <a:cubicBezTo>
                      <a:pt x="1572061" y="2418961"/>
                      <a:pt x="1589561" y="2401461"/>
                      <a:pt x="1611133" y="2401461"/>
                    </a:cubicBezTo>
                    <a:close/>
                    <a:moveTo>
                      <a:pt x="1516509" y="2401461"/>
                    </a:moveTo>
                    <a:cubicBezTo>
                      <a:pt x="1538095" y="2401461"/>
                      <a:pt x="1555596" y="2418961"/>
                      <a:pt x="1555596" y="2440548"/>
                    </a:cubicBezTo>
                    <a:cubicBezTo>
                      <a:pt x="1555596" y="2462135"/>
                      <a:pt x="1538095" y="2479635"/>
                      <a:pt x="1516509" y="2479635"/>
                    </a:cubicBezTo>
                    <a:cubicBezTo>
                      <a:pt x="1494921" y="2479635"/>
                      <a:pt x="1477421" y="2462135"/>
                      <a:pt x="1477421" y="2440548"/>
                    </a:cubicBezTo>
                    <a:cubicBezTo>
                      <a:pt x="1477421" y="2418961"/>
                      <a:pt x="1494921" y="2401461"/>
                      <a:pt x="1516509" y="2401461"/>
                    </a:cubicBezTo>
                    <a:close/>
                    <a:moveTo>
                      <a:pt x="1419503" y="2401461"/>
                    </a:moveTo>
                    <a:cubicBezTo>
                      <a:pt x="1441089" y="2401461"/>
                      <a:pt x="1458589" y="2418961"/>
                      <a:pt x="1458589" y="2440548"/>
                    </a:cubicBezTo>
                    <a:cubicBezTo>
                      <a:pt x="1458589" y="2462135"/>
                      <a:pt x="1441089" y="2479635"/>
                      <a:pt x="1419503" y="2479635"/>
                    </a:cubicBezTo>
                    <a:cubicBezTo>
                      <a:pt x="1397914" y="2479635"/>
                      <a:pt x="1380413" y="2462135"/>
                      <a:pt x="1380413" y="2440548"/>
                    </a:cubicBezTo>
                    <a:cubicBezTo>
                      <a:pt x="1380413" y="2418961"/>
                      <a:pt x="1397914" y="2401461"/>
                      <a:pt x="1419503" y="2401461"/>
                    </a:cubicBezTo>
                    <a:close/>
                    <a:moveTo>
                      <a:pt x="1329593" y="2401461"/>
                    </a:moveTo>
                    <a:cubicBezTo>
                      <a:pt x="1351180" y="2401461"/>
                      <a:pt x="1368682" y="2418961"/>
                      <a:pt x="1368682" y="2440548"/>
                    </a:cubicBezTo>
                    <a:cubicBezTo>
                      <a:pt x="1368682" y="2462135"/>
                      <a:pt x="1351180" y="2479635"/>
                      <a:pt x="1329593" y="2479635"/>
                    </a:cubicBezTo>
                    <a:cubicBezTo>
                      <a:pt x="1308007" y="2479635"/>
                      <a:pt x="1290509" y="2462135"/>
                      <a:pt x="1290509" y="2440548"/>
                    </a:cubicBezTo>
                    <a:cubicBezTo>
                      <a:pt x="1290509" y="2418961"/>
                      <a:pt x="1308007" y="2401461"/>
                      <a:pt x="1329593" y="2401461"/>
                    </a:cubicBezTo>
                    <a:close/>
                    <a:moveTo>
                      <a:pt x="1232592" y="2401461"/>
                    </a:moveTo>
                    <a:cubicBezTo>
                      <a:pt x="1254179" y="2401461"/>
                      <a:pt x="1271676" y="2418961"/>
                      <a:pt x="1271676" y="2440548"/>
                    </a:cubicBezTo>
                    <a:cubicBezTo>
                      <a:pt x="1271676" y="2462135"/>
                      <a:pt x="1254179" y="2479635"/>
                      <a:pt x="1232592" y="2479635"/>
                    </a:cubicBezTo>
                    <a:cubicBezTo>
                      <a:pt x="1211003" y="2479635"/>
                      <a:pt x="1193507" y="2462135"/>
                      <a:pt x="1193507" y="2440548"/>
                    </a:cubicBezTo>
                    <a:cubicBezTo>
                      <a:pt x="1193507" y="2418961"/>
                      <a:pt x="1211003" y="2401461"/>
                      <a:pt x="1232592" y="2401461"/>
                    </a:cubicBezTo>
                    <a:close/>
                    <a:moveTo>
                      <a:pt x="1142682" y="2401461"/>
                    </a:moveTo>
                    <a:cubicBezTo>
                      <a:pt x="1164271" y="2401461"/>
                      <a:pt x="1181770" y="2418961"/>
                      <a:pt x="1181770" y="2440548"/>
                    </a:cubicBezTo>
                    <a:cubicBezTo>
                      <a:pt x="1181770" y="2462135"/>
                      <a:pt x="1164271" y="2479635"/>
                      <a:pt x="1142682" y="2479635"/>
                    </a:cubicBezTo>
                    <a:cubicBezTo>
                      <a:pt x="1121093" y="2479635"/>
                      <a:pt x="1103591" y="2462135"/>
                      <a:pt x="1103591" y="2440548"/>
                    </a:cubicBezTo>
                    <a:cubicBezTo>
                      <a:pt x="1103591" y="2418961"/>
                      <a:pt x="1121093" y="2401461"/>
                      <a:pt x="1142682" y="2401461"/>
                    </a:cubicBezTo>
                    <a:close/>
                    <a:moveTo>
                      <a:pt x="1045671" y="2401461"/>
                    </a:moveTo>
                    <a:cubicBezTo>
                      <a:pt x="1067258" y="2401461"/>
                      <a:pt x="1084758" y="2418961"/>
                      <a:pt x="1084758" y="2440548"/>
                    </a:cubicBezTo>
                    <a:cubicBezTo>
                      <a:pt x="1084758" y="2462135"/>
                      <a:pt x="1067258" y="2479635"/>
                      <a:pt x="1045671" y="2479635"/>
                    </a:cubicBezTo>
                    <a:cubicBezTo>
                      <a:pt x="1024084" y="2479635"/>
                      <a:pt x="1006585" y="2462135"/>
                      <a:pt x="1006585" y="2440548"/>
                    </a:cubicBezTo>
                    <a:cubicBezTo>
                      <a:pt x="1006585" y="2418961"/>
                      <a:pt x="1024084" y="2401461"/>
                      <a:pt x="1045671" y="2401461"/>
                    </a:cubicBezTo>
                    <a:close/>
                    <a:moveTo>
                      <a:pt x="951035" y="2401461"/>
                    </a:moveTo>
                    <a:cubicBezTo>
                      <a:pt x="972621" y="2401461"/>
                      <a:pt x="990120" y="2418961"/>
                      <a:pt x="990120" y="2440548"/>
                    </a:cubicBezTo>
                    <a:cubicBezTo>
                      <a:pt x="990120" y="2462135"/>
                      <a:pt x="972621" y="2479635"/>
                      <a:pt x="951035" y="2479635"/>
                    </a:cubicBezTo>
                    <a:cubicBezTo>
                      <a:pt x="929448" y="2479635"/>
                      <a:pt x="911949" y="2462135"/>
                      <a:pt x="911949" y="2440548"/>
                    </a:cubicBezTo>
                    <a:cubicBezTo>
                      <a:pt x="911949" y="2418961"/>
                      <a:pt x="929448" y="2401461"/>
                      <a:pt x="951035" y="2401461"/>
                    </a:cubicBezTo>
                    <a:close/>
                    <a:moveTo>
                      <a:pt x="3300457" y="2318653"/>
                    </a:moveTo>
                    <a:cubicBezTo>
                      <a:pt x="3322044" y="2318653"/>
                      <a:pt x="3339544" y="2336153"/>
                      <a:pt x="3339544" y="2357740"/>
                    </a:cubicBezTo>
                    <a:cubicBezTo>
                      <a:pt x="3339544" y="2379327"/>
                      <a:pt x="3322044" y="2396827"/>
                      <a:pt x="3300457" y="2396827"/>
                    </a:cubicBezTo>
                    <a:cubicBezTo>
                      <a:pt x="3278869" y="2396827"/>
                      <a:pt x="3261369" y="2379327"/>
                      <a:pt x="3261369" y="2357740"/>
                    </a:cubicBezTo>
                    <a:cubicBezTo>
                      <a:pt x="3261369" y="2336153"/>
                      <a:pt x="3278869" y="2318653"/>
                      <a:pt x="3300457" y="2318653"/>
                    </a:cubicBezTo>
                    <a:close/>
                    <a:moveTo>
                      <a:pt x="3205817" y="2318653"/>
                    </a:moveTo>
                    <a:cubicBezTo>
                      <a:pt x="3227404" y="2318653"/>
                      <a:pt x="3244904" y="2336153"/>
                      <a:pt x="3244904" y="2357740"/>
                    </a:cubicBezTo>
                    <a:cubicBezTo>
                      <a:pt x="3244904" y="2379327"/>
                      <a:pt x="3227404" y="2396827"/>
                      <a:pt x="3205817" y="2396827"/>
                    </a:cubicBezTo>
                    <a:cubicBezTo>
                      <a:pt x="3184229" y="2396827"/>
                      <a:pt x="3166729" y="2379327"/>
                      <a:pt x="3166729" y="2357740"/>
                    </a:cubicBezTo>
                    <a:cubicBezTo>
                      <a:pt x="3166729" y="2336153"/>
                      <a:pt x="3184229" y="2318653"/>
                      <a:pt x="3205817" y="2318653"/>
                    </a:cubicBezTo>
                    <a:close/>
                    <a:moveTo>
                      <a:pt x="3111177" y="2318653"/>
                    </a:moveTo>
                    <a:cubicBezTo>
                      <a:pt x="3132764" y="2318653"/>
                      <a:pt x="3150264" y="2336153"/>
                      <a:pt x="3150264" y="2357740"/>
                    </a:cubicBezTo>
                    <a:cubicBezTo>
                      <a:pt x="3150264" y="2379327"/>
                      <a:pt x="3132764" y="2396827"/>
                      <a:pt x="3111177" y="2396827"/>
                    </a:cubicBezTo>
                    <a:cubicBezTo>
                      <a:pt x="3089589" y="2396827"/>
                      <a:pt x="3072089" y="2379327"/>
                      <a:pt x="3072089" y="2357740"/>
                    </a:cubicBezTo>
                    <a:cubicBezTo>
                      <a:pt x="3072089" y="2336153"/>
                      <a:pt x="3089589" y="2318653"/>
                      <a:pt x="3111177" y="2318653"/>
                    </a:cubicBezTo>
                    <a:close/>
                    <a:moveTo>
                      <a:pt x="3018902" y="2318653"/>
                    </a:moveTo>
                    <a:cubicBezTo>
                      <a:pt x="3040489" y="2318653"/>
                      <a:pt x="3057989" y="2336153"/>
                      <a:pt x="3057989" y="2357740"/>
                    </a:cubicBezTo>
                    <a:cubicBezTo>
                      <a:pt x="3057989" y="2379327"/>
                      <a:pt x="3040489" y="2396827"/>
                      <a:pt x="3018902" y="2396827"/>
                    </a:cubicBezTo>
                    <a:cubicBezTo>
                      <a:pt x="2997315" y="2396827"/>
                      <a:pt x="2979815" y="2379327"/>
                      <a:pt x="2979815" y="2357740"/>
                    </a:cubicBezTo>
                    <a:cubicBezTo>
                      <a:pt x="2979815" y="2336153"/>
                      <a:pt x="2997315" y="2318653"/>
                      <a:pt x="3018902" y="2318653"/>
                    </a:cubicBezTo>
                    <a:close/>
                    <a:moveTo>
                      <a:pt x="2924263" y="2318653"/>
                    </a:moveTo>
                    <a:cubicBezTo>
                      <a:pt x="2945850" y="2318653"/>
                      <a:pt x="2963349" y="2336153"/>
                      <a:pt x="2963349" y="2357740"/>
                    </a:cubicBezTo>
                    <a:cubicBezTo>
                      <a:pt x="2963349" y="2379327"/>
                      <a:pt x="2945850" y="2396827"/>
                      <a:pt x="2924263" y="2396827"/>
                    </a:cubicBezTo>
                    <a:cubicBezTo>
                      <a:pt x="2902675" y="2396827"/>
                      <a:pt x="2885175" y="2379327"/>
                      <a:pt x="2885175" y="2357740"/>
                    </a:cubicBezTo>
                    <a:cubicBezTo>
                      <a:pt x="2885175" y="2336153"/>
                      <a:pt x="2902675" y="2318653"/>
                      <a:pt x="2924263" y="2318653"/>
                    </a:cubicBezTo>
                    <a:close/>
                    <a:moveTo>
                      <a:pt x="2831988" y="2318653"/>
                    </a:moveTo>
                    <a:cubicBezTo>
                      <a:pt x="2853575" y="2318653"/>
                      <a:pt x="2871075" y="2336153"/>
                      <a:pt x="2871075" y="2357740"/>
                    </a:cubicBezTo>
                    <a:cubicBezTo>
                      <a:pt x="2871075" y="2379327"/>
                      <a:pt x="2853575" y="2396827"/>
                      <a:pt x="2831988" y="2396827"/>
                    </a:cubicBezTo>
                    <a:cubicBezTo>
                      <a:pt x="2810401" y="2396827"/>
                      <a:pt x="2792901" y="2379327"/>
                      <a:pt x="2792901" y="2357740"/>
                    </a:cubicBezTo>
                    <a:cubicBezTo>
                      <a:pt x="2792901" y="2336153"/>
                      <a:pt x="2810401" y="2318653"/>
                      <a:pt x="2831988" y="2318653"/>
                    </a:cubicBezTo>
                    <a:close/>
                    <a:moveTo>
                      <a:pt x="2737354" y="2318653"/>
                    </a:moveTo>
                    <a:cubicBezTo>
                      <a:pt x="2758935" y="2318653"/>
                      <a:pt x="2776435" y="2336153"/>
                      <a:pt x="2776435" y="2357740"/>
                    </a:cubicBezTo>
                    <a:cubicBezTo>
                      <a:pt x="2776435" y="2379327"/>
                      <a:pt x="2758935" y="2396827"/>
                      <a:pt x="2737354" y="2396827"/>
                    </a:cubicBezTo>
                    <a:cubicBezTo>
                      <a:pt x="2715765" y="2396827"/>
                      <a:pt x="2698264" y="2379327"/>
                      <a:pt x="2698264" y="2357740"/>
                    </a:cubicBezTo>
                    <a:cubicBezTo>
                      <a:pt x="2698264" y="2336153"/>
                      <a:pt x="2715765" y="2318653"/>
                      <a:pt x="2737354" y="2318653"/>
                    </a:cubicBezTo>
                    <a:close/>
                    <a:moveTo>
                      <a:pt x="1516512" y="2318653"/>
                    </a:moveTo>
                    <a:cubicBezTo>
                      <a:pt x="1538098" y="2318653"/>
                      <a:pt x="1555598" y="2336153"/>
                      <a:pt x="1555598" y="2357740"/>
                    </a:cubicBezTo>
                    <a:cubicBezTo>
                      <a:pt x="1555598" y="2379327"/>
                      <a:pt x="1538098" y="2396827"/>
                      <a:pt x="1516512" y="2396827"/>
                    </a:cubicBezTo>
                    <a:cubicBezTo>
                      <a:pt x="1494923" y="2396827"/>
                      <a:pt x="1477423" y="2379327"/>
                      <a:pt x="1477423" y="2357740"/>
                    </a:cubicBezTo>
                    <a:cubicBezTo>
                      <a:pt x="1477423" y="2336153"/>
                      <a:pt x="1494923" y="2318653"/>
                      <a:pt x="1516512" y="2318653"/>
                    </a:cubicBezTo>
                    <a:close/>
                    <a:moveTo>
                      <a:pt x="1419506" y="2318653"/>
                    </a:moveTo>
                    <a:cubicBezTo>
                      <a:pt x="1441093" y="2318653"/>
                      <a:pt x="1458594" y="2336153"/>
                      <a:pt x="1458594" y="2357740"/>
                    </a:cubicBezTo>
                    <a:cubicBezTo>
                      <a:pt x="1458594" y="2379327"/>
                      <a:pt x="1441093" y="2396827"/>
                      <a:pt x="1419506" y="2396827"/>
                    </a:cubicBezTo>
                    <a:cubicBezTo>
                      <a:pt x="1397917" y="2396827"/>
                      <a:pt x="1380417" y="2379327"/>
                      <a:pt x="1380417" y="2357740"/>
                    </a:cubicBezTo>
                    <a:cubicBezTo>
                      <a:pt x="1380417" y="2336153"/>
                      <a:pt x="1397917" y="2318653"/>
                      <a:pt x="1419506" y="2318653"/>
                    </a:cubicBezTo>
                    <a:close/>
                    <a:moveTo>
                      <a:pt x="1329595" y="2318653"/>
                    </a:moveTo>
                    <a:cubicBezTo>
                      <a:pt x="1351182" y="2318653"/>
                      <a:pt x="1368683" y="2336153"/>
                      <a:pt x="1368683" y="2357740"/>
                    </a:cubicBezTo>
                    <a:cubicBezTo>
                      <a:pt x="1368683" y="2379327"/>
                      <a:pt x="1351182" y="2396827"/>
                      <a:pt x="1329595" y="2396827"/>
                    </a:cubicBezTo>
                    <a:cubicBezTo>
                      <a:pt x="1308010" y="2396827"/>
                      <a:pt x="1290510" y="2379327"/>
                      <a:pt x="1290510" y="2357740"/>
                    </a:cubicBezTo>
                    <a:cubicBezTo>
                      <a:pt x="1290510" y="2336153"/>
                      <a:pt x="1308010" y="2318653"/>
                      <a:pt x="1329595" y="2318653"/>
                    </a:cubicBezTo>
                    <a:close/>
                    <a:moveTo>
                      <a:pt x="1232594" y="2318653"/>
                    </a:moveTo>
                    <a:cubicBezTo>
                      <a:pt x="1254180" y="2318653"/>
                      <a:pt x="1271677" y="2336153"/>
                      <a:pt x="1271677" y="2357740"/>
                    </a:cubicBezTo>
                    <a:cubicBezTo>
                      <a:pt x="1271677" y="2379327"/>
                      <a:pt x="1254180" y="2396827"/>
                      <a:pt x="1232594" y="2396827"/>
                    </a:cubicBezTo>
                    <a:cubicBezTo>
                      <a:pt x="1211006" y="2396827"/>
                      <a:pt x="1193507" y="2379327"/>
                      <a:pt x="1193507" y="2357740"/>
                    </a:cubicBezTo>
                    <a:cubicBezTo>
                      <a:pt x="1193507" y="2336153"/>
                      <a:pt x="1211006" y="2318653"/>
                      <a:pt x="1232594" y="2318653"/>
                    </a:cubicBezTo>
                    <a:close/>
                    <a:moveTo>
                      <a:pt x="1142684" y="2318653"/>
                    </a:moveTo>
                    <a:cubicBezTo>
                      <a:pt x="1164272" y="2318653"/>
                      <a:pt x="1181772" y="2336153"/>
                      <a:pt x="1181772" y="2357740"/>
                    </a:cubicBezTo>
                    <a:cubicBezTo>
                      <a:pt x="1181772" y="2379327"/>
                      <a:pt x="1164272" y="2396827"/>
                      <a:pt x="1142684" y="2396827"/>
                    </a:cubicBezTo>
                    <a:cubicBezTo>
                      <a:pt x="1121096" y="2396827"/>
                      <a:pt x="1103594" y="2379327"/>
                      <a:pt x="1103594" y="2357740"/>
                    </a:cubicBezTo>
                    <a:cubicBezTo>
                      <a:pt x="1103594" y="2336153"/>
                      <a:pt x="1121096" y="2318653"/>
                      <a:pt x="1142684" y="2318653"/>
                    </a:cubicBezTo>
                    <a:close/>
                    <a:moveTo>
                      <a:pt x="1045673" y="2318653"/>
                    </a:moveTo>
                    <a:cubicBezTo>
                      <a:pt x="1067259" y="2318653"/>
                      <a:pt x="1084760" y="2336153"/>
                      <a:pt x="1084760" y="2357740"/>
                    </a:cubicBezTo>
                    <a:cubicBezTo>
                      <a:pt x="1084760" y="2379327"/>
                      <a:pt x="1067259" y="2396827"/>
                      <a:pt x="1045673" y="2396827"/>
                    </a:cubicBezTo>
                    <a:cubicBezTo>
                      <a:pt x="1024086" y="2396827"/>
                      <a:pt x="1006587" y="2379327"/>
                      <a:pt x="1006587" y="2357740"/>
                    </a:cubicBezTo>
                    <a:cubicBezTo>
                      <a:pt x="1006587" y="2336153"/>
                      <a:pt x="1024086" y="2318653"/>
                      <a:pt x="1045673" y="2318653"/>
                    </a:cubicBezTo>
                    <a:close/>
                    <a:moveTo>
                      <a:pt x="3489735" y="2318651"/>
                    </a:moveTo>
                    <a:cubicBezTo>
                      <a:pt x="3511323" y="2318651"/>
                      <a:pt x="3528823" y="2336151"/>
                      <a:pt x="3528823" y="2357738"/>
                    </a:cubicBezTo>
                    <a:cubicBezTo>
                      <a:pt x="3528823" y="2379325"/>
                      <a:pt x="3511323" y="2396825"/>
                      <a:pt x="3489735" y="2396825"/>
                    </a:cubicBezTo>
                    <a:cubicBezTo>
                      <a:pt x="3468148" y="2396825"/>
                      <a:pt x="3450649" y="2379325"/>
                      <a:pt x="3450649" y="2357738"/>
                    </a:cubicBezTo>
                    <a:cubicBezTo>
                      <a:pt x="3450649" y="2336151"/>
                      <a:pt x="3468148" y="2318651"/>
                      <a:pt x="3489735" y="2318651"/>
                    </a:cubicBezTo>
                    <a:close/>
                    <a:moveTo>
                      <a:pt x="3392730" y="2318651"/>
                    </a:moveTo>
                    <a:cubicBezTo>
                      <a:pt x="3414317" y="2318651"/>
                      <a:pt x="3431817" y="2336151"/>
                      <a:pt x="3431817" y="2357738"/>
                    </a:cubicBezTo>
                    <a:cubicBezTo>
                      <a:pt x="3431817" y="2379325"/>
                      <a:pt x="3414317" y="2396825"/>
                      <a:pt x="3392730" y="2396825"/>
                    </a:cubicBezTo>
                    <a:cubicBezTo>
                      <a:pt x="3371143" y="2396825"/>
                      <a:pt x="3353643" y="2379325"/>
                      <a:pt x="3353643" y="2357738"/>
                    </a:cubicBezTo>
                    <a:cubicBezTo>
                      <a:pt x="3353643" y="2336151"/>
                      <a:pt x="3371143" y="2318651"/>
                      <a:pt x="3392730" y="2318651"/>
                    </a:cubicBezTo>
                    <a:close/>
                    <a:moveTo>
                      <a:pt x="3489737" y="2233477"/>
                    </a:moveTo>
                    <a:cubicBezTo>
                      <a:pt x="3511324" y="2233477"/>
                      <a:pt x="3528823" y="2250977"/>
                      <a:pt x="3528823" y="2272564"/>
                    </a:cubicBezTo>
                    <a:cubicBezTo>
                      <a:pt x="3528823" y="2294151"/>
                      <a:pt x="3511324" y="2311651"/>
                      <a:pt x="3489737" y="2311651"/>
                    </a:cubicBezTo>
                    <a:cubicBezTo>
                      <a:pt x="3468149" y="2311651"/>
                      <a:pt x="3450649" y="2294151"/>
                      <a:pt x="3450649" y="2272564"/>
                    </a:cubicBezTo>
                    <a:cubicBezTo>
                      <a:pt x="3450649" y="2250977"/>
                      <a:pt x="3468149" y="2233477"/>
                      <a:pt x="3489737" y="2233477"/>
                    </a:cubicBezTo>
                    <a:close/>
                    <a:moveTo>
                      <a:pt x="3392731" y="2233477"/>
                    </a:moveTo>
                    <a:cubicBezTo>
                      <a:pt x="3414319" y="2233477"/>
                      <a:pt x="3431819" y="2250977"/>
                      <a:pt x="3431819" y="2272564"/>
                    </a:cubicBezTo>
                    <a:cubicBezTo>
                      <a:pt x="3431819" y="2294151"/>
                      <a:pt x="3414319" y="2311651"/>
                      <a:pt x="3392731" y="2311651"/>
                    </a:cubicBezTo>
                    <a:cubicBezTo>
                      <a:pt x="3371144" y="2311651"/>
                      <a:pt x="3353644" y="2294151"/>
                      <a:pt x="3353644" y="2272564"/>
                    </a:cubicBezTo>
                    <a:cubicBezTo>
                      <a:pt x="3353644" y="2250977"/>
                      <a:pt x="3371144" y="2233477"/>
                      <a:pt x="3392731" y="2233477"/>
                    </a:cubicBezTo>
                    <a:close/>
                    <a:moveTo>
                      <a:pt x="3300457" y="2233477"/>
                    </a:moveTo>
                    <a:cubicBezTo>
                      <a:pt x="3322044" y="2233477"/>
                      <a:pt x="3339544" y="2250977"/>
                      <a:pt x="3339544" y="2272564"/>
                    </a:cubicBezTo>
                    <a:cubicBezTo>
                      <a:pt x="3339544" y="2294151"/>
                      <a:pt x="3322044" y="2311651"/>
                      <a:pt x="3300457" y="2311651"/>
                    </a:cubicBezTo>
                    <a:cubicBezTo>
                      <a:pt x="3278869" y="2311651"/>
                      <a:pt x="3261369" y="2294151"/>
                      <a:pt x="3261369" y="2272564"/>
                    </a:cubicBezTo>
                    <a:cubicBezTo>
                      <a:pt x="3261369" y="2250977"/>
                      <a:pt x="3278869" y="2233477"/>
                      <a:pt x="3300457" y="2233477"/>
                    </a:cubicBezTo>
                    <a:close/>
                    <a:moveTo>
                      <a:pt x="3205817" y="2233477"/>
                    </a:moveTo>
                    <a:cubicBezTo>
                      <a:pt x="3227404" y="2233477"/>
                      <a:pt x="3244904" y="2250977"/>
                      <a:pt x="3244904" y="2272564"/>
                    </a:cubicBezTo>
                    <a:cubicBezTo>
                      <a:pt x="3244904" y="2294151"/>
                      <a:pt x="3227404" y="2311651"/>
                      <a:pt x="3205817" y="2311651"/>
                    </a:cubicBezTo>
                    <a:cubicBezTo>
                      <a:pt x="3184229" y="2311651"/>
                      <a:pt x="3166729" y="2294151"/>
                      <a:pt x="3166729" y="2272564"/>
                    </a:cubicBezTo>
                    <a:cubicBezTo>
                      <a:pt x="3166729" y="2250977"/>
                      <a:pt x="3184229" y="2233477"/>
                      <a:pt x="3205817" y="2233477"/>
                    </a:cubicBezTo>
                    <a:close/>
                    <a:moveTo>
                      <a:pt x="3111177" y="2233477"/>
                    </a:moveTo>
                    <a:cubicBezTo>
                      <a:pt x="3132764" y="2233477"/>
                      <a:pt x="3150264" y="2250977"/>
                      <a:pt x="3150264" y="2272564"/>
                    </a:cubicBezTo>
                    <a:cubicBezTo>
                      <a:pt x="3150264" y="2294151"/>
                      <a:pt x="3132764" y="2311651"/>
                      <a:pt x="3111177" y="2311651"/>
                    </a:cubicBezTo>
                    <a:cubicBezTo>
                      <a:pt x="3089589" y="2311651"/>
                      <a:pt x="3072089" y="2294151"/>
                      <a:pt x="3072089" y="2272564"/>
                    </a:cubicBezTo>
                    <a:cubicBezTo>
                      <a:pt x="3072089" y="2250977"/>
                      <a:pt x="3089589" y="2233477"/>
                      <a:pt x="3111177" y="2233477"/>
                    </a:cubicBezTo>
                    <a:close/>
                    <a:moveTo>
                      <a:pt x="3018902" y="2233477"/>
                    </a:moveTo>
                    <a:cubicBezTo>
                      <a:pt x="3040489" y="2233477"/>
                      <a:pt x="3057989" y="2250977"/>
                      <a:pt x="3057989" y="2272564"/>
                    </a:cubicBezTo>
                    <a:cubicBezTo>
                      <a:pt x="3057989" y="2294151"/>
                      <a:pt x="3040489" y="2311651"/>
                      <a:pt x="3018902" y="2311651"/>
                    </a:cubicBezTo>
                    <a:cubicBezTo>
                      <a:pt x="2997315" y="2311651"/>
                      <a:pt x="2979815" y="2294151"/>
                      <a:pt x="2979815" y="2272564"/>
                    </a:cubicBezTo>
                    <a:cubicBezTo>
                      <a:pt x="2979815" y="2250977"/>
                      <a:pt x="2997315" y="2233477"/>
                      <a:pt x="3018902" y="2233477"/>
                    </a:cubicBezTo>
                    <a:close/>
                    <a:moveTo>
                      <a:pt x="2924263" y="2233477"/>
                    </a:moveTo>
                    <a:cubicBezTo>
                      <a:pt x="2945850" y="2233477"/>
                      <a:pt x="2963349" y="2250977"/>
                      <a:pt x="2963349" y="2272564"/>
                    </a:cubicBezTo>
                    <a:cubicBezTo>
                      <a:pt x="2963349" y="2294151"/>
                      <a:pt x="2945850" y="2311651"/>
                      <a:pt x="2924263" y="2311651"/>
                    </a:cubicBezTo>
                    <a:cubicBezTo>
                      <a:pt x="2902675" y="2311651"/>
                      <a:pt x="2885175" y="2294151"/>
                      <a:pt x="2885175" y="2272564"/>
                    </a:cubicBezTo>
                    <a:cubicBezTo>
                      <a:pt x="2885175" y="2250977"/>
                      <a:pt x="2902675" y="2233477"/>
                      <a:pt x="2924263" y="2233477"/>
                    </a:cubicBezTo>
                    <a:close/>
                    <a:moveTo>
                      <a:pt x="2831988" y="2233477"/>
                    </a:moveTo>
                    <a:cubicBezTo>
                      <a:pt x="2853575" y="2233477"/>
                      <a:pt x="2871075" y="2250977"/>
                      <a:pt x="2871075" y="2272564"/>
                    </a:cubicBezTo>
                    <a:cubicBezTo>
                      <a:pt x="2871075" y="2294151"/>
                      <a:pt x="2853575" y="2311651"/>
                      <a:pt x="2831988" y="2311651"/>
                    </a:cubicBezTo>
                    <a:cubicBezTo>
                      <a:pt x="2810401" y="2311651"/>
                      <a:pt x="2792901" y="2294151"/>
                      <a:pt x="2792901" y="2272564"/>
                    </a:cubicBezTo>
                    <a:cubicBezTo>
                      <a:pt x="2792901" y="2250977"/>
                      <a:pt x="2810401" y="2233477"/>
                      <a:pt x="2831988" y="2233477"/>
                    </a:cubicBezTo>
                    <a:close/>
                    <a:moveTo>
                      <a:pt x="2737354" y="2233477"/>
                    </a:moveTo>
                    <a:cubicBezTo>
                      <a:pt x="2758935" y="2233477"/>
                      <a:pt x="2776435" y="2250977"/>
                      <a:pt x="2776435" y="2272564"/>
                    </a:cubicBezTo>
                    <a:cubicBezTo>
                      <a:pt x="2776435" y="2294151"/>
                      <a:pt x="2758935" y="2311651"/>
                      <a:pt x="2737354" y="2311651"/>
                    </a:cubicBezTo>
                    <a:cubicBezTo>
                      <a:pt x="2715765" y="2311651"/>
                      <a:pt x="2698264" y="2294151"/>
                      <a:pt x="2698264" y="2272564"/>
                    </a:cubicBezTo>
                    <a:cubicBezTo>
                      <a:pt x="2698264" y="2250977"/>
                      <a:pt x="2715765" y="2233477"/>
                      <a:pt x="2737354" y="2233477"/>
                    </a:cubicBezTo>
                    <a:close/>
                    <a:moveTo>
                      <a:pt x="2645073" y="2233477"/>
                    </a:moveTo>
                    <a:cubicBezTo>
                      <a:pt x="2666661" y="2233477"/>
                      <a:pt x="2684163" y="2250977"/>
                      <a:pt x="2684163" y="2272564"/>
                    </a:cubicBezTo>
                    <a:cubicBezTo>
                      <a:pt x="2684163" y="2294151"/>
                      <a:pt x="2666661" y="2311651"/>
                      <a:pt x="2645073" y="2311651"/>
                    </a:cubicBezTo>
                    <a:cubicBezTo>
                      <a:pt x="2623487" y="2311651"/>
                      <a:pt x="2605987" y="2294151"/>
                      <a:pt x="2605987" y="2272564"/>
                    </a:cubicBezTo>
                    <a:cubicBezTo>
                      <a:pt x="2605987" y="2250977"/>
                      <a:pt x="2623487" y="2233477"/>
                      <a:pt x="2645073" y="2233477"/>
                    </a:cubicBezTo>
                    <a:close/>
                    <a:moveTo>
                      <a:pt x="2550435" y="2233477"/>
                    </a:moveTo>
                    <a:cubicBezTo>
                      <a:pt x="2572021" y="2233477"/>
                      <a:pt x="2589521" y="2250977"/>
                      <a:pt x="2589521" y="2272564"/>
                    </a:cubicBezTo>
                    <a:cubicBezTo>
                      <a:pt x="2589521" y="2294151"/>
                      <a:pt x="2572021" y="2311651"/>
                      <a:pt x="2550435" y="2311651"/>
                    </a:cubicBezTo>
                    <a:cubicBezTo>
                      <a:pt x="2528848" y="2311651"/>
                      <a:pt x="2511349" y="2294151"/>
                      <a:pt x="2511349" y="2272564"/>
                    </a:cubicBezTo>
                    <a:cubicBezTo>
                      <a:pt x="2511349" y="2250977"/>
                      <a:pt x="2528848" y="2233477"/>
                      <a:pt x="2550435" y="2233477"/>
                    </a:cubicBezTo>
                    <a:close/>
                    <a:moveTo>
                      <a:pt x="2458164" y="2233477"/>
                    </a:moveTo>
                    <a:cubicBezTo>
                      <a:pt x="2479749" y="2233477"/>
                      <a:pt x="2497250" y="2250977"/>
                      <a:pt x="2497250" y="2272564"/>
                    </a:cubicBezTo>
                    <a:cubicBezTo>
                      <a:pt x="2497250" y="2294151"/>
                      <a:pt x="2479749" y="2311651"/>
                      <a:pt x="2458164" y="2311651"/>
                    </a:cubicBezTo>
                    <a:cubicBezTo>
                      <a:pt x="2436578" y="2311651"/>
                      <a:pt x="2419078" y="2294151"/>
                      <a:pt x="2419078" y="2272564"/>
                    </a:cubicBezTo>
                    <a:cubicBezTo>
                      <a:pt x="2419078" y="2250977"/>
                      <a:pt x="2436578" y="2233477"/>
                      <a:pt x="2458164" y="2233477"/>
                    </a:cubicBezTo>
                    <a:close/>
                    <a:moveTo>
                      <a:pt x="2363524" y="2233477"/>
                    </a:moveTo>
                    <a:cubicBezTo>
                      <a:pt x="2385111" y="2233477"/>
                      <a:pt x="2402611" y="2250977"/>
                      <a:pt x="2402611" y="2272564"/>
                    </a:cubicBezTo>
                    <a:cubicBezTo>
                      <a:pt x="2402611" y="2294151"/>
                      <a:pt x="2385111" y="2311651"/>
                      <a:pt x="2363524" y="2311651"/>
                    </a:cubicBezTo>
                    <a:cubicBezTo>
                      <a:pt x="2341937" y="2311651"/>
                      <a:pt x="2324437" y="2294151"/>
                      <a:pt x="2324437" y="2272564"/>
                    </a:cubicBezTo>
                    <a:cubicBezTo>
                      <a:pt x="2324437" y="2250977"/>
                      <a:pt x="2341937" y="2233477"/>
                      <a:pt x="2363524" y="2233477"/>
                    </a:cubicBezTo>
                    <a:close/>
                    <a:moveTo>
                      <a:pt x="1329597" y="2233477"/>
                    </a:moveTo>
                    <a:cubicBezTo>
                      <a:pt x="1351184" y="2233477"/>
                      <a:pt x="1368685" y="2250977"/>
                      <a:pt x="1368685" y="2272564"/>
                    </a:cubicBezTo>
                    <a:cubicBezTo>
                      <a:pt x="1368685" y="2294151"/>
                      <a:pt x="1351184" y="2311651"/>
                      <a:pt x="1329597" y="2311651"/>
                    </a:cubicBezTo>
                    <a:cubicBezTo>
                      <a:pt x="1308012" y="2311651"/>
                      <a:pt x="1290512" y="2294151"/>
                      <a:pt x="1290512" y="2272564"/>
                    </a:cubicBezTo>
                    <a:cubicBezTo>
                      <a:pt x="1290512" y="2250977"/>
                      <a:pt x="1308012" y="2233477"/>
                      <a:pt x="1329597" y="2233477"/>
                    </a:cubicBezTo>
                    <a:close/>
                    <a:moveTo>
                      <a:pt x="1232596" y="2233477"/>
                    </a:moveTo>
                    <a:cubicBezTo>
                      <a:pt x="1254184" y="2233477"/>
                      <a:pt x="1271678" y="2250977"/>
                      <a:pt x="1271678" y="2272564"/>
                    </a:cubicBezTo>
                    <a:cubicBezTo>
                      <a:pt x="1271678" y="2294151"/>
                      <a:pt x="1254184" y="2311651"/>
                      <a:pt x="1232596" y="2311651"/>
                    </a:cubicBezTo>
                    <a:cubicBezTo>
                      <a:pt x="1211007" y="2311651"/>
                      <a:pt x="1193508" y="2294151"/>
                      <a:pt x="1193508" y="2272564"/>
                    </a:cubicBezTo>
                    <a:cubicBezTo>
                      <a:pt x="1193508" y="2250977"/>
                      <a:pt x="1211007" y="2233477"/>
                      <a:pt x="1232596" y="2233477"/>
                    </a:cubicBezTo>
                    <a:close/>
                    <a:moveTo>
                      <a:pt x="1142686" y="2233477"/>
                    </a:moveTo>
                    <a:cubicBezTo>
                      <a:pt x="1164275" y="2233477"/>
                      <a:pt x="1181776" y="2250977"/>
                      <a:pt x="1181776" y="2272564"/>
                    </a:cubicBezTo>
                    <a:cubicBezTo>
                      <a:pt x="1181776" y="2294151"/>
                      <a:pt x="1164275" y="2311651"/>
                      <a:pt x="1142686" y="2311651"/>
                    </a:cubicBezTo>
                    <a:cubicBezTo>
                      <a:pt x="1121097" y="2311651"/>
                      <a:pt x="1103596" y="2294151"/>
                      <a:pt x="1103596" y="2272564"/>
                    </a:cubicBezTo>
                    <a:cubicBezTo>
                      <a:pt x="1103596" y="2250977"/>
                      <a:pt x="1121097" y="2233477"/>
                      <a:pt x="1142686" y="2233477"/>
                    </a:cubicBezTo>
                    <a:close/>
                    <a:moveTo>
                      <a:pt x="1045675" y="2233477"/>
                    </a:moveTo>
                    <a:cubicBezTo>
                      <a:pt x="1067261" y="2233477"/>
                      <a:pt x="1084762" y="2250977"/>
                      <a:pt x="1084762" y="2272564"/>
                    </a:cubicBezTo>
                    <a:cubicBezTo>
                      <a:pt x="1084762" y="2294151"/>
                      <a:pt x="1067261" y="2311651"/>
                      <a:pt x="1045675" y="2311651"/>
                    </a:cubicBezTo>
                    <a:cubicBezTo>
                      <a:pt x="1024088" y="2311651"/>
                      <a:pt x="1006589" y="2294151"/>
                      <a:pt x="1006589" y="2272564"/>
                    </a:cubicBezTo>
                    <a:cubicBezTo>
                      <a:pt x="1006589" y="2250977"/>
                      <a:pt x="1024088" y="2233477"/>
                      <a:pt x="1045675" y="2233477"/>
                    </a:cubicBezTo>
                    <a:close/>
                    <a:moveTo>
                      <a:pt x="3584377" y="2145935"/>
                    </a:moveTo>
                    <a:cubicBezTo>
                      <a:pt x="3605964" y="2145935"/>
                      <a:pt x="3623463" y="2163435"/>
                      <a:pt x="3623463" y="2185022"/>
                    </a:cubicBezTo>
                    <a:cubicBezTo>
                      <a:pt x="3623463" y="2206609"/>
                      <a:pt x="3605964" y="2224109"/>
                      <a:pt x="3584377" y="2224109"/>
                    </a:cubicBezTo>
                    <a:cubicBezTo>
                      <a:pt x="3562789" y="2224109"/>
                      <a:pt x="3545289" y="2206609"/>
                      <a:pt x="3545289" y="2185022"/>
                    </a:cubicBezTo>
                    <a:cubicBezTo>
                      <a:pt x="3545289" y="2163435"/>
                      <a:pt x="3562789" y="2145935"/>
                      <a:pt x="3584377" y="2145935"/>
                    </a:cubicBezTo>
                    <a:close/>
                    <a:moveTo>
                      <a:pt x="3489737" y="2145935"/>
                    </a:moveTo>
                    <a:cubicBezTo>
                      <a:pt x="3511324" y="2145935"/>
                      <a:pt x="3528823" y="2163435"/>
                      <a:pt x="3528823" y="2185022"/>
                    </a:cubicBezTo>
                    <a:cubicBezTo>
                      <a:pt x="3528823" y="2206609"/>
                      <a:pt x="3511324" y="2224109"/>
                      <a:pt x="3489737" y="2224109"/>
                    </a:cubicBezTo>
                    <a:cubicBezTo>
                      <a:pt x="3468149" y="2224109"/>
                      <a:pt x="3450649" y="2206609"/>
                      <a:pt x="3450649" y="2185022"/>
                    </a:cubicBezTo>
                    <a:cubicBezTo>
                      <a:pt x="3450649" y="2163435"/>
                      <a:pt x="3468149" y="2145935"/>
                      <a:pt x="3489737" y="2145935"/>
                    </a:cubicBezTo>
                    <a:close/>
                    <a:moveTo>
                      <a:pt x="3392731" y="2145935"/>
                    </a:moveTo>
                    <a:cubicBezTo>
                      <a:pt x="3414319" y="2145935"/>
                      <a:pt x="3431819" y="2163435"/>
                      <a:pt x="3431819" y="2185022"/>
                    </a:cubicBezTo>
                    <a:cubicBezTo>
                      <a:pt x="3431819" y="2206609"/>
                      <a:pt x="3414319" y="2224109"/>
                      <a:pt x="3392731" y="2224109"/>
                    </a:cubicBezTo>
                    <a:cubicBezTo>
                      <a:pt x="3371144" y="2224109"/>
                      <a:pt x="3353644" y="2206609"/>
                      <a:pt x="3353644" y="2185022"/>
                    </a:cubicBezTo>
                    <a:cubicBezTo>
                      <a:pt x="3353644" y="2163435"/>
                      <a:pt x="3371144" y="2145935"/>
                      <a:pt x="3392731" y="2145935"/>
                    </a:cubicBezTo>
                    <a:close/>
                    <a:moveTo>
                      <a:pt x="3300457" y="2145935"/>
                    </a:moveTo>
                    <a:cubicBezTo>
                      <a:pt x="3322044" y="2145935"/>
                      <a:pt x="3339544" y="2163435"/>
                      <a:pt x="3339544" y="2185022"/>
                    </a:cubicBezTo>
                    <a:cubicBezTo>
                      <a:pt x="3339544" y="2206609"/>
                      <a:pt x="3322044" y="2224109"/>
                      <a:pt x="3300457" y="2224109"/>
                    </a:cubicBezTo>
                    <a:cubicBezTo>
                      <a:pt x="3278869" y="2224109"/>
                      <a:pt x="3261369" y="2206609"/>
                      <a:pt x="3261369" y="2185022"/>
                    </a:cubicBezTo>
                    <a:cubicBezTo>
                      <a:pt x="3261369" y="2163435"/>
                      <a:pt x="3278869" y="2145935"/>
                      <a:pt x="3300457" y="2145935"/>
                    </a:cubicBezTo>
                    <a:close/>
                    <a:moveTo>
                      <a:pt x="3205817" y="2145935"/>
                    </a:moveTo>
                    <a:cubicBezTo>
                      <a:pt x="3227404" y="2145935"/>
                      <a:pt x="3244904" y="2163435"/>
                      <a:pt x="3244904" y="2185022"/>
                    </a:cubicBezTo>
                    <a:cubicBezTo>
                      <a:pt x="3244904" y="2206609"/>
                      <a:pt x="3227404" y="2224109"/>
                      <a:pt x="3205817" y="2224109"/>
                    </a:cubicBezTo>
                    <a:cubicBezTo>
                      <a:pt x="3184229" y="2224109"/>
                      <a:pt x="3166729" y="2206609"/>
                      <a:pt x="3166729" y="2185022"/>
                    </a:cubicBezTo>
                    <a:cubicBezTo>
                      <a:pt x="3166729" y="2163435"/>
                      <a:pt x="3184229" y="2145935"/>
                      <a:pt x="3205817" y="2145935"/>
                    </a:cubicBezTo>
                    <a:close/>
                    <a:moveTo>
                      <a:pt x="3111177" y="2145935"/>
                    </a:moveTo>
                    <a:cubicBezTo>
                      <a:pt x="3132764" y="2145935"/>
                      <a:pt x="3150264" y="2163435"/>
                      <a:pt x="3150264" y="2185022"/>
                    </a:cubicBezTo>
                    <a:cubicBezTo>
                      <a:pt x="3150264" y="2206609"/>
                      <a:pt x="3132764" y="2224109"/>
                      <a:pt x="3111177" y="2224109"/>
                    </a:cubicBezTo>
                    <a:cubicBezTo>
                      <a:pt x="3089589" y="2224109"/>
                      <a:pt x="3072089" y="2206609"/>
                      <a:pt x="3072089" y="2185022"/>
                    </a:cubicBezTo>
                    <a:cubicBezTo>
                      <a:pt x="3072089" y="2163435"/>
                      <a:pt x="3089589" y="2145935"/>
                      <a:pt x="3111177" y="2145935"/>
                    </a:cubicBezTo>
                    <a:close/>
                    <a:moveTo>
                      <a:pt x="3018902" y="2145935"/>
                    </a:moveTo>
                    <a:cubicBezTo>
                      <a:pt x="3040489" y="2145935"/>
                      <a:pt x="3057989" y="2163435"/>
                      <a:pt x="3057989" y="2185022"/>
                    </a:cubicBezTo>
                    <a:cubicBezTo>
                      <a:pt x="3057989" y="2206609"/>
                      <a:pt x="3040489" y="2224109"/>
                      <a:pt x="3018902" y="2224109"/>
                    </a:cubicBezTo>
                    <a:cubicBezTo>
                      <a:pt x="2997315" y="2224109"/>
                      <a:pt x="2979815" y="2206609"/>
                      <a:pt x="2979815" y="2185022"/>
                    </a:cubicBezTo>
                    <a:cubicBezTo>
                      <a:pt x="2979815" y="2163435"/>
                      <a:pt x="2997315" y="2145935"/>
                      <a:pt x="3018902" y="2145935"/>
                    </a:cubicBezTo>
                    <a:close/>
                    <a:moveTo>
                      <a:pt x="2924263" y="2145935"/>
                    </a:moveTo>
                    <a:cubicBezTo>
                      <a:pt x="2945850" y="2145935"/>
                      <a:pt x="2963349" y="2163435"/>
                      <a:pt x="2963349" y="2185022"/>
                    </a:cubicBezTo>
                    <a:cubicBezTo>
                      <a:pt x="2963349" y="2206609"/>
                      <a:pt x="2945850" y="2224109"/>
                      <a:pt x="2924263" y="2224109"/>
                    </a:cubicBezTo>
                    <a:cubicBezTo>
                      <a:pt x="2902675" y="2224109"/>
                      <a:pt x="2885175" y="2206609"/>
                      <a:pt x="2885175" y="2185022"/>
                    </a:cubicBezTo>
                    <a:cubicBezTo>
                      <a:pt x="2885175" y="2163435"/>
                      <a:pt x="2902675" y="2145935"/>
                      <a:pt x="2924263" y="2145935"/>
                    </a:cubicBezTo>
                    <a:close/>
                    <a:moveTo>
                      <a:pt x="2831988" y="2145935"/>
                    </a:moveTo>
                    <a:cubicBezTo>
                      <a:pt x="2853575" y="2145935"/>
                      <a:pt x="2871075" y="2163435"/>
                      <a:pt x="2871075" y="2185022"/>
                    </a:cubicBezTo>
                    <a:cubicBezTo>
                      <a:pt x="2871075" y="2206609"/>
                      <a:pt x="2853575" y="2224109"/>
                      <a:pt x="2831988" y="2224109"/>
                    </a:cubicBezTo>
                    <a:cubicBezTo>
                      <a:pt x="2810401" y="2224109"/>
                      <a:pt x="2792901" y="2206609"/>
                      <a:pt x="2792901" y="2185022"/>
                    </a:cubicBezTo>
                    <a:cubicBezTo>
                      <a:pt x="2792901" y="2163435"/>
                      <a:pt x="2810401" y="2145935"/>
                      <a:pt x="2831988" y="2145935"/>
                    </a:cubicBezTo>
                    <a:close/>
                    <a:moveTo>
                      <a:pt x="2737355" y="2145935"/>
                    </a:moveTo>
                    <a:cubicBezTo>
                      <a:pt x="2758935" y="2145935"/>
                      <a:pt x="2776435" y="2163435"/>
                      <a:pt x="2776435" y="2185022"/>
                    </a:cubicBezTo>
                    <a:cubicBezTo>
                      <a:pt x="2776435" y="2206609"/>
                      <a:pt x="2758935" y="2224109"/>
                      <a:pt x="2737355" y="2224109"/>
                    </a:cubicBezTo>
                    <a:cubicBezTo>
                      <a:pt x="2715766" y="2224109"/>
                      <a:pt x="2698264" y="2206609"/>
                      <a:pt x="2698264" y="2185022"/>
                    </a:cubicBezTo>
                    <a:cubicBezTo>
                      <a:pt x="2698264" y="2163435"/>
                      <a:pt x="2715766" y="2145935"/>
                      <a:pt x="2737355" y="2145935"/>
                    </a:cubicBezTo>
                    <a:close/>
                    <a:moveTo>
                      <a:pt x="2645073" y="2145935"/>
                    </a:moveTo>
                    <a:cubicBezTo>
                      <a:pt x="2666661" y="2145935"/>
                      <a:pt x="2684163" y="2163435"/>
                      <a:pt x="2684163" y="2185022"/>
                    </a:cubicBezTo>
                    <a:cubicBezTo>
                      <a:pt x="2684163" y="2206609"/>
                      <a:pt x="2666661" y="2224109"/>
                      <a:pt x="2645073" y="2224109"/>
                    </a:cubicBezTo>
                    <a:cubicBezTo>
                      <a:pt x="2623487" y="2224109"/>
                      <a:pt x="2605987" y="2206609"/>
                      <a:pt x="2605987" y="2185022"/>
                    </a:cubicBezTo>
                    <a:cubicBezTo>
                      <a:pt x="2605987" y="2163435"/>
                      <a:pt x="2623487" y="2145935"/>
                      <a:pt x="2645073" y="2145935"/>
                    </a:cubicBezTo>
                    <a:close/>
                    <a:moveTo>
                      <a:pt x="2550435" y="2145935"/>
                    </a:moveTo>
                    <a:cubicBezTo>
                      <a:pt x="2572023" y="2145935"/>
                      <a:pt x="2589521" y="2163435"/>
                      <a:pt x="2589521" y="2185022"/>
                    </a:cubicBezTo>
                    <a:cubicBezTo>
                      <a:pt x="2589521" y="2206609"/>
                      <a:pt x="2572023" y="2224109"/>
                      <a:pt x="2550435" y="2224109"/>
                    </a:cubicBezTo>
                    <a:cubicBezTo>
                      <a:pt x="2528848" y="2224109"/>
                      <a:pt x="2511350" y="2206609"/>
                      <a:pt x="2511350" y="2185022"/>
                    </a:cubicBezTo>
                    <a:cubicBezTo>
                      <a:pt x="2511350" y="2163435"/>
                      <a:pt x="2528848" y="2145935"/>
                      <a:pt x="2550435" y="2145935"/>
                    </a:cubicBezTo>
                    <a:close/>
                    <a:moveTo>
                      <a:pt x="2458164" y="2145935"/>
                    </a:moveTo>
                    <a:cubicBezTo>
                      <a:pt x="2479749" y="2145935"/>
                      <a:pt x="2497250" y="2163435"/>
                      <a:pt x="2497250" y="2185022"/>
                    </a:cubicBezTo>
                    <a:cubicBezTo>
                      <a:pt x="2497250" y="2206609"/>
                      <a:pt x="2479749" y="2224109"/>
                      <a:pt x="2458164" y="2224109"/>
                    </a:cubicBezTo>
                    <a:cubicBezTo>
                      <a:pt x="2436578" y="2224109"/>
                      <a:pt x="2419078" y="2206609"/>
                      <a:pt x="2419078" y="2185022"/>
                    </a:cubicBezTo>
                    <a:cubicBezTo>
                      <a:pt x="2419078" y="2163435"/>
                      <a:pt x="2436578" y="2145935"/>
                      <a:pt x="2458164" y="2145935"/>
                    </a:cubicBezTo>
                    <a:close/>
                    <a:moveTo>
                      <a:pt x="2363524" y="2145935"/>
                    </a:moveTo>
                    <a:cubicBezTo>
                      <a:pt x="2385113" y="2145935"/>
                      <a:pt x="2402611" y="2163435"/>
                      <a:pt x="2402611" y="2185022"/>
                    </a:cubicBezTo>
                    <a:cubicBezTo>
                      <a:pt x="2402611" y="2206609"/>
                      <a:pt x="2385113" y="2224109"/>
                      <a:pt x="2363524" y="2224109"/>
                    </a:cubicBezTo>
                    <a:cubicBezTo>
                      <a:pt x="2341939" y="2224109"/>
                      <a:pt x="2324437" y="2206609"/>
                      <a:pt x="2324437" y="2185022"/>
                    </a:cubicBezTo>
                    <a:cubicBezTo>
                      <a:pt x="2324437" y="2163435"/>
                      <a:pt x="2341939" y="2145935"/>
                      <a:pt x="2363524" y="2145935"/>
                    </a:cubicBezTo>
                    <a:close/>
                    <a:moveTo>
                      <a:pt x="2266521" y="2145935"/>
                    </a:moveTo>
                    <a:cubicBezTo>
                      <a:pt x="2288105" y="2145935"/>
                      <a:pt x="2305606" y="2163435"/>
                      <a:pt x="2305606" y="2185022"/>
                    </a:cubicBezTo>
                    <a:cubicBezTo>
                      <a:pt x="2305606" y="2206609"/>
                      <a:pt x="2288105" y="2224109"/>
                      <a:pt x="2266521" y="2224109"/>
                    </a:cubicBezTo>
                    <a:cubicBezTo>
                      <a:pt x="2244929" y="2224109"/>
                      <a:pt x="2227432" y="2206609"/>
                      <a:pt x="2227432" y="2185022"/>
                    </a:cubicBezTo>
                    <a:cubicBezTo>
                      <a:pt x="2227432" y="2163435"/>
                      <a:pt x="2244929" y="2145935"/>
                      <a:pt x="2266521" y="2145935"/>
                    </a:cubicBezTo>
                    <a:close/>
                    <a:moveTo>
                      <a:pt x="1232598" y="2145935"/>
                    </a:moveTo>
                    <a:cubicBezTo>
                      <a:pt x="1254184" y="2145935"/>
                      <a:pt x="1271681" y="2163435"/>
                      <a:pt x="1271681" y="2185022"/>
                    </a:cubicBezTo>
                    <a:cubicBezTo>
                      <a:pt x="1271681" y="2206609"/>
                      <a:pt x="1254184" y="2224109"/>
                      <a:pt x="1232598" y="2224109"/>
                    </a:cubicBezTo>
                    <a:cubicBezTo>
                      <a:pt x="1211010" y="2224109"/>
                      <a:pt x="1193510" y="2206609"/>
                      <a:pt x="1193510" y="2185022"/>
                    </a:cubicBezTo>
                    <a:cubicBezTo>
                      <a:pt x="1193510" y="2163435"/>
                      <a:pt x="1211010" y="2145935"/>
                      <a:pt x="1232598" y="2145935"/>
                    </a:cubicBezTo>
                    <a:close/>
                    <a:moveTo>
                      <a:pt x="1142689" y="2145935"/>
                    </a:moveTo>
                    <a:cubicBezTo>
                      <a:pt x="1164277" y="2145935"/>
                      <a:pt x="1181778" y="2163435"/>
                      <a:pt x="1181778" y="2185022"/>
                    </a:cubicBezTo>
                    <a:cubicBezTo>
                      <a:pt x="1181778" y="2206609"/>
                      <a:pt x="1164277" y="2224109"/>
                      <a:pt x="1142689" y="2224109"/>
                    </a:cubicBezTo>
                    <a:cubicBezTo>
                      <a:pt x="1121099" y="2224109"/>
                      <a:pt x="1103598" y="2206609"/>
                      <a:pt x="1103598" y="2185022"/>
                    </a:cubicBezTo>
                    <a:cubicBezTo>
                      <a:pt x="1103598" y="2163435"/>
                      <a:pt x="1121099" y="2145935"/>
                      <a:pt x="1142689" y="2145935"/>
                    </a:cubicBezTo>
                    <a:close/>
                    <a:moveTo>
                      <a:pt x="1045676" y="2145935"/>
                    </a:moveTo>
                    <a:cubicBezTo>
                      <a:pt x="1067262" y="2145935"/>
                      <a:pt x="1084764" y="2163435"/>
                      <a:pt x="1084764" y="2185022"/>
                    </a:cubicBezTo>
                    <a:cubicBezTo>
                      <a:pt x="1084764" y="2206609"/>
                      <a:pt x="1067262" y="2224109"/>
                      <a:pt x="1045676" y="2224109"/>
                    </a:cubicBezTo>
                    <a:cubicBezTo>
                      <a:pt x="1024090" y="2224109"/>
                      <a:pt x="1006591" y="2206609"/>
                      <a:pt x="1006591" y="2185022"/>
                    </a:cubicBezTo>
                    <a:cubicBezTo>
                      <a:pt x="1006591" y="2163435"/>
                      <a:pt x="1024090" y="2145935"/>
                      <a:pt x="1045676" y="2145935"/>
                    </a:cubicBezTo>
                    <a:close/>
                    <a:moveTo>
                      <a:pt x="951041" y="2145935"/>
                    </a:moveTo>
                    <a:cubicBezTo>
                      <a:pt x="972627" y="2145935"/>
                      <a:pt x="990126" y="2163435"/>
                      <a:pt x="990126" y="2185022"/>
                    </a:cubicBezTo>
                    <a:cubicBezTo>
                      <a:pt x="990126" y="2206609"/>
                      <a:pt x="972627" y="2224109"/>
                      <a:pt x="951041" y="2224109"/>
                    </a:cubicBezTo>
                    <a:cubicBezTo>
                      <a:pt x="929455" y="2224109"/>
                      <a:pt x="911956" y="2206609"/>
                      <a:pt x="911956" y="2185022"/>
                    </a:cubicBezTo>
                    <a:cubicBezTo>
                      <a:pt x="911956" y="2163435"/>
                      <a:pt x="929455" y="2145935"/>
                      <a:pt x="951041" y="2145935"/>
                    </a:cubicBezTo>
                    <a:close/>
                    <a:moveTo>
                      <a:pt x="856406" y="2145935"/>
                    </a:moveTo>
                    <a:cubicBezTo>
                      <a:pt x="877992" y="2145935"/>
                      <a:pt x="895491" y="2163435"/>
                      <a:pt x="895491" y="2185022"/>
                    </a:cubicBezTo>
                    <a:cubicBezTo>
                      <a:pt x="895491" y="2206609"/>
                      <a:pt x="877992" y="2224109"/>
                      <a:pt x="856406" y="2224109"/>
                    </a:cubicBezTo>
                    <a:cubicBezTo>
                      <a:pt x="834820" y="2224109"/>
                      <a:pt x="817321" y="2206609"/>
                      <a:pt x="817321" y="2185022"/>
                    </a:cubicBezTo>
                    <a:cubicBezTo>
                      <a:pt x="817321" y="2163435"/>
                      <a:pt x="834820" y="2145935"/>
                      <a:pt x="856406" y="2145935"/>
                    </a:cubicBezTo>
                    <a:close/>
                    <a:moveTo>
                      <a:pt x="3300457" y="2056027"/>
                    </a:moveTo>
                    <a:cubicBezTo>
                      <a:pt x="3322044" y="2056027"/>
                      <a:pt x="3339544" y="2073527"/>
                      <a:pt x="3339544" y="2095114"/>
                    </a:cubicBezTo>
                    <a:cubicBezTo>
                      <a:pt x="3339544" y="2116701"/>
                      <a:pt x="3322044" y="2134201"/>
                      <a:pt x="3300457" y="2134201"/>
                    </a:cubicBezTo>
                    <a:cubicBezTo>
                      <a:pt x="3278869" y="2134201"/>
                      <a:pt x="3261369" y="2116701"/>
                      <a:pt x="3261369" y="2095114"/>
                    </a:cubicBezTo>
                    <a:cubicBezTo>
                      <a:pt x="3261369" y="2073527"/>
                      <a:pt x="3278869" y="2056027"/>
                      <a:pt x="3300457" y="2056027"/>
                    </a:cubicBezTo>
                    <a:close/>
                    <a:moveTo>
                      <a:pt x="3205817" y="2056027"/>
                    </a:moveTo>
                    <a:cubicBezTo>
                      <a:pt x="3227404" y="2056027"/>
                      <a:pt x="3244904" y="2073527"/>
                      <a:pt x="3244904" y="2095114"/>
                    </a:cubicBezTo>
                    <a:cubicBezTo>
                      <a:pt x="3244904" y="2116701"/>
                      <a:pt x="3227404" y="2134201"/>
                      <a:pt x="3205817" y="2134201"/>
                    </a:cubicBezTo>
                    <a:cubicBezTo>
                      <a:pt x="3184229" y="2134201"/>
                      <a:pt x="3166729" y="2116701"/>
                      <a:pt x="3166729" y="2095114"/>
                    </a:cubicBezTo>
                    <a:cubicBezTo>
                      <a:pt x="3166729" y="2073527"/>
                      <a:pt x="3184229" y="2056027"/>
                      <a:pt x="3205817" y="2056027"/>
                    </a:cubicBezTo>
                    <a:close/>
                    <a:moveTo>
                      <a:pt x="3111177" y="2056027"/>
                    </a:moveTo>
                    <a:cubicBezTo>
                      <a:pt x="3132764" y="2056027"/>
                      <a:pt x="3150264" y="2073527"/>
                      <a:pt x="3150264" y="2095114"/>
                    </a:cubicBezTo>
                    <a:cubicBezTo>
                      <a:pt x="3150264" y="2116701"/>
                      <a:pt x="3132764" y="2134201"/>
                      <a:pt x="3111177" y="2134201"/>
                    </a:cubicBezTo>
                    <a:cubicBezTo>
                      <a:pt x="3089589" y="2134201"/>
                      <a:pt x="3072089" y="2116701"/>
                      <a:pt x="3072089" y="2095114"/>
                    </a:cubicBezTo>
                    <a:cubicBezTo>
                      <a:pt x="3072089" y="2073527"/>
                      <a:pt x="3089589" y="2056027"/>
                      <a:pt x="3111177" y="2056027"/>
                    </a:cubicBezTo>
                    <a:close/>
                    <a:moveTo>
                      <a:pt x="3018902" y="2056027"/>
                    </a:moveTo>
                    <a:cubicBezTo>
                      <a:pt x="3040489" y="2056027"/>
                      <a:pt x="3057989" y="2073527"/>
                      <a:pt x="3057989" y="2095114"/>
                    </a:cubicBezTo>
                    <a:cubicBezTo>
                      <a:pt x="3057989" y="2116701"/>
                      <a:pt x="3040489" y="2134201"/>
                      <a:pt x="3018902" y="2134201"/>
                    </a:cubicBezTo>
                    <a:cubicBezTo>
                      <a:pt x="2997315" y="2134201"/>
                      <a:pt x="2979815" y="2116701"/>
                      <a:pt x="2979815" y="2095114"/>
                    </a:cubicBezTo>
                    <a:cubicBezTo>
                      <a:pt x="2979815" y="2073527"/>
                      <a:pt x="2997315" y="2056027"/>
                      <a:pt x="3018902" y="2056027"/>
                    </a:cubicBezTo>
                    <a:close/>
                    <a:moveTo>
                      <a:pt x="2924263" y="2056027"/>
                    </a:moveTo>
                    <a:cubicBezTo>
                      <a:pt x="2945850" y="2056027"/>
                      <a:pt x="2963349" y="2073527"/>
                      <a:pt x="2963349" y="2095114"/>
                    </a:cubicBezTo>
                    <a:cubicBezTo>
                      <a:pt x="2963349" y="2116701"/>
                      <a:pt x="2945850" y="2134201"/>
                      <a:pt x="2924263" y="2134201"/>
                    </a:cubicBezTo>
                    <a:cubicBezTo>
                      <a:pt x="2902675" y="2134201"/>
                      <a:pt x="2885175" y="2116701"/>
                      <a:pt x="2885175" y="2095114"/>
                    </a:cubicBezTo>
                    <a:cubicBezTo>
                      <a:pt x="2885175" y="2073527"/>
                      <a:pt x="2902675" y="2056027"/>
                      <a:pt x="2924263" y="2056027"/>
                    </a:cubicBezTo>
                    <a:close/>
                    <a:moveTo>
                      <a:pt x="2831987" y="2056026"/>
                    </a:moveTo>
                    <a:cubicBezTo>
                      <a:pt x="2853574" y="2056026"/>
                      <a:pt x="2871074" y="2073526"/>
                      <a:pt x="2871074" y="2095113"/>
                    </a:cubicBezTo>
                    <a:cubicBezTo>
                      <a:pt x="2871074" y="2116700"/>
                      <a:pt x="2853574" y="2134200"/>
                      <a:pt x="2831987" y="2134200"/>
                    </a:cubicBezTo>
                    <a:cubicBezTo>
                      <a:pt x="2810400" y="2134200"/>
                      <a:pt x="2792900" y="2116700"/>
                      <a:pt x="2792900" y="2095113"/>
                    </a:cubicBezTo>
                    <a:cubicBezTo>
                      <a:pt x="2792900" y="2073526"/>
                      <a:pt x="2810400" y="2056026"/>
                      <a:pt x="2831987" y="2056026"/>
                    </a:cubicBezTo>
                    <a:close/>
                    <a:moveTo>
                      <a:pt x="2737355" y="2056026"/>
                    </a:moveTo>
                    <a:cubicBezTo>
                      <a:pt x="2758934" y="2056026"/>
                      <a:pt x="2776434" y="2073526"/>
                      <a:pt x="2776434" y="2095113"/>
                    </a:cubicBezTo>
                    <a:cubicBezTo>
                      <a:pt x="2776434" y="2116700"/>
                      <a:pt x="2758934" y="2134200"/>
                      <a:pt x="2737355" y="2134200"/>
                    </a:cubicBezTo>
                    <a:cubicBezTo>
                      <a:pt x="2715766" y="2134200"/>
                      <a:pt x="2698264" y="2116700"/>
                      <a:pt x="2698264" y="2095113"/>
                    </a:cubicBezTo>
                    <a:cubicBezTo>
                      <a:pt x="2698264" y="2073526"/>
                      <a:pt x="2715766" y="2056026"/>
                      <a:pt x="2737355" y="2056026"/>
                    </a:cubicBezTo>
                    <a:close/>
                    <a:moveTo>
                      <a:pt x="2645073" y="2056026"/>
                    </a:moveTo>
                    <a:cubicBezTo>
                      <a:pt x="2666661" y="2056026"/>
                      <a:pt x="2684163" y="2073526"/>
                      <a:pt x="2684163" y="2095113"/>
                    </a:cubicBezTo>
                    <a:cubicBezTo>
                      <a:pt x="2684163" y="2116700"/>
                      <a:pt x="2666661" y="2134200"/>
                      <a:pt x="2645073" y="2134200"/>
                    </a:cubicBezTo>
                    <a:cubicBezTo>
                      <a:pt x="2623487" y="2134200"/>
                      <a:pt x="2605987" y="2116700"/>
                      <a:pt x="2605987" y="2095113"/>
                    </a:cubicBezTo>
                    <a:cubicBezTo>
                      <a:pt x="2605987" y="2073526"/>
                      <a:pt x="2623487" y="2056026"/>
                      <a:pt x="2645073" y="2056026"/>
                    </a:cubicBezTo>
                    <a:close/>
                    <a:moveTo>
                      <a:pt x="2550435" y="2056026"/>
                    </a:moveTo>
                    <a:cubicBezTo>
                      <a:pt x="2572023" y="2056026"/>
                      <a:pt x="2589522" y="2073526"/>
                      <a:pt x="2589522" y="2095113"/>
                    </a:cubicBezTo>
                    <a:cubicBezTo>
                      <a:pt x="2589522" y="2116700"/>
                      <a:pt x="2572023" y="2134200"/>
                      <a:pt x="2550435" y="2134200"/>
                    </a:cubicBezTo>
                    <a:cubicBezTo>
                      <a:pt x="2528848" y="2134200"/>
                      <a:pt x="2511350" y="2116700"/>
                      <a:pt x="2511350" y="2095113"/>
                    </a:cubicBezTo>
                    <a:cubicBezTo>
                      <a:pt x="2511350" y="2073526"/>
                      <a:pt x="2528848" y="2056026"/>
                      <a:pt x="2550435" y="2056026"/>
                    </a:cubicBezTo>
                    <a:close/>
                    <a:moveTo>
                      <a:pt x="2458164" y="2056026"/>
                    </a:moveTo>
                    <a:cubicBezTo>
                      <a:pt x="2479749" y="2056026"/>
                      <a:pt x="2497250" y="2073526"/>
                      <a:pt x="2497250" y="2095113"/>
                    </a:cubicBezTo>
                    <a:cubicBezTo>
                      <a:pt x="2497250" y="2116700"/>
                      <a:pt x="2479749" y="2134200"/>
                      <a:pt x="2458164" y="2134200"/>
                    </a:cubicBezTo>
                    <a:cubicBezTo>
                      <a:pt x="2436578" y="2134200"/>
                      <a:pt x="2419078" y="2116700"/>
                      <a:pt x="2419078" y="2095113"/>
                    </a:cubicBezTo>
                    <a:cubicBezTo>
                      <a:pt x="2419078" y="2073526"/>
                      <a:pt x="2436578" y="2056026"/>
                      <a:pt x="2458164" y="2056026"/>
                    </a:cubicBezTo>
                    <a:close/>
                    <a:moveTo>
                      <a:pt x="2363524" y="2056026"/>
                    </a:moveTo>
                    <a:cubicBezTo>
                      <a:pt x="2385111" y="2056026"/>
                      <a:pt x="2402609" y="2073526"/>
                      <a:pt x="2402609" y="2095113"/>
                    </a:cubicBezTo>
                    <a:cubicBezTo>
                      <a:pt x="2402609" y="2116700"/>
                      <a:pt x="2385111" y="2134200"/>
                      <a:pt x="2363524" y="2134200"/>
                    </a:cubicBezTo>
                    <a:cubicBezTo>
                      <a:pt x="2341937" y="2134200"/>
                      <a:pt x="2324437" y="2116700"/>
                      <a:pt x="2324437" y="2095113"/>
                    </a:cubicBezTo>
                    <a:cubicBezTo>
                      <a:pt x="2324437" y="2073526"/>
                      <a:pt x="2341937" y="2056026"/>
                      <a:pt x="2363524" y="2056026"/>
                    </a:cubicBezTo>
                    <a:close/>
                    <a:moveTo>
                      <a:pt x="2266520" y="2056026"/>
                    </a:moveTo>
                    <a:cubicBezTo>
                      <a:pt x="2288105" y="2056026"/>
                      <a:pt x="2305606" y="2073526"/>
                      <a:pt x="2305606" y="2095113"/>
                    </a:cubicBezTo>
                    <a:cubicBezTo>
                      <a:pt x="2305606" y="2116700"/>
                      <a:pt x="2288105" y="2134200"/>
                      <a:pt x="2266520" y="2134200"/>
                    </a:cubicBezTo>
                    <a:cubicBezTo>
                      <a:pt x="2244929" y="2134200"/>
                      <a:pt x="2227431" y="2116700"/>
                      <a:pt x="2227431" y="2095113"/>
                    </a:cubicBezTo>
                    <a:cubicBezTo>
                      <a:pt x="2227431" y="2073526"/>
                      <a:pt x="2244929" y="2056026"/>
                      <a:pt x="2266520" y="2056026"/>
                    </a:cubicBezTo>
                    <a:close/>
                    <a:moveTo>
                      <a:pt x="856407" y="2056026"/>
                    </a:moveTo>
                    <a:cubicBezTo>
                      <a:pt x="877993" y="2056026"/>
                      <a:pt x="895492" y="2073526"/>
                      <a:pt x="895492" y="2095113"/>
                    </a:cubicBezTo>
                    <a:cubicBezTo>
                      <a:pt x="895492" y="2116700"/>
                      <a:pt x="877993" y="2134200"/>
                      <a:pt x="856407" y="2134200"/>
                    </a:cubicBezTo>
                    <a:cubicBezTo>
                      <a:pt x="834821" y="2134200"/>
                      <a:pt x="817323" y="2116700"/>
                      <a:pt x="817323" y="2095113"/>
                    </a:cubicBezTo>
                    <a:cubicBezTo>
                      <a:pt x="817323" y="2073526"/>
                      <a:pt x="834821" y="2056026"/>
                      <a:pt x="856407" y="2056026"/>
                    </a:cubicBezTo>
                    <a:close/>
                    <a:moveTo>
                      <a:pt x="764138" y="2056026"/>
                    </a:moveTo>
                    <a:cubicBezTo>
                      <a:pt x="785725" y="2056026"/>
                      <a:pt x="803223" y="2073526"/>
                      <a:pt x="803223" y="2095113"/>
                    </a:cubicBezTo>
                    <a:cubicBezTo>
                      <a:pt x="803223" y="2116700"/>
                      <a:pt x="785725" y="2134200"/>
                      <a:pt x="764138" y="2134200"/>
                    </a:cubicBezTo>
                    <a:cubicBezTo>
                      <a:pt x="742548" y="2134200"/>
                      <a:pt x="725053" y="2116700"/>
                      <a:pt x="725053" y="2095113"/>
                    </a:cubicBezTo>
                    <a:cubicBezTo>
                      <a:pt x="725053" y="2073526"/>
                      <a:pt x="742548" y="2056026"/>
                      <a:pt x="764138" y="2056026"/>
                    </a:cubicBezTo>
                    <a:close/>
                    <a:moveTo>
                      <a:pt x="3584377" y="1973215"/>
                    </a:moveTo>
                    <a:cubicBezTo>
                      <a:pt x="3605964" y="1973215"/>
                      <a:pt x="3623463" y="1990715"/>
                      <a:pt x="3623463" y="2012302"/>
                    </a:cubicBezTo>
                    <a:cubicBezTo>
                      <a:pt x="3623463" y="2033889"/>
                      <a:pt x="3605964" y="2051389"/>
                      <a:pt x="3584377" y="2051389"/>
                    </a:cubicBezTo>
                    <a:cubicBezTo>
                      <a:pt x="3562789" y="2051389"/>
                      <a:pt x="3545289" y="2033889"/>
                      <a:pt x="3545289" y="2012302"/>
                    </a:cubicBezTo>
                    <a:cubicBezTo>
                      <a:pt x="3545289" y="1990715"/>
                      <a:pt x="3562789" y="1973215"/>
                      <a:pt x="3584377" y="1973215"/>
                    </a:cubicBezTo>
                    <a:close/>
                    <a:moveTo>
                      <a:pt x="3489737" y="1973215"/>
                    </a:moveTo>
                    <a:cubicBezTo>
                      <a:pt x="3511324" y="1973215"/>
                      <a:pt x="3528823" y="1990715"/>
                      <a:pt x="3528823" y="2012302"/>
                    </a:cubicBezTo>
                    <a:cubicBezTo>
                      <a:pt x="3528823" y="2033889"/>
                      <a:pt x="3511324" y="2051389"/>
                      <a:pt x="3489737" y="2051389"/>
                    </a:cubicBezTo>
                    <a:cubicBezTo>
                      <a:pt x="3468149" y="2051389"/>
                      <a:pt x="3450649" y="2033889"/>
                      <a:pt x="3450649" y="2012302"/>
                    </a:cubicBezTo>
                    <a:cubicBezTo>
                      <a:pt x="3450649" y="1990715"/>
                      <a:pt x="3468149" y="1973215"/>
                      <a:pt x="3489737" y="1973215"/>
                    </a:cubicBezTo>
                    <a:close/>
                    <a:moveTo>
                      <a:pt x="3392731" y="1973215"/>
                    </a:moveTo>
                    <a:cubicBezTo>
                      <a:pt x="3414319" y="1973215"/>
                      <a:pt x="3431819" y="1990715"/>
                      <a:pt x="3431819" y="2012302"/>
                    </a:cubicBezTo>
                    <a:cubicBezTo>
                      <a:pt x="3431819" y="2033889"/>
                      <a:pt x="3414319" y="2051389"/>
                      <a:pt x="3392731" y="2051389"/>
                    </a:cubicBezTo>
                    <a:cubicBezTo>
                      <a:pt x="3371144" y="2051389"/>
                      <a:pt x="3353644" y="2033889"/>
                      <a:pt x="3353644" y="2012302"/>
                    </a:cubicBezTo>
                    <a:cubicBezTo>
                      <a:pt x="3353644" y="1990715"/>
                      <a:pt x="3371144" y="1973215"/>
                      <a:pt x="3392731" y="1973215"/>
                    </a:cubicBezTo>
                    <a:close/>
                    <a:moveTo>
                      <a:pt x="3205815" y="1973215"/>
                    </a:moveTo>
                    <a:cubicBezTo>
                      <a:pt x="3227403" y="1973215"/>
                      <a:pt x="3244903" y="1990715"/>
                      <a:pt x="3244903" y="2012302"/>
                    </a:cubicBezTo>
                    <a:cubicBezTo>
                      <a:pt x="3244903" y="2033889"/>
                      <a:pt x="3227403" y="2051389"/>
                      <a:pt x="3205815" y="2051389"/>
                    </a:cubicBezTo>
                    <a:cubicBezTo>
                      <a:pt x="3184228" y="2051389"/>
                      <a:pt x="3166728" y="2033889"/>
                      <a:pt x="3166728" y="2012302"/>
                    </a:cubicBezTo>
                    <a:cubicBezTo>
                      <a:pt x="3166728" y="1990715"/>
                      <a:pt x="3184228" y="1973215"/>
                      <a:pt x="3205815" y="1973215"/>
                    </a:cubicBezTo>
                    <a:close/>
                    <a:moveTo>
                      <a:pt x="3111175" y="1973215"/>
                    </a:moveTo>
                    <a:cubicBezTo>
                      <a:pt x="3132763" y="1973215"/>
                      <a:pt x="3150263" y="1990715"/>
                      <a:pt x="3150263" y="2012302"/>
                    </a:cubicBezTo>
                    <a:cubicBezTo>
                      <a:pt x="3150263" y="2033889"/>
                      <a:pt x="3132763" y="2051389"/>
                      <a:pt x="3111175" y="2051389"/>
                    </a:cubicBezTo>
                    <a:cubicBezTo>
                      <a:pt x="3089588" y="2051389"/>
                      <a:pt x="3072088" y="2033889"/>
                      <a:pt x="3072088" y="2012302"/>
                    </a:cubicBezTo>
                    <a:cubicBezTo>
                      <a:pt x="3072088" y="1990715"/>
                      <a:pt x="3089588" y="1973215"/>
                      <a:pt x="3111175" y="1973215"/>
                    </a:cubicBezTo>
                    <a:close/>
                    <a:moveTo>
                      <a:pt x="3018902" y="1973215"/>
                    </a:moveTo>
                    <a:cubicBezTo>
                      <a:pt x="3040489" y="1973215"/>
                      <a:pt x="3057989" y="1990715"/>
                      <a:pt x="3057989" y="2012302"/>
                    </a:cubicBezTo>
                    <a:cubicBezTo>
                      <a:pt x="3057989" y="2033889"/>
                      <a:pt x="3040489" y="2051389"/>
                      <a:pt x="3018902" y="2051389"/>
                    </a:cubicBezTo>
                    <a:cubicBezTo>
                      <a:pt x="2997315" y="2051389"/>
                      <a:pt x="2979815" y="2033889"/>
                      <a:pt x="2979815" y="2012302"/>
                    </a:cubicBezTo>
                    <a:cubicBezTo>
                      <a:pt x="2979815" y="1990715"/>
                      <a:pt x="2997315" y="1973215"/>
                      <a:pt x="3018902" y="1973215"/>
                    </a:cubicBezTo>
                    <a:close/>
                    <a:moveTo>
                      <a:pt x="2924263" y="1973215"/>
                    </a:moveTo>
                    <a:cubicBezTo>
                      <a:pt x="2945850" y="1973215"/>
                      <a:pt x="2963349" y="1990715"/>
                      <a:pt x="2963349" y="2012302"/>
                    </a:cubicBezTo>
                    <a:cubicBezTo>
                      <a:pt x="2963349" y="2033889"/>
                      <a:pt x="2945850" y="2051389"/>
                      <a:pt x="2924263" y="2051389"/>
                    </a:cubicBezTo>
                    <a:cubicBezTo>
                      <a:pt x="2902675" y="2051389"/>
                      <a:pt x="2885175" y="2033889"/>
                      <a:pt x="2885175" y="2012302"/>
                    </a:cubicBezTo>
                    <a:cubicBezTo>
                      <a:pt x="2885175" y="1990715"/>
                      <a:pt x="2902675" y="1973215"/>
                      <a:pt x="2924263" y="1973215"/>
                    </a:cubicBezTo>
                    <a:close/>
                    <a:moveTo>
                      <a:pt x="2831987" y="1973215"/>
                    </a:moveTo>
                    <a:cubicBezTo>
                      <a:pt x="2853574" y="1973215"/>
                      <a:pt x="2871074" y="1990715"/>
                      <a:pt x="2871074" y="2012302"/>
                    </a:cubicBezTo>
                    <a:cubicBezTo>
                      <a:pt x="2871074" y="2033889"/>
                      <a:pt x="2853574" y="2051389"/>
                      <a:pt x="2831987" y="2051389"/>
                    </a:cubicBezTo>
                    <a:cubicBezTo>
                      <a:pt x="2810400" y="2051389"/>
                      <a:pt x="2792900" y="2033889"/>
                      <a:pt x="2792900" y="2012302"/>
                    </a:cubicBezTo>
                    <a:cubicBezTo>
                      <a:pt x="2792900" y="1990715"/>
                      <a:pt x="2810400" y="1973215"/>
                      <a:pt x="2831987" y="1973215"/>
                    </a:cubicBezTo>
                    <a:close/>
                    <a:moveTo>
                      <a:pt x="2737356" y="1973215"/>
                    </a:moveTo>
                    <a:cubicBezTo>
                      <a:pt x="2758934" y="1973215"/>
                      <a:pt x="2776434" y="1990715"/>
                      <a:pt x="2776434" y="2012302"/>
                    </a:cubicBezTo>
                    <a:cubicBezTo>
                      <a:pt x="2776434" y="2033889"/>
                      <a:pt x="2758934" y="2051389"/>
                      <a:pt x="2737356" y="2051389"/>
                    </a:cubicBezTo>
                    <a:cubicBezTo>
                      <a:pt x="2715766" y="2051389"/>
                      <a:pt x="2698264" y="2033889"/>
                      <a:pt x="2698264" y="2012302"/>
                    </a:cubicBezTo>
                    <a:cubicBezTo>
                      <a:pt x="2698264" y="1990715"/>
                      <a:pt x="2715766" y="1973215"/>
                      <a:pt x="2737356" y="1973215"/>
                    </a:cubicBezTo>
                    <a:close/>
                    <a:moveTo>
                      <a:pt x="2645073" y="1973215"/>
                    </a:moveTo>
                    <a:cubicBezTo>
                      <a:pt x="2666661" y="1973215"/>
                      <a:pt x="2684163" y="1990715"/>
                      <a:pt x="2684163" y="2012302"/>
                    </a:cubicBezTo>
                    <a:cubicBezTo>
                      <a:pt x="2684163" y="2033889"/>
                      <a:pt x="2666661" y="2051389"/>
                      <a:pt x="2645073" y="2051389"/>
                    </a:cubicBezTo>
                    <a:cubicBezTo>
                      <a:pt x="2623487" y="2051389"/>
                      <a:pt x="2605987" y="2033889"/>
                      <a:pt x="2605987" y="2012302"/>
                    </a:cubicBezTo>
                    <a:cubicBezTo>
                      <a:pt x="2605987" y="1990715"/>
                      <a:pt x="2623487" y="1973215"/>
                      <a:pt x="2645073" y="1973215"/>
                    </a:cubicBezTo>
                    <a:close/>
                    <a:moveTo>
                      <a:pt x="2550435" y="1973215"/>
                    </a:moveTo>
                    <a:cubicBezTo>
                      <a:pt x="2572023" y="1973215"/>
                      <a:pt x="2589522" y="1990715"/>
                      <a:pt x="2589522" y="2012302"/>
                    </a:cubicBezTo>
                    <a:cubicBezTo>
                      <a:pt x="2589522" y="2033889"/>
                      <a:pt x="2572023" y="2051389"/>
                      <a:pt x="2550435" y="2051389"/>
                    </a:cubicBezTo>
                    <a:cubicBezTo>
                      <a:pt x="2528848" y="2051389"/>
                      <a:pt x="2511351" y="2033889"/>
                      <a:pt x="2511351" y="2012302"/>
                    </a:cubicBezTo>
                    <a:cubicBezTo>
                      <a:pt x="2511351" y="1990715"/>
                      <a:pt x="2528848" y="1973215"/>
                      <a:pt x="2550435" y="1973215"/>
                    </a:cubicBezTo>
                    <a:close/>
                    <a:moveTo>
                      <a:pt x="2458164" y="1973215"/>
                    </a:moveTo>
                    <a:cubicBezTo>
                      <a:pt x="2479749" y="1973215"/>
                      <a:pt x="2497250" y="1990715"/>
                      <a:pt x="2497250" y="2012302"/>
                    </a:cubicBezTo>
                    <a:cubicBezTo>
                      <a:pt x="2497250" y="2033889"/>
                      <a:pt x="2479749" y="2051389"/>
                      <a:pt x="2458164" y="2051389"/>
                    </a:cubicBezTo>
                    <a:cubicBezTo>
                      <a:pt x="2436579" y="2051389"/>
                      <a:pt x="2419078" y="2033889"/>
                      <a:pt x="2419078" y="2012302"/>
                    </a:cubicBezTo>
                    <a:cubicBezTo>
                      <a:pt x="2419078" y="1990715"/>
                      <a:pt x="2436579" y="1973215"/>
                      <a:pt x="2458164" y="1973215"/>
                    </a:cubicBezTo>
                    <a:close/>
                    <a:moveTo>
                      <a:pt x="2363524" y="1973215"/>
                    </a:moveTo>
                    <a:cubicBezTo>
                      <a:pt x="2385111" y="1973215"/>
                      <a:pt x="2402609" y="1990715"/>
                      <a:pt x="2402609" y="2012302"/>
                    </a:cubicBezTo>
                    <a:cubicBezTo>
                      <a:pt x="2402609" y="2033889"/>
                      <a:pt x="2385111" y="2051389"/>
                      <a:pt x="2363524" y="2051389"/>
                    </a:cubicBezTo>
                    <a:cubicBezTo>
                      <a:pt x="2341939" y="2051389"/>
                      <a:pt x="2324437" y="2033889"/>
                      <a:pt x="2324437" y="2012302"/>
                    </a:cubicBezTo>
                    <a:cubicBezTo>
                      <a:pt x="2324437" y="1990715"/>
                      <a:pt x="2341939" y="1973215"/>
                      <a:pt x="2363524" y="1973215"/>
                    </a:cubicBezTo>
                    <a:close/>
                    <a:moveTo>
                      <a:pt x="2266521" y="1973215"/>
                    </a:moveTo>
                    <a:cubicBezTo>
                      <a:pt x="2288105" y="1973215"/>
                      <a:pt x="2305606" y="1990715"/>
                      <a:pt x="2305606" y="2012302"/>
                    </a:cubicBezTo>
                    <a:cubicBezTo>
                      <a:pt x="2305606" y="2033889"/>
                      <a:pt x="2288105" y="2051389"/>
                      <a:pt x="2266521" y="2051389"/>
                    </a:cubicBezTo>
                    <a:cubicBezTo>
                      <a:pt x="2244929" y="2051389"/>
                      <a:pt x="2227431" y="2033889"/>
                      <a:pt x="2227431" y="2012302"/>
                    </a:cubicBezTo>
                    <a:cubicBezTo>
                      <a:pt x="2227431" y="1990715"/>
                      <a:pt x="2244929" y="1973215"/>
                      <a:pt x="2266521" y="1973215"/>
                    </a:cubicBezTo>
                    <a:close/>
                    <a:moveTo>
                      <a:pt x="1142694" y="1973215"/>
                    </a:moveTo>
                    <a:cubicBezTo>
                      <a:pt x="1164282" y="1973215"/>
                      <a:pt x="1181781" y="1990715"/>
                      <a:pt x="1181781" y="2012302"/>
                    </a:cubicBezTo>
                    <a:cubicBezTo>
                      <a:pt x="1181781" y="2033889"/>
                      <a:pt x="1164282" y="2051389"/>
                      <a:pt x="1142694" y="2051389"/>
                    </a:cubicBezTo>
                    <a:cubicBezTo>
                      <a:pt x="1121104" y="2051389"/>
                      <a:pt x="1103602" y="2033889"/>
                      <a:pt x="1103602" y="2012302"/>
                    </a:cubicBezTo>
                    <a:cubicBezTo>
                      <a:pt x="1103602" y="1990715"/>
                      <a:pt x="1121104" y="1973215"/>
                      <a:pt x="1142694" y="1973215"/>
                    </a:cubicBezTo>
                    <a:close/>
                    <a:moveTo>
                      <a:pt x="764140" y="1973215"/>
                    </a:moveTo>
                    <a:cubicBezTo>
                      <a:pt x="785728" y="1973215"/>
                      <a:pt x="803226" y="1990715"/>
                      <a:pt x="803226" y="2012302"/>
                    </a:cubicBezTo>
                    <a:cubicBezTo>
                      <a:pt x="803226" y="2033889"/>
                      <a:pt x="785728" y="2051389"/>
                      <a:pt x="764140" y="2051389"/>
                    </a:cubicBezTo>
                    <a:cubicBezTo>
                      <a:pt x="742552" y="2051389"/>
                      <a:pt x="725056" y="2033889"/>
                      <a:pt x="725056" y="2012302"/>
                    </a:cubicBezTo>
                    <a:cubicBezTo>
                      <a:pt x="725056" y="1990715"/>
                      <a:pt x="742552" y="1973215"/>
                      <a:pt x="764140" y="1973215"/>
                    </a:cubicBezTo>
                    <a:close/>
                    <a:moveTo>
                      <a:pt x="669495" y="1973215"/>
                    </a:moveTo>
                    <a:cubicBezTo>
                      <a:pt x="691093" y="1973215"/>
                      <a:pt x="708592" y="1990715"/>
                      <a:pt x="708592" y="2012302"/>
                    </a:cubicBezTo>
                    <a:cubicBezTo>
                      <a:pt x="708592" y="2033889"/>
                      <a:pt x="691093" y="2051389"/>
                      <a:pt x="669495" y="2051389"/>
                    </a:cubicBezTo>
                    <a:cubicBezTo>
                      <a:pt x="647918" y="2051389"/>
                      <a:pt x="630416" y="2033889"/>
                      <a:pt x="630416" y="2012302"/>
                    </a:cubicBezTo>
                    <a:cubicBezTo>
                      <a:pt x="630416" y="1990715"/>
                      <a:pt x="647918" y="1973215"/>
                      <a:pt x="669495" y="1973215"/>
                    </a:cubicBezTo>
                    <a:close/>
                    <a:moveTo>
                      <a:pt x="577223" y="1973215"/>
                    </a:moveTo>
                    <a:cubicBezTo>
                      <a:pt x="598813" y="1973215"/>
                      <a:pt x="616315" y="1990715"/>
                      <a:pt x="616315" y="2012302"/>
                    </a:cubicBezTo>
                    <a:cubicBezTo>
                      <a:pt x="616315" y="2033889"/>
                      <a:pt x="598813" y="2051389"/>
                      <a:pt x="577223" y="2051389"/>
                    </a:cubicBezTo>
                    <a:cubicBezTo>
                      <a:pt x="555634" y="2051389"/>
                      <a:pt x="538132" y="2033889"/>
                      <a:pt x="538132" y="2012302"/>
                    </a:cubicBezTo>
                    <a:cubicBezTo>
                      <a:pt x="538132" y="1990715"/>
                      <a:pt x="555634" y="1973215"/>
                      <a:pt x="577223" y="1973215"/>
                    </a:cubicBezTo>
                    <a:close/>
                    <a:moveTo>
                      <a:pt x="484944" y="1973215"/>
                    </a:moveTo>
                    <a:cubicBezTo>
                      <a:pt x="506530" y="1973215"/>
                      <a:pt x="524029" y="1990715"/>
                      <a:pt x="524029" y="2012302"/>
                    </a:cubicBezTo>
                    <a:cubicBezTo>
                      <a:pt x="524029" y="2033889"/>
                      <a:pt x="506530" y="2051389"/>
                      <a:pt x="484944" y="2051389"/>
                    </a:cubicBezTo>
                    <a:cubicBezTo>
                      <a:pt x="463352" y="2051389"/>
                      <a:pt x="445862" y="2033889"/>
                      <a:pt x="445862" y="2012302"/>
                    </a:cubicBezTo>
                    <a:cubicBezTo>
                      <a:pt x="445862" y="1990715"/>
                      <a:pt x="463352" y="1973215"/>
                      <a:pt x="484944" y="1973215"/>
                    </a:cubicBezTo>
                    <a:close/>
                    <a:moveTo>
                      <a:pt x="3679017" y="1892773"/>
                    </a:moveTo>
                    <a:cubicBezTo>
                      <a:pt x="3700604" y="1892773"/>
                      <a:pt x="3718103" y="1910273"/>
                      <a:pt x="3718103" y="1931860"/>
                    </a:cubicBezTo>
                    <a:cubicBezTo>
                      <a:pt x="3718103" y="1953447"/>
                      <a:pt x="3700604" y="1970947"/>
                      <a:pt x="3679017" y="1970947"/>
                    </a:cubicBezTo>
                    <a:cubicBezTo>
                      <a:pt x="3657429" y="1970947"/>
                      <a:pt x="3639929" y="1953447"/>
                      <a:pt x="3639929" y="1931860"/>
                    </a:cubicBezTo>
                    <a:cubicBezTo>
                      <a:pt x="3639929" y="1910273"/>
                      <a:pt x="3657429" y="1892773"/>
                      <a:pt x="3679017" y="1892773"/>
                    </a:cubicBezTo>
                    <a:close/>
                    <a:moveTo>
                      <a:pt x="3584377" y="1892773"/>
                    </a:moveTo>
                    <a:cubicBezTo>
                      <a:pt x="3605964" y="1892773"/>
                      <a:pt x="3623463" y="1910273"/>
                      <a:pt x="3623463" y="1931860"/>
                    </a:cubicBezTo>
                    <a:cubicBezTo>
                      <a:pt x="3623463" y="1953447"/>
                      <a:pt x="3605964" y="1970947"/>
                      <a:pt x="3584377" y="1970947"/>
                    </a:cubicBezTo>
                    <a:cubicBezTo>
                      <a:pt x="3562789" y="1970947"/>
                      <a:pt x="3545289" y="1953447"/>
                      <a:pt x="3545289" y="1931860"/>
                    </a:cubicBezTo>
                    <a:cubicBezTo>
                      <a:pt x="3545289" y="1910273"/>
                      <a:pt x="3562789" y="1892773"/>
                      <a:pt x="3584377" y="1892773"/>
                    </a:cubicBezTo>
                    <a:close/>
                    <a:moveTo>
                      <a:pt x="3489737" y="1892773"/>
                    </a:moveTo>
                    <a:cubicBezTo>
                      <a:pt x="3511324" y="1892773"/>
                      <a:pt x="3528823" y="1910273"/>
                      <a:pt x="3528823" y="1931860"/>
                    </a:cubicBezTo>
                    <a:cubicBezTo>
                      <a:pt x="3528823" y="1953447"/>
                      <a:pt x="3511324" y="1970947"/>
                      <a:pt x="3489737" y="1970947"/>
                    </a:cubicBezTo>
                    <a:cubicBezTo>
                      <a:pt x="3468149" y="1970947"/>
                      <a:pt x="3450649" y="1953447"/>
                      <a:pt x="3450649" y="1931860"/>
                    </a:cubicBezTo>
                    <a:cubicBezTo>
                      <a:pt x="3450649" y="1910273"/>
                      <a:pt x="3468149" y="1892773"/>
                      <a:pt x="3489737" y="1892773"/>
                    </a:cubicBezTo>
                    <a:close/>
                    <a:moveTo>
                      <a:pt x="3392731" y="1892773"/>
                    </a:moveTo>
                    <a:cubicBezTo>
                      <a:pt x="3414319" y="1892773"/>
                      <a:pt x="3431819" y="1910273"/>
                      <a:pt x="3431819" y="1931860"/>
                    </a:cubicBezTo>
                    <a:cubicBezTo>
                      <a:pt x="3431819" y="1953447"/>
                      <a:pt x="3414319" y="1970947"/>
                      <a:pt x="3392731" y="1970947"/>
                    </a:cubicBezTo>
                    <a:cubicBezTo>
                      <a:pt x="3371144" y="1970947"/>
                      <a:pt x="3353644" y="1953447"/>
                      <a:pt x="3353644" y="1931860"/>
                    </a:cubicBezTo>
                    <a:cubicBezTo>
                      <a:pt x="3353644" y="1910273"/>
                      <a:pt x="3371144" y="1892773"/>
                      <a:pt x="3392731" y="1892773"/>
                    </a:cubicBezTo>
                    <a:close/>
                    <a:moveTo>
                      <a:pt x="3205815" y="1892773"/>
                    </a:moveTo>
                    <a:cubicBezTo>
                      <a:pt x="3227403" y="1892773"/>
                      <a:pt x="3244903" y="1910273"/>
                      <a:pt x="3244903" y="1931860"/>
                    </a:cubicBezTo>
                    <a:cubicBezTo>
                      <a:pt x="3244903" y="1953447"/>
                      <a:pt x="3227403" y="1970947"/>
                      <a:pt x="3205815" y="1970947"/>
                    </a:cubicBezTo>
                    <a:cubicBezTo>
                      <a:pt x="3184228" y="1970947"/>
                      <a:pt x="3166728" y="1953447"/>
                      <a:pt x="3166728" y="1931860"/>
                    </a:cubicBezTo>
                    <a:cubicBezTo>
                      <a:pt x="3166728" y="1910273"/>
                      <a:pt x="3184228" y="1892773"/>
                      <a:pt x="3205815" y="1892773"/>
                    </a:cubicBezTo>
                    <a:close/>
                    <a:moveTo>
                      <a:pt x="3111175" y="1892773"/>
                    </a:moveTo>
                    <a:cubicBezTo>
                      <a:pt x="3132763" y="1892773"/>
                      <a:pt x="3150263" y="1910273"/>
                      <a:pt x="3150263" y="1931860"/>
                    </a:cubicBezTo>
                    <a:cubicBezTo>
                      <a:pt x="3150263" y="1953447"/>
                      <a:pt x="3132763" y="1970947"/>
                      <a:pt x="3111175" y="1970947"/>
                    </a:cubicBezTo>
                    <a:cubicBezTo>
                      <a:pt x="3089588" y="1970947"/>
                      <a:pt x="3072088" y="1953447"/>
                      <a:pt x="3072088" y="1931860"/>
                    </a:cubicBezTo>
                    <a:cubicBezTo>
                      <a:pt x="3072088" y="1910273"/>
                      <a:pt x="3089588" y="1892773"/>
                      <a:pt x="3111175" y="1892773"/>
                    </a:cubicBezTo>
                    <a:close/>
                    <a:moveTo>
                      <a:pt x="3018902" y="1892773"/>
                    </a:moveTo>
                    <a:cubicBezTo>
                      <a:pt x="3040489" y="1892773"/>
                      <a:pt x="3057989" y="1910273"/>
                      <a:pt x="3057989" y="1931860"/>
                    </a:cubicBezTo>
                    <a:cubicBezTo>
                      <a:pt x="3057989" y="1953447"/>
                      <a:pt x="3040489" y="1970947"/>
                      <a:pt x="3018902" y="1970947"/>
                    </a:cubicBezTo>
                    <a:cubicBezTo>
                      <a:pt x="2997315" y="1970947"/>
                      <a:pt x="2979815" y="1953447"/>
                      <a:pt x="2979815" y="1931860"/>
                    </a:cubicBezTo>
                    <a:cubicBezTo>
                      <a:pt x="2979815" y="1910273"/>
                      <a:pt x="2997315" y="1892773"/>
                      <a:pt x="3018902" y="1892773"/>
                    </a:cubicBezTo>
                    <a:close/>
                    <a:moveTo>
                      <a:pt x="2924263" y="1892773"/>
                    </a:moveTo>
                    <a:cubicBezTo>
                      <a:pt x="2945850" y="1892773"/>
                      <a:pt x="2963349" y="1910273"/>
                      <a:pt x="2963349" y="1931860"/>
                    </a:cubicBezTo>
                    <a:cubicBezTo>
                      <a:pt x="2963349" y="1953447"/>
                      <a:pt x="2945850" y="1970947"/>
                      <a:pt x="2924263" y="1970947"/>
                    </a:cubicBezTo>
                    <a:cubicBezTo>
                      <a:pt x="2902675" y="1970947"/>
                      <a:pt x="2885175" y="1953447"/>
                      <a:pt x="2885175" y="1931860"/>
                    </a:cubicBezTo>
                    <a:cubicBezTo>
                      <a:pt x="2885175" y="1910273"/>
                      <a:pt x="2902675" y="1892773"/>
                      <a:pt x="2924263" y="1892773"/>
                    </a:cubicBezTo>
                    <a:close/>
                    <a:moveTo>
                      <a:pt x="2831987" y="1892773"/>
                    </a:moveTo>
                    <a:cubicBezTo>
                      <a:pt x="2853574" y="1892773"/>
                      <a:pt x="2871074" y="1910273"/>
                      <a:pt x="2871074" y="1931860"/>
                    </a:cubicBezTo>
                    <a:cubicBezTo>
                      <a:pt x="2871074" y="1953447"/>
                      <a:pt x="2853574" y="1970947"/>
                      <a:pt x="2831987" y="1970947"/>
                    </a:cubicBezTo>
                    <a:cubicBezTo>
                      <a:pt x="2810400" y="1970947"/>
                      <a:pt x="2792900" y="1953447"/>
                      <a:pt x="2792900" y="1931860"/>
                    </a:cubicBezTo>
                    <a:cubicBezTo>
                      <a:pt x="2792900" y="1910273"/>
                      <a:pt x="2810400" y="1892773"/>
                      <a:pt x="2831987" y="1892773"/>
                    </a:cubicBezTo>
                    <a:close/>
                    <a:moveTo>
                      <a:pt x="2737356" y="1892773"/>
                    </a:moveTo>
                    <a:cubicBezTo>
                      <a:pt x="2758934" y="1892773"/>
                      <a:pt x="2776434" y="1910273"/>
                      <a:pt x="2776434" y="1931860"/>
                    </a:cubicBezTo>
                    <a:cubicBezTo>
                      <a:pt x="2776434" y="1953447"/>
                      <a:pt x="2758934" y="1970947"/>
                      <a:pt x="2737356" y="1970947"/>
                    </a:cubicBezTo>
                    <a:cubicBezTo>
                      <a:pt x="2715766" y="1970947"/>
                      <a:pt x="2698265" y="1953447"/>
                      <a:pt x="2698265" y="1931860"/>
                    </a:cubicBezTo>
                    <a:cubicBezTo>
                      <a:pt x="2698265" y="1910273"/>
                      <a:pt x="2715766" y="1892773"/>
                      <a:pt x="2737356" y="1892773"/>
                    </a:cubicBezTo>
                    <a:close/>
                    <a:moveTo>
                      <a:pt x="2645073" y="1892773"/>
                    </a:moveTo>
                    <a:cubicBezTo>
                      <a:pt x="2666661" y="1892773"/>
                      <a:pt x="2684163" y="1910273"/>
                      <a:pt x="2684163" y="1931860"/>
                    </a:cubicBezTo>
                    <a:cubicBezTo>
                      <a:pt x="2684163" y="1953447"/>
                      <a:pt x="2666661" y="1970947"/>
                      <a:pt x="2645073" y="1970947"/>
                    </a:cubicBezTo>
                    <a:cubicBezTo>
                      <a:pt x="2623487" y="1970947"/>
                      <a:pt x="2605987" y="1953447"/>
                      <a:pt x="2605987" y="1931860"/>
                    </a:cubicBezTo>
                    <a:cubicBezTo>
                      <a:pt x="2605987" y="1910273"/>
                      <a:pt x="2623487" y="1892773"/>
                      <a:pt x="2645073" y="1892773"/>
                    </a:cubicBezTo>
                    <a:close/>
                    <a:moveTo>
                      <a:pt x="2550436" y="1892773"/>
                    </a:moveTo>
                    <a:cubicBezTo>
                      <a:pt x="2572023" y="1892773"/>
                      <a:pt x="2589522" y="1910273"/>
                      <a:pt x="2589522" y="1931860"/>
                    </a:cubicBezTo>
                    <a:cubicBezTo>
                      <a:pt x="2589522" y="1953447"/>
                      <a:pt x="2572023" y="1970947"/>
                      <a:pt x="2550436" y="1970947"/>
                    </a:cubicBezTo>
                    <a:cubicBezTo>
                      <a:pt x="2528849" y="1970947"/>
                      <a:pt x="2511351" y="1953447"/>
                      <a:pt x="2511351" y="1931860"/>
                    </a:cubicBezTo>
                    <a:cubicBezTo>
                      <a:pt x="2511351" y="1910273"/>
                      <a:pt x="2528849" y="1892773"/>
                      <a:pt x="2550436" y="1892773"/>
                    </a:cubicBezTo>
                    <a:close/>
                    <a:moveTo>
                      <a:pt x="2458164" y="1892773"/>
                    </a:moveTo>
                    <a:cubicBezTo>
                      <a:pt x="2479752" y="1892773"/>
                      <a:pt x="2497251" y="1910273"/>
                      <a:pt x="2497251" y="1931860"/>
                    </a:cubicBezTo>
                    <a:cubicBezTo>
                      <a:pt x="2497251" y="1953447"/>
                      <a:pt x="2479752" y="1970947"/>
                      <a:pt x="2458164" y="1970947"/>
                    </a:cubicBezTo>
                    <a:cubicBezTo>
                      <a:pt x="2436580" y="1970947"/>
                      <a:pt x="2419078" y="1953447"/>
                      <a:pt x="2419078" y="1931860"/>
                    </a:cubicBezTo>
                    <a:cubicBezTo>
                      <a:pt x="2419078" y="1910273"/>
                      <a:pt x="2436580" y="1892773"/>
                      <a:pt x="2458164" y="1892773"/>
                    </a:cubicBezTo>
                    <a:close/>
                    <a:moveTo>
                      <a:pt x="2363524" y="1892773"/>
                    </a:moveTo>
                    <a:cubicBezTo>
                      <a:pt x="2385113" y="1892773"/>
                      <a:pt x="2402611" y="1910273"/>
                      <a:pt x="2402611" y="1931860"/>
                    </a:cubicBezTo>
                    <a:cubicBezTo>
                      <a:pt x="2402611" y="1953447"/>
                      <a:pt x="2385113" y="1970947"/>
                      <a:pt x="2363524" y="1970947"/>
                    </a:cubicBezTo>
                    <a:cubicBezTo>
                      <a:pt x="2341940" y="1970947"/>
                      <a:pt x="2324437" y="1953447"/>
                      <a:pt x="2324437" y="1931860"/>
                    </a:cubicBezTo>
                    <a:cubicBezTo>
                      <a:pt x="2324437" y="1910273"/>
                      <a:pt x="2341940" y="1892773"/>
                      <a:pt x="2363524" y="1892773"/>
                    </a:cubicBezTo>
                    <a:close/>
                    <a:moveTo>
                      <a:pt x="2266521" y="1892773"/>
                    </a:moveTo>
                    <a:cubicBezTo>
                      <a:pt x="2288107" y="1892773"/>
                      <a:pt x="2305606" y="1910273"/>
                      <a:pt x="2305606" y="1931860"/>
                    </a:cubicBezTo>
                    <a:cubicBezTo>
                      <a:pt x="2305606" y="1953447"/>
                      <a:pt x="2288107" y="1970947"/>
                      <a:pt x="2266521" y="1970947"/>
                    </a:cubicBezTo>
                    <a:cubicBezTo>
                      <a:pt x="2244929" y="1970947"/>
                      <a:pt x="2227432" y="1953447"/>
                      <a:pt x="2227432" y="1931860"/>
                    </a:cubicBezTo>
                    <a:cubicBezTo>
                      <a:pt x="2227432" y="1910273"/>
                      <a:pt x="2244929" y="1892773"/>
                      <a:pt x="2266521" y="1892773"/>
                    </a:cubicBezTo>
                    <a:close/>
                    <a:moveTo>
                      <a:pt x="951048" y="1892773"/>
                    </a:moveTo>
                    <a:cubicBezTo>
                      <a:pt x="972633" y="1892773"/>
                      <a:pt x="990133" y="1910273"/>
                      <a:pt x="990133" y="1931860"/>
                    </a:cubicBezTo>
                    <a:cubicBezTo>
                      <a:pt x="990133" y="1953447"/>
                      <a:pt x="972633" y="1970947"/>
                      <a:pt x="951048" y="1970947"/>
                    </a:cubicBezTo>
                    <a:cubicBezTo>
                      <a:pt x="929462" y="1970947"/>
                      <a:pt x="911963" y="1953447"/>
                      <a:pt x="911963" y="1931860"/>
                    </a:cubicBezTo>
                    <a:cubicBezTo>
                      <a:pt x="911963" y="1910273"/>
                      <a:pt x="929462" y="1892773"/>
                      <a:pt x="951048" y="1892773"/>
                    </a:cubicBezTo>
                    <a:close/>
                    <a:moveTo>
                      <a:pt x="764144" y="1892773"/>
                    </a:moveTo>
                    <a:cubicBezTo>
                      <a:pt x="785731" y="1892773"/>
                      <a:pt x="803230" y="1910273"/>
                      <a:pt x="803230" y="1931860"/>
                    </a:cubicBezTo>
                    <a:cubicBezTo>
                      <a:pt x="803230" y="1953447"/>
                      <a:pt x="785731" y="1970947"/>
                      <a:pt x="764144" y="1970947"/>
                    </a:cubicBezTo>
                    <a:cubicBezTo>
                      <a:pt x="742556" y="1970947"/>
                      <a:pt x="725059" y="1953447"/>
                      <a:pt x="725059" y="1931860"/>
                    </a:cubicBezTo>
                    <a:cubicBezTo>
                      <a:pt x="725059" y="1910273"/>
                      <a:pt x="742556" y="1892773"/>
                      <a:pt x="764144" y="1892773"/>
                    </a:cubicBezTo>
                    <a:close/>
                    <a:moveTo>
                      <a:pt x="577226" y="1892773"/>
                    </a:moveTo>
                    <a:cubicBezTo>
                      <a:pt x="598816" y="1892773"/>
                      <a:pt x="616318" y="1910273"/>
                      <a:pt x="616318" y="1931860"/>
                    </a:cubicBezTo>
                    <a:cubicBezTo>
                      <a:pt x="616318" y="1953447"/>
                      <a:pt x="598816" y="1970947"/>
                      <a:pt x="577226" y="1970947"/>
                    </a:cubicBezTo>
                    <a:cubicBezTo>
                      <a:pt x="555636" y="1970947"/>
                      <a:pt x="538134" y="1953447"/>
                      <a:pt x="538134" y="1931860"/>
                    </a:cubicBezTo>
                    <a:cubicBezTo>
                      <a:pt x="538134" y="1910273"/>
                      <a:pt x="555636" y="1892773"/>
                      <a:pt x="577226" y="1892773"/>
                    </a:cubicBezTo>
                    <a:close/>
                    <a:moveTo>
                      <a:pt x="484945" y="1892773"/>
                    </a:moveTo>
                    <a:cubicBezTo>
                      <a:pt x="506533" y="1892773"/>
                      <a:pt x="524032" y="1910273"/>
                      <a:pt x="524032" y="1931860"/>
                    </a:cubicBezTo>
                    <a:cubicBezTo>
                      <a:pt x="524032" y="1953447"/>
                      <a:pt x="506533" y="1970947"/>
                      <a:pt x="484945" y="1970947"/>
                    </a:cubicBezTo>
                    <a:cubicBezTo>
                      <a:pt x="463353" y="1970947"/>
                      <a:pt x="445867" y="1953447"/>
                      <a:pt x="445867" y="1931860"/>
                    </a:cubicBezTo>
                    <a:cubicBezTo>
                      <a:pt x="445867" y="1910273"/>
                      <a:pt x="463353" y="1892773"/>
                      <a:pt x="484945" y="1892773"/>
                    </a:cubicBezTo>
                    <a:close/>
                    <a:moveTo>
                      <a:pt x="3861717" y="1806975"/>
                    </a:moveTo>
                    <a:lnTo>
                      <a:pt x="3858023" y="1880127"/>
                    </a:lnTo>
                    <a:lnTo>
                      <a:pt x="3838294" y="1871955"/>
                    </a:lnTo>
                    <a:cubicBezTo>
                      <a:pt x="3831220" y="1864881"/>
                      <a:pt x="3826845" y="1855109"/>
                      <a:pt x="3826845" y="1844316"/>
                    </a:cubicBezTo>
                    <a:cubicBezTo>
                      <a:pt x="3826845" y="1833522"/>
                      <a:pt x="3831220" y="1823750"/>
                      <a:pt x="3838294" y="1816677"/>
                    </a:cubicBezTo>
                    <a:close/>
                    <a:moveTo>
                      <a:pt x="3679017" y="1805229"/>
                    </a:moveTo>
                    <a:cubicBezTo>
                      <a:pt x="3700604" y="1805229"/>
                      <a:pt x="3718103" y="1822729"/>
                      <a:pt x="3718103" y="1844316"/>
                    </a:cubicBezTo>
                    <a:cubicBezTo>
                      <a:pt x="3718103" y="1865903"/>
                      <a:pt x="3700604" y="1883404"/>
                      <a:pt x="3679017" y="1883404"/>
                    </a:cubicBezTo>
                    <a:cubicBezTo>
                      <a:pt x="3657429" y="1883404"/>
                      <a:pt x="3639929" y="1865903"/>
                      <a:pt x="3639929" y="1844316"/>
                    </a:cubicBezTo>
                    <a:cubicBezTo>
                      <a:pt x="3639929" y="1822729"/>
                      <a:pt x="3657429" y="1805229"/>
                      <a:pt x="3679017" y="1805229"/>
                    </a:cubicBezTo>
                    <a:close/>
                    <a:moveTo>
                      <a:pt x="3300457" y="1805229"/>
                    </a:moveTo>
                    <a:cubicBezTo>
                      <a:pt x="3322044" y="1805229"/>
                      <a:pt x="3339544" y="1822729"/>
                      <a:pt x="3339544" y="1844316"/>
                    </a:cubicBezTo>
                    <a:cubicBezTo>
                      <a:pt x="3339544" y="1865903"/>
                      <a:pt x="3322044" y="1883404"/>
                      <a:pt x="3300457" y="1883404"/>
                    </a:cubicBezTo>
                    <a:cubicBezTo>
                      <a:pt x="3278869" y="1883404"/>
                      <a:pt x="3261369" y="1865903"/>
                      <a:pt x="3261369" y="1844316"/>
                    </a:cubicBezTo>
                    <a:cubicBezTo>
                      <a:pt x="3261369" y="1822729"/>
                      <a:pt x="3278869" y="1805229"/>
                      <a:pt x="3300457" y="1805229"/>
                    </a:cubicBezTo>
                    <a:close/>
                    <a:moveTo>
                      <a:pt x="3111175" y="1805229"/>
                    </a:moveTo>
                    <a:cubicBezTo>
                      <a:pt x="3132763" y="1805229"/>
                      <a:pt x="3150263" y="1822729"/>
                      <a:pt x="3150263" y="1844316"/>
                    </a:cubicBezTo>
                    <a:cubicBezTo>
                      <a:pt x="3150263" y="1865903"/>
                      <a:pt x="3132763" y="1883404"/>
                      <a:pt x="3111175" y="1883404"/>
                    </a:cubicBezTo>
                    <a:cubicBezTo>
                      <a:pt x="3089588" y="1883404"/>
                      <a:pt x="3072088" y="1865903"/>
                      <a:pt x="3072088" y="1844316"/>
                    </a:cubicBezTo>
                    <a:cubicBezTo>
                      <a:pt x="3072088" y="1822729"/>
                      <a:pt x="3089588" y="1805229"/>
                      <a:pt x="3111175" y="1805229"/>
                    </a:cubicBezTo>
                    <a:close/>
                    <a:moveTo>
                      <a:pt x="3018902" y="1805229"/>
                    </a:moveTo>
                    <a:cubicBezTo>
                      <a:pt x="3040489" y="1805229"/>
                      <a:pt x="3057989" y="1822729"/>
                      <a:pt x="3057989" y="1844316"/>
                    </a:cubicBezTo>
                    <a:cubicBezTo>
                      <a:pt x="3057989" y="1865903"/>
                      <a:pt x="3040489" y="1883404"/>
                      <a:pt x="3018902" y="1883404"/>
                    </a:cubicBezTo>
                    <a:cubicBezTo>
                      <a:pt x="2997315" y="1883404"/>
                      <a:pt x="2979815" y="1865903"/>
                      <a:pt x="2979815" y="1844316"/>
                    </a:cubicBezTo>
                    <a:cubicBezTo>
                      <a:pt x="2979815" y="1822729"/>
                      <a:pt x="2997315" y="1805229"/>
                      <a:pt x="3018902" y="1805229"/>
                    </a:cubicBezTo>
                    <a:close/>
                    <a:moveTo>
                      <a:pt x="2831988" y="1805229"/>
                    </a:moveTo>
                    <a:cubicBezTo>
                      <a:pt x="2853575" y="1805229"/>
                      <a:pt x="2871075" y="1822729"/>
                      <a:pt x="2871075" y="1844316"/>
                    </a:cubicBezTo>
                    <a:cubicBezTo>
                      <a:pt x="2871075" y="1865903"/>
                      <a:pt x="2853575" y="1883404"/>
                      <a:pt x="2831988" y="1883404"/>
                    </a:cubicBezTo>
                    <a:cubicBezTo>
                      <a:pt x="2810401" y="1883404"/>
                      <a:pt x="2792901" y="1865903"/>
                      <a:pt x="2792901" y="1844316"/>
                    </a:cubicBezTo>
                    <a:cubicBezTo>
                      <a:pt x="2792901" y="1822729"/>
                      <a:pt x="2810401" y="1805229"/>
                      <a:pt x="2831988" y="1805229"/>
                    </a:cubicBezTo>
                    <a:close/>
                    <a:moveTo>
                      <a:pt x="2737358" y="1805229"/>
                    </a:moveTo>
                    <a:cubicBezTo>
                      <a:pt x="2758934" y="1805229"/>
                      <a:pt x="2776434" y="1822729"/>
                      <a:pt x="2776434" y="1844316"/>
                    </a:cubicBezTo>
                    <a:cubicBezTo>
                      <a:pt x="2776434" y="1865903"/>
                      <a:pt x="2758934" y="1883404"/>
                      <a:pt x="2737358" y="1883404"/>
                    </a:cubicBezTo>
                    <a:cubicBezTo>
                      <a:pt x="2715768" y="1883404"/>
                      <a:pt x="2698265" y="1865903"/>
                      <a:pt x="2698265" y="1844316"/>
                    </a:cubicBezTo>
                    <a:cubicBezTo>
                      <a:pt x="2698265" y="1822729"/>
                      <a:pt x="2715768" y="1805229"/>
                      <a:pt x="2737358" y="1805229"/>
                    </a:cubicBezTo>
                    <a:close/>
                    <a:moveTo>
                      <a:pt x="2645073" y="1805229"/>
                    </a:moveTo>
                    <a:cubicBezTo>
                      <a:pt x="2666661" y="1805229"/>
                      <a:pt x="2684163" y="1822729"/>
                      <a:pt x="2684163" y="1844316"/>
                    </a:cubicBezTo>
                    <a:cubicBezTo>
                      <a:pt x="2684163" y="1865903"/>
                      <a:pt x="2666661" y="1883404"/>
                      <a:pt x="2645073" y="1883404"/>
                    </a:cubicBezTo>
                    <a:cubicBezTo>
                      <a:pt x="2623487" y="1883404"/>
                      <a:pt x="2605987" y="1865903"/>
                      <a:pt x="2605987" y="1844316"/>
                    </a:cubicBezTo>
                    <a:cubicBezTo>
                      <a:pt x="2605987" y="1822729"/>
                      <a:pt x="2623487" y="1805229"/>
                      <a:pt x="2645073" y="1805229"/>
                    </a:cubicBezTo>
                    <a:close/>
                    <a:moveTo>
                      <a:pt x="2550436" y="1805229"/>
                    </a:moveTo>
                    <a:cubicBezTo>
                      <a:pt x="2572023" y="1805229"/>
                      <a:pt x="2589522" y="1822729"/>
                      <a:pt x="2589522" y="1844316"/>
                    </a:cubicBezTo>
                    <a:cubicBezTo>
                      <a:pt x="2589522" y="1865903"/>
                      <a:pt x="2572023" y="1883404"/>
                      <a:pt x="2550436" y="1883404"/>
                    </a:cubicBezTo>
                    <a:cubicBezTo>
                      <a:pt x="2528849" y="1883404"/>
                      <a:pt x="2511352" y="1865903"/>
                      <a:pt x="2511352" y="1844316"/>
                    </a:cubicBezTo>
                    <a:cubicBezTo>
                      <a:pt x="2511352" y="1822729"/>
                      <a:pt x="2528849" y="1805229"/>
                      <a:pt x="2550436" y="1805229"/>
                    </a:cubicBezTo>
                    <a:close/>
                    <a:moveTo>
                      <a:pt x="2363525" y="1805229"/>
                    </a:moveTo>
                    <a:cubicBezTo>
                      <a:pt x="2385114" y="1805229"/>
                      <a:pt x="2402611" y="1822729"/>
                      <a:pt x="2402611" y="1844316"/>
                    </a:cubicBezTo>
                    <a:cubicBezTo>
                      <a:pt x="2402611" y="1865903"/>
                      <a:pt x="2385114" y="1883404"/>
                      <a:pt x="2363525" y="1883404"/>
                    </a:cubicBezTo>
                    <a:cubicBezTo>
                      <a:pt x="2341941" y="1883404"/>
                      <a:pt x="2324438" y="1865903"/>
                      <a:pt x="2324438" y="1844316"/>
                    </a:cubicBezTo>
                    <a:cubicBezTo>
                      <a:pt x="2324438" y="1822729"/>
                      <a:pt x="2341941" y="1805229"/>
                      <a:pt x="2363525" y="1805229"/>
                    </a:cubicBezTo>
                    <a:close/>
                    <a:moveTo>
                      <a:pt x="3771293" y="1805229"/>
                    </a:moveTo>
                    <a:cubicBezTo>
                      <a:pt x="3792880" y="1805229"/>
                      <a:pt x="3810379" y="1822728"/>
                      <a:pt x="3810379" y="1844316"/>
                    </a:cubicBezTo>
                    <a:cubicBezTo>
                      <a:pt x="3810379" y="1865903"/>
                      <a:pt x="3792880" y="1883403"/>
                      <a:pt x="3771293" y="1883403"/>
                    </a:cubicBezTo>
                    <a:cubicBezTo>
                      <a:pt x="3749705" y="1883403"/>
                      <a:pt x="3732205" y="1865903"/>
                      <a:pt x="3732205" y="1844316"/>
                    </a:cubicBezTo>
                    <a:cubicBezTo>
                      <a:pt x="3732205" y="1822728"/>
                      <a:pt x="3749705" y="1805229"/>
                      <a:pt x="3771293" y="1805229"/>
                    </a:cubicBezTo>
                    <a:close/>
                    <a:moveTo>
                      <a:pt x="3584377" y="1805229"/>
                    </a:moveTo>
                    <a:cubicBezTo>
                      <a:pt x="3605964" y="1805229"/>
                      <a:pt x="3623463" y="1822728"/>
                      <a:pt x="3623463" y="1844316"/>
                    </a:cubicBezTo>
                    <a:cubicBezTo>
                      <a:pt x="3623463" y="1865903"/>
                      <a:pt x="3605964" y="1883403"/>
                      <a:pt x="3584377" y="1883403"/>
                    </a:cubicBezTo>
                    <a:cubicBezTo>
                      <a:pt x="3562789" y="1883403"/>
                      <a:pt x="3545289" y="1865903"/>
                      <a:pt x="3545289" y="1844316"/>
                    </a:cubicBezTo>
                    <a:cubicBezTo>
                      <a:pt x="3545289" y="1822728"/>
                      <a:pt x="3562789" y="1805229"/>
                      <a:pt x="3584377" y="1805229"/>
                    </a:cubicBezTo>
                    <a:close/>
                    <a:moveTo>
                      <a:pt x="3489737" y="1805229"/>
                    </a:moveTo>
                    <a:cubicBezTo>
                      <a:pt x="3511324" y="1805229"/>
                      <a:pt x="3528823" y="1822728"/>
                      <a:pt x="3528823" y="1844316"/>
                    </a:cubicBezTo>
                    <a:cubicBezTo>
                      <a:pt x="3528823" y="1865903"/>
                      <a:pt x="3511324" y="1883403"/>
                      <a:pt x="3489737" y="1883403"/>
                    </a:cubicBezTo>
                    <a:cubicBezTo>
                      <a:pt x="3468149" y="1883403"/>
                      <a:pt x="3450649" y="1865903"/>
                      <a:pt x="3450649" y="1844316"/>
                    </a:cubicBezTo>
                    <a:cubicBezTo>
                      <a:pt x="3450649" y="1822728"/>
                      <a:pt x="3468149" y="1805229"/>
                      <a:pt x="3489737" y="1805229"/>
                    </a:cubicBezTo>
                    <a:close/>
                    <a:moveTo>
                      <a:pt x="3392731" y="1805229"/>
                    </a:moveTo>
                    <a:cubicBezTo>
                      <a:pt x="3414319" y="1805229"/>
                      <a:pt x="3431819" y="1822728"/>
                      <a:pt x="3431819" y="1844316"/>
                    </a:cubicBezTo>
                    <a:cubicBezTo>
                      <a:pt x="3431819" y="1865903"/>
                      <a:pt x="3414319" y="1883403"/>
                      <a:pt x="3392731" y="1883403"/>
                    </a:cubicBezTo>
                    <a:cubicBezTo>
                      <a:pt x="3371144" y="1883403"/>
                      <a:pt x="3353644" y="1865903"/>
                      <a:pt x="3353644" y="1844316"/>
                    </a:cubicBezTo>
                    <a:cubicBezTo>
                      <a:pt x="3353644" y="1822728"/>
                      <a:pt x="3371144" y="1805229"/>
                      <a:pt x="3392731" y="1805229"/>
                    </a:cubicBezTo>
                    <a:close/>
                    <a:moveTo>
                      <a:pt x="3205817" y="1805229"/>
                    </a:moveTo>
                    <a:cubicBezTo>
                      <a:pt x="3227404" y="1805229"/>
                      <a:pt x="3244904" y="1822728"/>
                      <a:pt x="3244904" y="1844316"/>
                    </a:cubicBezTo>
                    <a:cubicBezTo>
                      <a:pt x="3244904" y="1865903"/>
                      <a:pt x="3227404" y="1883403"/>
                      <a:pt x="3205817" y="1883403"/>
                    </a:cubicBezTo>
                    <a:cubicBezTo>
                      <a:pt x="3184229" y="1883403"/>
                      <a:pt x="3166729" y="1865903"/>
                      <a:pt x="3166729" y="1844316"/>
                    </a:cubicBezTo>
                    <a:cubicBezTo>
                      <a:pt x="3166729" y="1822728"/>
                      <a:pt x="3184229" y="1805229"/>
                      <a:pt x="3205817" y="1805229"/>
                    </a:cubicBezTo>
                    <a:close/>
                    <a:moveTo>
                      <a:pt x="2924263" y="1805229"/>
                    </a:moveTo>
                    <a:cubicBezTo>
                      <a:pt x="2945850" y="1805229"/>
                      <a:pt x="2963349" y="1822728"/>
                      <a:pt x="2963349" y="1844316"/>
                    </a:cubicBezTo>
                    <a:cubicBezTo>
                      <a:pt x="2963349" y="1865903"/>
                      <a:pt x="2945850" y="1883403"/>
                      <a:pt x="2924263" y="1883403"/>
                    </a:cubicBezTo>
                    <a:cubicBezTo>
                      <a:pt x="2902675" y="1883403"/>
                      <a:pt x="2885175" y="1865903"/>
                      <a:pt x="2885175" y="1844316"/>
                    </a:cubicBezTo>
                    <a:cubicBezTo>
                      <a:pt x="2885175" y="1822728"/>
                      <a:pt x="2902675" y="1805229"/>
                      <a:pt x="2924263" y="1805229"/>
                    </a:cubicBezTo>
                    <a:close/>
                    <a:moveTo>
                      <a:pt x="2458164" y="1805229"/>
                    </a:moveTo>
                    <a:cubicBezTo>
                      <a:pt x="2479753" y="1805229"/>
                      <a:pt x="2497252" y="1822728"/>
                      <a:pt x="2497252" y="1844316"/>
                    </a:cubicBezTo>
                    <a:cubicBezTo>
                      <a:pt x="2497252" y="1865903"/>
                      <a:pt x="2479753" y="1883403"/>
                      <a:pt x="2458164" y="1883403"/>
                    </a:cubicBezTo>
                    <a:cubicBezTo>
                      <a:pt x="2436582" y="1883403"/>
                      <a:pt x="2419079" y="1865903"/>
                      <a:pt x="2419079" y="1844316"/>
                    </a:cubicBezTo>
                    <a:cubicBezTo>
                      <a:pt x="2419079" y="1822728"/>
                      <a:pt x="2436582" y="1805229"/>
                      <a:pt x="2458164" y="1805229"/>
                    </a:cubicBezTo>
                    <a:close/>
                    <a:moveTo>
                      <a:pt x="2266523" y="1805229"/>
                    </a:moveTo>
                    <a:cubicBezTo>
                      <a:pt x="2288108" y="1805229"/>
                      <a:pt x="2305609" y="1822728"/>
                      <a:pt x="2305609" y="1844316"/>
                    </a:cubicBezTo>
                    <a:cubicBezTo>
                      <a:pt x="2305609" y="1865903"/>
                      <a:pt x="2288108" y="1883403"/>
                      <a:pt x="2266523" y="1883403"/>
                    </a:cubicBezTo>
                    <a:cubicBezTo>
                      <a:pt x="2244931" y="1883403"/>
                      <a:pt x="2227433" y="1865903"/>
                      <a:pt x="2227433" y="1844316"/>
                    </a:cubicBezTo>
                    <a:cubicBezTo>
                      <a:pt x="2227433" y="1822728"/>
                      <a:pt x="2244931" y="1805229"/>
                      <a:pt x="2266523" y="1805229"/>
                    </a:cubicBezTo>
                    <a:close/>
                    <a:moveTo>
                      <a:pt x="577230" y="1805229"/>
                    </a:moveTo>
                    <a:cubicBezTo>
                      <a:pt x="598820" y="1805229"/>
                      <a:pt x="616322" y="1822728"/>
                      <a:pt x="616322" y="1844316"/>
                    </a:cubicBezTo>
                    <a:cubicBezTo>
                      <a:pt x="616322" y="1865903"/>
                      <a:pt x="598820" y="1883403"/>
                      <a:pt x="577230" y="1883403"/>
                    </a:cubicBezTo>
                    <a:cubicBezTo>
                      <a:pt x="555640" y="1883403"/>
                      <a:pt x="538137" y="1865903"/>
                      <a:pt x="538137" y="1844316"/>
                    </a:cubicBezTo>
                    <a:cubicBezTo>
                      <a:pt x="538137" y="1822728"/>
                      <a:pt x="555640" y="1805229"/>
                      <a:pt x="577230" y="1805229"/>
                    </a:cubicBezTo>
                    <a:close/>
                    <a:moveTo>
                      <a:pt x="484947" y="1805229"/>
                    </a:moveTo>
                    <a:cubicBezTo>
                      <a:pt x="506537" y="1805229"/>
                      <a:pt x="524035" y="1822728"/>
                      <a:pt x="524035" y="1844316"/>
                    </a:cubicBezTo>
                    <a:cubicBezTo>
                      <a:pt x="524035" y="1865903"/>
                      <a:pt x="506537" y="1883403"/>
                      <a:pt x="484947" y="1883403"/>
                    </a:cubicBezTo>
                    <a:cubicBezTo>
                      <a:pt x="463357" y="1883403"/>
                      <a:pt x="445867" y="1865903"/>
                      <a:pt x="445867" y="1844316"/>
                    </a:cubicBezTo>
                    <a:cubicBezTo>
                      <a:pt x="445867" y="1822728"/>
                      <a:pt x="463357" y="1805229"/>
                      <a:pt x="484947" y="1805229"/>
                    </a:cubicBezTo>
                    <a:close/>
                    <a:moveTo>
                      <a:pt x="390307" y="1805229"/>
                    </a:moveTo>
                    <a:cubicBezTo>
                      <a:pt x="411895" y="1805229"/>
                      <a:pt x="429399" y="1822728"/>
                      <a:pt x="429399" y="1844316"/>
                    </a:cubicBezTo>
                    <a:cubicBezTo>
                      <a:pt x="429399" y="1865903"/>
                      <a:pt x="411895" y="1883403"/>
                      <a:pt x="390307" y="1883403"/>
                    </a:cubicBezTo>
                    <a:cubicBezTo>
                      <a:pt x="368727" y="1883403"/>
                      <a:pt x="351227" y="1865903"/>
                      <a:pt x="351227" y="1844316"/>
                    </a:cubicBezTo>
                    <a:cubicBezTo>
                      <a:pt x="351227" y="1822728"/>
                      <a:pt x="368727" y="1805229"/>
                      <a:pt x="390307" y="1805229"/>
                    </a:cubicBezTo>
                    <a:close/>
                    <a:moveTo>
                      <a:pt x="3858672" y="1720694"/>
                    </a:moveTo>
                    <a:lnTo>
                      <a:pt x="3862373" y="1793978"/>
                    </a:lnTo>
                    <a:lnTo>
                      <a:pt x="3862353" y="1794377"/>
                    </a:lnTo>
                    <a:lnTo>
                      <a:pt x="3838294" y="1784412"/>
                    </a:lnTo>
                    <a:cubicBezTo>
                      <a:pt x="3831220" y="1777339"/>
                      <a:pt x="3826845" y="1767568"/>
                      <a:pt x="3826845" y="1756774"/>
                    </a:cubicBezTo>
                    <a:cubicBezTo>
                      <a:pt x="3826845" y="1745980"/>
                      <a:pt x="3831220" y="1736208"/>
                      <a:pt x="3838294" y="1729135"/>
                    </a:cubicBezTo>
                    <a:close/>
                    <a:moveTo>
                      <a:pt x="3771293" y="1717686"/>
                    </a:moveTo>
                    <a:cubicBezTo>
                      <a:pt x="3792880" y="1717686"/>
                      <a:pt x="3810379" y="1735186"/>
                      <a:pt x="3810379" y="1756774"/>
                    </a:cubicBezTo>
                    <a:cubicBezTo>
                      <a:pt x="3810379" y="1778361"/>
                      <a:pt x="3792880" y="1795860"/>
                      <a:pt x="3771293" y="1795860"/>
                    </a:cubicBezTo>
                    <a:cubicBezTo>
                      <a:pt x="3749705" y="1795860"/>
                      <a:pt x="3732205" y="1778361"/>
                      <a:pt x="3732205" y="1756774"/>
                    </a:cubicBezTo>
                    <a:cubicBezTo>
                      <a:pt x="3732205" y="1735186"/>
                      <a:pt x="3749705" y="1717686"/>
                      <a:pt x="3771293" y="1717686"/>
                    </a:cubicBezTo>
                    <a:close/>
                    <a:moveTo>
                      <a:pt x="3679017" y="1717686"/>
                    </a:moveTo>
                    <a:cubicBezTo>
                      <a:pt x="3700604" y="1717686"/>
                      <a:pt x="3718103" y="1735186"/>
                      <a:pt x="3718103" y="1756774"/>
                    </a:cubicBezTo>
                    <a:cubicBezTo>
                      <a:pt x="3718103" y="1778361"/>
                      <a:pt x="3700604" y="1795860"/>
                      <a:pt x="3679017" y="1795860"/>
                    </a:cubicBezTo>
                    <a:cubicBezTo>
                      <a:pt x="3657429" y="1795860"/>
                      <a:pt x="3639929" y="1778361"/>
                      <a:pt x="3639929" y="1756774"/>
                    </a:cubicBezTo>
                    <a:cubicBezTo>
                      <a:pt x="3639929" y="1735186"/>
                      <a:pt x="3657429" y="1717686"/>
                      <a:pt x="3679017" y="1717686"/>
                    </a:cubicBezTo>
                    <a:close/>
                    <a:moveTo>
                      <a:pt x="3584377" y="1717686"/>
                    </a:moveTo>
                    <a:cubicBezTo>
                      <a:pt x="3605964" y="1717686"/>
                      <a:pt x="3623463" y="1735186"/>
                      <a:pt x="3623463" y="1756774"/>
                    </a:cubicBezTo>
                    <a:cubicBezTo>
                      <a:pt x="3623463" y="1778361"/>
                      <a:pt x="3605964" y="1795860"/>
                      <a:pt x="3584377" y="1795860"/>
                    </a:cubicBezTo>
                    <a:cubicBezTo>
                      <a:pt x="3562789" y="1795860"/>
                      <a:pt x="3545289" y="1778361"/>
                      <a:pt x="3545289" y="1756774"/>
                    </a:cubicBezTo>
                    <a:cubicBezTo>
                      <a:pt x="3545289" y="1735186"/>
                      <a:pt x="3562789" y="1717686"/>
                      <a:pt x="3584377" y="1717686"/>
                    </a:cubicBezTo>
                    <a:close/>
                    <a:moveTo>
                      <a:pt x="3489737" y="1717686"/>
                    </a:moveTo>
                    <a:cubicBezTo>
                      <a:pt x="3511324" y="1717686"/>
                      <a:pt x="3528823" y="1735186"/>
                      <a:pt x="3528823" y="1756774"/>
                    </a:cubicBezTo>
                    <a:cubicBezTo>
                      <a:pt x="3528823" y="1778361"/>
                      <a:pt x="3511324" y="1795860"/>
                      <a:pt x="3489737" y="1795860"/>
                    </a:cubicBezTo>
                    <a:cubicBezTo>
                      <a:pt x="3468149" y="1795860"/>
                      <a:pt x="3450649" y="1778361"/>
                      <a:pt x="3450649" y="1756774"/>
                    </a:cubicBezTo>
                    <a:cubicBezTo>
                      <a:pt x="3450649" y="1735186"/>
                      <a:pt x="3468149" y="1717686"/>
                      <a:pt x="3489737" y="1717686"/>
                    </a:cubicBezTo>
                    <a:close/>
                    <a:moveTo>
                      <a:pt x="3392731" y="1717686"/>
                    </a:moveTo>
                    <a:cubicBezTo>
                      <a:pt x="3414319" y="1717686"/>
                      <a:pt x="3431819" y="1735186"/>
                      <a:pt x="3431819" y="1756774"/>
                    </a:cubicBezTo>
                    <a:cubicBezTo>
                      <a:pt x="3431819" y="1778361"/>
                      <a:pt x="3414319" y="1795860"/>
                      <a:pt x="3392731" y="1795860"/>
                    </a:cubicBezTo>
                    <a:cubicBezTo>
                      <a:pt x="3371144" y="1795860"/>
                      <a:pt x="3353644" y="1778361"/>
                      <a:pt x="3353644" y="1756774"/>
                    </a:cubicBezTo>
                    <a:cubicBezTo>
                      <a:pt x="3353644" y="1735186"/>
                      <a:pt x="3371144" y="1717686"/>
                      <a:pt x="3392731" y="1717686"/>
                    </a:cubicBezTo>
                    <a:close/>
                    <a:moveTo>
                      <a:pt x="3300457" y="1717686"/>
                    </a:moveTo>
                    <a:cubicBezTo>
                      <a:pt x="3322044" y="1717686"/>
                      <a:pt x="3339544" y="1735186"/>
                      <a:pt x="3339544" y="1756774"/>
                    </a:cubicBezTo>
                    <a:cubicBezTo>
                      <a:pt x="3339544" y="1778361"/>
                      <a:pt x="3322044" y="1795860"/>
                      <a:pt x="3300457" y="1795860"/>
                    </a:cubicBezTo>
                    <a:cubicBezTo>
                      <a:pt x="3278869" y="1795860"/>
                      <a:pt x="3261369" y="1778361"/>
                      <a:pt x="3261369" y="1756774"/>
                    </a:cubicBezTo>
                    <a:cubicBezTo>
                      <a:pt x="3261369" y="1735186"/>
                      <a:pt x="3278869" y="1717686"/>
                      <a:pt x="3300457" y="1717686"/>
                    </a:cubicBezTo>
                    <a:close/>
                    <a:moveTo>
                      <a:pt x="3205817" y="1717686"/>
                    </a:moveTo>
                    <a:cubicBezTo>
                      <a:pt x="3227404" y="1717686"/>
                      <a:pt x="3244904" y="1735186"/>
                      <a:pt x="3244904" y="1756774"/>
                    </a:cubicBezTo>
                    <a:cubicBezTo>
                      <a:pt x="3244904" y="1778361"/>
                      <a:pt x="3227404" y="1795860"/>
                      <a:pt x="3205817" y="1795860"/>
                    </a:cubicBezTo>
                    <a:cubicBezTo>
                      <a:pt x="3184229" y="1795860"/>
                      <a:pt x="3166729" y="1778361"/>
                      <a:pt x="3166729" y="1756774"/>
                    </a:cubicBezTo>
                    <a:cubicBezTo>
                      <a:pt x="3166729" y="1735186"/>
                      <a:pt x="3184229" y="1717686"/>
                      <a:pt x="3205817" y="1717686"/>
                    </a:cubicBezTo>
                    <a:close/>
                    <a:moveTo>
                      <a:pt x="3111175" y="1717686"/>
                    </a:moveTo>
                    <a:cubicBezTo>
                      <a:pt x="3132763" y="1717686"/>
                      <a:pt x="3150263" y="1735186"/>
                      <a:pt x="3150263" y="1756774"/>
                    </a:cubicBezTo>
                    <a:cubicBezTo>
                      <a:pt x="3150263" y="1778361"/>
                      <a:pt x="3132763" y="1795860"/>
                      <a:pt x="3111175" y="1795860"/>
                    </a:cubicBezTo>
                    <a:cubicBezTo>
                      <a:pt x="3089588" y="1795860"/>
                      <a:pt x="3072088" y="1778361"/>
                      <a:pt x="3072088" y="1756774"/>
                    </a:cubicBezTo>
                    <a:cubicBezTo>
                      <a:pt x="3072088" y="1735186"/>
                      <a:pt x="3089588" y="1717686"/>
                      <a:pt x="3111175" y="1717686"/>
                    </a:cubicBezTo>
                    <a:close/>
                    <a:moveTo>
                      <a:pt x="3018902" y="1717686"/>
                    </a:moveTo>
                    <a:cubicBezTo>
                      <a:pt x="3040489" y="1717686"/>
                      <a:pt x="3057989" y="1735186"/>
                      <a:pt x="3057989" y="1756774"/>
                    </a:cubicBezTo>
                    <a:cubicBezTo>
                      <a:pt x="3057989" y="1778361"/>
                      <a:pt x="3040489" y="1795860"/>
                      <a:pt x="3018902" y="1795860"/>
                    </a:cubicBezTo>
                    <a:cubicBezTo>
                      <a:pt x="2997315" y="1795860"/>
                      <a:pt x="2979815" y="1778361"/>
                      <a:pt x="2979815" y="1756774"/>
                    </a:cubicBezTo>
                    <a:cubicBezTo>
                      <a:pt x="2979815" y="1735186"/>
                      <a:pt x="2997315" y="1717686"/>
                      <a:pt x="3018902" y="1717686"/>
                    </a:cubicBezTo>
                    <a:close/>
                    <a:moveTo>
                      <a:pt x="2924263" y="1717686"/>
                    </a:moveTo>
                    <a:cubicBezTo>
                      <a:pt x="2945850" y="1717686"/>
                      <a:pt x="2963349" y="1735186"/>
                      <a:pt x="2963349" y="1756774"/>
                    </a:cubicBezTo>
                    <a:cubicBezTo>
                      <a:pt x="2963349" y="1778361"/>
                      <a:pt x="2945850" y="1795860"/>
                      <a:pt x="2924263" y="1795860"/>
                    </a:cubicBezTo>
                    <a:cubicBezTo>
                      <a:pt x="2902675" y="1795860"/>
                      <a:pt x="2885175" y="1778361"/>
                      <a:pt x="2885175" y="1756774"/>
                    </a:cubicBezTo>
                    <a:cubicBezTo>
                      <a:pt x="2885175" y="1735186"/>
                      <a:pt x="2902675" y="1717686"/>
                      <a:pt x="2924263" y="1717686"/>
                    </a:cubicBezTo>
                    <a:close/>
                    <a:moveTo>
                      <a:pt x="2831988" y="1717686"/>
                    </a:moveTo>
                    <a:cubicBezTo>
                      <a:pt x="2853575" y="1717686"/>
                      <a:pt x="2871075" y="1735186"/>
                      <a:pt x="2871075" y="1756774"/>
                    </a:cubicBezTo>
                    <a:cubicBezTo>
                      <a:pt x="2871075" y="1778361"/>
                      <a:pt x="2853575" y="1795860"/>
                      <a:pt x="2831988" y="1795860"/>
                    </a:cubicBezTo>
                    <a:cubicBezTo>
                      <a:pt x="2810401" y="1795860"/>
                      <a:pt x="2792901" y="1778361"/>
                      <a:pt x="2792901" y="1756774"/>
                    </a:cubicBezTo>
                    <a:cubicBezTo>
                      <a:pt x="2792901" y="1735186"/>
                      <a:pt x="2810401" y="1717686"/>
                      <a:pt x="2831988" y="1717686"/>
                    </a:cubicBezTo>
                    <a:close/>
                    <a:moveTo>
                      <a:pt x="2737359" y="1717686"/>
                    </a:moveTo>
                    <a:cubicBezTo>
                      <a:pt x="2758934" y="1717686"/>
                      <a:pt x="2776434" y="1735186"/>
                      <a:pt x="2776434" y="1756774"/>
                    </a:cubicBezTo>
                    <a:cubicBezTo>
                      <a:pt x="2776434" y="1778361"/>
                      <a:pt x="2758934" y="1795860"/>
                      <a:pt x="2737359" y="1795860"/>
                    </a:cubicBezTo>
                    <a:cubicBezTo>
                      <a:pt x="2715768" y="1795860"/>
                      <a:pt x="2698265" y="1778361"/>
                      <a:pt x="2698265" y="1756774"/>
                    </a:cubicBezTo>
                    <a:cubicBezTo>
                      <a:pt x="2698265" y="1735186"/>
                      <a:pt x="2715768" y="1717686"/>
                      <a:pt x="2737359" y="1717686"/>
                    </a:cubicBezTo>
                    <a:close/>
                    <a:moveTo>
                      <a:pt x="2645073" y="1717686"/>
                    </a:moveTo>
                    <a:cubicBezTo>
                      <a:pt x="2666662" y="1717686"/>
                      <a:pt x="2684164" y="1735186"/>
                      <a:pt x="2684164" y="1756774"/>
                    </a:cubicBezTo>
                    <a:cubicBezTo>
                      <a:pt x="2684164" y="1778361"/>
                      <a:pt x="2666662" y="1795860"/>
                      <a:pt x="2645073" y="1795860"/>
                    </a:cubicBezTo>
                    <a:cubicBezTo>
                      <a:pt x="2623487" y="1795860"/>
                      <a:pt x="2605987" y="1778361"/>
                      <a:pt x="2605987" y="1756774"/>
                    </a:cubicBezTo>
                    <a:cubicBezTo>
                      <a:pt x="2605987" y="1735186"/>
                      <a:pt x="2623487" y="1717686"/>
                      <a:pt x="2645073" y="1717686"/>
                    </a:cubicBezTo>
                    <a:close/>
                    <a:moveTo>
                      <a:pt x="2550436" y="1717686"/>
                    </a:moveTo>
                    <a:cubicBezTo>
                      <a:pt x="2572023" y="1717686"/>
                      <a:pt x="2589522" y="1735186"/>
                      <a:pt x="2589522" y="1756774"/>
                    </a:cubicBezTo>
                    <a:cubicBezTo>
                      <a:pt x="2589522" y="1778361"/>
                      <a:pt x="2572023" y="1795860"/>
                      <a:pt x="2550436" y="1795860"/>
                    </a:cubicBezTo>
                    <a:cubicBezTo>
                      <a:pt x="2528849" y="1795860"/>
                      <a:pt x="2511353" y="1778361"/>
                      <a:pt x="2511353" y="1756774"/>
                    </a:cubicBezTo>
                    <a:cubicBezTo>
                      <a:pt x="2511353" y="1735186"/>
                      <a:pt x="2528849" y="1717686"/>
                      <a:pt x="2550436" y="1717686"/>
                    </a:cubicBezTo>
                    <a:close/>
                    <a:moveTo>
                      <a:pt x="2458164" y="1717686"/>
                    </a:moveTo>
                    <a:cubicBezTo>
                      <a:pt x="2479753" y="1717686"/>
                      <a:pt x="2497252" y="1735186"/>
                      <a:pt x="2497252" y="1756774"/>
                    </a:cubicBezTo>
                    <a:cubicBezTo>
                      <a:pt x="2497252" y="1778361"/>
                      <a:pt x="2479753" y="1795860"/>
                      <a:pt x="2458164" y="1795860"/>
                    </a:cubicBezTo>
                    <a:cubicBezTo>
                      <a:pt x="2436583" y="1795860"/>
                      <a:pt x="2419080" y="1778361"/>
                      <a:pt x="2419080" y="1756774"/>
                    </a:cubicBezTo>
                    <a:cubicBezTo>
                      <a:pt x="2419080" y="1735186"/>
                      <a:pt x="2436583" y="1717686"/>
                      <a:pt x="2458164" y="1717686"/>
                    </a:cubicBezTo>
                    <a:close/>
                    <a:moveTo>
                      <a:pt x="2363525" y="1717686"/>
                    </a:moveTo>
                    <a:cubicBezTo>
                      <a:pt x="2385114" y="1717686"/>
                      <a:pt x="2402611" y="1735186"/>
                      <a:pt x="2402611" y="1756774"/>
                    </a:cubicBezTo>
                    <a:cubicBezTo>
                      <a:pt x="2402611" y="1778361"/>
                      <a:pt x="2385114" y="1795860"/>
                      <a:pt x="2363525" y="1795860"/>
                    </a:cubicBezTo>
                    <a:cubicBezTo>
                      <a:pt x="2341941" y="1795860"/>
                      <a:pt x="2324438" y="1778361"/>
                      <a:pt x="2324438" y="1756774"/>
                    </a:cubicBezTo>
                    <a:cubicBezTo>
                      <a:pt x="2324438" y="1735186"/>
                      <a:pt x="2341941" y="1717686"/>
                      <a:pt x="2363525" y="1717686"/>
                    </a:cubicBezTo>
                    <a:close/>
                    <a:moveTo>
                      <a:pt x="951054" y="1717686"/>
                    </a:moveTo>
                    <a:cubicBezTo>
                      <a:pt x="972639" y="1717686"/>
                      <a:pt x="990138" y="1735186"/>
                      <a:pt x="990138" y="1756774"/>
                    </a:cubicBezTo>
                    <a:cubicBezTo>
                      <a:pt x="990138" y="1778361"/>
                      <a:pt x="972639" y="1795860"/>
                      <a:pt x="951054" y="1795860"/>
                    </a:cubicBezTo>
                    <a:cubicBezTo>
                      <a:pt x="929469" y="1795860"/>
                      <a:pt x="911970" y="1778361"/>
                      <a:pt x="911970" y="1756774"/>
                    </a:cubicBezTo>
                    <a:cubicBezTo>
                      <a:pt x="911970" y="1735186"/>
                      <a:pt x="929469" y="1717686"/>
                      <a:pt x="951054" y="1717686"/>
                    </a:cubicBezTo>
                    <a:close/>
                    <a:moveTo>
                      <a:pt x="577233" y="1717686"/>
                    </a:moveTo>
                    <a:cubicBezTo>
                      <a:pt x="598824" y="1717686"/>
                      <a:pt x="616327" y="1735186"/>
                      <a:pt x="616327" y="1756774"/>
                    </a:cubicBezTo>
                    <a:cubicBezTo>
                      <a:pt x="616327" y="1778361"/>
                      <a:pt x="598824" y="1795860"/>
                      <a:pt x="577233" y="1795860"/>
                    </a:cubicBezTo>
                    <a:cubicBezTo>
                      <a:pt x="555643" y="1795860"/>
                      <a:pt x="538140" y="1778361"/>
                      <a:pt x="538140" y="1756774"/>
                    </a:cubicBezTo>
                    <a:cubicBezTo>
                      <a:pt x="538140" y="1735186"/>
                      <a:pt x="555643" y="1717686"/>
                      <a:pt x="577233" y="1717686"/>
                    </a:cubicBezTo>
                    <a:close/>
                    <a:moveTo>
                      <a:pt x="484950" y="1717686"/>
                    </a:moveTo>
                    <a:cubicBezTo>
                      <a:pt x="506539" y="1717686"/>
                      <a:pt x="524038" y="1735186"/>
                      <a:pt x="524038" y="1756774"/>
                    </a:cubicBezTo>
                    <a:cubicBezTo>
                      <a:pt x="524038" y="1778361"/>
                      <a:pt x="506539" y="1795860"/>
                      <a:pt x="484950" y="1795860"/>
                    </a:cubicBezTo>
                    <a:cubicBezTo>
                      <a:pt x="463359" y="1795860"/>
                      <a:pt x="445871" y="1778361"/>
                      <a:pt x="445871" y="1756774"/>
                    </a:cubicBezTo>
                    <a:cubicBezTo>
                      <a:pt x="445871" y="1735186"/>
                      <a:pt x="463359" y="1717686"/>
                      <a:pt x="484950" y="1717686"/>
                    </a:cubicBezTo>
                    <a:close/>
                    <a:moveTo>
                      <a:pt x="390308" y="1717686"/>
                    </a:moveTo>
                    <a:cubicBezTo>
                      <a:pt x="411895" y="1717686"/>
                      <a:pt x="429402" y="1735186"/>
                      <a:pt x="429402" y="1756774"/>
                    </a:cubicBezTo>
                    <a:cubicBezTo>
                      <a:pt x="429402" y="1778361"/>
                      <a:pt x="411895" y="1795860"/>
                      <a:pt x="390308" y="1795860"/>
                    </a:cubicBezTo>
                    <a:cubicBezTo>
                      <a:pt x="368730" y="1795860"/>
                      <a:pt x="351231" y="1778361"/>
                      <a:pt x="351231" y="1756774"/>
                    </a:cubicBezTo>
                    <a:cubicBezTo>
                      <a:pt x="351231" y="1735186"/>
                      <a:pt x="368730" y="1717686"/>
                      <a:pt x="390308" y="1717686"/>
                    </a:cubicBezTo>
                    <a:close/>
                    <a:moveTo>
                      <a:pt x="298037" y="1717686"/>
                    </a:moveTo>
                    <a:cubicBezTo>
                      <a:pt x="319621" y="1717686"/>
                      <a:pt x="337130" y="1735186"/>
                      <a:pt x="337130" y="1756774"/>
                    </a:cubicBezTo>
                    <a:cubicBezTo>
                      <a:pt x="337130" y="1778361"/>
                      <a:pt x="319621" y="1795860"/>
                      <a:pt x="298037" y="1795860"/>
                    </a:cubicBezTo>
                    <a:cubicBezTo>
                      <a:pt x="276449" y="1795860"/>
                      <a:pt x="258948" y="1778361"/>
                      <a:pt x="258948" y="1756774"/>
                    </a:cubicBezTo>
                    <a:cubicBezTo>
                      <a:pt x="258948" y="1735186"/>
                      <a:pt x="276449" y="1717686"/>
                      <a:pt x="298037" y="1717686"/>
                    </a:cubicBezTo>
                    <a:close/>
                    <a:moveTo>
                      <a:pt x="3854460" y="1637264"/>
                    </a:moveTo>
                    <a:lnTo>
                      <a:pt x="3858001" y="1707402"/>
                    </a:lnTo>
                    <a:lnTo>
                      <a:pt x="3838292" y="1699238"/>
                    </a:lnTo>
                    <a:cubicBezTo>
                      <a:pt x="3831219" y="1692165"/>
                      <a:pt x="3826844" y="1682393"/>
                      <a:pt x="3826844" y="1671599"/>
                    </a:cubicBezTo>
                    <a:cubicBezTo>
                      <a:pt x="3826844" y="1660806"/>
                      <a:pt x="3831219" y="1651034"/>
                      <a:pt x="3838292" y="1643961"/>
                    </a:cubicBezTo>
                    <a:close/>
                    <a:moveTo>
                      <a:pt x="3771291" y="1632512"/>
                    </a:moveTo>
                    <a:cubicBezTo>
                      <a:pt x="3792879" y="1632512"/>
                      <a:pt x="3810379" y="1650012"/>
                      <a:pt x="3810379" y="1671599"/>
                    </a:cubicBezTo>
                    <a:cubicBezTo>
                      <a:pt x="3810379" y="1693187"/>
                      <a:pt x="3792879" y="1710687"/>
                      <a:pt x="3771291" y="1710687"/>
                    </a:cubicBezTo>
                    <a:cubicBezTo>
                      <a:pt x="3749704" y="1710687"/>
                      <a:pt x="3732204" y="1693187"/>
                      <a:pt x="3732204" y="1671599"/>
                    </a:cubicBezTo>
                    <a:cubicBezTo>
                      <a:pt x="3732204" y="1650012"/>
                      <a:pt x="3749704" y="1632512"/>
                      <a:pt x="3771291" y="1632512"/>
                    </a:cubicBezTo>
                    <a:close/>
                    <a:moveTo>
                      <a:pt x="3584377" y="1632512"/>
                    </a:moveTo>
                    <a:cubicBezTo>
                      <a:pt x="3605964" y="1632512"/>
                      <a:pt x="3623463" y="1650012"/>
                      <a:pt x="3623463" y="1671599"/>
                    </a:cubicBezTo>
                    <a:cubicBezTo>
                      <a:pt x="3623463" y="1693187"/>
                      <a:pt x="3605964" y="1710687"/>
                      <a:pt x="3584377" y="1710687"/>
                    </a:cubicBezTo>
                    <a:cubicBezTo>
                      <a:pt x="3562789" y="1710687"/>
                      <a:pt x="3545289" y="1693187"/>
                      <a:pt x="3545289" y="1671599"/>
                    </a:cubicBezTo>
                    <a:cubicBezTo>
                      <a:pt x="3545289" y="1650012"/>
                      <a:pt x="3562789" y="1632512"/>
                      <a:pt x="3584377" y="1632512"/>
                    </a:cubicBezTo>
                    <a:close/>
                    <a:moveTo>
                      <a:pt x="3489737" y="1632512"/>
                    </a:moveTo>
                    <a:cubicBezTo>
                      <a:pt x="3511324" y="1632512"/>
                      <a:pt x="3528823" y="1650012"/>
                      <a:pt x="3528823" y="1671599"/>
                    </a:cubicBezTo>
                    <a:cubicBezTo>
                      <a:pt x="3528823" y="1693187"/>
                      <a:pt x="3511324" y="1710687"/>
                      <a:pt x="3489737" y="1710687"/>
                    </a:cubicBezTo>
                    <a:cubicBezTo>
                      <a:pt x="3468149" y="1710687"/>
                      <a:pt x="3450649" y="1693187"/>
                      <a:pt x="3450649" y="1671599"/>
                    </a:cubicBezTo>
                    <a:cubicBezTo>
                      <a:pt x="3450649" y="1650012"/>
                      <a:pt x="3468149" y="1632512"/>
                      <a:pt x="3489737" y="1632512"/>
                    </a:cubicBezTo>
                    <a:close/>
                    <a:moveTo>
                      <a:pt x="3392731" y="1632512"/>
                    </a:moveTo>
                    <a:cubicBezTo>
                      <a:pt x="3414319" y="1632512"/>
                      <a:pt x="3431819" y="1650012"/>
                      <a:pt x="3431819" y="1671599"/>
                    </a:cubicBezTo>
                    <a:cubicBezTo>
                      <a:pt x="3431819" y="1693187"/>
                      <a:pt x="3414319" y="1710687"/>
                      <a:pt x="3392731" y="1710687"/>
                    </a:cubicBezTo>
                    <a:cubicBezTo>
                      <a:pt x="3371144" y="1710687"/>
                      <a:pt x="3353644" y="1693187"/>
                      <a:pt x="3353644" y="1671599"/>
                    </a:cubicBezTo>
                    <a:cubicBezTo>
                      <a:pt x="3353644" y="1650012"/>
                      <a:pt x="3371144" y="1632512"/>
                      <a:pt x="3392731" y="1632512"/>
                    </a:cubicBezTo>
                    <a:close/>
                    <a:moveTo>
                      <a:pt x="2924263" y="1632512"/>
                    </a:moveTo>
                    <a:cubicBezTo>
                      <a:pt x="2945850" y="1632512"/>
                      <a:pt x="2963349" y="1650012"/>
                      <a:pt x="2963349" y="1671599"/>
                    </a:cubicBezTo>
                    <a:cubicBezTo>
                      <a:pt x="2963349" y="1693187"/>
                      <a:pt x="2945850" y="1710687"/>
                      <a:pt x="2924263" y="1710687"/>
                    </a:cubicBezTo>
                    <a:cubicBezTo>
                      <a:pt x="2902675" y="1710687"/>
                      <a:pt x="2885175" y="1693187"/>
                      <a:pt x="2885175" y="1671599"/>
                    </a:cubicBezTo>
                    <a:cubicBezTo>
                      <a:pt x="2885175" y="1650012"/>
                      <a:pt x="2902675" y="1632512"/>
                      <a:pt x="2924263" y="1632512"/>
                    </a:cubicBezTo>
                    <a:close/>
                    <a:moveTo>
                      <a:pt x="2458164" y="1632512"/>
                    </a:moveTo>
                    <a:cubicBezTo>
                      <a:pt x="2479753" y="1632512"/>
                      <a:pt x="2497252" y="1650012"/>
                      <a:pt x="2497252" y="1671599"/>
                    </a:cubicBezTo>
                    <a:cubicBezTo>
                      <a:pt x="2497252" y="1693187"/>
                      <a:pt x="2479753" y="1710687"/>
                      <a:pt x="2458164" y="1710687"/>
                    </a:cubicBezTo>
                    <a:cubicBezTo>
                      <a:pt x="2436583" y="1710687"/>
                      <a:pt x="2419080" y="1693187"/>
                      <a:pt x="2419080" y="1671599"/>
                    </a:cubicBezTo>
                    <a:cubicBezTo>
                      <a:pt x="2419080" y="1650012"/>
                      <a:pt x="2436583" y="1632512"/>
                      <a:pt x="2458164" y="1632512"/>
                    </a:cubicBezTo>
                    <a:close/>
                    <a:moveTo>
                      <a:pt x="951057" y="1632512"/>
                    </a:moveTo>
                    <a:cubicBezTo>
                      <a:pt x="972642" y="1632512"/>
                      <a:pt x="990141" y="1650012"/>
                      <a:pt x="990141" y="1671599"/>
                    </a:cubicBezTo>
                    <a:cubicBezTo>
                      <a:pt x="990141" y="1693187"/>
                      <a:pt x="972642" y="1710687"/>
                      <a:pt x="951057" y="1710687"/>
                    </a:cubicBezTo>
                    <a:cubicBezTo>
                      <a:pt x="929472" y="1710687"/>
                      <a:pt x="911973" y="1693187"/>
                      <a:pt x="911973" y="1671599"/>
                    </a:cubicBezTo>
                    <a:cubicBezTo>
                      <a:pt x="911973" y="1650012"/>
                      <a:pt x="929472" y="1632512"/>
                      <a:pt x="951057" y="1632512"/>
                    </a:cubicBezTo>
                    <a:close/>
                    <a:moveTo>
                      <a:pt x="856425" y="1632512"/>
                    </a:moveTo>
                    <a:cubicBezTo>
                      <a:pt x="878010" y="1632512"/>
                      <a:pt x="895509" y="1650012"/>
                      <a:pt x="895509" y="1671599"/>
                    </a:cubicBezTo>
                    <a:cubicBezTo>
                      <a:pt x="895509" y="1693187"/>
                      <a:pt x="878010" y="1710687"/>
                      <a:pt x="856425" y="1710687"/>
                    </a:cubicBezTo>
                    <a:cubicBezTo>
                      <a:pt x="834839" y="1710687"/>
                      <a:pt x="817341" y="1693187"/>
                      <a:pt x="817341" y="1671599"/>
                    </a:cubicBezTo>
                    <a:cubicBezTo>
                      <a:pt x="817341" y="1650012"/>
                      <a:pt x="834839" y="1632512"/>
                      <a:pt x="856425" y="1632512"/>
                    </a:cubicBezTo>
                    <a:close/>
                    <a:moveTo>
                      <a:pt x="669521" y="1632512"/>
                    </a:moveTo>
                    <a:cubicBezTo>
                      <a:pt x="691111" y="1632512"/>
                      <a:pt x="708609" y="1650012"/>
                      <a:pt x="708609" y="1671599"/>
                    </a:cubicBezTo>
                    <a:cubicBezTo>
                      <a:pt x="708609" y="1693187"/>
                      <a:pt x="691111" y="1710687"/>
                      <a:pt x="669521" y="1710687"/>
                    </a:cubicBezTo>
                    <a:cubicBezTo>
                      <a:pt x="647936" y="1710687"/>
                      <a:pt x="630433" y="1693187"/>
                      <a:pt x="630433" y="1671599"/>
                    </a:cubicBezTo>
                    <a:cubicBezTo>
                      <a:pt x="630433" y="1650012"/>
                      <a:pt x="647936" y="1632512"/>
                      <a:pt x="669521" y="1632512"/>
                    </a:cubicBezTo>
                    <a:close/>
                    <a:moveTo>
                      <a:pt x="577237" y="1632512"/>
                    </a:moveTo>
                    <a:cubicBezTo>
                      <a:pt x="598829" y="1632512"/>
                      <a:pt x="616330" y="1650012"/>
                      <a:pt x="616330" y="1671599"/>
                    </a:cubicBezTo>
                    <a:cubicBezTo>
                      <a:pt x="616330" y="1693187"/>
                      <a:pt x="598829" y="1710687"/>
                      <a:pt x="577237" y="1710687"/>
                    </a:cubicBezTo>
                    <a:cubicBezTo>
                      <a:pt x="555647" y="1710687"/>
                      <a:pt x="538144" y="1693187"/>
                      <a:pt x="538144" y="1671599"/>
                    </a:cubicBezTo>
                    <a:cubicBezTo>
                      <a:pt x="538144" y="1650012"/>
                      <a:pt x="555647" y="1632512"/>
                      <a:pt x="577237" y="1632512"/>
                    </a:cubicBezTo>
                    <a:close/>
                    <a:moveTo>
                      <a:pt x="484957" y="1632512"/>
                    </a:moveTo>
                    <a:cubicBezTo>
                      <a:pt x="506543" y="1632512"/>
                      <a:pt x="524042" y="1650012"/>
                      <a:pt x="524042" y="1671599"/>
                    </a:cubicBezTo>
                    <a:cubicBezTo>
                      <a:pt x="524042" y="1693187"/>
                      <a:pt x="506543" y="1710687"/>
                      <a:pt x="484957" y="1710687"/>
                    </a:cubicBezTo>
                    <a:cubicBezTo>
                      <a:pt x="463364" y="1710687"/>
                      <a:pt x="445875" y="1693187"/>
                      <a:pt x="445875" y="1671599"/>
                    </a:cubicBezTo>
                    <a:cubicBezTo>
                      <a:pt x="445875" y="1650012"/>
                      <a:pt x="463364" y="1632512"/>
                      <a:pt x="484957" y="1632512"/>
                    </a:cubicBezTo>
                    <a:close/>
                    <a:moveTo>
                      <a:pt x="390314" y="1632512"/>
                    </a:moveTo>
                    <a:cubicBezTo>
                      <a:pt x="411907" y="1632512"/>
                      <a:pt x="429406" y="1650012"/>
                      <a:pt x="429406" y="1671599"/>
                    </a:cubicBezTo>
                    <a:cubicBezTo>
                      <a:pt x="429406" y="1693187"/>
                      <a:pt x="411907" y="1710687"/>
                      <a:pt x="390314" y="1710687"/>
                    </a:cubicBezTo>
                    <a:cubicBezTo>
                      <a:pt x="368735" y="1710687"/>
                      <a:pt x="351235" y="1693187"/>
                      <a:pt x="351235" y="1671599"/>
                    </a:cubicBezTo>
                    <a:cubicBezTo>
                      <a:pt x="351235" y="1650012"/>
                      <a:pt x="368735" y="1632512"/>
                      <a:pt x="390314" y="1632512"/>
                    </a:cubicBezTo>
                    <a:close/>
                    <a:moveTo>
                      <a:pt x="298040" y="1632512"/>
                    </a:moveTo>
                    <a:cubicBezTo>
                      <a:pt x="319624" y="1632512"/>
                      <a:pt x="337133" y="1650012"/>
                      <a:pt x="337133" y="1671599"/>
                    </a:cubicBezTo>
                    <a:cubicBezTo>
                      <a:pt x="337133" y="1693187"/>
                      <a:pt x="319624" y="1710687"/>
                      <a:pt x="298040" y="1710687"/>
                    </a:cubicBezTo>
                    <a:cubicBezTo>
                      <a:pt x="276452" y="1710687"/>
                      <a:pt x="258951" y="1693187"/>
                      <a:pt x="258951" y="1671599"/>
                    </a:cubicBezTo>
                    <a:cubicBezTo>
                      <a:pt x="258951" y="1650012"/>
                      <a:pt x="276452" y="1632512"/>
                      <a:pt x="298040" y="1632512"/>
                    </a:cubicBezTo>
                    <a:close/>
                    <a:moveTo>
                      <a:pt x="3679017" y="1632512"/>
                    </a:moveTo>
                    <a:cubicBezTo>
                      <a:pt x="3700604" y="1632512"/>
                      <a:pt x="3718103" y="1650011"/>
                      <a:pt x="3718103" y="1671598"/>
                    </a:cubicBezTo>
                    <a:cubicBezTo>
                      <a:pt x="3718103" y="1693186"/>
                      <a:pt x="3700604" y="1710685"/>
                      <a:pt x="3679017" y="1710685"/>
                    </a:cubicBezTo>
                    <a:cubicBezTo>
                      <a:pt x="3657429" y="1710685"/>
                      <a:pt x="3639929" y="1693186"/>
                      <a:pt x="3639929" y="1671598"/>
                    </a:cubicBezTo>
                    <a:cubicBezTo>
                      <a:pt x="3639929" y="1650011"/>
                      <a:pt x="3657429" y="1632512"/>
                      <a:pt x="3679017" y="1632512"/>
                    </a:cubicBezTo>
                    <a:close/>
                    <a:moveTo>
                      <a:pt x="3300455" y="1632512"/>
                    </a:moveTo>
                    <a:cubicBezTo>
                      <a:pt x="3322043" y="1632512"/>
                      <a:pt x="3339543" y="1650011"/>
                      <a:pt x="3339543" y="1671598"/>
                    </a:cubicBezTo>
                    <a:cubicBezTo>
                      <a:pt x="3339543" y="1693186"/>
                      <a:pt x="3322043" y="1710685"/>
                      <a:pt x="3300455" y="1710685"/>
                    </a:cubicBezTo>
                    <a:cubicBezTo>
                      <a:pt x="3278868" y="1710685"/>
                      <a:pt x="3261368" y="1693186"/>
                      <a:pt x="3261368" y="1671598"/>
                    </a:cubicBezTo>
                    <a:cubicBezTo>
                      <a:pt x="3261368" y="1650011"/>
                      <a:pt x="3278868" y="1632512"/>
                      <a:pt x="3300455" y="1632512"/>
                    </a:cubicBezTo>
                    <a:close/>
                    <a:moveTo>
                      <a:pt x="3111175" y="1632512"/>
                    </a:moveTo>
                    <a:cubicBezTo>
                      <a:pt x="3132763" y="1632512"/>
                      <a:pt x="3150263" y="1650011"/>
                      <a:pt x="3150263" y="1671598"/>
                    </a:cubicBezTo>
                    <a:cubicBezTo>
                      <a:pt x="3150263" y="1693186"/>
                      <a:pt x="3132763" y="1710685"/>
                      <a:pt x="3111175" y="1710685"/>
                    </a:cubicBezTo>
                    <a:cubicBezTo>
                      <a:pt x="3089588" y="1710685"/>
                      <a:pt x="3072088" y="1693186"/>
                      <a:pt x="3072088" y="1671598"/>
                    </a:cubicBezTo>
                    <a:cubicBezTo>
                      <a:pt x="3072088" y="1650011"/>
                      <a:pt x="3089588" y="1632512"/>
                      <a:pt x="3111175" y="1632512"/>
                    </a:cubicBezTo>
                    <a:close/>
                    <a:moveTo>
                      <a:pt x="3018902" y="1632512"/>
                    </a:moveTo>
                    <a:cubicBezTo>
                      <a:pt x="3040489" y="1632512"/>
                      <a:pt x="3057989" y="1650011"/>
                      <a:pt x="3057989" y="1671598"/>
                    </a:cubicBezTo>
                    <a:cubicBezTo>
                      <a:pt x="3057989" y="1693186"/>
                      <a:pt x="3040489" y="1710685"/>
                      <a:pt x="3018902" y="1710685"/>
                    </a:cubicBezTo>
                    <a:cubicBezTo>
                      <a:pt x="2997315" y="1710685"/>
                      <a:pt x="2979815" y="1693186"/>
                      <a:pt x="2979815" y="1671598"/>
                    </a:cubicBezTo>
                    <a:cubicBezTo>
                      <a:pt x="2979815" y="1650011"/>
                      <a:pt x="2997315" y="1632512"/>
                      <a:pt x="3018902" y="1632512"/>
                    </a:cubicBezTo>
                    <a:close/>
                    <a:moveTo>
                      <a:pt x="2831987" y="1632512"/>
                    </a:moveTo>
                    <a:cubicBezTo>
                      <a:pt x="2853574" y="1632512"/>
                      <a:pt x="2871074" y="1650011"/>
                      <a:pt x="2871074" y="1671598"/>
                    </a:cubicBezTo>
                    <a:cubicBezTo>
                      <a:pt x="2871074" y="1693186"/>
                      <a:pt x="2853574" y="1710685"/>
                      <a:pt x="2831987" y="1710685"/>
                    </a:cubicBezTo>
                    <a:cubicBezTo>
                      <a:pt x="2810400" y="1710685"/>
                      <a:pt x="2792900" y="1693186"/>
                      <a:pt x="2792900" y="1671598"/>
                    </a:cubicBezTo>
                    <a:cubicBezTo>
                      <a:pt x="2792900" y="1650011"/>
                      <a:pt x="2810400" y="1632512"/>
                      <a:pt x="2831987" y="1632512"/>
                    </a:cubicBezTo>
                    <a:close/>
                    <a:moveTo>
                      <a:pt x="2737359" y="1632512"/>
                    </a:moveTo>
                    <a:cubicBezTo>
                      <a:pt x="2758934" y="1632512"/>
                      <a:pt x="2776434" y="1650011"/>
                      <a:pt x="2776434" y="1671598"/>
                    </a:cubicBezTo>
                    <a:cubicBezTo>
                      <a:pt x="2776434" y="1693186"/>
                      <a:pt x="2758934" y="1710685"/>
                      <a:pt x="2737359" y="1710685"/>
                    </a:cubicBezTo>
                    <a:cubicBezTo>
                      <a:pt x="2715769" y="1710685"/>
                      <a:pt x="2698267" y="1693186"/>
                      <a:pt x="2698267" y="1671598"/>
                    </a:cubicBezTo>
                    <a:cubicBezTo>
                      <a:pt x="2698267" y="1650011"/>
                      <a:pt x="2715769" y="1632512"/>
                      <a:pt x="2737359" y="1632512"/>
                    </a:cubicBezTo>
                    <a:close/>
                    <a:moveTo>
                      <a:pt x="2645073" y="1632512"/>
                    </a:moveTo>
                    <a:cubicBezTo>
                      <a:pt x="2666662" y="1632512"/>
                      <a:pt x="2684164" y="1650011"/>
                      <a:pt x="2684164" y="1671598"/>
                    </a:cubicBezTo>
                    <a:cubicBezTo>
                      <a:pt x="2684164" y="1693186"/>
                      <a:pt x="2666662" y="1710685"/>
                      <a:pt x="2645073" y="1710685"/>
                    </a:cubicBezTo>
                    <a:cubicBezTo>
                      <a:pt x="2623487" y="1710685"/>
                      <a:pt x="2605987" y="1693186"/>
                      <a:pt x="2605987" y="1671598"/>
                    </a:cubicBezTo>
                    <a:cubicBezTo>
                      <a:pt x="2605987" y="1650011"/>
                      <a:pt x="2623487" y="1632512"/>
                      <a:pt x="2645073" y="1632512"/>
                    </a:cubicBezTo>
                    <a:close/>
                    <a:moveTo>
                      <a:pt x="2550437" y="1632512"/>
                    </a:moveTo>
                    <a:cubicBezTo>
                      <a:pt x="2572023" y="1632512"/>
                      <a:pt x="2589522" y="1650011"/>
                      <a:pt x="2589522" y="1671598"/>
                    </a:cubicBezTo>
                    <a:cubicBezTo>
                      <a:pt x="2589522" y="1693186"/>
                      <a:pt x="2572023" y="1710685"/>
                      <a:pt x="2550437" y="1710685"/>
                    </a:cubicBezTo>
                    <a:cubicBezTo>
                      <a:pt x="2528849" y="1710685"/>
                      <a:pt x="2511353" y="1693186"/>
                      <a:pt x="2511353" y="1671598"/>
                    </a:cubicBezTo>
                    <a:cubicBezTo>
                      <a:pt x="2511353" y="1650011"/>
                      <a:pt x="2528849" y="1632512"/>
                      <a:pt x="2550437" y="1632512"/>
                    </a:cubicBezTo>
                    <a:close/>
                    <a:moveTo>
                      <a:pt x="2363525" y="1632512"/>
                    </a:moveTo>
                    <a:cubicBezTo>
                      <a:pt x="2385115" y="1632512"/>
                      <a:pt x="2402612" y="1650011"/>
                      <a:pt x="2402612" y="1671598"/>
                    </a:cubicBezTo>
                    <a:cubicBezTo>
                      <a:pt x="2402612" y="1693186"/>
                      <a:pt x="2385115" y="1710685"/>
                      <a:pt x="2363525" y="1710685"/>
                    </a:cubicBezTo>
                    <a:cubicBezTo>
                      <a:pt x="2341941" y="1710685"/>
                      <a:pt x="2324438" y="1693186"/>
                      <a:pt x="2324438" y="1671598"/>
                    </a:cubicBezTo>
                    <a:cubicBezTo>
                      <a:pt x="2324438" y="1650011"/>
                      <a:pt x="2341941" y="1632512"/>
                      <a:pt x="2363525" y="1632512"/>
                    </a:cubicBezTo>
                    <a:close/>
                    <a:moveTo>
                      <a:pt x="764159" y="1632512"/>
                    </a:moveTo>
                    <a:cubicBezTo>
                      <a:pt x="785745" y="1632512"/>
                      <a:pt x="803243" y="1650011"/>
                      <a:pt x="803243" y="1671598"/>
                    </a:cubicBezTo>
                    <a:cubicBezTo>
                      <a:pt x="803243" y="1693186"/>
                      <a:pt x="785745" y="1710685"/>
                      <a:pt x="764159" y="1710685"/>
                    </a:cubicBezTo>
                    <a:cubicBezTo>
                      <a:pt x="742570" y="1710685"/>
                      <a:pt x="725074" y="1693186"/>
                      <a:pt x="725074" y="1671598"/>
                    </a:cubicBezTo>
                    <a:cubicBezTo>
                      <a:pt x="725074" y="1650011"/>
                      <a:pt x="742570" y="1632512"/>
                      <a:pt x="764159" y="1632512"/>
                    </a:cubicBezTo>
                    <a:close/>
                    <a:moveTo>
                      <a:pt x="3846758" y="1555277"/>
                    </a:moveTo>
                    <a:lnTo>
                      <a:pt x="3852080" y="1590149"/>
                    </a:lnTo>
                    <a:lnTo>
                      <a:pt x="3853608" y="1620406"/>
                    </a:lnTo>
                    <a:lnTo>
                      <a:pt x="3838292" y="1614061"/>
                    </a:lnTo>
                    <a:cubicBezTo>
                      <a:pt x="3831219" y="1606988"/>
                      <a:pt x="3826844" y="1597216"/>
                      <a:pt x="3826844" y="1586423"/>
                    </a:cubicBezTo>
                    <a:cubicBezTo>
                      <a:pt x="3826844" y="1575629"/>
                      <a:pt x="3831219" y="1565857"/>
                      <a:pt x="3838292" y="1558784"/>
                    </a:cubicBezTo>
                    <a:close/>
                    <a:moveTo>
                      <a:pt x="3771291" y="1547335"/>
                    </a:moveTo>
                    <a:cubicBezTo>
                      <a:pt x="3792879" y="1547335"/>
                      <a:pt x="3810379" y="1564835"/>
                      <a:pt x="3810379" y="1586423"/>
                    </a:cubicBezTo>
                    <a:cubicBezTo>
                      <a:pt x="3810379" y="1608009"/>
                      <a:pt x="3792879" y="1625510"/>
                      <a:pt x="3771291" y="1625510"/>
                    </a:cubicBezTo>
                    <a:cubicBezTo>
                      <a:pt x="3749704" y="1625510"/>
                      <a:pt x="3732204" y="1608009"/>
                      <a:pt x="3732204" y="1586423"/>
                    </a:cubicBezTo>
                    <a:cubicBezTo>
                      <a:pt x="3732204" y="1564835"/>
                      <a:pt x="3749704" y="1547335"/>
                      <a:pt x="3771291" y="1547335"/>
                    </a:cubicBezTo>
                    <a:close/>
                    <a:moveTo>
                      <a:pt x="3679017" y="1547335"/>
                    </a:moveTo>
                    <a:cubicBezTo>
                      <a:pt x="3700604" y="1547335"/>
                      <a:pt x="3718103" y="1564835"/>
                      <a:pt x="3718103" y="1586423"/>
                    </a:cubicBezTo>
                    <a:cubicBezTo>
                      <a:pt x="3718103" y="1608009"/>
                      <a:pt x="3700604" y="1625510"/>
                      <a:pt x="3679017" y="1625510"/>
                    </a:cubicBezTo>
                    <a:cubicBezTo>
                      <a:pt x="3657429" y="1625510"/>
                      <a:pt x="3639929" y="1608009"/>
                      <a:pt x="3639929" y="1586423"/>
                    </a:cubicBezTo>
                    <a:cubicBezTo>
                      <a:pt x="3639929" y="1564835"/>
                      <a:pt x="3657429" y="1547335"/>
                      <a:pt x="3679017" y="1547335"/>
                    </a:cubicBezTo>
                    <a:close/>
                    <a:moveTo>
                      <a:pt x="3584377" y="1547335"/>
                    </a:moveTo>
                    <a:cubicBezTo>
                      <a:pt x="3605964" y="1547335"/>
                      <a:pt x="3623463" y="1564835"/>
                      <a:pt x="3623463" y="1586423"/>
                    </a:cubicBezTo>
                    <a:cubicBezTo>
                      <a:pt x="3623463" y="1608009"/>
                      <a:pt x="3605964" y="1625510"/>
                      <a:pt x="3584377" y="1625510"/>
                    </a:cubicBezTo>
                    <a:cubicBezTo>
                      <a:pt x="3562789" y="1625510"/>
                      <a:pt x="3545289" y="1608009"/>
                      <a:pt x="3545289" y="1586423"/>
                    </a:cubicBezTo>
                    <a:cubicBezTo>
                      <a:pt x="3545289" y="1564835"/>
                      <a:pt x="3562789" y="1547335"/>
                      <a:pt x="3584377" y="1547335"/>
                    </a:cubicBezTo>
                    <a:close/>
                    <a:moveTo>
                      <a:pt x="3489737" y="1547335"/>
                    </a:moveTo>
                    <a:cubicBezTo>
                      <a:pt x="3511324" y="1547335"/>
                      <a:pt x="3528823" y="1564835"/>
                      <a:pt x="3528823" y="1586423"/>
                    </a:cubicBezTo>
                    <a:cubicBezTo>
                      <a:pt x="3528823" y="1608009"/>
                      <a:pt x="3511324" y="1625510"/>
                      <a:pt x="3489737" y="1625510"/>
                    </a:cubicBezTo>
                    <a:cubicBezTo>
                      <a:pt x="3468149" y="1625510"/>
                      <a:pt x="3450649" y="1608009"/>
                      <a:pt x="3450649" y="1586423"/>
                    </a:cubicBezTo>
                    <a:cubicBezTo>
                      <a:pt x="3450649" y="1564835"/>
                      <a:pt x="3468149" y="1547335"/>
                      <a:pt x="3489737" y="1547335"/>
                    </a:cubicBezTo>
                    <a:close/>
                    <a:moveTo>
                      <a:pt x="3392731" y="1547335"/>
                    </a:moveTo>
                    <a:cubicBezTo>
                      <a:pt x="3414319" y="1547335"/>
                      <a:pt x="3431819" y="1564835"/>
                      <a:pt x="3431819" y="1586423"/>
                    </a:cubicBezTo>
                    <a:cubicBezTo>
                      <a:pt x="3431819" y="1608009"/>
                      <a:pt x="3414319" y="1625510"/>
                      <a:pt x="3392731" y="1625510"/>
                    </a:cubicBezTo>
                    <a:cubicBezTo>
                      <a:pt x="3371144" y="1625510"/>
                      <a:pt x="3353644" y="1608009"/>
                      <a:pt x="3353644" y="1586423"/>
                    </a:cubicBezTo>
                    <a:cubicBezTo>
                      <a:pt x="3353644" y="1564835"/>
                      <a:pt x="3371144" y="1547335"/>
                      <a:pt x="3392731" y="1547335"/>
                    </a:cubicBezTo>
                    <a:close/>
                    <a:moveTo>
                      <a:pt x="3300455" y="1547335"/>
                    </a:moveTo>
                    <a:cubicBezTo>
                      <a:pt x="3322043" y="1547335"/>
                      <a:pt x="3339543" y="1564835"/>
                      <a:pt x="3339543" y="1586423"/>
                    </a:cubicBezTo>
                    <a:cubicBezTo>
                      <a:pt x="3339543" y="1608009"/>
                      <a:pt x="3322043" y="1625510"/>
                      <a:pt x="3300455" y="1625510"/>
                    </a:cubicBezTo>
                    <a:cubicBezTo>
                      <a:pt x="3278868" y="1625510"/>
                      <a:pt x="3261368" y="1608009"/>
                      <a:pt x="3261368" y="1586423"/>
                    </a:cubicBezTo>
                    <a:cubicBezTo>
                      <a:pt x="3261368" y="1564835"/>
                      <a:pt x="3278868" y="1547335"/>
                      <a:pt x="3300455" y="1547335"/>
                    </a:cubicBezTo>
                    <a:close/>
                    <a:moveTo>
                      <a:pt x="2737361" y="1547335"/>
                    </a:moveTo>
                    <a:cubicBezTo>
                      <a:pt x="2758934" y="1547335"/>
                      <a:pt x="2776434" y="1564835"/>
                      <a:pt x="2776434" y="1586423"/>
                    </a:cubicBezTo>
                    <a:cubicBezTo>
                      <a:pt x="2776434" y="1608009"/>
                      <a:pt x="2758934" y="1625510"/>
                      <a:pt x="2737361" y="1625510"/>
                    </a:cubicBezTo>
                    <a:cubicBezTo>
                      <a:pt x="2715769" y="1625510"/>
                      <a:pt x="2698267" y="1608009"/>
                      <a:pt x="2698267" y="1586423"/>
                    </a:cubicBezTo>
                    <a:cubicBezTo>
                      <a:pt x="2698267" y="1564835"/>
                      <a:pt x="2715769" y="1547335"/>
                      <a:pt x="2737361" y="1547335"/>
                    </a:cubicBezTo>
                    <a:close/>
                    <a:moveTo>
                      <a:pt x="2645073" y="1547335"/>
                    </a:moveTo>
                    <a:cubicBezTo>
                      <a:pt x="2666662" y="1547335"/>
                      <a:pt x="2684164" y="1564835"/>
                      <a:pt x="2684164" y="1586423"/>
                    </a:cubicBezTo>
                    <a:cubicBezTo>
                      <a:pt x="2684164" y="1608009"/>
                      <a:pt x="2666662" y="1625510"/>
                      <a:pt x="2645073" y="1625510"/>
                    </a:cubicBezTo>
                    <a:cubicBezTo>
                      <a:pt x="2623487" y="1625510"/>
                      <a:pt x="2605987" y="1608009"/>
                      <a:pt x="2605987" y="1586423"/>
                    </a:cubicBezTo>
                    <a:cubicBezTo>
                      <a:pt x="2605987" y="1564835"/>
                      <a:pt x="2623487" y="1547335"/>
                      <a:pt x="2645073" y="1547335"/>
                    </a:cubicBezTo>
                    <a:close/>
                    <a:moveTo>
                      <a:pt x="2550437" y="1547335"/>
                    </a:moveTo>
                    <a:cubicBezTo>
                      <a:pt x="2572023" y="1547335"/>
                      <a:pt x="2589523" y="1564835"/>
                      <a:pt x="2589523" y="1586423"/>
                    </a:cubicBezTo>
                    <a:cubicBezTo>
                      <a:pt x="2589523" y="1608009"/>
                      <a:pt x="2572023" y="1625510"/>
                      <a:pt x="2550437" y="1625510"/>
                    </a:cubicBezTo>
                    <a:cubicBezTo>
                      <a:pt x="2528849" y="1625510"/>
                      <a:pt x="2511353" y="1608009"/>
                      <a:pt x="2511353" y="1586423"/>
                    </a:cubicBezTo>
                    <a:cubicBezTo>
                      <a:pt x="2511353" y="1564835"/>
                      <a:pt x="2528849" y="1547335"/>
                      <a:pt x="2550437" y="1547335"/>
                    </a:cubicBezTo>
                    <a:close/>
                    <a:moveTo>
                      <a:pt x="2458164" y="1547335"/>
                    </a:moveTo>
                    <a:cubicBezTo>
                      <a:pt x="2479753" y="1547335"/>
                      <a:pt x="2497252" y="1564835"/>
                      <a:pt x="2497252" y="1586423"/>
                    </a:cubicBezTo>
                    <a:cubicBezTo>
                      <a:pt x="2497252" y="1608009"/>
                      <a:pt x="2479753" y="1625510"/>
                      <a:pt x="2458164" y="1625510"/>
                    </a:cubicBezTo>
                    <a:cubicBezTo>
                      <a:pt x="2436583" y="1625510"/>
                      <a:pt x="2419081" y="1608009"/>
                      <a:pt x="2419081" y="1586423"/>
                    </a:cubicBezTo>
                    <a:cubicBezTo>
                      <a:pt x="2419081" y="1564835"/>
                      <a:pt x="2436583" y="1547335"/>
                      <a:pt x="2458164" y="1547335"/>
                    </a:cubicBezTo>
                    <a:close/>
                    <a:moveTo>
                      <a:pt x="951061" y="1547335"/>
                    </a:moveTo>
                    <a:cubicBezTo>
                      <a:pt x="972645" y="1547335"/>
                      <a:pt x="990144" y="1564835"/>
                      <a:pt x="990144" y="1586423"/>
                    </a:cubicBezTo>
                    <a:cubicBezTo>
                      <a:pt x="990144" y="1608009"/>
                      <a:pt x="972645" y="1625510"/>
                      <a:pt x="951061" y="1625510"/>
                    </a:cubicBezTo>
                    <a:cubicBezTo>
                      <a:pt x="929475" y="1625510"/>
                      <a:pt x="911977" y="1608009"/>
                      <a:pt x="911977" y="1586423"/>
                    </a:cubicBezTo>
                    <a:cubicBezTo>
                      <a:pt x="911977" y="1564835"/>
                      <a:pt x="929475" y="1547335"/>
                      <a:pt x="951061" y="1547335"/>
                    </a:cubicBezTo>
                    <a:close/>
                    <a:moveTo>
                      <a:pt x="856428" y="1547335"/>
                    </a:moveTo>
                    <a:cubicBezTo>
                      <a:pt x="878014" y="1547335"/>
                      <a:pt x="895513" y="1564835"/>
                      <a:pt x="895513" y="1586423"/>
                    </a:cubicBezTo>
                    <a:cubicBezTo>
                      <a:pt x="895513" y="1608009"/>
                      <a:pt x="878014" y="1625510"/>
                      <a:pt x="856428" y="1625510"/>
                    </a:cubicBezTo>
                    <a:cubicBezTo>
                      <a:pt x="834844" y="1625510"/>
                      <a:pt x="817346" y="1608009"/>
                      <a:pt x="817346" y="1586423"/>
                    </a:cubicBezTo>
                    <a:cubicBezTo>
                      <a:pt x="817346" y="1564835"/>
                      <a:pt x="834844" y="1547335"/>
                      <a:pt x="856428" y="1547335"/>
                    </a:cubicBezTo>
                    <a:close/>
                    <a:moveTo>
                      <a:pt x="764163" y="1547335"/>
                    </a:moveTo>
                    <a:cubicBezTo>
                      <a:pt x="785749" y="1547335"/>
                      <a:pt x="803247" y="1564835"/>
                      <a:pt x="803247" y="1586423"/>
                    </a:cubicBezTo>
                    <a:cubicBezTo>
                      <a:pt x="803247" y="1608009"/>
                      <a:pt x="785749" y="1625510"/>
                      <a:pt x="764163" y="1625510"/>
                    </a:cubicBezTo>
                    <a:cubicBezTo>
                      <a:pt x="742573" y="1625510"/>
                      <a:pt x="725079" y="1608009"/>
                      <a:pt x="725079" y="1586423"/>
                    </a:cubicBezTo>
                    <a:cubicBezTo>
                      <a:pt x="725079" y="1564835"/>
                      <a:pt x="742573" y="1547335"/>
                      <a:pt x="764163" y="1547335"/>
                    </a:cubicBezTo>
                    <a:close/>
                    <a:moveTo>
                      <a:pt x="669521" y="1547335"/>
                    </a:moveTo>
                    <a:cubicBezTo>
                      <a:pt x="691116" y="1547335"/>
                      <a:pt x="708613" y="1564835"/>
                      <a:pt x="708613" y="1586423"/>
                    </a:cubicBezTo>
                    <a:cubicBezTo>
                      <a:pt x="708613" y="1608009"/>
                      <a:pt x="691116" y="1625510"/>
                      <a:pt x="669521" y="1625510"/>
                    </a:cubicBezTo>
                    <a:cubicBezTo>
                      <a:pt x="647940" y="1625510"/>
                      <a:pt x="630438" y="1608009"/>
                      <a:pt x="630438" y="1586423"/>
                    </a:cubicBezTo>
                    <a:cubicBezTo>
                      <a:pt x="630438" y="1564835"/>
                      <a:pt x="647940" y="1547335"/>
                      <a:pt x="669521" y="1547335"/>
                    </a:cubicBezTo>
                    <a:close/>
                    <a:moveTo>
                      <a:pt x="577241" y="1547335"/>
                    </a:moveTo>
                    <a:cubicBezTo>
                      <a:pt x="598832" y="1547335"/>
                      <a:pt x="616335" y="1564835"/>
                      <a:pt x="616335" y="1586423"/>
                    </a:cubicBezTo>
                    <a:cubicBezTo>
                      <a:pt x="616335" y="1608009"/>
                      <a:pt x="598832" y="1625510"/>
                      <a:pt x="577241" y="1625510"/>
                    </a:cubicBezTo>
                    <a:cubicBezTo>
                      <a:pt x="555651" y="1625510"/>
                      <a:pt x="538147" y="1608009"/>
                      <a:pt x="538147" y="1586423"/>
                    </a:cubicBezTo>
                    <a:cubicBezTo>
                      <a:pt x="538147" y="1564835"/>
                      <a:pt x="555651" y="1547335"/>
                      <a:pt x="577241" y="1547335"/>
                    </a:cubicBezTo>
                    <a:close/>
                    <a:moveTo>
                      <a:pt x="484957" y="1547335"/>
                    </a:moveTo>
                    <a:cubicBezTo>
                      <a:pt x="506545" y="1547335"/>
                      <a:pt x="524045" y="1564835"/>
                      <a:pt x="524045" y="1586423"/>
                    </a:cubicBezTo>
                    <a:cubicBezTo>
                      <a:pt x="524045" y="1608009"/>
                      <a:pt x="506545" y="1625510"/>
                      <a:pt x="484957" y="1625510"/>
                    </a:cubicBezTo>
                    <a:cubicBezTo>
                      <a:pt x="463365" y="1625510"/>
                      <a:pt x="445879" y="1608009"/>
                      <a:pt x="445879" y="1586423"/>
                    </a:cubicBezTo>
                    <a:cubicBezTo>
                      <a:pt x="445879" y="1564835"/>
                      <a:pt x="463365" y="1547335"/>
                      <a:pt x="484957" y="1547335"/>
                    </a:cubicBezTo>
                    <a:close/>
                    <a:moveTo>
                      <a:pt x="390314" y="1547335"/>
                    </a:moveTo>
                    <a:cubicBezTo>
                      <a:pt x="411908" y="1547335"/>
                      <a:pt x="429410" y="1564835"/>
                      <a:pt x="429410" y="1586423"/>
                    </a:cubicBezTo>
                    <a:cubicBezTo>
                      <a:pt x="429410" y="1608009"/>
                      <a:pt x="411908" y="1625510"/>
                      <a:pt x="390314" y="1625510"/>
                    </a:cubicBezTo>
                    <a:cubicBezTo>
                      <a:pt x="368739" y="1625510"/>
                      <a:pt x="351238" y="1608009"/>
                      <a:pt x="351238" y="1586423"/>
                    </a:cubicBezTo>
                    <a:cubicBezTo>
                      <a:pt x="351238" y="1564835"/>
                      <a:pt x="368739" y="1547335"/>
                      <a:pt x="390314" y="1547335"/>
                    </a:cubicBezTo>
                    <a:close/>
                    <a:moveTo>
                      <a:pt x="298043" y="1547335"/>
                    </a:moveTo>
                    <a:cubicBezTo>
                      <a:pt x="319627" y="1547335"/>
                      <a:pt x="337137" y="1564835"/>
                      <a:pt x="337137" y="1586423"/>
                    </a:cubicBezTo>
                    <a:cubicBezTo>
                      <a:pt x="337137" y="1608009"/>
                      <a:pt x="319627" y="1625510"/>
                      <a:pt x="298043" y="1625510"/>
                    </a:cubicBezTo>
                    <a:cubicBezTo>
                      <a:pt x="276456" y="1625510"/>
                      <a:pt x="258954" y="1608009"/>
                      <a:pt x="258954" y="1586423"/>
                    </a:cubicBezTo>
                    <a:cubicBezTo>
                      <a:pt x="258954" y="1564835"/>
                      <a:pt x="276456" y="1547335"/>
                      <a:pt x="298043" y="1547335"/>
                    </a:cubicBezTo>
                    <a:close/>
                    <a:moveTo>
                      <a:pt x="203400" y="1547335"/>
                    </a:moveTo>
                    <a:cubicBezTo>
                      <a:pt x="224988" y="1547335"/>
                      <a:pt x="242489" y="1564835"/>
                      <a:pt x="242489" y="1586423"/>
                    </a:cubicBezTo>
                    <a:cubicBezTo>
                      <a:pt x="242489" y="1608009"/>
                      <a:pt x="224988" y="1625510"/>
                      <a:pt x="203400" y="1625510"/>
                    </a:cubicBezTo>
                    <a:cubicBezTo>
                      <a:pt x="181814" y="1625510"/>
                      <a:pt x="164314" y="1608009"/>
                      <a:pt x="164314" y="1586423"/>
                    </a:cubicBezTo>
                    <a:cubicBezTo>
                      <a:pt x="164314" y="1564835"/>
                      <a:pt x="181814" y="1547335"/>
                      <a:pt x="203400" y="1547335"/>
                    </a:cubicBezTo>
                    <a:close/>
                    <a:moveTo>
                      <a:pt x="3835635" y="1482393"/>
                    </a:moveTo>
                    <a:lnTo>
                      <a:pt x="3843416" y="1533374"/>
                    </a:lnTo>
                    <a:lnTo>
                      <a:pt x="3838294" y="1531252"/>
                    </a:lnTo>
                    <a:cubicBezTo>
                      <a:pt x="3831220" y="1524179"/>
                      <a:pt x="3826845" y="1514407"/>
                      <a:pt x="3826845" y="1503614"/>
                    </a:cubicBezTo>
                    <a:close/>
                    <a:moveTo>
                      <a:pt x="3771293" y="1464526"/>
                    </a:moveTo>
                    <a:cubicBezTo>
                      <a:pt x="3792880" y="1464526"/>
                      <a:pt x="3810379" y="1482026"/>
                      <a:pt x="3810379" y="1503614"/>
                    </a:cubicBezTo>
                    <a:cubicBezTo>
                      <a:pt x="3810379" y="1525201"/>
                      <a:pt x="3792880" y="1542701"/>
                      <a:pt x="3771293" y="1542701"/>
                    </a:cubicBezTo>
                    <a:cubicBezTo>
                      <a:pt x="3749705" y="1542701"/>
                      <a:pt x="3732205" y="1525201"/>
                      <a:pt x="3732205" y="1503614"/>
                    </a:cubicBezTo>
                    <a:cubicBezTo>
                      <a:pt x="3732205" y="1482026"/>
                      <a:pt x="3749705" y="1464526"/>
                      <a:pt x="3771293" y="1464526"/>
                    </a:cubicBezTo>
                    <a:close/>
                    <a:moveTo>
                      <a:pt x="3679018" y="1464526"/>
                    </a:moveTo>
                    <a:cubicBezTo>
                      <a:pt x="3700605" y="1464526"/>
                      <a:pt x="3718105" y="1482026"/>
                      <a:pt x="3718105" y="1503614"/>
                    </a:cubicBezTo>
                    <a:cubicBezTo>
                      <a:pt x="3718105" y="1525201"/>
                      <a:pt x="3700605" y="1542701"/>
                      <a:pt x="3679018" y="1542701"/>
                    </a:cubicBezTo>
                    <a:cubicBezTo>
                      <a:pt x="3657431" y="1542701"/>
                      <a:pt x="3639931" y="1525201"/>
                      <a:pt x="3639931" y="1503614"/>
                    </a:cubicBezTo>
                    <a:cubicBezTo>
                      <a:pt x="3639931" y="1482026"/>
                      <a:pt x="3657431" y="1464526"/>
                      <a:pt x="3679018" y="1464526"/>
                    </a:cubicBezTo>
                    <a:close/>
                    <a:moveTo>
                      <a:pt x="3489737" y="1464526"/>
                    </a:moveTo>
                    <a:cubicBezTo>
                      <a:pt x="3511324" y="1464526"/>
                      <a:pt x="3528823" y="1482026"/>
                      <a:pt x="3528823" y="1503614"/>
                    </a:cubicBezTo>
                    <a:cubicBezTo>
                      <a:pt x="3528823" y="1525201"/>
                      <a:pt x="3511324" y="1542701"/>
                      <a:pt x="3489737" y="1542701"/>
                    </a:cubicBezTo>
                    <a:cubicBezTo>
                      <a:pt x="3468149" y="1542701"/>
                      <a:pt x="3450649" y="1525201"/>
                      <a:pt x="3450649" y="1503614"/>
                    </a:cubicBezTo>
                    <a:cubicBezTo>
                      <a:pt x="3450649" y="1482026"/>
                      <a:pt x="3468149" y="1464526"/>
                      <a:pt x="3489737" y="1464526"/>
                    </a:cubicBezTo>
                    <a:close/>
                    <a:moveTo>
                      <a:pt x="3392731" y="1464526"/>
                    </a:moveTo>
                    <a:cubicBezTo>
                      <a:pt x="3414319" y="1464526"/>
                      <a:pt x="3431819" y="1482026"/>
                      <a:pt x="3431819" y="1503614"/>
                    </a:cubicBezTo>
                    <a:cubicBezTo>
                      <a:pt x="3431819" y="1525201"/>
                      <a:pt x="3414319" y="1542701"/>
                      <a:pt x="3392731" y="1542701"/>
                    </a:cubicBezTo>
                    <a:cubicBezTo>
                      <a:pt x="3371144" y="1542701"/>
                      <a:pt x="3353644" y="1525201"/>
                      <a:pt x="3353644" y="1503614"/>
                    </a:cubicBezTo>
                    <a:cubicBezTo>
                      <a:pt x="3353644" y="1482026"/>
                      <a:pt x="3371144" y="1464526"/>
                      <a:pt x="3392731" y="1464526"/>
                    </a:cubicBezTo>
                    <a:close/>
                    <a:moveTo>
                      <a:pt x="3300457" y="1464526"/>
                    </a:moveTo>
                    <a:cubicBezTo>
                      <a:pt x="3322044" y="1464526"/>
                      <a:pt x="3339544" y="1482026"/>
                      <a:pt x="3339544" y="1503614"/>
                    </a:cubicBezTo>
                    <a:cubicBezTo>
                      <a:pt x="3339544" y="1525201"/>
                      <a:pt x="3322044" y="1542701"/>
                      <a:pt x="3300457" y="1542701"/>
                    </a:cubicBezTo>
                    <a:cubicBezTo>
                      <a:pt x="3278869" y="1542701"/>
                      <a:pt x="3261369" y="1525201"/>
                      <a:pt x="3261369" y="1503614"/>
                    </a:cubicBezTo>
                    <a:cubicBezTo>
                      <a:pt x="3261369" y="1482026"/>
                      <a:pt x="3278869" y="1464526"/>
                      <a:pt x="3300457" y="1464526"/>
                    </a:cubicBezTo>
                    <a:close/>
                    <a:moveTo>
                      <a:pt x="3205817" y="1464526"/>
                    </a:moveTo>
                    <a:cubicBezTo>
                      <a:pt x="3227404" y="1464526"/>
                      <a:pt x="3244904" y="1482026"/>
                      <a:pt x="3244904" y="1503614"/>
                    </a:cubicBezTo>
                    <a:cubicBezTo>
                      <a:pt x="3244904" y="1525201"/>
                      <a:pt x="3227404" y="1542701"/>
                      <a:pt x="3205817" y="1542701"/>
                    </a:cubicBezTo>
                    <a:cubicBezTo>
                      <a:pt x="3184229" y="1542701"/>
                      <a:pt x="3166729" y="1525201"/>
                      <a:pt x="3166729" y="1503614"/>
                    </a:cubicBezTo>
                    <a:cubicBezTo>
                      <a:pt x="3166729" y="1482026"/>
                      <a:pt x="3184229" y="1464526"/>
                      <a:pt x="3205817" y="1464526"/>
                    </a:cubicBezTo>
                    <a:close/>
                    <a:moveTo>
                      <a:pt x="3111177" y="1464526"/>
                    </a:moveTo>
                    <a:cubicBezTo>
                      <a:pt x="3132764" y="1464526"/>
                      <a:pt x="3150264" y="1482026"/>
                      <a:pt x="3150264" y="1503614"/>
                    </a:cubicBezTo>
                    <a:cubicBezTo>
                      <a:pt x="3150264" y="1525201"/>
                      <a:pt x="3132764" y="1542701"/>
                      <a:pt x="3111177" y="1542701"/>
                    </a:cubicBezTo>
                    <a:cubicBezTo>
                      <a:pt x="3089589" y="1542701"/>
                      <a:pt x="3072089" y="1525201"/>
                      <a:pt x="3072089" y="1503614"/>
                    </a:cubicBezTo>
                    <a:cubicBezTo>
                      <a:pt x="3072089" y="1482026"/>
                      <a:pt x="3089589" y="1464526"/>
                      <a:pt x="3111177" y="1464526"/>
                    </a:cubicBezTo>
                    <a:close/>
                    <a:moveTo>
                      <a:pt x="3018902" y="1464526"/>
                    </a:moveTo>
                    <a:cubicBezTo>
                      <a:pt x="3040489" y="1464526"/>
                      <a:pt x="3057989" y="1482026"/>
                      <a:pt x="3057989" y="1503614"/>
                    </a:cubicBezTo>
                    <a:cubicBezTo>
                      <a:pt x="3057989" y="1525201"/>
                      <a:pt x="3040489" y="1542701"/>
                      <a:pt x="3018902" y="1542701"/>
                    </a:cubicBezTo>
                    <a:cubicBezTo>
                      <a:pt x="2997315" y="1542701"/>
                      <a:pt x="2979815" y="1525201"/>
                      <a:pt x="2979815" y="1503614"/>
                    </a:cubicBezTo>
                    <a:cubicBezTo>
                      <a:pt x="2979815" y="1482026"/>
                      <a:pt x="2997315" y="1464526"/>
                      <a:pt x="3018902" y="1464526"/>
                    </a:cubicBezTo>
                    <a:close/>
                    <a:moveTo>
                      <a:pt x="2831988" y="1464526"/>
                    </a:moveTo>
                    <a:cubicBezTo>
                      <a:pt x="2853575" y="1464526"/>
                      <a:pt x="2871075" y="1482026"/>
                      <a:pt x="2871075" y="1503614"/>
                    </a:cubicBezTo>
                    <a:cubicBezTo>
                      <a:pt x="2871075" y="1525201"/>
                      <a:pt x="2853575" y="1542701"/>
                      <a:pt x="2831988" y="1542701"/>
                    </a:cubicBezTo>
                    <a:cubicBezTo>
                      <a:pt x="2810401" y="1542701"/>
                      <a:pt x="2792901" y="1525201"/>
                      <a:pt x="2792901" y="1503614"/>
                    </a:cubicBezTo>
                    <a:cubicBezTo>
                      <a:pt x="2792901" y="1482026"/>
                      <a:pt x="2810401" y="1464526"/>
                      <a:pt x="2831988" y="1464526"/>
                    </a:cubicBezTo>
                    <a:close/>
                    <a:moveTo>
                      <a:pt x="2458167" y="1464526"/>
                    </a:moveTo>
                    <a:cubicBezTo>
                      <a:pt x="2479755" y="1464526"/>
                      <a:pt x="2497253" y="1482026"/>
                      <a:pt x="2497253" y="1503614"/>
                    </a:cubicBezTo>
                    <a:cubicBezTo>
                      <a:pt x="2497253" y="1525201"/>
                      <a:pt x="2479755" y="1542701"/>
                      <a:pt x="2458167" y="1542701"/>
                    </a:cubicBezTo>
                    <a:cubicBezTo>
                      <a:pt x="2436585" y="1542701"/>
                      <a:pt x="2419081" y="1525201"/>
                      <a:pt x="2419081" y="1503614"/>
                    </a:cubicBezTo>
                    <a:cubicBezTo>
                      <a:pt x="2419081" y="1482026"/>
                      <a:pt x="2436585" y="1464526"/>
                      <a:pt x="2458167" y="1464526"/>
                    </a:cubicBezTo>
                    <a:close/>
                    <a:moveTo>
                      <a:pt x="2363529" y="1464526"/>
                    </a:moveTo>
                    <a:cubicBezTo>
                      <a:pt x="2385118" y="1464526"/>
                      <a:pt x="2402614" y="1482026"/>
                      <a:pt x="2402614" y="1503614"/>
                    </a:cubicBezTo>
                    <a:cubicBezTo>
                      <a:pt x="2402614" y="1525201"/>
                      <a:pt x="2385118" y="1542701"/>
                      <a:pt x="2363529" y="1542701"/>
                    </a:cubicBezTo>
                    <a:cubicBezTo>
                      <a:pt x="2341943" y="1542701"/>
                      <a:pt x="2324441" y="1525201"/>
                      <a:pt x="2324441" y="1503614"/>
                    </a:cubicBezTo>
                    <a:cubicBezTo>
                      <a:pt x="2324441" y="1482026"/>
                      <a:pt x="2341943" y="1464526"/>
                      <a:pt x="2363529" y="1464526"/>
                    </a:cubicBezTo>
                    <a:close/>
                    <a:moveTo>
                      <a:pt x="1045696" y="1464526"/>
                    </a:moveTo>
                    <a:cubicBezTo>
                      <a:pt x="1067282" y="1464526"/>
                      <a:pt x="1084784" y="1482026"/>
                      <a:pt x="1084784" y="1503614"/>
                    </a:cubicBezTo>
                    <a:cubicBezTo>
                      <a:pt x="1084784" y="1525201"/>
                      <a:pt x="1067282" y="1542701"/>
                      <a:pt x="1045696" y="1542701"/>
                    </a:cubicBezTo>
                    <a:cubicBezTo>
                      <a:pt x="1024110" y="1542701"/>
                      <a:pt x="1006612" y="1525201"/>
                      <a:pt x="1006612" y="1503614"/>
                    </a:cubicBezTo>
                    <a:cubicBezTo>
                      <a:pt x="1006612" y="1482026"/>
                      <a:pt x="1024110" y="1464526"/>
                      <a:pt x="1045696" y="1464526"/>
                    </a:cubicBezTo>
                    <a:close/>
                    <a:moveTo>
                      <a:pt x="951064" y="1464526"/>
                    </a:moveTo>
                    <a:cubicBezTo>
                      <a:pt x="972649" y="1464526"/>
                      <a:pt x="990147" y="1482026"/>
                      <a:pt x="990147" y="1503614"/>
                    </a:cubicBezTo>
                    <a:cubicBezTo>
                      <a:pt x="990147" y="1525201"/>
                      <a:pt x="972649" y="1542701"/>
                      <a:pt x="951064" y="1542701"/>
                    </a:cubicBezTo>
                    <a:cubicBezTo>
                      <a:pt x="929479" y="1542701"/>
                      <a:pt x="911980" y="1525201"/>
                      <a:pt x="911980" y="1503614"/>
                    </a:cubicBezTo>
                    <a:cubicBezTo>
                      <a:pt x="911980" y="1482026"/>
                      <a:pt x="929479" y="1464526"/>
                      <a:pt x="951064" y="1464526"/>
                    </a:cubicBezTo>
                    <a:close/>
                    <a:moveTo>
                      <a:pt x="856433" y="1464526"/>
                    </a:moveTo>
                    <a:cubicBezTo>
                      <a:pt x="878018" y="1464526"/>
                      <a:pt x="895517" y="1482026"/>
                      <a:pt x="895517" y="1503614"/>
                    </a:cubicBezTo>
                    <a:cubicBezTo>
                      <a:pt x="895517" y="1525201"/>
                      <a:pt x="878018" y="1542701"/>
                      <a:pt x="856433" y="1542701"/>
                    </a:cubicBezTo>
                    <a:cubicBezTo>
                      <a:pt x="834848" y="1542701"/>
                      <a:pt x="817350" y="1525201"/>
                      <a:pt x="817350" y="1503614"/>
                    </a:cubicBezTo>
                    <a:cubicBezTo>
                      <a:pt x="817350" y="1482026"/>
                      <a:pt x="834848" y="1464526"/>
                      <a:pt x="856433" y="1464526"/>
                    </a:cubicBezTo>
                    <a:close/>
                    <a:moveTo>
                      <a:pt x="764168" y="1464526"/>
                    </a:moveTo>
                    <a:cubicBezTo>
                      <a:pt x="785753" y="1464526"/>
                      <a:pt x="803252" y="1482026"/>
                      <a:pt x="803252" y="1503614"/>
                    </a:cubicBezTo>
                    <a:cubicBezTo>
                      <a:pt x="803252" y="1525201"/>
                      <a:pt x="785753" y="1542701"/>
                      <a:pt x="764168" y="1542701"/>
                    </a:cubicBezTo>
                    <a:cubicBezTo>
                      <a:pt x="742576" y="1542701"/>
                      <a:pt x="725083" y="1525201"/>
                      <a:pt x="725083" y="1503614"/>
                    </a:cubicBezTo>
                    <a:cubicBezTo>
                      <a:pt x="725083" y="1482026"/>
                      <a:pt x="742576" y="1464526"/>
                      <a:pt x="764168" y="1464526"/>
                    </a:cubicBezTo>
                    <a:close/>
                    <a:moveTo>
                      <a:pt x="669521" y="1464526"/>
                    </a:moveTo>
                    <a:cubicBezTo>
                      <a:pt x="691121" y="1464526"/>
                      <a:pt x="708620" y="1482026"/>
                      <a:pt x="708620" y="1503614"/>
                    </a:cubicBezTo>
                    <a:cubicBezTo>
                      <a:pt x="708620" y="1525201"/>
                      <a:pt x="691121" y="1542701"/>
                      <a:pt x="669521" y="1542701"/>
                    </a:cubicBezTo>
                    <a:cubicBezTo>
                      <a:pt x="647946" y="1542701"/>
                      <a:pt x="630443" y="1525201"/>
                      <a:pt x="630443" y="1503614"/>
                    </a:cubicBezTo>
                    <a:cubicBezTo>
                      <a:pt x="630443" y="1482026"/>
                      <a:pt x="647946" y="1464526"/>
                      <a:pt x="669521" y="1464526"/>
                    </a:cubicBezTo>
                    <a:close/>
                    <a:moveTo>
                      <a:pt x="577246" y="1464526"/>
                    </a:moveTo>
                    <a:cubicBezTo>
                      <a:pt x="598837" y="1464526"/>
                      <a:pt x="616341" y="1482026"/>
                      <a:pt x="616341" y="1503614"/>
                    </a:cubicBezTo>
                    <a:cubicBezTo>
                      <a:pt x="616341" y="1525201"/>
                      <a:pt x="598837" y="1542701"/>
                      <a:pt x="577246" y="1542701"/>
                    </a:cubicBezTo>
                    <a:cubicBezTo>
                      <a:pt x="555655" y="1542701"/>
                      <a:pt x="538151" y="1525201"/>
                      <a:pt x="538151" y="1503614"/>
                    </a:cubicBezTo>
                    <a:cubicBezTo>
                      <a:pt x="538151" y="1482026"/>
                      <a:pt x="555655" y="1464526"/>
                      <a:pt x="577246" y="1464526"/>
                    </a:cubicBezTo>
                    <a:close/>
                    <a:moveTo>
                      <a:pt x="484961" y="1464526"/>
                    </a:moveTo>
                    <a:cubicBezTo>
                      <a:pt x="506550" y="1464526"/>
                      <a:pt x="524048" y="1482026"/>
                      <a:pt x="524048" y="1503614"/>
                    </a:cubicBezTo>
                    <a:cubicBezTo>
                      <a:pt x="524048" y="1525201"/>
                      <a:pt x="506550" y="1542701"/>
                      <a:pt x="484961" y="1542701"/>
                    </a:cubicBezTo>
                    <a:cubicBezTo>
                      <a:pt x="463368" y="1542701"/>
                      <a:pt x="445884" y="1525201"/>
                      <a:pt x="445884" y="1503614"/>
                    </a:cubicBezTo>
                    <a:cubicBezTo>
                      <a:pt x="445884" y="1482026"/>
                      <a:pt x="463368" y="1464526"/>
                      <a:pt x="484961" y="1464526"/>
                    </a:cubicBezTo>
                    <a:close/>
                    <a:moveTo>
                      <a:pt x="390321" y="1464526"/>
                    </a:moveTo>
                    <a:cubicBezTo>
                      <a:pt x="411908" y="1464526"/>
                      <a:pt x="429414" y="1482026"/>
                      <a:pt x="429414" y="1503614"/>
                    </a:cubicBezTo>
                    <a:cubicBezTo>
                      <a:pt x="429414" y="1525201"/>
                      <a:pt x="411908" y="1542701"/>
                      <a:pt x="390321" y="1542701"/>
                    </a:cubicBezTo>
                    <a:cubicBezTo>
                      <a:pt x="368742" y="1542701"/>
                      <a:pt x="351243" y="1525201"/>
                      <a:pt x="351243" y="1503614"/>
                    </a:cubicBezTo>
                    <a:cubicBezTo>
                      <a:pt x="351243" y="1482026"/>
                      <a:pt x="368742" y="1464526"/>
                      <a:pt x="390321" y="1464526"/>
                    </a:cubicBezTo>
                    <a:close/>
                    <a:moveTo>
                      <a:pt x="298048" y="1464526"/>
                    </a:moveTo>
                    <a:cubicBezTo>
                      <a:pt x="319631" y="1464526"/>
                      <a:pt x="337143" y="1482026"/>
                      <a:pt x="337143" y="1503614"/>
                    </a:cubicBezTo>
                    <a:cubicBezTo>
                      <a:pt x="337143" y="1525201"/>
                      <a:pt x="319631" y="1542701"/>
                      <a:pt x="298048" y="1542701"/>
                    </a:cubicBezTo>
                    <a:cubicBezTo>
                      <a:pt x="276459" y="1542701"/>
                      <a:pt x="258959" y="1525201"/>
                      <a:pt x="258959" y="1503614"/>
                    </a:cubicBezTo>
                    <a:cubicBezTo>
                      <a:pt x="258959" y="1482026"/>
                      <a:pt x="276459" y="1464526"/>
                      <a:pt x="298048" y="1464526"/>
                    </a:cubicBezTo>
                    <a:close/>
                    <a:moveTo>
                      <a:pt x="203404" y="1464526"/>
                    </a:moveTo>
                    <a:cubicBezTo>
                      <a:pt x="224994" y="1464526"/>
                      <a:pt x="242493" y="1482026"/>
                      <a:pt x="242493" y="1503614"/>
                    </a:cubicBezTo>
                    <a:cubicBezTo>
                      <a:pt x="242493" y="1525201"/>
                      <a:pt x="224994" y="1542701"/>
                      <a:pt x="203404" y="1542701"/>
                    </a:cubicBezTo>
                    <a:cubicBezTo>
                      <a:pt x="181818" y="1542701"/>
                      <a:pt x="164318" y="1525201"/>
                      <a:pt x="164318" y="1503614"/>
                    </a:cubicBezTo>
                    <a:cubicBezTo>
                      <a:pt x="164318" y="1482026"/>
                      <a:pt x="181818" y="1464526"/>
                      <a:pt x="203404" y="1464526"/>
                    </a:cubicBezTo>
                    <a:close/>
                    <a:moveTo>
                      <a:pt x="111130" y="1464526"/>
                    </a:moveTo>
                    <a:cubicBezTo>
                      <a:pt x="132718" y="1464526"/>
                      <a:pt x="150218" y="1482026"/>
                      <a:pt x="150218" y="1503614"/>
                    </a:cubicBezTo>
                    <a:cubicBezTo>
                      <a:pt x="150218" y="1525201"/>
                      <a:pt x="132718" y="1542701"/>
                      <a:pt x="111130" y="1542701"/>
                    </a:cubicBezTo>
                    <a:cubicBezTo>
                      <a:pt x="89543" y="1542701"/>
                      <a:pt x="72044" y="1525201"/>
                      <a:pt x="72044" y="1503614"/>
                    </a:cubicBezTo>
                    <a:cubicBezTo>
                      <a:pt x="72044" y="1482026"/>
                      <a:pt x="89543" y="1464526"/>
                      <a:pt x="111130" y="1464526"/>
                    </a:cubicBezTo>
                    <a:close/>
                    <a:moveTo>
                      <a:pt x="111134" y="1376985"/>
                    </a:moveTo>
                    <a:cubicBezTo>
                      <a:pt x="132721" y="1376985"/>
                      <a:pt x="150221" y="1394485"/>
                      <a:pt x="150221" y="1416072"/>
                    </a:cubicBezTo>
                    <a:cubicBezTo>
                      <a:pt x="150221" y="1437659"/>
                      <a:pt x="132721" y="1455159"/>
                      <a:pt x="111134" y="1455159"/>
                    </a:cubicBezTo>
                    <a:cubicBezTo>
                      <a:pt x="89547" y="1455159"/>
                      <a:pt x="72048" y="1437659"/>
                      <a:pt x="72048" y="1416072"/>
                    </a:cubicBezTo>
                    <a:cubicBezTo>
                      <a:pt x="72048" y="1394485"/>
                      <a:pt x="89547" y="1376985"/>
                      <a:pt x="111134" y="1376985"/>
                    </a:cubicBezTo>
                    <a:close/>
                    <a:moveTo>
                      <a:pt x="484966" y="1376984"/>
                    </a:moveTo>
                    <a:cubicBezTo>
                      <a:pt x="506553" y="1376984"/>
                      <a:pt x="524052" y="1394484"/>
                      <a:pt x="524052" y="1416071"/>
                    </a:cubicBezTo>
                    <a:cubicBezTo>
                      <a:pt x="524052" y="1437658"/>
                      <a:pt x="506553" y="1455159"/>
                      <a:pt x="484966" y="1455159"/>
                    </a:cubicBezTo>
                    <a:cubicBezTo>
                      <a:pt x="463373" y="1455159"/>
                      <a:pt x="445888" y="1437658"/>
                      <a:pt x="445888" y="1416071"/>
                    </a:cubicBezTo>
                    <a:cubicBezTo>
                      <a:pt x="445888" y="1394484"/>
                      <a:pt x="463373" y="1376984"/>
                      <a:pt x="484966" y="1376984"/>
                    </a:cubicBezTo>
                    <a:close/>
                    <a:moveTo>
                      <a:pt x="390321" y="1376984"/>
                    </a:moveTo>
                    <a:cubicBezTo>
                      <a:pt x="411908" y="1376984"/>
                      <a:pt x="429417" y="1394484"/>
                      <a:pt x="429417" y="1416071"/>
                    </a:cubicBezTo>
                    <a:cubicBezTo>
                      <a:pt x="429417" y="1437658"/>
                      <a:pt x="411908" y="1455159"/>
                      <a:pt x="390321" y="1455159"/>
                    </a:cubicBezTo>
                    <a:cubicBezTo>
                      <a:pt x="368747" y="1455159"/>
                      <a:pt x="351248" y="1437658"/>
                      <a:pt x="351248" y="1416071"/>
                    </a:cubicBezTo>
                    <a:cubicBezTo>
                      <a:pt x="351248" y="1394484"/>
                      <a:pt x="368747" y="1376984"/>
                      <a:pt x="390321" y="1376984"/>
                    </a:cubicBezTo>
                    <a:close/>
                    <a:moveTo>
                      <a:pt x="298052" y="1376984"/>
                    </a:moveTo>
                    <a:cubicBezTo>
                      <a:pt x="319635" y="1376984"/>
                      <a:pt x="337147" y="1394484"/>
                      <a:pt x="337147" y="1416071"/>
                    </a:cubicBezTo>
                    <a:cubicBezTo>
                      <a:pt x="337147" y="1437658"/>
                      <a:pt x="319635" y="1455159"/>
                      <a:pt x="298052" y="1455159"/>
                    </a:cubicBezTo>
                    <a:cubicBezTo>
                      <a:pt x="276463" y="1455159"/>
                      <a:pt x="258963" y="1437658"/>
                      <a:pt x="258963" y="1416071"/>
                    </a:cubicBezTo>
                    <a:cubicBezTo>
                      <a:pt x="258963" y="1394484"/>
                      <a:pt x="276463" y="1376984"/>
                      <a:pt x="298052" y="1376984"/>
                    </a:cubicBezTo>
                    <a:close/>
                    <a:moveTo>
                      <a:pt x="203408" y="1376984"/>
                    </a:moveTo>
                    <a:cubicBezTo>
                      <a:pt x="224998" y="1376984"/>
                      <a:pt x="242497" y="1394484"/>
                      <a:pt x="242497" y="1416071"/>
                    </a:cubicBezTo>
                    <a:cubicBezTo>
                      <a:pt x="242497" y="1437658"/>
                      <a:pt x="224998" y="1455159"/>
                      <a:pt x="203408" y="1455159"/>
                    </a:cubicBezTo>
                    <a:cubicBezTo>
                      <a:pt x="181822" y="1455159"/>
                      <a:pt x="164322" y="1437658"/>
                      <a:pt x="164322" y="1416071"/>
                    </a:cubicBezTo>
                    <a:cubicBezTo>
                      <a:pt x="164322" y="1394484"/>
                      <a:pt x="181822" y="1376984"/>
                      <a:pt x="203408" y="1376984"/>
                    </a:cubicBezTo>
                    <a:close/>
                    <a:moveTo>
                      <a:pt x="3771293" y="1376983"/>
                    </a:moveTo>
                    <a:cubicBezTo>
                      <a:pt x="3792880" y="1376983"/>
                      <a:pt x="3810379" y="1394483"/>
                      <a:pt x="3810379" y="1416070"/>
                    </a:cubicBezTo>
                    <a:cubicBezTo>
                      <a:pt x="3810379" y="1437657"/>
                      <a:pt x="3792880" y="1455158"/>
                      <a:pt x="3771293" y="1455158"/>
                    </a:cubicBezTo>
                    <a:cubicBezTo>
                      <a:pt x="3749705" y="1455158"/>
                      <a:pt x="3732205" y="1437657"/>
                      <a:pt x="3732205" y="1416070"/>
                    </a:cubicBezTo>
                    <a:cubicBezTo>
                      <a:pt x="3732205" y="1394483"/>
                      <a:pt x="3749705" y="1376983"/>
                      <a:pt x="3771293" y="1376983"/>
                    </a:cubicBezTo>
                    <a:close/>
                    <a:moveTo>
                      <a:pt x="3679018" y="1376983"/>
                    </a:moveTo>
                    <a:cubicBezTo>
                      <a:pt x="3700605" y="1376983"/>
                      <a:pt x="3718105" y="1394483"/>
                      <a:pt x="3718105" y="1416070"/>
                    </a:cubicBezTo>
                    <a:cubicBezTo>
                      <a:pt x="3718105" y="1437657"/>
                      <a:pt x="3700605" y="1455158"/>
                      <a:pt x="3679018" y="1455158"/>
                    </a:cubicBezTo>
                    <a:cubicBezTo>
                      <a:pt x="3657431" y="1455158"/>
                      <a:pt x="3639931" y="1437657"/>
                      <a:pt x="3639931" y="1416070"/>
                    </a:cubicBezTo>
                    <a:cubicBezTo>
                      <a:pt x="3639931" y="1394483"/>
                      <a:pt x="3657431" y="1376983"/>
                      <a:pt x="3679018" y="1376983"/>
                    </a:cubicBezTo>
                    <a:close/>
                    <a:moveTo>
                      <a:pt x="3489737" y="1376983"/>
                    </a:moveTo>
                    <a:cubicBezTo>
                      <a:pt x="3511324" y="1376983"/>
                      <a:pt x="3528823" y="1394483"/>
                      <a:pt x="3528823" y="1416070"/>
                    </a:cubicBezTo>
                    <a:cubicBezTo>
                      <a:pt x="3528823" y="1437657"/>
                      <a:pt x="3511324" y="1455158"/>
                      <a:pt x="3489737" y="1455158"/>
                    </a:cubicBezTo>
                    <a:cubicBezTo>
                      <a:pt x="3468149" y="1455158"/>
                      <a:pt x="3450649" y="1437657"/>
                      <a:pt x="3450649" y="1416070"/>
                    </a:cubicBezTo>
                    <a:cubicBezTo>
                      <a:pt x="3450649" y="1394483"/>
                      <a:pt x="3468149" y="1376983"/>
                      <a:pt x="3489737" y="1376983"/>
                    </a:cubicBezTo>
                    <a:close/>
                    <a:moveTo>
                      <a:pt x="3392731" y="1376983"/>
                    </a:moveTo>
                    <a:cubicBezTo>
                      <a:pt x="3414319" y="1376983"/>
                      <a:pt x="3431819" y="1394483"/>
                      <a:pt x="3431819" y="1416070"/>
                    </a:cubicBezTo>
                    <a:cubicBezTo>
                      <a:pt x="3431819" y="1437657"/>
                      <a:pt x="3414319" y="1455158"/>
                      <a:pt x="3392731" y="1455158"/>
                    </a:cubicBezTo>
                    <a:cubicBezTo>
                      <a:pt x="3371144" y="1455158"/>
                      <a:pt x="3353644" y="1437657"/>
                      <a:pt x="3353644" y="1416070"/>
                    </a:cubicBezTo>
                    <a:cubicBezTo>
                      <a:pt x="3353644" y="1394483"/>
                      <a:pt x="3371144" y="1376983"/>
                      <a:pt x="3392731" y="1376983"/>
                    </a:cubicBezTo>
                    <a:close/>
                    <a:moveTo>
                      <a:pt x="3300457" y="1376983"/>
                    </a:moveTo>
                    <a:cubicBezTo>
                      <a:pt x="3322044" y="1376983"/>
                      <a:pt x="3339544" y="1394483"/>
                      <a:pt x="3339544" y="1416070"/>
                    </a:cubicBezTo>
                    <a:cubicBezTo>
                      <a:pt x="3339544" y="1437657"/>
                      <a:pt x="3322044" y="1455158"/>
                      <a:pt x="3300457" y="1455158"/>
                    </a:cubicBezTo>
                    <a:cubicBezTo>
                      <a:pt x="3278869" y="1455158"/>
                      <a:pt x="3261369" y="1437657"/>
                      <a:pt x="3261369" y="1416070"/>
                    </a:cubicBezTo>
                    <a:cubicBezTo>
                      <a:pt x="3261369" y="1394483"/>
                      <a:pt x="3278869" y="1376983"/>
                      <a:pt x="3300457" y="1376983"/>
                    </a:cubicBezTo>
                    <a:close/>
                    <a:moveTo>
                      <a:pt x="3205817" y="1376983"/>
                    </a:moveTo>
                    <a:cubicBezTo>
                      <a:pt x="3227404" y="1376983"/>
                      <a:pt x="3244904" y="1394483"/>
                      <a:pt x="3244904" y="1416070"/>
                    </a:cubicBezTo>
                    <a:cubicBezTo>
                      <a:pt x="3244904" y="1437657"/>
                      <a:pt x="3227404" y="1455158"/>
                      <a:pt x="3205817" y="1455158"/>
                    </a:cubicBezTo>
                    <a:cubicBezTo>
                      <a:pt x="3184229" y="1455158"/>
                      <a:pt x="3166729" y="1437657"/>
                      <a:pt x="3166729" y="1416070"/>
                    </a:cubicBezTo>
                    <a:cubicBezTo>
                      <a:pt x="3166729" y="1394483"/>
                      <a:pt x="3184229" y="1376983"/>
                      <a:pt x="3205817" y="1376983"/>
                    </a:cubicBezTo>
                    <a:close/>
                    <a:moveTo>
                      <a:pt x="3111177" y="1376983"/>
                    </a:moveTo>
                    <a:cubicBezTo>
                      <a:pt x="3132764" y="1376983"/>
                      <a:pt x="3150264" y="1394483"/>
                      <a:pt x="3150264" y="1416070"/>
                    </a:cubicBezTo>
                    <a:cubicBezTo>
                      <a:pt x="3150264" y="1437657"/>
                      <a:pt x="3132764" y="1455158"/>
                      <a:pt x="3111177" y="1455158"/>
                    </a:cubicBezTo>
                    <a:cubicBezTo>
                      <a:pt x="3089589" y="1455158"/>
                      <a:pt x="3072089" y="1437657"/>
                      <a:pt x="3072089" y="1416070"/>
                    </a:cubicBezTo>
                    <a:cubicBezTo>
                      <a:pt x="3072089" y="1394483"/>
                      <a:pt x="3089589" y="1376983"/>
                      <a:pt x="3111177" y="1376983"/>
                    </a:cubicBezTo>
                    <a:close/>
                    <a:moveTo>
                      <a:pt x="3018902" y="1376983"/>
                    </a:moveTo>
                    <a:cubicBezTo>
                      <a:pt x="3040489" y="1376983"/>
                      <a:pt x="3057989" y="1394483"/>
                      <a:pt x="3057989" y="1416070"/>
                    </a:cubicBezTo>
                    <a:cubicBezTo>
                      <a:pt x="3057989" y="1437657"/>
                      <a:pt x="3040489" y="1455158"/>
                      <a:pt x="3018902" y="1455158"/>
                    </a:cubicBezTo>
                    <a:cubicBezTo>
                      <a:pt x="2997315" y="1455158"/>
                      <a:pt x="2979815" y="1437657"/>
                      <a:pt x="2979815" y="1416070"/>
                    </a:cubicBezTo>
                    <a:cubicBezTo>
                      <a:pt x="2979815" y="1394483"/>
                      <a:pt x="2997315" y="1376983"/>
                      <a:pt x="3018902" y="1376983"/>
                    </a:cubicBezTo>
                    <a:close/>
                    <a:moveTo>
                      <a:pt x="2924263" y="1376983"/>
                    </a:moveTo>
                    <a:cubicBezTo>
                      <a:pt x="2945850" y="1376983"/>
                      <a:pt x="2963349" y="1394483"/>
                      <a:pt x="2963349" y="1416070"/>
                    </a:cubicBezTo>
                    <a:cubicBezTo>
                      <a:pt x="2963349" y="1437657"/>
                      <a:pt x="2945850" y="1455158"/>
                      <a:pt x="2924263" y="1455158"/>
                    </a:cubicBezTo>
                    <a:cubicBezTo>
                      <a:pt x="2902675" y="1455158"/>
                      <a:pt x="2885175" y="1437657"/>
                      <a:pt x="2885175" y="1416070"/>
                    </a:cubicBezTo>
                    <a:cubicBezTo>
                      <a:pt x="2885175" y="1394483"/>
                      <a:pt x="2902675" y="1376983"/>
                      <a:pt x="2924263" y="1376983"/>
                    </a:cubicBezTo>
                    <a:close/>
                    <a:moveTo>
                      <a:pt x="2831988" y="1376983"/>
                    </a:moveTo>
                    <a:cubicBezTo>
                      <a:pt x="2853575" y="1376983"/>
                      <a:pt x="2871075" y="1394483"/>
                      <a:pt x="2871075" y="1416070"/>
                    </a:cubicBezTo>
                    <a:cubicBezTo>
                      <a:pt x="2871075" y="1437657"/>
                      <a:pt x="2853575" y="1455158"/>
                      <a:pt x="2831988" y="1455158"/>
                    </a:cubicBezTo>
                    <a:cubicBezTo>
                      <a:pt x="2810401" y="1455158"/>
                      <a:pt x="2792901" y="1437657"/>
                      <a:pt x="2792901" y="1416070"/>
                    </a:cubicBezTo>
                    <a:cubicBezTo>
                      <a:pt x="2792901" y="1394483"/>
                      <a:pt x="2810401" y="1376983"/>
                      <a:pt x="2831988" y="1376983"/>
                    </a:cubicBezTo>
                    <a:close/>
                    <a:moveTo>
                      <a:pt x="2550437" y="1376983"/>
                    </a:moveTo>
                    <a:cubicBezTo>
                      <a:pt x="2572024" y="1376983"/>
                      <a:pt x="2589523" y="1394483"/>
                      <a:pt x="2589523" y="1416070"/>
                    </a:cubicBezTo>
                    <a:cubicBezTo>
                      <a:pt x="2589523" y="1437657"/>
                      <a:pt x="2572024" y="1455158"/>
                      <a:pt x="2550437" y="1455158"/>
                    </a:cubicBezTo>
                    <a:cubicBezTo>
                      <a:pt x="2528850" y="1455158"/>
                      <a:pt x="2511354" y="1437657"/>
                      <a:pt x="2511354" y="1416070"/>
                    </a:cubicBezTo>
                    <a:cubicBezTo>
                      <a:pt x="2511354" y="1394483"/>
                      <a:pt x="2528850" y="1376983"/>
                      <a:pt x="2550437" y="1376983"/>
                    </a:cubicBezTo>
                    <a:close/>
                    <a:moveTo>
                      <a:pt x="2458167" y="1376983"/>
                    </a:moveTo>
                    <a:cubicBezTo>
                      <a:pt x="2479755" y="1376983"/>
                      <a:pt x="2497254" y="1394483"/>
                      <a:pt x="2497254" y="1416070"/>
                    </a:cubicBezTo>
                    <a:cubicBezTo>
                      <a:pt x="2497254" y="1437657"/>
                      <a:pt x="2479755" y="1455158"/>
                      <a:pt x="2458167" y="1455158"/>
                    </a:cubicBezTo>
                    <a:cubicBezTo>
                      <a:pt x="2436585" y="1455158"/>
                      <a:pt x="2419083" y="1437657"/>
                      <a:pt x="2419083" y="1416070"/>
                    </a:cubicBezTo>
                    <a:cubicBezTo>
                      <a:pt x="2419083" y="1394483"/>
                      <a:pt x="2436585" y="1376983"/>
                      <a:pt x="2458167" y="1376983"/>
                    </a:cubicBezTo>
                    <a:close/>
                    <a:moveTo>
                      <a:pt x="2363529" y="1376983"/>
                    </a:moveTo>
                    <a:cubicBezTo>
                      <a:pt x="2385119" y="1376983"/>
                      <a:pt x="2402614" y="1394483"/>
                      <a:pt x="2402614" y="1416070"/>
                    </a:cubicBezTo>
                    <a:cubicBezTo>
                      <a:pt x="2402614" y="1437657"/>
                      <a:pt x="2385119" y="1455158"/>
                      <a:pt x="2363529" y="1455158"/>
                    </a:cubicBezTo>
                    <a:cubicBezTo>
                      <a:pt x="2341945" y="1455158"/>
                      <a:pt x="2324442" y="1437657"/>
                      <a:pt x="2324442" y="1416070"/>
                    </a:cubicBezTo>
                    <a:cubicBezTo>
                      <a:pt x="2324442" y="1394483"/>
                      <a:pt x="2341945" y="1376983"/>
                      <a:pt x="2363529" y="1376983"/>
                    </a:cubicBezTo>
                    <a:close/>
                    <a:moveTo>
                      <a:pt x="1142717" y="1376983"/>
                    </a:moveTo>
                    <a:cubicBezTo>
                      <a:pt x="1164308" y="1376983"/>
                      <a:pt x="1181806" y="1394483"/>
                      <a:pt x="1181806" y="1416070"/>
                    </a:cubicBezTo>
                    <a:cubicBezTo>
                      <a:pt x="1181806" y="1437657"/>
                      <a:pt x="1164308" y="1455158"/>
                      <a:pt x="1142717" y="1455158"/>
                    </a:cubicBezTo>
                    <a:cubicBezTo>
                      <a:pt x="1121126" y="1455158"/>
                      <a:pt x="1103622" y="1437657"/>
                      <a:pt x="1103622" y="1416070"/>
                    </a:cubicBezTo>
                    <a:cubicBezTo>
                      <a:pt x="1103622" y="1394483"/>
                      <a:pt x="1121126" y="1376983"/>
                      <a:pt x="1142717" y="1376983"/>
                    </a:cubicBezTo>
                    <a:close/>
                    <a:moveTo>
                      <a:pt x="1045699" y="1376983"/>
                    </a:moveTo>
                    <a:cubicBezTo>
                      <a:pt x="1067284" y="1376983"/>
                      <a:pt x="1084788" y="1394483"/>
                      <a:pt x="1084788" y="1416070"/>
                    </a:cubicBezTo>
                    <a:cubicBezTo>
                      <a:pt x="1084788" y="1437657"/>
                      <a:pt x="1067284" y="1455158"/>
                      <a:pt x="1045699" y="1455158"/>
                    </a:cubicBezTo>
                    <a:cubicBezTo>
                      <a:pt x="1024114" y="1455158"/>
                      <a:pt x="1006615" y="1437657"/>
                      <a:pt x="1006615" y="1416070"/>
                    </a:cubicBezTo>
                    <a:cubicBezTo>
                      <a:pt x="1006615" y="1394483"/>
                      <a:pt x="1024114" y="1376983"/>
                      <a:pt x="1045699" y="1376983"/>
                    </a:cubicBezTo>
                    <a:close/>
                    <a:moveTo>
                      <a:pt x="951068" y="1376983"/>
                    </a:moveTo>
                    <a:cubicBezTo>
                      <a:pt x="972653" y="1376983"/>
                      <a:pt x="990151" y="1394483"/>
                      <a:pt x="990151" y="1416070"/>
                    </a:cubicBezTo>
                    <a:cubicBezTo>
                      <a:pt x="990151" y="1437657"/>
                      <a:pt x="972653" y="1455158"/>
                      <a:pt x="951068" y="1455158"/>
                    </a:cubicBezTo>
                    <a:cubicBezTo>
                      <a:pt x="929482" y="1455158"/>
                      <a:pt x="911984" y="1437657"/>
                      <a:pt x="911984" y="1416070"/>
                    </a:cubicBezTo>
                    <a:cubicBezTo>
                      <a:pt x="911984" y="1394483"/>
                      <a:pt x="929482" y="1376983"/>
                      <a:pt x="951068" y="1376983"/>
                    </a:cubicBezTo>
                    <a:close/>
                    <a:moveTo>
                      <a:pt x="856438" y="1376983"/>
                    </a:moveTo>
                    <a:cubicBezTo>
                      <a:pt x="878022" y="1376983"/>
                      <a:pt x="895520" y="1394483"/>
                      <a:pt x="895520" y="1416070"/>
                    </a:cubicBezTo>
                    <a:cubicBezTo>
                      <a:pt x="895520" y="1437657"/>
                      <a:pt x="878022" y="1455158"/>
                      <a:pt x="856438" y="1455158"/>
                    </a:cubicBezTo>
                    <a:cubicBezTo>
                      <a:pt x="834853" y="1455158"/>
                      <a:pt x="817355" y="1437657"/>
                      <a:pt x="817355" y="1416070"/>
                    </a:cubicBezTo>
                    <a:cubicBezTo>
                      <a:pt x="817355" y="1394483"/>
                      <a:pt x="834853" y="1376983"/>
                      <a:pt x="856438" y="1376983"/>
                    </a:cubicBezTo>
                    <a:close/>
                    <a:moveTo>
                      <a:pt x="764173" y="1376983"/>
                    </a:moveTo>
                    <a:cubicBezTo>
                      <a:pt x="785757" y="1376983"/>
                      <a:pt x="803257" y="1394483"/>
                      <a:pt x="803257" y="1416070"/>
                    </a:cubicBezTo>
                    <a:cubicBezTo>
                      <a:pt x="803257" y="1437657"/>
                      <a:pt x="785757" y="1455158"/>
                      <a:pt x="764173" y="1455158"/>
                    </a:cubicBezTo>
                    <a:cubicBezTo>
                      <a:pt x="742582" y="1455158"/>
                      <a:pt x="725090" y="1437657"/>
                      <a:pt x="725090" y="1416070"/>
                    </a:cubicBezTo>
                    <a:cubicBezTo>
                      <a:pt x="725090" y="1394483"/>
                      <a:pt x="742582" y="1376983"/>
                      <a:pt x="764173" y="1376983"/>
                    </a:cubicBezTo>
                    <a:close/>
                    <a:moveTo>
                      <a:pt x="669534" y="1376983"/>
                    </a:moveTo>
                    <a:cubicBezTo>
                      <a:pt x="691128" y="1376983"/>
                      <a:pt x="708624" y="1394483"/>
                      <a:pt x="708624" y="1416070"/>
                    </a:cubicBezTo>
                    <a:cubicBezTo>
                      <a:pt x="708624" y="1437657"/>
                      <a:pt x="691128" y="1455158"/>
                      <a:pt x="669534" y="1455158"/>
                    </a:cubicBezTo>
                    <a:cubicBezTo>
                      <a:pt x="647952" y="1455158"/>
                      <a:pt x="630448" y="1437657"/>
                      <a:pt x="630448" y="1416070"/>
                    </a:cubicBezTo>
                    <a:cubicBezTo>
                      <a:pt x="630448" y="1394483"/>
                      <a:pt x="647952" y="1376983"/>
                      <a:pt x="669534" y="1376983"/>
                    </a:cubicBezTo>
                    <a:close/>
                    <a:moveTo>
                      <a:pt x="577250" y="1376983"/>
                    </a:moveTo>
                    <a:cubicBezTo>
                      <a:pt x="598842" y="1376983"/>
                      <a:pt x="616345" y="1394483"/>
                      <a:pt x="616345" y="1416070"/>
                    </a:cubicBezTo>
                    <a:cubicBezTo>
                      <a:pt x="616345" y="1437657"/>
                      <a:pt x="598842" y="1455158"/>
                      <a:pt x="577250" y="1455158"/>
                    </a:cubicBezTo>
                    <a:cubicBezTo>
                      <a:pt x="555659" y="1455158"/>
                      <a:pt x="538155" y="1437657"/>
                      <a:pt x="538155" y="1416070"/>
                    </a:cubicBezTo>
                    <a:cubicBezTo>
                      <a:pt x="538155" y="1394483"/>
                      <a:pt x="555659" y="1376983"/>
                      <a:pt x="577250" y="1376983"/>
                    </a:cubicBezTo>
                    <a:close/>
                    <a:moveTo>
                      <a:pt x="3679017" y="1291809"/>
                    </a:moveTo>
                    <a:cubicBezTo>
                      <a:pt x="3700604" y="1291809"/>
                      <a:pt x="3718103" y="1309309"/>
                      <a:pt x="3718103" y="1330896"/>
                    </a:cubicBezTo>
                    <a:cubicBezTo>
                      <a:pt x="3718103" y="1352483"/>
                      <a:pt x="3700604" y="1369983"/>
                      <a:pt x="3679017" y="1369983"/>
                    </a:cubicBezTo>
                    <a:cubicBezTo>
                      <a:pt x="3657429" y="1369983"/>
                      <a:pt x="3639929" y="1352483"/>
                      <a:pt x="3639929" y="1330896"/>
                    </a:cubicBezTo>
                    <a:cubicBezTo>
                      <a:pt x="3639929" y="1309309"/>
                      <a:pt x="3657429" y="1291809"/>
                      <a:pt x="3679017" y="1291809"/>
                    </a:cubicBezTo>
                    <a:close/>
                    <a:moveTo>
                      <a:pt x="3584377" y="1291809"/>
                    </a:moveTo>
                    <a:cubicBezTo>
                      <a:pt x="3605964" y="1291809"/>
                      <a:pt x="3623463" y="1309309"/>
                      <a:pt x="3623463" y="1330896"/>
                    </a:cubicBezTo>
                    <a:cubicBezTo>
                      <a:pt x="3623463" y="1352483"/>
                      <a:pt x="3605964" y="1369983"/>
                      <a:pt x="3584377" y="1369983"/>
                    </a:cubicBezTo>
                    <a:cubicBezTo>
                      <a:pt x="3562789" y="1369983"/>
                      <a:pt x="3545289" y="1352483"/>
                      <a:pt x="3545289" y="1330896"/>
                    </a:cubicBezTo>
                    <a:cubicBezTo>
                      <a:pt x="3545289" y="1309309"/>
                      <a:pt x="3562789" y="1291809"/>
                      <a:pt x="3584377" y="1291809"/>
                    </a:cubicBezTo>
                    <a:close/>
                    <a:moveTo>
                      <a:pt x="3489737" y="1291809"/>
                    </a:moveTo>
                    <a:cubicBezTo>
                      <a:pt x="3511324" y="1291809"/>
                      <a:pt x="3528823" y="1309309"/>
                      <a:pt x="3528823" y="1330896"/>
                    </a:cubicBezTo>
                    <a:cubicBezTo>
                      <a:pt x="3528823" y="1352483"/>
                      <a:pt x="3511324" y="1369983"/>
                      <a:pt x="3489737" y="1369983"/>
                    </a:cubicBezTo>
                    <a:cubicBezTo>
                      <a:pt x="3468149" y="1369983"/>
                      <a:pt x="3450649" y="1352483"/>
                      <a:pt x="3450649" y="1330896"/>
                    </a:cubicBezTo>
                    <a:cubicBezTo>
                      <a:pt x="3450649" y="1309309"/>
                      <a:pt x="3468149" y="1291809"/>
                      <a:pt x="3489737" y="1291809"/>
                    </a:cubicBezTo>
                    <a:close/>
                    <a:moveTo>
                      <a:pt x="3392731" y="1291809"/>
                    </a:moveTo>
                    <a:cubicBezTo>
                      <a:pt x="3414319" y="1291809"/>
                      <a:pt x="3431819" y="1309309"/>
                      <a:pt x="3431819" y="1330896"/>
                    </a:cubicBezTo>
                    <a:cubicBezTo>
                      <a:pt x="3431819" y="1352483"/>
                      <a:pt x="3414319" y="1369983"/>
                      <a:pt x="3392731" y="1369983"/>
                    </a:cubicBezTo>
                    <a:cubicBezTo>
                      <a:pt x="3371144" y="1369983"/>
                      <a:pt x="3353644" y="1352483"/>
                      <a:pt x="3353644" y="1330896"/>
                    </a:cubicBezTo>
                    <a:cubicBezTo>
                      <a:pt x="3353644" y="1309309"/>
                      <a:pt x="3371144" y="1291809"/>
                      <a:pt x="3392731" y="1291809"/>
                    </a:cubicBezTo>
                    <a:close/>
                    <a:moveTo>
                      <a:pt x="3300457" y="1291809"/>
                    </a:moveTo>
                    <a:cubicBezTo>
                      <a:pt x="3322044" y="1291809"/>
                      <a:pt x="3339544" y="1309309"/>
                      <a:pt x="3339544" y="1330896"/>
                    </a:cubicBezTo>
                    <a:cubicBezTo>
                      <a:pt x="3339544" y="1352483"/>
                      <a:pt x="3322044" y="1369983"/>
                      <a:pt x="3300457" y="1369983"/>
                    </a:cubicBezTo>
                    <a:cubicBezTo>
                      <a:pt x="3278869" y="1369983"/>
                      <a:pt x="3261369" y="1352483"/>
                      <a:pt x="3261369" y="1330896"/>
                    </a:cubicBezTo>
                    <a:cubicBezTo>
                      <a:pt x="3261369" y="1309309"/>
                      <a:pt x="3278869" y="1291809"/>
                      <a:pt x="3300457" y="1291809"/>
                    </a:cubicBezTo>
                    <a:close/>
                    <a:moveTo>
                      <a:pt x="3111177" y="1291809"/>
                    </a:moveTo>
                    <a:cubicBezTo>
                      <a:pt x="3132764" y="1291809"/>
                      <a:pt x="3150264" y="1309309"/>
                      <a:pt x="3150264" y="1330896"/>
                    </a:cubicBezTo>
                    <a:cubicBezTo>
                      <a:pt x="3150264" y="1352483"/>
                      <a:pt x="3132764" y="1369983"/>
                      <a:pt x="3111177" y="1369983"/>
                    </a:cubicBezTo>
                    <a:cubicBezTo>
                      <a:pt x="3089589" y="1369983"/>
                      <a:pt x="3072089" y="1352483"/>
                      <a:pt x="3072089" y="1330896"/>
                    </a:cubicBezTo>
                    <a:cubicBezTo>
                      <a:pt x="3072089" y="1309309"/>
                      <a:pt x="3089589" y="1291809"/>
                      <a:pt x="3111177" y="1291809"/>
                    </a:cubicBezTo>
                    <a:close/>
                    <a:moveTo>
                      <a:pt x="3018902" y="1291809"/>
                    </a:moveTo>
                    <a:cubicBezTo>
                      <a:pt x="3040489" y="1291809"/>
                      <a:pt x="3057989" y="1309309"/>
                      <a:pt x="3057989" y="1330896"/>
                    </a:cubicBezTo>
                    <a:cubicBezTo>
                      <a:pt x="3057989" y="1352483"/>
                      <a:pt x="3040489" y="1369983"/>
                      <a:pt x="3018902" y="1369983"/>
                    </a:cubicBezTo>
                    <a:cubicBezTo>
                      <a:pt x="2997315" y="1369983"/>
                      <a:pt x="2979815" y="1352483"/>
                      <a:pt x="2979815" y="1330896"/>
                    </a:cubicBezTo>
                    <a:cubicBezTo>
                      <a:pt x="2979815" y="1309309"/>
                      <a:pt x="2997315" y="1291809"/>
                      <a:pt x="3018902" y="1291809"/>
                    </a:cubicBezTo>
                    <a:close/>
                    <a:moveTo>
                      <a:pt x="2924263" y="1291809"/>
                    </a:moveTo>
                    <a:cubicBezTo>
                      <a:pt x="2945850" y="1291809"/>
                      <a:pt x="2963349" y="1309309"/>
                      <a:pt x="2963349" y="1330896"/>
                    </a:cubicBezTo>
                    <a:cubicBezTo>
                      <a:pt x="2963349" y="1352483"/>
                      <a:pt x="2945850" y="1369983"/>
                      <a:pt x="2924263" y="1369983"/>
                    </a:cubicBezTo>
                    <a:cubicBezTo>
                      <a:pt x="2902675" y="1369983"/>
                      <a:pt x="2885175" y="1352483"/>
                      <a:pt x="2885175" y="1330896"/>
                    </a:cubicBezTo>
                    <a:cubicBezTo>
                      <a:pt x="2885175" y="1309309"/>
                      <a:pt x="2902675" y="1291809"/>
                      <a:pt x="2924263" y="1291809"/>
                    </a:cubicBezTo>
                    <a:close/>
                    <a:moveTo>
                      <a:pt x="2831988" y="1291809"/>
                    </a:moveTo>
                    <a:cubicBezTo>
                      <a:pt x="2853575" y="1291809"/>
                      <a:pt x="2871075" y="1309309"/>
                      <a:pt x="2871075" y="1330896"/>
                    </a:cubicBezTo>
                    <a:cubicBezTo>
                      <a:pt x="2871075" y="1352483"/>
                      <a:pt x="2853575" y="1369983"/>
                      <a:pt x="2831988" y="1369983"/>
                    </a:cubicBezTo>
                    <a:cubicBezTo>
                      <a:pt x="2810401" y="1369983"/>
                      <a:pt x="2792901" y="1352483"/>
                      <a:pt x="2792901" y="1330896"/>
                    </a:cubicBezTo>
                    <a:cubicBezTo>
                      <a:pt x="2792901" y="1309309"/>
                      <a:pt x="2810401" y="1291809"/>
                      <a:pt x="2831988" y="1291809"/>
                    </a:cubicBezTo>
                    <a:close/>
                    <a:moveTo>
                      <a:pt x="2737365" y="1291809"/>
                    </a:moveTo>
                    <a:cubicBezTo>
                      <a:pt x="2758935" y="1291809"/>
                      <a:pt x="2776435" y="1309309"/>
                      <a:pt x="2776435" y="1330896"/>
                    </a:cubicBezTo>
                    <a:cubicBezTo>
                      <a:pt x="2776435" y="1352483"/>
                      <a:pt x="2758935" y="1369983"/>
                      <a:pt x="2737365" y="1369983"/>
                    </a:cubicBezTo>
                    <a:cubicBezTo>
                      <a:pt x="2715773" y="1369983"/>
                      <a:pt x="2698269" y="1352483"/>
                      <a:pt x="2698269" y="1330896"/>
                    </a:cubicBezTo>
                    <a:cubicBezTo>
                      <a:pt x="2698269" y="1309309"/>
                      <a:pt x="2715773" y="1291809"/>
                      <a:pt x="2737365" y="1291809"/>
                    </a:cubicBezTo>
                    <a:close/>
                    <a:moveTo>
                      <a:pt x="2645074" y="1291809"/>
                    </a:moveTo>
                    <a:cubicBezTo>
                      <a:pt x="2666662" y="1291809"/>
                      <a:pt x="2684165" y="1309309"/>
                      <a:pt x="2684165" y="1330896"/>
                    </a:cubicBezTo>
                    <a:cubicBezTo>
                      <a:pt x="2684165" y="1352483"/>
                      <a:pt x="2666662" y="1369983"/>
                      <a:pt x="2645074" y="1369983"/>
                    </a:cubicBezTo>
                    <a:cubicBezTo>
                      <a:pt x="2623488" y="1369983"/>
                      <a:pt x="2605987" y="1352483"/>
                      <a:pt x="2605987" y="1330896"/>
                    </a:cubicBezTo>
                    <a:cubicBezTo>
                      <a:pt x="2605987" y="1309309"/>
                      <a:pt x="2623488" y="1291809"/>
                      <a:pt x="2645074" y="1291809"/>
                    </a:cubicBezTo>
                    <a:close/>
                    <a:moveTo>
                      <a:pt x="2550437" y="1291809"/>
                    </a:moveTo>
                    <a:cubicBezTo>
                      <a:pt x="2572024" y="1291809"/>
                      <a:pt x="2589523" y="1309309"/>
                      <a:pt x="2589523" y="1330896"/>
                    </a:cubicBezTo>
                    <a:cubicBezTo>
                      <a:pt x="2589523" y="1352483"/>
                      <a:pt x="2572024" y="1369983"/>
                      <a:pt x="2550437" y="1369983"/>
                    </a:cubicBezTo>
                    <a:cubicBezTo>
                      <a:pt x="2528850" y="1369983"/>
                      <a:pt x="2511355" y="1352483"/>
                      <a:pt x="2511355" y="1330896"/>
                    </a:cubicBezTo>
                    <a:cubicBezTo>
                      <a:pt x="2511355" y="1309309"/>
                      <a:pt x="2528850" y="1291809"/>
                      <a:pt x="2550437" y="1291809"/>
                    </a:cubicBezTo>
                    <a:close/>
                    <a:moveTo>
                      <a:pt x="1232635" y="1291809"/>
                    </a:moveTo>
                    <a:cubicBezTo>
                      <a:pt x="1254221" y="1291809"/>
                      <a:pt x="1271713" y="1309309"/>
                      <a:pt x="1271713" y="1330896"/>
                    </a:cubicBezTo>
                    <a:cubicBezTo>
                      <a:pt x="1271713" y="1352483"/>
                      <a:pt x="1254221" y="1369983"/>
                      <a:pt x="1232635" y="1369983"/>
                    </a:cubicBezTo>
                    <a:cubicBezTo>
                      <a:pt x="1211043" y="1369983"/>
                      <a:pt x="1193549" y="1352483"/>
                      <a:pt x="1193549" y="1330896"/>
                    </a:cubicBezTo>
                    <a:cubicBezTo>
                      <a:pt x="1193549" y="1309309"/>
                      <a:pt x="1211043" y="1291809"/>
                      <a:pt x="1232635" y="1291809"/>
                    </a:cubicBezTo>
                    <a:close/>
                    <a:moveTo>
                      <a:pt x="1142722" y="1291809"/>
                    </a:moveTo>
                    <a:cubicBezTo>
                      <a:pt x="1164313" y="1291809"/>
                      <a:pt x="1181812" y="1309309"/>
                      <a:pt x="1181812" y="1330896"/>
                    </a:cubicBezTo>
                    <a:cubicBezTo>
                      <a:pt x="1181812" y="1352483"/>
                      <a:pt x="1164313" y="1369983"/>
                      <a:pt x="1142722" y="1369983"/>
                    </a:cubicBezTo>
                    <a:cubicBezTo>
                      <a:pt x="1121129" y="1369983"/>
                      <a:pt x="1103625" y="1352483"/>
                      <a:pt x="1103625" y="1330896"/>
                    </a:cubicBezTo>
                    <a:cubicBezTo>
                      <a:pt x="1103625" y="1309309"/>
                      <a:pt x="1121129" y="1291809"/>
                      <a:pt x="1142722" y="1291809"/>
                    </a:cubicBezTo>
                    <a:close/>
                    <a:moveTo>
                      <a:pt x="1045702" y="1291809"/>
                    </a:moveTo>
                    <a:cubicBezTo>
                      <a:pt x="1067287" y="1291809"/>
                      <a:pt x="1084791" y="1309309"/>
                      <a:pt x="1084791" y="1330896"/>
                    </a:cubicBezTo>
                    <a:cubicBezTo>
                      <a:pt x="1084791" y="1352483"/>
                      <a:pt x="1067287" y="1369983"/>
                      <a:pt x="1045702" y="1369983"/>
                    </a:cubicBezTo>
                    <a:cubicBezTo>
                      <a:pt x="1024117" y="1369983"/>
                      <a:pt x="1006620" y="1352483"/>
                      <a:pt x="1006620" y="1330896"/>
                    </a:cubicBezTo>
                    <a:cubicBezTo>
                      <a:pt x="1006620" y="1309309"/>
                      <a:pt x="1024117" y="1291809"/>
                      <a:pt x="1045702" y="1291809"/>
                    </a:cubicBezTo>
                    <a:close/>
                    <a:moveTo>
                      <a:pt x="951072" y="1291809"/>
                    </a:moveTo>
                    <a:cubicBezTo>
                      <a:pt x="972656" y="1291809"/>
                      <a:pt x="990154" y="1309309"/>
                      <a:pt x="990154" y="1330896"/>
                    </a:cubicBezTo>
                    <a:cubicBezTo>
                      <a:pt x="990154" y="1352483"/>
                      <a:pt x="972656" y="1369983"/>
                      <a:pt x="951072" y="1369983"/>
                    </a:cubicBezTo>
                    <a:cubicBezTo>
                      <a:pt x="929487" y="1369983"/>
                      <a:pt x="911989" y="1352483"/>
                      <a:pt x="911989" y="1330896"/>
                    </a:cubicBezTo>
                    <a:cubicBezTo>
                      <a:pt x="911989" y="1309309"/>
                      <a:pt x="929487" y="1291809"/>
                      <a:pt x="951072" y="1291809"/>
                    </a:cubicBezTo>
                    <a:close/>
                    <a:moveTo>
                      <a:pt x="856442" y="1291809"/>
                    </a:moveTo>
                    <a:cubicBezTo>
                      <a:pt x="878027" y="1291809"/>
                      <a:pt x="895525" y="1309309"/>
                      <a:pt x="895525" y="1330896"/>
                    </a:cubicBezTo>
                    <a:cubicBezTo>
                      <a:pt x="895525" y="1352483"/>
                      <a:pt x="878027" y="1369983"/>
                      <a:pt x="856442" y="1369983"/>
                    </a:cubicBezTo>
                    <a:cubicBezTo>
                      <a:pt x="834858" y="1369983"/>
                      <a:pt x="817359" y="1352483"/>
                      <a:pt x="817359" y="1330896"/>
                    </a:cubicBezTo>
                    <a:cubicBezTo>
                      <a:pt x="817359" y="1309309"/>
                      <a:pt x="834858" y="1291809"/>
                      <a:pt x="856442" y="1291809"/>
                    </a:cubicBezTo>
                    <a:close/>
                    <a:moveTo>
                      <a:pt x="764178" y="1291809"/>
                    </a:moveTo>
                    <a:cubicBezTo>
                      <a:pt x="785763" y="1291809"/>
                      <a:pt x="803262" y="1309309"/>
                      <a:pt x="803262" y="1330896"/>
                    </a:cubicBezTo>
                    <a:cubicBezTo>
                      <a:pt x="803262" y="1352483"/>
                      <a:pt x="785763" y="1369983"/>
                      <a:pt x="764178" y="1369983"/>
                    </a:cubicBezTo>
                    <a:cubicBezTo>
                      <a:pt x="742587" y="1369983"/>
                      <a:pt x="725094" y="1352483"/>
                      <a:pt x="725094" y="1330896"/>
                    </a:cubicBezTo>
                    <a:cubicBezTo>
                      <a:pt x="725094" y="1309309"/>
                      <a:pt x="742587" y="1291809"/>
                      <a:pt x="764178" y="1291809"/>
                    </a:cubicBezTo>
                    <a:close/>
                    <a:moveTo>
                      <a:pt x="669534" y="1291809"/>
                    </a:moveTo>
                    <a:cubicBezTo>
                      <a:pt x="691132" y="1291809"/>
                      <a:pt x="708631" y="1309309"/>
                      <a:pt x="708631" y="1330896"/>
                    </a:cubicBezTo>
                    <a:cubicBezTo>
                      <a:pt x="708631" y="1352483"/>
                      <a:pt x="691132" y="1369983"/>
                      <a:pt x="669534" y="1369983"/>
                    </a:cubicBezTo>
                    <a:cubicBezTo>
                      <a:pt x="647957" y="1369983"/>
                      <a:pt x="630454" y="1352483"/>
                      <a:pt x="630454" y="1330896"/>
                    </a:cubicBezTo>
                    <a:cubicBezTo>
                      <a:pt x="630454" y="1309309"/>
                      <a:pt x="647957" y="1291809"/>
                      <a:pt x="669534" y="1291809"/>
                    </a:cubicBezTo>
                    <a:close/>
                    <a:moveTo>
                      <a:pt x="577255" y="1291809"/>
                    </a:moveTo>
                    <a:cubicBezTo>
                      <a:pt x="598847" y="1291809"/>
                      <a:pt x="616350" y="1309309"/>
                      <a:pt x="616350" y="1330896"/>
                    </a:cubicBezTo>
                    <a:cubicBezTo>
                      <a:pt x="616350" y="1352483"/>
                      <a:pt x="598847" y="1369983"/>
                      <a:pt x="577255" y="1369983"/>
                    </a:cubicBezTo>
                    <a:cubicBezTo>
                      <a:pt x="555663" y="1369983"/>
                      <a:pt x="538159" y="1352483"/>
                      <a:pt x="538159" y="1330896"/>
                    </a:cubicBezTo>
                    <a:cubicBezTo>
                      <a:pt x="538159" y="1309309"/>
                      <a:pt x="555663" y="1291809"/>
                      <a:pt x="577255" y="1291809"/>
                    </a:cubicBezTo>
                    <a:close/>
                    <a:moveTo>
                      <a:pt x="484969" y="1291809"/>
                    </a:moveTo>
                    <a:cubicBezTo>
                      <a:pt x="506557" y="1291809"/>
                      <a:pt x="524056" y="1309309"/>
                      <a:pt x="524056" y="1330896"/>
                    </a:cubicBezTo>
                    <a:cubicBezTo>
                      <a:pt x="524056" y="1352483"/>
                      <a:pt x="506557" y="1369983"/>
                      <a:pt x="484969" y="1369983"/>
                    </a:cubicBezTo>
                    <a:cubicBezTo>
                      <a:pt x="463376" y="1369983"/>
                      <a:pt x="445892" y="1352483"/>
                      <a:pt x="445892" y="1330896"/>
                    </a:cubicBezTo>
                    <a:cubicBezTo>
                      <a:pt x="445892" y="1309309"/>
                      <a:pt x="463376" y="1291809"/>
                      <a:pt x="484969" y="1291809"/>
                    </a:cubicBezTo>
                    <a:close/>
                    <a:moveTo>
                      <a:pt x="390321" y="1291809"/>
                    </a:moveTo>
                    <a:cubicBezTo>
                      <a:pt x="411908" y="1291809"/>
                      <a:pt x="429422" y="1309309"/>
                      <a:pt x="429422" y="1330896"/>
                    </a:cubicBezTo>
                    <a:cubicBezTo>
                      <a:pt x="429422" y="1352483"/>
                      <a:pt x="411908" y="1369983"/>
                      <a:pt x="390321" y="1369983"/>
                    </a:cubicBezTo>
                    <a:cubicBezTo>
                      <a:pt x="368752" y="1369983"/>
                      <a:pt x="351252" y="1352483"/>
                      <a:pt x="351252" y="1330896"/>
                    </a:cubicBezTo>
                    <a:cubicBezTo>
                      <a:pt x="351252" y="1309309"/>
                      <a:pt x="368752" y="1291809"/>
                      <a:pt x="390321" y="1291809"/>
                    </a:cubicBezTo>
                    <a:close/>
                    <a:moveTo>
                      <a:pt x="298056" y="1291809"/>
                    </a:moveTo>
                    <a:cubicBezTo>
                      <a:pt x="319638" y="1291809"/>
                      <a:pt x="337151" y="1309309"/>
                      <a:pt x="337151" y="1330896"/>
                    </a:cubicBezTo>
                    <a:cubicBezTo>
                      <a:pt x="337151" y="1352483"/>
                      <a:pt x="319638" y="1369983"/>
                      <a:pt x="298056" y="1369983"/>
                    </a:cubicBezTo>
                    <a:cubicBezTo>
                      <a:pt x="276465" y="1369983"/>
                      <a:pt x="258966" y="1352483"/>
                      <a:pt x="258966" y="1330896"/>
                    </a:cubicBezTo>
                    <a:cubicBezTo>
                      <a:pt x="258966" y="1309309"/>
                      <a:pt x="276465" y="1291809"/>
                      <a:pt x="298056" y="1291809"/>
                    </a:cubicBezTo>
                    <a:close/>
                    <a:moveTo>
                      <a:pt x="203411" y="1291809"/>
                    </a:moveTo>
                    <a:cubicBezTo>
                      <a:pt x="225000" y="1291809"/>
                      <a:pt x="242500" y="1309309"/>
                      <a:pt x="242500" y="1330896"/>
                    </a:cubicBezTo>
                    <a:cubicBezTo>
                      <a:pt x="242500" y="1352483"/>
                      <a:pt x="225000" y="1369983"/>
                      <a:pt x="203411" y="1369983"/>
                    </a:cubicBezTo>
                    <a:cubicBezTo>
                      <a:pt x="181825" y="1369983"/>
                      <a:pt x="164325" y="1352483"/>
                      <a:pt x="164325" y="1330896"/>
                    </a:cubicBezTo>
                    <a:cubicBezTo>
                      <a:pt x="164325" y="1309309"/>
                      <a:pt x="181825" y="1291809"/>
                      <a:pt x="203411" y="1291809"/>
                    </a:cubicBezTo>
                    <a:close/>
                    <a:moveTo>
                      <a:pt x="111138" y="1291809"/>
                    </a:moveTo>
                    <a:cubicBezTo>
                      <a:pt x="132725" y="1291809"/>
                      <a:pt x="150225" y="1309309"/>
                      <a:pt x="150225" y="1330896"/>
                    </a:cubicBezTo>
                    <a:cubicBezTo>
                      <a:pt x="150225" y="1352483"/>
                      <a:pt x="132725" y="1369983"/>
                      <a:pt x="111138" y="1369983"/>
                    </a:cubicBezTo>
                    <a:cubicBezTo>
                      <a:pt x="89550" y="1369983"/>
                      <a:pt x="72052" y="1352483"/>
                      <a:pt x="72052" y="1330896"/>
                    </a:cubicBezTo>
                    <a:cubicBezTo>
                      <a:pt x="72052" y="1309309"/>
                      <a:pt x="89550" y="1291809"/>
                      <a:pt x="111138" y="1291809"/>
                    </a:cubicBezTo>
                    <a:close/>
                    <a:moveTo>
                      <a:pt x="2458171" y="1291807"/>
                    </a:moveTo>
                    <a:cubicBezTo>
                      <a:pt x="2479759" y="1291807"/>
                      <a:pt x="2497259" y="1309307"/>
                      <a:pt x="2497259" y="1330894"/>
                    </a:cubicBezTo>
                    <a:cubicBezTo>
                      <a:pt x="2497259" y="1352482"/>
                      <a:pt x="2479759" y="1369981"/>
                      <a:pt x="2458171" y="1369981"/>
                    </a:cubicBezTo>
                    <a:cubicBezTo>
                      <a:pt x="2436595" y="1369981"/>
                      <a:pt x="2419089" y="1352482"/>
                      <a:pt x="2419089" y="1330894"/>
                    </a:cubicBezTo>
                    <a:cubicBezTo>
                      <a:pt x="2419089" y="1309307"/>
                      <a:pt x="2436595" y="1291807"/>
                      <a:pt x="2458171" y="1291807"/>
                    </a:cubicBezTo>
                    <a:close/>
                    <a:moveTo>
                      <a:pt x="2363519" y="1291807"/>
                    </a:moveTo>
                    <a:cubicBezTo>
                      <a:pt x="2385107" y="1291807"/>
                      <a:pt x="2402607" y="1309307"/>
                      <a:pt x="2402607" y="1330894"/>
                    </a:cubicBezTo>
                    <a:cubicBezTo>
                      <a:pt x="2402607" y="1352481"/>
                      <a:pt x="2385107" y="1369981"/>
                      <a:pt x="2363519" y="1369981"/>
                    </a:cubicBezTo>
                    <a:cubicBezTo>
                      <a:pt x="2341932" y="1369981"/>
                      <a:pt x="2324432" y="1352481"/>
                      <a:pt x="2324432" y="1330894"/>
                    </a:cubicBezTo>
                    <a:cubicBezTo>
                      <a:pt x="2324432" y="1309307"/>
                      <a:pt x="2341932" y="1291807"/>
                      <a:pt x="2363519" y="1291807"/>
                    </a:cubicBezTo>
                    <a:close/>
                    <a:moveTo>
                      <a:pt x="3771293" y="1208998"/>
                    </a:moveTo>
                    <a:lnTo>
                      <a:pt x="3775177" y="1210607"/>
                    </a:lnTo>
                    <a:lnTo>
                      <a:pt x="3792595" y="1278349"/>
                    </a:lnTo>
                    <a:lnTo>
                      <a:pt x="3771293" y="1287173"/>
                    </a:lnTo>
                    <a:cubicBezTo>
                      <a:pt x="3749705" y="1287173"/>
                      <a:pt x="3732205" y="1269672"/>
                      <a:pt x="3732205" y="1248085"/>
                    </a:cubicBezTo>
                    <a:cubicBezTo>
                      <a:pt x="3732205" y="1226498"/>
                      <a:pt x="3749705" y="1208998"/>
                      <a:pt x="3771293" y="1208998"/>
                    </a:cubicBezTo>
                    <a:close/>
                    <a:moveTo>
                      <a:pt x="3679017" y="1208998"/>
                    </a:moveTo>
                    <a:cubicBezTo>
                      <a:pt x="3700604" y="1208998"/>
                      <a:pt x="3718103" y="1226498"/>
                      <a:pt x="3718103" y="1248085"/>
                    </a:cubicBezTo>
                    <a:cubicBezTo>
                      <a:pt x="3718103" y="1269672"/>
                      <a:pt x="3700604" y="1287173"/>
                      <a:pt x="3679017" y="1287173"/>
                    </a:cubicBezTo>
                    <a:cubicBezTo>
                      <a:pt x="3657429" y="1287173"/>
                      <a:pt x="3639929" y="1269672"/>
                      <a:pt x="3639929" y="1248085"/>
                    </a:cubicBezTo>
                    <a:cubicBezTo>
                      <a:pt x="3639929" y="1226498"/>
                      <a:pt x="3657429" y="1208998"/>
                      <a:pt x="3679017" y="1208998"/>
                    </a:cubicBezTo>
                    <a:close/>
                    <a:moveTo>
                      <a:pt x="3584377" y="1208998"/>
                    </a:moveTo>
                    <a:cubicBezTo>
                      <a:pt x="3605964" y="1208998"/>
                      <a:pt x="3623463" y="1226498"/>
                      <a:pt x="3623463" y="1248085"/>
                    </a:cubicBezTo>
                    <a:cubicBezTo>
                      <a:pt x="3623463" y="1269672"/>
                      <a:pt x="3605964" y="1287173"/>
                      <a:pt x="3584377" y="1287173"/>
                    </a:cubicBezTo>
                    <a:cubicBezTo>
                      <a:pt x="3562789" y="1287173"/>
                      <a:pt x="3545289" y="1269672"/>
                      <a:pt x="3545289" y="1248085"/>
                    </a:cubicBezTo>
                    <a:cubicBezTo>
                      <a:pt x="3545289" y="1226498"/>
                      <a:pt x="3562789" y="1208998"/>
                      <a:pt x="3584377" y="1208998"/>
                    </a:cubicBezTo>
                    <a:close/>
                    <a:moveTo>
                      <a:pt x="3489737" y="1208998"/>
                    </a:moveTo>
                    <a:cubicBezTo>
                      <a:pt x="3511324" y="1208998"/>
                      <a:pt x="3528823" y="1226498"/>
                      <a:pt x="3528823" y="1248085"/>
                    </a:cubicBezTo>
                    <a:cubicBezTo>
                      <a:pt x="3528823" y="1269672"/>
                      <a:pt x="3511324" y="1287173"/>
                      <a:pt x="3489737" y="1287173"/>
                    </a:cubicBezTo>
                    <a:cubicBezTo>
                      <a:pt x="3468149" y="1287173"/>
                      <a:pt x="3450649" y="1269672"/>
                      <a:pt x="3450649" y="1248085"/>
                    </a:cubicBezTo>
                    <a:cubicBezTo>
                      <a:pt x="3450649" y="1226498"/>
                      <a:pt x="3468149" y="1208998"/>
                      <a:pt x="3489737" y="1208998"/>
                    </a:cubicBezTo>
                    <a:close/>
                    <a:moveTo>
                      <a:pt x="3392731" y="1208998"/>
                    </a:moveTo>
                    <a:cubicBezTo>
                      <a:pt x="3414319" y="1208998"/>
                      <a:pt x="3431819" y="1226498"/>
                      <a:pt x="3431819" y="1248085"/>
                    </a:cubicBezTo>
                    <a:cubicBezTo>
                      <a:pt x="3431819" y="1269672"/>
                      <a:pt x="3414319" y="1287173"/>
                      <a:pt x="3392731" y="1287173"/>
                    </a:cubicBezTo>
                    <a:cubicBezTo>
                      <a:pt x="3371144" y="1287173"/>
                      <a:pt x="3353644" y="1269672"/>
                      <a:pt x="3353644" y="1248085"/>
                    </a:cubicBezTo>
                    <a:cubicBezTo>
                      <a:pt x="3353644" y="1226498"/>
                      <a:pt x="3371144" y="1208998"/>
                      <a:pt x="3392731" y="1208998"/>
                    </a:cubicBezTo>
                    <a:close/>
                    <a:moveTo>
                      <a:pt x="3300457" y="1208998"/>
                    </a:moveTo>
                    <a:cubicBezTo>
                      <a:pt x="3322044" y="1208998"/>
                      <a:pt x="3339544" y="1226498"/>
                      <a:pt x="3339544" y="1248085"/>
                    </a:cubicBezTo>
                    <a:cubicBezTo>
                      <a:pt x="3339544" y="1269672"/>
                      <a:pt x="3322044" y="1287173"/>
                      <a:pt x="3300457" y="1287173"/>
                    </a:cubicBezTo>
                    <a:cubicBezTo>
                      <a:pt x="3278869" y="1287173"/>
                      <a:pt x="3261369" y="1269672"/>
                      <a:pt x="3261369" y="1248085"/>
                    </a:cubicBezTo>
                    <a:cubicBezTo>
                      <a:pt x="3261369" y="1226498"/>
                      <a:pt x="3278869" y="1208998"/>
                      <a:pt x="3300457" y="1208998"/>
                    </a:cubicBezTo>
                    <a:close/>
                    <a:moveTo>
                      <a:pt x="3205817" y="1208998"/>
                    </a:moveTo>
                    <a:cubicBezTo>
                      <a:pt x="3227404" y="1208998"/>
                      <a:pt x="3244904" y="1226498"/>
                      <a:pt x="3244904" y="1248085"/>
                    </a:cubicBezTo>
                    <a:cubicBezTo>
                      <a:pt x="3244904" y="1269672"/>
                      <a:pt x="3227404" y="1287173"/>
                      <a:pt x="3205817" y="1287173"/>
                    </a:cubicBezTo>
                    <a:cubicBezTo>
                      <a:pt x="3184229" y="1287173"/>
                      <a:pt x="3166729" y="1269672"/>
                      <a:pt x="3166729" y="1248085"/>
                    </a:cubicBezTo>
                    <a:cubicBezTo>
                      <a:pt x="3166729" y="1226498"/>
                      <a:pt x="3184229" y="1208998"/>
                      <a:pt x="3205817" y="1208998"/>
                    </a:cubicBezTo>
                    <a:close/>
                    <a:moveTo>
                      <a:pt x="3111177" y="1208998"/>
                    </a:moveTo>
                    <a:cubicBezTo>
                      <a:pt x="3132764" y="1208998"/>
                      <a:pt x="3150264" y="1226498"/>
                      <a:pt x="3150264" y="1248085"/>
                    </a:cubicBezTo>
                    <a:cubicBezTo>
                      <a:pt x="3150264" y="1269672"/>
                      <a:pt x="3132764" y="1287173"/>
                      <a:pt x="3111177" y="1287173"/>
                    </a:cubicBezTo>
                    <a:cubicBezTo>
                      <a:pt x="3089589" y="1287173"/>
                      <a:pt x="3072089" y="1269672"/>
                      <a:pt x="3072089" y="1248085"/>
                    </a:cubicBezTo>
                    <a:cubicBezTo>
                      <a:pt x="3072089" y="1226498"/>
                      <a:pt x="3089589" y="1208998"/>
                      <a:pt x="3111177" y="1208998"/>
                    </a:cubicBezTo>
                    <a:close/>
                    <a:moveTo>
                      <a:pt x="3018902" y="1208998"/>
                    </a:moveTo>
                    <a:cubicBezTo>
                      <a:pt x="3040489" y="1208998"/>
                      <a:pt x="3057989" y="1226498"/>
                      <a:pt x="3057989" y="1248085"/>
                    </a:cubicBezTo>
                    <a:cubicBezTo>
                      <a:pt x="3057989" y="1269672"/>
                      <a:pt x="3040489" y="1287173"/>
                      <a:pt x="3018902" y="1287173"/>
                    </a:cubicBezTo>
                    <a:cubicBezTo>
                      <a:pt x="2997315" y="1287173"/>
                      <a:pt x="2979815" y="1269672"/>
                      <a:pt x="2979815" y="1248085"/>
                    </a:cubicBezTo>
                    <a:cubicBezTo>
                      <a:pt x="2979815" y="1226498"/>
                      <a:pt x="2997315" y="1208998"/>
                      <a:pt x="3018902" y="1208998"/>
                    </a:cubicBezTo>
                    <a:close/>
                    <a:moveTo>
                      <a:pt x="2924263" y="1208998"/>
                    </a:moveTo>
                    <a:cubicBezTo>
                      <a:pt x="2945850" y="1208998"/>
                      <a:pt x="2963349" y="1226498"/>
                      <a:pt x="2963349" y="1248085"/>
                    </a:cubicBezTo>
                    <a:cubicBezTo>
                      <a:pt x="2963349" y="1269672"/>
                      <a:pt x="2945850" y="1287173"/>
                      <a:pt x="2924263" y="1287173"/>
                    </a:cubicBezTo>
                    <a:cubicBezTo>
                      <a:pt x="2902675" y="1287173"/>
                      <a:pt x="2885175" y="1269672"/>
                      <a:pt x="2885175" y="1248085"/>
                    </a:cubicBezTo>
                    <a:cubicBezTo>
                      <a:pt x="2885175" y="1226498"/>
                      <a:pt x="2902675" y="1208998"/>
                      <a:pt x="2924263" y="1208998"/>
                    </a:cubicBezTo>
                    <a:close/>
                    <a:moveTo>
                      <a:pt x="2831988" y="1208998"/>
                    </a:moveTo>
                    <a:cubicBezTo>
                      <a:pt x="2853575" y="1208998"/>
                      <a:pt x="2871075" y="1226498"/>
                      <a:pt x="2871075" y="1248085"/>
                    </a:cubicBezTo>
                    <a:cubicBezTo>
                      <a:pt x="2871075" y="1269672"/>
                      <a:pt x="2853575" y="1287173"/>
                      <a:pt x="2831988" y="1287173"/>
                    </a:cubicBezTo>
                    <a:cubicBezTo>
                      <a:pt x="2810401" y="1287173"/>
                      <a:pt x="2792901" y="1269672"/>
                      <a:pt x="2792901" y="1248085"/>
                    </a:cubicBezTo>
                    <a:cubicBezTo>
                      <a:pt x="2792901" y="1226498"/>
                      <a:pt x="2810401" y="1208998"/>
                      <a:pt x="2831988" y="1208998"/>
                    </a:cubicBezTo>
                    <a:close/>
                    <a:moveTo>
                      <a:pt x="2737366" y="1208998"/>
                    </a:moveTo>
                    <a:cubicBezTo>
                      <a:pt x="2758935" y="1208998"/>
                      <a:pt x="2776435" y="1226498"/>
                      <a:pt x="2776435" y="1248085"/>
                    </a:cubicBezTo>
                    <a:cubicBezTo>
                      <a:pt x="2776435" y="1269672"/>
                      <a:pt x="2758935" y="1287173"/>
                      <a:pt x="2737366" y="1287173"/>
                    </a:cubicBezTo>
                    <a:cubicBezTo>
                      <a:pt x="2715775" y="1287173"/>
                      <a:pt x="2698269" y="1269672"/>
                      <a:pt x="2698269" y="1248085"/>
                    </a:cubicBezTo>
                    <a:cubicBezTo>
                      <a:pt x="2698269" y="1226498"/>
                      <a:pt x="2715775" y="1208998"/>
                      <a:pt x="2737366" y="1208998"/>
                    </a:cubicBezTo>
                    <a:close/>
                    <a:moveTo>
                      <a:pt x="2645076" y="1208998"/>
                    </a:moveTo>
                    <a:cubicBezTo>
                      <a:pt x="2666663" y="1208998"/>
                      <a:pt x="2684167" y="1226498"/>
                      <a:pt x="2684167" y="1248085"/>
                    </a:cubicBezTo>
                    <a:cubicBezTo>
                      <a:pt x="2684167" y="1269672"/>
                      <a:pt x="2666663" y="1287173"/>
                      <a:pt x="2645076" y="1287173"/>
                    </a:cubicBezTo>
                    <a:cubicBezTo>
                      <a:pt x="2623489" y="1287173"/>
                      <a:pt x="2605987" y="1269672"/>
                      <a:pt x="2605987" y="1248085"/>
                    </a:cubicBezTo>
                    <a:cubicBezTo>
                      <a:pt x="2605987" y="1226498"/>
                      <a:pt x="2623489" y="1208998"/>
                      <a:pt x="2645076" y="1208998"/>
                    </a:cubicBezTo>
                    <a:close/>
                    <a:moveTo>
                      <a:pt x="2550439" y="1208998"/>
                    </a:moveTo>
                    <a:cubicBezTo>
                      <a:pt x="2572024" y="1208998"/>
                      <a:pt x="2589523" y="1226498"/>
                      <a:pt x="2589523" y="1248085"/>
                    </a:cubicBezTo>
                    <a:cubicBezTo>
                      <a:pt x="2589523" y="1269672"/>
                      <a:pt x="2572024" y="1287173"/>
                      <a:pt x="2550439" y="1287173"/>
                    </a:cubicBezTo>
                    <a:cubicBezTo>
                      <a:pt x="2528851" y="1287173"/>
                      <a:pt x="2511356" y="1269672"/>
                      <a:pt x="2511356" y="1248085"/>
                    </a:cubicBezTo>
                    <a:cubicBezTo>
                      <a:pt x="2511356" y="1226498"/>
                      <a:pt x="2528851" y="1208998"/>
                      <a:pt x="2550439" y="1208998"/>
                    </a:cubicBezTo>
                    <a:close/>
                    <a:moveTo>
                      <a:pt x="1419546" y="1208998"/>
                    </a:moveTo>
                    <a:cubicBezTo>
                      <a:pt x="1441132" y="1208998"/>
                      <a:pt x="1458634" y="1226498"/>
                      <a:pt x="1458634" y="1248085"/>
                    </a:cubicBezTo>
                    <a:cubicBezTo>
                      <a:pt x="1458634" y="1269672"/>
                      <a:pt x="1441132" y="1287173"/>
                      <a:pt x="1419546" y="1287173"/>
                    </a:cubicBezTo>
                    <a:cubicBezTo>
                      <a:pt x="1397954" y="1287173"/>
                      <a:pt x="1380453" y="1269672"/>
                      <a:pt x="1380453" y="1248085"/>
                    </a:cubicBezTo>
                    <a:cubicBezTo>
                      <a:pt x="1380453" y="1226498"/>
                      <a:pt x="1397954" y="1208998"/>
                      <a:pt x="1419546" y="1208998"/>
                    </a:cubicBezTo>
                    <a:close/>
                    <a:moveTo>
                      <a:pt x="1329634" y="1208998"/>
                    </a:moveTo>
                    <a:cubicBezTo>
                      <a:pt x="1351222" y="1208998"/>
                      <a:pt x="1368722" y="1226498"/>
                      <a:pt x="1368722" y="1248085"/>
                    </a:cubicBezTo>
                    <a:cubicBezTo>
                      <a:pt x="1368722" y="1269672"/>
                      <a:pt x="1351222" y="1287173"/>
                      <a:pt x="1329634" y="1287173"/>
                    </a:cubicBezTo>
                    <a:cubicBezTo>
                      <a:pt x="1308050" y="1287173"/>
                      <a:pt x="1290553" y="1269672"/>
                      <a:pt x="1290553" y="1248085"/>
                    </a:cubicBezTo>
                    <a:cubicBezTo>
                      <a:pt x="1290553" y="1226498"/>
                      <a:pt x="1308050" y="1208998"/>
                      <a:pt x="1329634" y="1208998"/>
                    </a:cubicBezTo>
                    <a:close/>
                    <a:moveTo>
                      <a:pt x="1232640" y="1208998"/>
                    </a:moveTo>
                    <a:cubicBezTo>
                      <a:pt x="1254222" y="1208998"/>
                      <a:pt x="1271716" y="1226498"/>
                      <a:pt x="1271716" y="1248085"/>
                    </a:cubicBezTo>
                    <a:cubicBezTo>
                      <a:pt x="1271716" y="1269672"/>
                      <a:pt x="1254222" y="1287173"/>
                      <a:pt x="1232640" y="1287173"/>
                    </a:cubicBezTo>
                    <a:cubicBezTo>
                      <a:pt x="1211049" y="1287173"/>
                      <a:pt x="1193553" y="1269672"/>
                      <a:pt x="1193553" y="1248085"/>
                    </a:cubicBezTo>
                    <a:cubicBezTo>
                      <a:pt x="1193553" y="1226498"/>
                      <a:pt x="1211049" y="1208998"/>
                      <a:pt x="1232640" y="1208998"/>
                    </a:cubicBezTo>
                    <a:close/>
                    <a:moveTo>
                      <a:pt x="1142726" y="1208998"/>
                    </a:moveTo>
                    <a:cubicBezTo>
                      <a:pt x="1164318" y="1208998"/>
                      <a:pt x="1181817" y="1226498"/>
                      <a:pt x="1181817" y="1248085"/>
                    </a:cubicBezTo>
                    <a:cubicBezTo>
                      <a:pt x="1181817" y="1269672"/>
                      <a:pt x="1164318" y="1287173"/>
                      <a:pt x="1142726" y="1287173"/>
                    </a:cubicBezTo>
                    <a:cubicBezTo>
                      <a:pt x="1121134" y="1287173"/>
                      <a:pt x="1103630" y="1269672"/>
                      <a:pt x="1103630" y="1248085"/>
                    </a:cubicBezTo>
                    <a:cubicBezTo>
                      <a:pt x="1103630" y="1226498"/>
                      <a:pt x="1121134" y="1208998"/>
                      <a:pt x="1142726" y="1208998"/>
                    </a:cubicBezTo>
                    <a:close/>
                    <a:moveTo>
                      <a:pt x="1045706" y="1208998"/>
                    </a:moveTo>
                    <a:cubicBezTo>
                      <a:pt x="1067291" y="1208998"/>
                      <a:pt x="1084795" y="1226498"/>
                      <a:pt x="1084795" y="1248085"/>
                    </a:cubicBezTo>
                    <a:cubicBezTo>
                      <a:pt x="1084795" y="1269672"/>
                      <a:pt x="1067291" y="1287173"/>
                      <a:pt x="1045706" y="1287173"/>
                    </a:cubicBezTo>
                    <a:cubicBezTo>
                      <a:pt x="1024121" y="1287173"/>
                      <a:pt x="1006623" y="1269672"/>
                      <a:pt x="1006623" y="1248085"/>
                    </a:cubicBezTo>
                    <a:cubicBezTo>
                      <a:pt x="1006623" y="1226498"/>
                      <a:pt x="1024121" y="1208998"/>
                      <a:pt x="1045706" y="1208998"/>
                    </a:cubicBezTo>
                    <a:close/>
                    <a:moveTo>
                      <a:pt x="951076" y="1208998"/>
                    </a:moveTo>
                    <a:cubicBezTo>
                      <a:pt x="972661" y="1208998"/>
                      <a:pt x="990159" y="1226498"/>
                      <a:pt x="990159" y="1248085"/>
                    </a:cubicBezTo>
                    <a:cubicBezTo>
                      <a:pt x="990159" y="1269672"/>
                      <a:pt x="972661" y="1287173"/>
                      <a:pt x="951076" y="1287173"/>
                    </a:cubicBezTo>
                    <a:cubicBezTo>
                      <a:pt x="929492" y="1287173"/>
                      <a:pt x="911993" y="1269672"/>
                      <a:pt x="911993" y="1248085"/>
                    </a:cubicBezTo>
                    <a:cubicBezTo>
                      <a:pt x="911993" y="1226498"/>
                      <a:pt x="929492" y="1208998"/>
                      <a:pt x="951076" y="1208998"/>
                    </a:cubicBezTo>
                    <a:close/>
                    <a:moveTo>
                      <a:pt x="856447" y="1208998"/>
                    </a:moveTo>
                    <a:cubicBezTo>
                      <a:pt x="878032" y="1208998"/>
                      <a:pt x="895530" y="1226498"/>
                      <a:pt x="895530" y="1248085"/>
                    </a:cubicBezTo>
                    <a:cubicBezTo>
                      <a:pt x="895530" y="1269672"/>
                      <a:pt x="878032" y="1287173"/>
                      <a:pt x="856447" y="1287173"/>
                    </a:cubicBezTo>
                    <a:cubicBezTo>
                      <a:pt x="834863" y="1287173"/>
                      <a:pt x="817365" y="1269672"/>
                      <a:pt x="817365" y="1248085"/>
                    </a:cubicBezTo>
                    <a:cubicBezTo>
                      <a:pt x="817365" y="1226498"/>
                      <a:pt x="834863" y="1208998"/>
                      <a:pt x="856447" y="1208998"/>
                    </a:cubicBezTo>
                    <a:close/>
                    <a:moveTo>
                      <a:pt x="764185" y="1208998"/>
                    </a:moveTo>
                    <a:cubicBezTo>
                      <a:pt x="785769" y="1208998"/>
                      <a:pt x="803268" y="1226498"/>
                      <a:pt x="803268" y="1248085"/>
                    </a:cubicBezTo>
                    <a:cubicBezTo>
                      <a:pt x="803268" y="1269672"/>
                      <a:pt x="785769" y="1287173"/>
                      <a:pt x="764185" y="1287173"/>
                    </a:cubicBezTo>
                    <a:cubicBezTo>
                      <a:pt x="742593" y="1287173"/>
                      <a:pt x="725101" y="1269672"/>
                      <a:pt x="725101" y="1248085"/>
                    </a:cubicBezTo>
                    <a:cubicBezTo>
                      <a:pt x="725101" y="1226498"/>
                      <a:pt x="742593" y="1208998"/>
                      <a:pt x="764185" y="1208998"/>
                    </a:cubicBezTo>
                    <a:close/>
                    <a:moveTo>
                      <a:pt x="669534" y="1208998"/>
                    </a:moveTo>
                    <a:cubicBezTo>
                      <a:pt x="691139" y="1208998"/>
                      <a:pt x="708638" y="1226498"/>
                      <a:pt x="708638" y="1248085"/>
                    </a:cubicBezTo>
                    <a:cubicBezTo>
                      <a:pt x="708638" y="1269672"/>
                      <a:pt x="691139" y="1287173"/>
                      <a:pt x="669534" y="1287173"/>
                    </a:cubicBezTo>
                    <a:cubicBezTo>
                      <a:pt x="647964" y="1287173"/>
                      <a:pt x="630460" y="1269672"/>
                      <a:pt x="630460" y="1248085"/>
                    </a:cubicBezTo>
                    <a:cubicBezTo>
                      <a:pt x="630460" y="1226498"/>
                      <a:pt x="647964" y="1208998"/>
                      <a:pt x="669534" y="1208998"/>
                    </a:cubicBezTo>
                    <a:close/>
                    <a:moveTo>
                      <a:pt x="577261" y="1208998"/>
                    </a:moveTo>
                    <a:cubicBezTo>
                      <a:pt x="598853" y="1208998"/>
                      <a:pt x="616357" y="1226498"/>
                      <a:pt x="616357" y="1248085"/>
                    </a:cubicBezTo>
                    <a:cubicBezTo>
                      <a:pt x="616357" y="1269672"/>
                      <a:pt x="598853" y="1287173"/>
                      <a:pt x="577261" y="1287173"/>
                    </a:cubicBezTo>
                    <a:cubicBezTo>
                      <a:pt x="555668" y="1287173"/>
                      <a:pt x="538164" y="1269672"/>
                      <a:pt x="538164" y="1248085"/>
                    </a:cubicBezTo>
                    <a:cubicBezTo>
                      <a:pt x="538164" y="1226498"/>
                      <a:pt x="555668" y="1208998"/>
                      <a:pt x="577261" y="1208998"/>
                    </a:cubicBezTo>
                    <a:close/>
                    <a:moveTo>
                      <a:pt x="484976" y="1208998"/>
                    </a:moveTo>
                    <a:cubicBezTo>
                      <a:pt x="506562" y="1208998"/>
                      <a:pt x="524060" y="1226498"/>
                      <a:pt x="524060" y="1248085"/>
                    </a:cubicBezTo>
                    <a:cubicBezTo>
                      <a:pt x="524060" y="1269672"/>
                      <a:pt x="506562" y="1287173"/>
                      <a:pt x="484976" y="1287173"/>
                    </a:cubicBezTo>
                    <a:cubicBezTo>
                      <a:pt x="463381" y="1287173"/>
                      <a:pt x="445900" y="1269672"/>
                      <a:pt x="445900" y="1248085"/>
                    </a:cubicBezTo>
                    <a:cubicBezTo>
                      <a:pt x="445900" y="1226498"/>
                      <a:pt x="463381" y="1208998"/>
                      <a:pt x="484976" y="1208998"/>
                    </a:cubicBezTo>
                    <a:close/>
                    <a:moveTo>
                      <a:pt x="390329" y="1208998"/>
                    </a:moveTo>
                    <a:cubicBezTo>
                      <a:pt x="411922" y="1208998"/>
                      <a:pt x="429427" y="1226498"/>
                      <a:pt x="429427" y="1248085"/>
                    </a:cubicBezTo>
                    <a:cubicBezTo>
                      <a:pt x="429427" y="1269672"/>
                      <a:pt x="411922" y="1287173"/>
                      <a:pt x="390329" y="1287173"/>
                    </a:cubicBezTo>
                    <a:cubicBezTo>
                      <a:pt x="368757" y="1287173"/>
                      <a:pt x="351257" y="1269672"/>
                      <a:pt x="351257" y="1248085"/>
                    </a:cubicBezTo>
                    <a:cubicBezTo>
                      <a:pt x="351257" y="1226498"/>
                      <a:pt x="368757" y="1208998"/>
                      <a:pt x="390329" y="1208998"/>
                    </a:cubicBezTo>
                    <a:close/>
                    <a:moveTo>
                      <a:pt x="298060" y="1208998"/>
                    </a:moveTo>
                    <a:cubicBezTo>
                      <a:pt x="319643" y="1208998"/>
                      <a:pt x="337156" y="1226498"/>
                      <a:pt x="337156" y="1248085"/>
                    </a:cubicBezTo>
                    <a:cubicBezTo>
                      <a:pt x="337156" y="1269672"/>
                      <a:pt x="319643" y="1287173"/>
                      <a:pt x="298060" y="1287173"/>
                    </a:cubicBezTo>
                    <a:cubicBezTo>
                      <a:pt x="276469" y="1287173"/>
                      <a:pt x="258971" y="1269672"/>
                      <a:pt x="258971" y="1248085"/>
                    </a:cubicBezTo>
                    <a:cubicBezTo>
                      <a:pt x="258971" y="1226498"/>
                      <a:pt x="276469" y="1208998"/>
                      <a:pt x="298060" y="1208998"/>
                    </a:cubicBezTo>
                    <a:close/>
                    <a:moveTo>
                      <a:pt x="203415" y="1208998"/>
                    </a:moveTo>
                    <a:cubicBezTo>
                      <a:pt x="225006" y="1208998"/>
                      <a:pt x="242504" y="1226498"/>
                      <a:pt x="242504" y="1248085"/>
                    </a:cubicBezTo>
                    <a:cubicBezTo>
                      <a:pt x="242504" y="1269672"/>
                      <a:pt x="225006" y="1287173"/>
                      <a:pt x="203415" y="1287173"/>
                    </a:cubicBezTo>
                    <a:cubicBezTo>
                      <a:pt x="181830" y="1287173"/>
                      <a:pt x="164330" y="1269672"/>
                      <a:pt x="164330" y="1248085"/>
                    </a:cubicBezTo>
                    <a:cubicBezTo>
                      <a:pt x="164330" y="1226498"/>
                      <a:pt x="181830" y="1208998"/>
                      <a:pt x="203415" y="1208998"/>
                    </a:cubicBezTo>
                    <a:close/>
                    <a:moveTo>
                      <a:pt x="111142" y="1208998"/>
                    </a:moveTo>
                    <a:cubicBezTo>
                      <a:pt x="132728" y="1208998"/>
                      <a:pt x="150229" y="1226498"/>
                      <a:pt x="150229" y="1248085"/>
                    </a:cubicBezTo>
                    <a:cubicBezTo>
                      <a:pt x="150229" y="1269672"/>
                      <a:pt x="132728" y="1287173"/>
                      <a:pt x="111142" y="1287173"/>
                    </a:cubicBezTo>
                    <a:cubicBezTo>
                      <a:pt x="89555" y="1287173"/>
                      <a:pt x="72056" y="1269672"/>
                      <a:pt x="72056" y="1248085"/>
                    </a:cubicBezTo>
                    <a:cubicBezTo>
                      <a:pt x="72056" y="1226498"/>
                      <a:pt x="89555" y="1208998"/>
                      <a:pt x="111142" y="1208998"/>
                    </a:cubicBezTo>
                    <a:close/>
                    <a:moveTo>
                      <a:pt x="3746476" y="1129380"/>
                    </a:moveTo>
                    <a:lnTo>
                      <a:pt x="3771318" y="1197252"/>
                    </a:lnTo>
                    <a:lnTo>
                      <a:pt x="3771293" y="1197263"/>
                    </a:lnTo>
                    <a:cubicBezTo>
                      <a:pt x="3749705" y="1197263"/>
                      <a:pt x="3732205" y="1179775"/>
                      <a:pt x="3732205" y="1158188"/>
                    </a:cubicBezTo>
                    <a:cubicBezTo>
                      <a:pt x="3732205" y="1147394"/>
                      <a:pt x="3736580" y="1137623"/>
                      <a:pt x="3743654" y="1130550"/>
                    </a:cubicBezTo>
                    <a:close/>
                    <a:moveTo>
                      <a:pt x="577266" y="1119103"/>
                    </a:moveTo>
                    <a:cubicBezTo>
                      <a:pt x="598858" y="1119103"/>
                      <a:pt x="616362" y="1136603"/>
                      <a:pt x="616362" y="1158190"/>
                    </a:cubicBezTo>
                    <a:cubicBezTo>
                      <a:pt x="616362" y="1179777"/>
                      <a:pt x="598858" y="1197265"/>
                      <a:pt x="577266" y="1197265"/>
                    </a:cubicBezTo>
                    <a:cubicBezTo>
                      <a:pt x="555673" y="1197265"/>
                      <a:pt x="538168" y="1179777"/>
                      <a:pt x="538168" y="1158190"/>
                    </a:cubicBezTo>
                    <a:cubicBezTo>
                      <a:pt x="538168" y="1136603"/>
                      <a:pt x="555673" y="1119103"/>
                      <a:pt x="577266" y="1119103"/>
                    </a:cubicBezTo>
                    <a:close/>
                    <a:moveTo>
                      <a:pt x="484978" y="1119103"/>
                    </a:moveTo>
                    <a:cubicBezTo>
                      <a:pt x="506566" y="1119103"/>
                      <a:pt x="524065" y="1136603"/>
                      <a:pt x="524065" y="1158190"/>
                    </a:cubicBezTo>
                    <a:cubicBezTo>
                      <a:pt x="524065" y="1179777"/>
                      <a:pt x="506566" y="1197265"/>
                      <a:pt x="484978" y="1197265"/>
                    </a:cubicBezTo>
                    <a:cubicBezTo>
                      <a:pt x="463384" y="1197265"/>
                      <a:pt x="445905" y="1179777"/>
                      <a:pt x="445905" y="1158190"/>
                    </a:cubicBezTo>
                    <a:cubicBezTo>
                      <a:pt x="445905" y="1136603"/>
                      <a:pt x="463384" y="1119103"/>
                      <a:pt x="484978" y="1119103"/>
                    </a:cubicBezTo>
                    <a:close/>
                    <a:moveTo>
                      <a:pt x="390329" y="1119103"/>
                    </a:moveTo>
                    <a:cubicBezTo>
                      <a:pt x="411922" y="1119103"/>
                      <a:pt x="429432" y="1136603"/>
                      <a:pt x="429432" y="1158190"/>
                    </a:cubicBezTo>
                    <a:cubicBezTo>
                      <a:pt x="429432" y="1179777"/>
                      <a:pt x="411922" y="1197265"/>
                      <a:pt x="390329" y="1197265"/>
                    </a:cubicBezTo>
                    <a:cubicBezTo>
                      <a:pt x="368763" y="1197265"/>
                      <a:pt x="351262" y="1179777"/>
                      <a:pt x="351262" y="1158190"/>
                    </a:cubicBezTo>
                    <a:cubicBezTo>
                      <a:pt x="351262" y="1136603"/>
                      <a:pt x="368763" y="1119103"/>
                      <a:pt x="390329" y="1119103"/>
                    </a:cubicBezTo>
                    <a:close/>
                    <a:moveTo>
                      <a:pt x="298063" y="1119103"/>
                    </a:moveTo>
                    <a:cubicBezTo>
                      <a:pt x="319646" y="1119103"/>
                      <a:pt x="337159" y="1136603"/>
                      <a:pt x="337159" y="1158190"/>
                    </a:cubicBezTo>
                    <a:cubicBezTo>
                      <a:pt x="337159" y="1179777"/>
                      <a:pt x="319646" y="1197265"/>
                      <a:pt x="298063" y="1197265"/>
                    </a:cubicBezTo>
                    <a:cubicBezTo>
                      <a:pt x="276475" y="1197265"/>
                      <a:pt x="258974" y="1179777"/>
                      <a:pt x="258974" y="1158190"/>
                    </a:cubicBezTo>
                    <a:cubicBezTo>
                      <a:pt x="258974" y="1136603"/>
                      <a:pt x="276475" y="1119103"/>
                      <a:pt x="298063" y="1119103"/>
                    </a:cubicBezTo>
                    <a:close/>
                    <a:moveTo>
                      <a:pt x="203418" y="1119103"/>
                    </a:moveTo>
                    <a:cubicBezTo>
                      <a:pt x="225008" y="1119103"/>
                      <a:pt x="242508" y="1136603"/>
                      <a:pt x="242508" y="1158190"/>
                    </a:cubicBezTo>
                    <a:cubicBezTo>
                      <a:pt x="242508" y="1179777"/>
                      <a:pt x="225008" y="1197265"/>
                      <a:pt x="203418" y="1197265"/>
                    </a:cubicBezTo>
                    <a:cubicBezTo>
                      <a:pt x="181832" y="1197265"/>
                      <a:pt x="164333" y="1179777"/>
                      <a:pt x="164333" y="1158190"/>
                    </a:cubicBezTo>
                    <a:cubicBezTo>
                      <a:pt x="164333" y="1136603"/>
                      <a:pt x="181832" y="1119103"/>
                      <a:pt x="203418" y="1119103"/>
                    </a:cubicBezTo>
                    <a:close/>
                    <a:moveTo>
                      <a:pt x="3679018" y="1119102"/>
                    </a:moveTo>
                    <a:cubicBezTo>
                      <a:pt x="3700605" y="1119102"/>
                      <a:pt x="3718105" y="1136601"/>
                      <a:pt x="3718105" y="1158188"/>
                    </a:cubicBezTo>
                    <a:cubicBezTo>
                      <a:pt x="3718105" y="1179775"/>
                      <a:pt x="3700605" y="1197263"/>
                      <a:pt x="3679018" y="1197263"/>
                    </a:cubicBezTo>
                    <a:cubicBezTo>
                      <a:pt x="3657431" y="1197263"/>
                      <a:pt x="3639931" y="1179775"/>
                      <a:pt x="3639931" y="1158188"/>
                    </a:cubicBezTo>
                    <a:cubicBezTo>
                      <a:pt x="3639931" y="1136601"/>
                      <a:pt x="3657431" y="1119102"/>
                      <a:pt x="3679018" y="1119102"/>
                    </a:cubicBezTo>
                    <a:close/>
                    <a:moveTo>
                      <a:pt x="3584377" y="1119102"/>
                    </a:moveTo>
                    <a:cubicBezTo>
                      <a:pt x="3605964" y="1119102"/>
                      <a:pt x="3623463" y="1136601"/>
                      <a:pt x="3623463" y="1158188"/>
                    </a:cubicBezTo>
                    <a:cubicBezTo>
                      <a:pt x="3623463" y="1179775"/>
                      <a:pt x="3605964" y="1197263"/>
                      <a:pt x="3584377" y="1197263"/>
                    </a:cubicBezTo>
                    <a:cubicBezTo>
                      <a:pt x="3562789" y="1197263"/>
                      <a:pt x="3545289" y="1179775"/>
                      <a:pt x="3545289" y="1158188"/>
                    </a:cubicBezTo>
                    <a:cubicBezTo>
                      <a:pt x="3545289" y="1136601"/>
                      <a:pt x="3562789" y="1119102"/>
                      <a:pt x="3584377" y="1119102"/>
                    </a:cubicBezTo>
                    <a:close/>
                    <a:moveTo>
                      <a:pt x="3489737" y="1119102"/>
                    </a:moveTo>
                    <a:cubicBezTo>
                      <a:pt x="3511324" y="1119102"/>
                      <a:pt x="3528823" y="1136601"/>
                      <a:pt x="3528823" y="1158188"/>
                    </a:cubicBezTo>
                    <a:cubicBezTo>
                      <a:pt x="3528823" y="1179775"/>
                      <a:pt x="3511324" y="1197263"/>
                      <a:pt x="3489737" y="1197263"/>
                    </a:cubicBezTo>
                    <a:cubicBezTo>
                      <a:pt x="3468149" y="1197263"/>
                      <a:pt x="3450649" y="1179775"/>
                      <a:pt x="3450649" y="1158188"/>
                    </a:cubicBezTo>
                    <a:cubicBezTo>
                      <a:pt x="3450649" y="1136601"/>
                      <a:pt x="3468149" y="1119102"/>
                      <a:pt x="3489737" y="1119102"/>
                    </a:cubicBezTo>
                    <a:close/>
                    <a:moveTo>
                      <a:pt x="3392731" y="1119102"/>
                    </a:moveTo>
                    <a:cubicBezTo>
                      <a:pt x="3414319" y="1119102"/>
                      <a:pt x="3431819" y="1136601"/>
                      <a:pt x="3431819" y="1158188"/>
                    </a:cubicBezTo>
                    <a:cubicBezTo>
                      <a:pt x="3431819" y="1179775"/>
                      <a:pt x="3414319" y="1197263"/>
                      <a:pt x="3392731" y="1197263"/>
                    </a:cubicBezTo>
                    <a:cubicBezTo>
                      <a:pt x="3371144" y="1197263"/>
                      <a:pt x="3353644" y="1179775"/>
                      <a:pt x="3353644" y="1158188"/>
                    </a:cubicBezTo>
                    <a:cubicBezTo>
                      <a:pt x="3353644" y="1136601"/>
                      <a:pt x="3371144" y="1119102"/>
                      <a:pt x="3392731" y="1119102"/>
                    </a:cubicBezTo>
                    <a:close/>
                    <a:moveTo>
                      <a:pt x="3300457" y="1119102"/>
                    </a:moveTo>
                    <a:cubicBezTo>
                      <a:pt x="3322044" y="1119102"/>
                      <a:pt x="3339544" y="1136601"/>
                      <a:pt x="3339544" y="1158188"/>
                    </a:cubicBezTo>
                    <a:cubicBezTo>
                      <a:pt x="3339544" y="1179775"/>
                      <a:pt x="3322044" y="1197263"/>
                      <a:pt x="3300457" y="1197263"/>
                    </a:cubicBezTo>
                    <a:cubicBezTo>
                      <a:pt x="3278869" y="1197263"/>
                      <a:pt x="3261369" y="1179775"/>
                      <a:pt x="3261369" y="1158188"/>
                    </a:cubicBezTo>
                    <a:cubicBezTo>
                      <a:pt x="3261369" y="1136601"/>
                      <a:pt x="3278869" y="1119102"/>
                      <a:pt x="3300457" y="1119102"/>
                    </a:cubicBezTo>
                    <a:close/>
                    <a:moveTo>
                      <a:pt x="3205817" y="1119102"/>
                    </a:moveTo>
                    <a:cubicBezTo>
                      <a:pt x="3227404" y="1119102"/>
                      <a:pt x="3244904" y="1136601"/>
                      <a:pt x="3244904" y="1158188"/>
                    </a:cubicBezTo>
                    <a:cubicBezTo>
                      <a:pt x="3244904" y="1179775"/>
                      <a:pt x="3227404" y="1197263"/>
                      <a:pt x="3205817" y="1197263"/>
                    </a:cubicBezTo>
                    <a:cubicBezTo>
                      <a:pt x="3184229" y="1197263"/>
                      <a:pt x="3166729" y="1179775"/>
                      <a:pt x="3166729" y="1158188"/>
                    </a:cubicBezTo>
                    <a:cubicBezTo>
                      <a:pt x="3166729" y="1136601"/>
                      <a:pt x="3184229" y="1119102"/>
                      <a:pt x="3205817" y="1119102"/>
                    </a:cubicBezTo>
                    <a:close/>
                    <a:moveTo>
                      <a:pt x="3018902" y="1119102"/>
                    </a:moveTo>
                    <a:cubicBezTo>
                      <a:pt x="3040489" y="1119102"/>
                      <a:pt x="3057989" y="1136601"/>
                      <a:pt x="3057989" y="1158188"/>
                    </a:cubicBezTo>
                    <a:cubicBezTo>
                      <a:pt x="3057989" y="1179775"/>
                      <a:pt x="3040489" y="1197263"/>
                      <a:pt x="3018902" y="1197263"/>
                    </a:cubicBezTo>
                    <a:cubicBezTo>
                      <a:pt x="2997315" y="1197263"/>
                      <a:pt x="2979815" y="1179775"/>
                      <a:pt x="2979815" y="1158188"/>
                    </a:cubicBezTo>
                    <a:cubicBezTo>
                      <a:pt x="2979815" y="1136601"/>
                      <a:pt x="2997315" y="1119102"/>
                      <a:pt x="3018902" y="1119102"/>
                    </a:cubicBezTo>
                    <a:close/>
                    <a:moveTo>
                      <a:pt x="2924263" y="1119102"/>
                    </a:moveTo>
                    <a:cubicBezTo>
                      <a:pt x="2945850" y="1119102"/>
                      <a:pt x="2963349" y="1136601"/>
                      <a:pt x="2963349" y="1158188"/>
                    </a:cubicBezTo>
                    <a:cubicBezTo>
                      <a:pt x="2963349" y="1179775"/>
                      <a:pt x="2945850" y="1197263"/>
                      <a:pt x="2924263" y="1197263"/>
                    </a:cubicBezTo>
                    <a:cubicBezTo>
                      <a:pt x="2902675" y="1197263"/>
                      <a:pt x="2885175" y="1179775"/>
                      <a:pt x="2885175" y="1158188"/>
                    </a:cubicBezTo>
                    <a:cubicBezTo>
                      <a:pt x="2885175" y="1136601"/>
                      <a:pt x="2902675" y="1119102"/>
                      <a:pt x="2924263" y="1119102"/>
                    </a:cubicBezTo>
                    <a:close/>
                    <a:moveTo>
                      <a:pt x="2831988" y="1119102"/>
                    </a:moveTo>
                    <a:cubicBezTo>
                      <a:pt x="2853575" y="1119102"/>
                      <a:pt x="2871075" y="1136601"/>
                      <a:pt x="2871075" y="1158188"/>
                    </a:cubicBezTo>
                    <a:cubicBezTo>
                      <a:pt x="2871075" y="1179775"/>
                      <a:pt x="2853575" y="1197263"/>
                      <a:pt x="2831988" y="1197263"/>
                    </a:cubicBezTo>
                    <a:cubicBezTo>
                      <a:pt x="2810401" y="1197263"/>
                      <a:pt x="2792901" y="1179775"/>
                      <a:pt x="2792901" y="1158188"/>
                    </a:cubicBezTo>
                    <a:cubicBezTo>
                      <a:pt x="2792901" y="1136601"/>
                      <a:pt x="2810401" y="1119102"/>
                      <a:pt x="2831988" y="1119102"/>
                    </a:cubicBezTo>
                    <a:close/>
                    <a:moveTo>
                      <a:pt x="2737367" y="1119102"/>
                    </a:moveTo>
                    <a:cubicBezTo>
                      <a:pt x="2758935" y="1119102"/>
                      <a:pt x="2776435" y="1136601"/>
                      <a:pt x="2776435" y="1158188"/>
                    </a:cubicBezTo>
                    <a:cubicBezTo>
                      <a:pt x="2776435" y="1179775"/>
                      <a:pt x="2758935" y="1197263"/>
                      <a:pt x="2737367" y="1197263"/>
                    </a:cubicBezTo>
                    <a:cubicBezTo>
                      <a:pt x="2715775" y="1197263"/>
                      <a:pt x="2698271" y="1179775"/>
                      <a:pt x="2698271" y="1158188"/>
                    </a:cubicBezTo>
                    <a:cubicBezTo>
                      <a:pt x="2698271" y="1136601"/>
                      <a:pt x="2715775" y="1119102"/>
                      <a:pt x="2737367" y="1119102"/>
                    </a:cubicBezTo>
                    <a:close/>
                    <a:moveTo>
                      <a:pt x="2645076" y="1119102"/>
                    </a:moveTo>
                    <a:cubicBezTo>
                      <a:pt x="2666663" y="1119102"/>
                      <a:pt x="2684167" y="1136601"/>
                      <a:pt x="2684167" y="1158188"/>
                    </a:cubicBezTo>
                    <a:cubicBezTo>
                      <a:pt x="2684167" y="1179775"/>
                      <a:pt x="2666663" y="1197263"/>
                      <a:pt x="2645076" y="1197263"/>
                    </a:cubicBezTo>
                    <a:cubicBezTo>
                      <a:pt x="2623490" y="1197263"/>
                      <a:pt x="2605987" y="1179775"/>
                      <a:pt x="2605987" y="1158188"/>
                    </a:cubicBezTo>
                    <a:cubicBezTo>
                      <a:pt x="2605987" y="1136601"/>
                      <a:pt x="2623490" y="1119102"/>
                      <a:pt x="2645076" y="1119102"/>
                    </a:cubicBezTo>
                    <a:close/>
                    <a:moveTo>
                      <a:pt x="2550439" y="1119102"/>
                    </a:moveTo>
                    <a:cubicBezTo>
                      <a:pt x="2572024" y="1119102"/>
                      <a:pt x="2589523" y="1136601"/>
                      <a:pt x="2589523" y="1158188"/>
                    </a:cubicBezTo>
                    <a:cubicBezTo>
                      <a:pt x="2589523" y="1179775"/>
                      <a:pt x="2572024" y="1197263"/>
                      <a:pt x="2550439" y="1197263"/>
                    </a:cubicBezTo>
                    <a:cubicBezTo>
                      <a:pt x="2528851" y="1197263"/>
                      <a:pt x="2511357" y="1179775"/>
                      <a:pt x="2511357" y="1158188"/>
                    </a:cubicBezTo>
                    <a:cubicBezTo>
                      <a:pt x="2511357" y="1136601"/>
                      <a:pt x="2528851" y="1119102"/>
                      <a:pt x="2550439" y="1119102"/>
                    </a:cubicBezTo>
                    <a:close/>
                    <a:moveTo>
                      <a:pt x="2458167" y="1119102"/>
                    </a:moveTo>
                    <a:cubicBezTo>
                      <a:pt x="2479755" y="1119102"/>
                      <a:pt x="2497254" y="1136601"/>
                      <a:pt x="2497254" y="1158188"/>
                    </a:cubicBezTo>
                    <a:cubicBezTo>
                      <a:pt x="2497254" y="1179775"/>
                      <a:pt x="2479755" y="1197263"/>
                      <a:pt x="2458167" y="1197263"/>
                    </a:cubicBezTo>
                    <a:cubicBezTo>
                      <a:pt x="2436589" y="1197263"/>
                      <a:pt x="2419085" y="1179775"/>
                      <a:pt x="2419085" y="1158188"/>
                    </a:cubicBezTo>
                    <a:cubicBezTo>
                      <a:pt x="2419085" y="1136601"/>
                      <a:pt x="2436589" y="1119102"/>
                      <a:pt x="2458167" y="1119102"/>
                    </a:cubicBezTo>
                    <a:close/>
                    <a:moveTo>
                      <a:pt x="1419551" y="1119102"/>
                    </a:moveTo>
                    <a:cubicBezTo>
                      <a:pt x="1441137" y="1119102"/>
                      <a:pt x="1458638" y="1136601"/>
                      <a:pt x="1458638" y="1158188"/>
                    </a:cubicBezTo>
                    <a:cubicBezTo>
                      <a:pt x="1458638" y="1179775"/>
                      <a:pt x="1441137" y="1197263"/>
                      <a:pt x="1419551" y="1197263"/>
                    </a:cubicBezTo>
                    <a:cubicBezTo>
                      <a:pt x="1397958" y="1197263"/>
                      <a:pt x="1380457" y="1179775"/>
                      <a:pt x="1380457" y="1158188"/>
                    </a:cubicBezTo>
                    <a:cubicBezTo>
                      <a:pt x="1380457" y="1136601"/>
                      <a:pt x="1397958" y="1119102"/>
                      <a:pt x="1419551" y="1119102"/>
                    </a:cubicBezTo>
                    <a:close/>
                    <a:moveTo>
                      <a:pt x="1329639" y="1119102"/>
                    </a:moveTo>
                    <a:cubicBezTo>
                      <a:pt x="1351226" y="1119102"/>
                      <a:pt x="1368728" y="1136601"/>
                      <a:pt x="1368728" y="1158188"/>
                    </a:cubicBezTo>
                    <a:cubicBezTo>
                      <a:pt x="1368728" y="1179775"/>
                      <a:pt x="1351226" y="1197263"/>
                      <a:pt x="1329639" y="1197263"/>
                    </a:cubicBezTo>
                    <a:cubicBezTo>
                      <a:pt x="1308055" y="1197263"/>
                      <a:pt x="1290557" y="1179775"/>
                      <a:pt x="1290557" y="1158188"/>
                    </a:cubicBezTo>
                    <a:cubicBezTo>
                      <a:pt x="1290557" y="1136601"/>
                      <a:pt x="1308055" y="1119102"/>
                      <a:pt x="1329639" y="1119102"/>
                    </a:cubicBezTo>
                    <a:close/>
                    <a:moveTo>
                      <a:pt x="1232644" y="1119102"/>
                    </a:moveTo>
                    <a:cubicBezTo>
                      <a:pt x="1254227" y="1119102"/>
                      <a:pt x="1271718" y="1136601"/>
                      <a:pt x="1271718" y="1158188"/>
                    </a:cubicBezTo>
                    <a:cubicBezTo>
                      <a:pt x="1271718" y="1179775"/>
                      <a:pt x="1254227" y="1197263"/>
                      <a:pt x="1232644" y="1197263"/>
                    </a:cubicBezTo>
                    <a:cubicBezTo>
                      <a:pt x="1211054" y="1197263"/>
                      <a:pt x="1193557" y="1179775"/>
                      <a:pt x="1193557" y="1158188"/>
                    </a:cubicBezTo>
                    <a:cubicBezTo>
                      <a:pt x="1193557" y="1136601"/>
                      <a:pt x="1211054" y="1119102"/>
                      <a:pt x="1232644" y="1119102"/>
                    </a:cubicBezTo>
                    <a:close/>
                    <a:moveTo>
                      <a:pt x="1142731" y="1119102"/>
                    </a:moveTo>
                    <a:cubicBezTo>
                      <a:pt x="1164323" y="1119102"/>
                      <a:pt x="1181822" y="1136601"/>
                      <a:pt x="1181822" y="1158188"/>
                    </a:cubicBezTo>
                    <a:cubicBezTo>
                      <a:pt x="1181822" y="1179775"/>
                      <a:pt x="1164323" y="1197263"/>
                      <a:pt x="1142731" y="1197263"/>
                    </a:cubicBezTo>
                    <a:cubicBezTo>
                      <a:pt x="1121139" y="1197263"/>
                      <a:pt x="1103634" y="1179775"/>
                      <a:pt x="1103634" y="1158188"/>
                    </a:cubicBezTo>
                    <a:cubicBezTo>
                      <a:pt x="1103634" y="1136601"/>
                      <a:pt x="1121139" y="1119102"/>
                      <a:pt x="1142731" y="1119102"/>
                    </a:cubicBezTo>
                    <a:close/>
                    <a:moveTo>
                      <a:pt x="1045709" y="1119102"/>
                    </a:moveTo>
                    <a:cubicBezTo>
                      <a:pt x="1067294" y="1119102"/>
                      <a:pt x="1084799" y="1136601"/>
                      <a:pt x="1084799" y="1158188"/>
                    </a:cubicBezTo>
                    <a:cubicBezTo>
                      <a:pt x="1084799" y="1179775"/>
                      <a:pt x="1067294" y="1197263"/>
                      <a:pt x="1045709" y="1197263"/>
                    </a:cubicBezTo>
                    <a:cubicBezTo>
                      <a:pt x="1024126" y="1197263"/>
                      <a:pt x="1006627" y="1179775"/>
                      <a:pt x="1006627" y="1158188"/>
                    </a:cubicBezTo>
                    <a:cubicBezTo>
                      <a:pt x="1006627" y="1136601"/>
                      <a:pt x="1024126" y="1119102"/>
                      <a:pt x="1045709" y="1119102"/>
                    </a:cubicBezTo>
                    <a:close/>
                    <a:moveTo>
                      <a:pt x="951081" y="1119102"/>
                    </a:moveTo>
                    <a:cubicBezTo>
                      <a:pt x="972665" y="1119102"/>
                      <a:pt x="990163" y="1136601"/>
                      <a:pt x="990163" y="1158188"/>
                    </a:cubicBezTo>
                    <a:cubicBezTo>
                      <a:pt x="990163" y="1179775"/>
                      <a:pt x="972665" y="1197263"/>
                      <a:pt x="951081" y="1197263"/>
                    </a:cubicBezTo>
                    <a:cubicBezTo>
                      <a:pt x="929496" y="1197263"/>
                      <a:pt x="911999" y="1179775"/>
                      <a:pt x="911999" y="1158188"/>
                    </a:cubicBezTo>
                    <a:cubicBezTo>
                      <a:pt x="911999" y="1136601"/>
                      <a:pt x="929496" y="1119102"/>
                      <a:pt x="951081" y="1119102"/>
                    </a:cubicBezTo>
                    <a:close/>
                    <a:moveTo>
                      <a:pt x="856453" y="1119102"/>
                    </a:moveTo>
                    <a:cubicBezTo>
                      <a:pt x="878037" y="1119102"/>
                      <a:pt x="895535" y="1136601"/>
                      <a:pt x="895535" y="1158188"/>
                    </a:cubicBezTo>
                    <a:cubicBezTo>
                      <a:pt x="895535" y="1179775"/>
                      <a:pt x="878037" y="1197263"/>
                      <a:pt x="856453" y="1197263"/>
                    </a:cubicBezTo>
                    <a:cubicBezTo>
                      <a:pt x="834868" y="1197263"/>
                      <a:pt x="817371" y="1179775"/>
                      <a:pt x="817371" y="1158188"/>
                    </a:cubicBezTo>
                    <a:cubicBezTo>
                      <a:pt x="817371" y="1136601"/>
                      <a:pt x="834868" y="1119102"/>
                      <a:pt x="856453" y="1119102"/>
                    </a:cubicBezTo>
                    <a:close/>
                    <a:moveTo>
                      <a:pt x="764190" y="1119102"/>
                    </a:moveTo>
                    <a:cubicBezTo>
                      <a:pt x="785775" y="1119102"/>
                      <a:pt x="803273" y="1136601"/>
                      <a:pt x="803273" y="1158188"/>
                    </a:cubicBezTo>
                    <a:cubicBezTo>
                      <a:pt x="803273" y="1179775"/>
                      <a:pt x="785775" y="1197263"/>
                      <a:pt x="764190" y="1197263"/>
                    </a:cubicBezTo>
                    <a:cubicBezTo>
                      <a:pt x="742599" y="1197263"/>
                      <a:pt x="725108" y="1179775"/>
                      <a:pt x="725108" y="1158188"/>
                    </a:cubicBezTo>
                    <a:cubicBezTo>
                      <a:pt x="725108" y="1136601"/>
                      <a:pt x="742599" y="1119102"/>
                      <a:pt x="764190" y="1119102"/>
                    </a:cubicBezTo>
                    <a:close/>
                    <a:moveTo>
                      <a:pt x="669546" y="1119102"/>
                    </a:moveTo>
                    <a:cubicBezTo>
                      <a:pt x="691146" y="1119102"/>
                      <a:pt x="708645" y="1136601"/>
                      <a:pt x="708645" y="1158188"/>
                    </a:cubicBezTo>
                    <a:cubicBezTo>
                      <a:pt x="708645" y="1179775"/>
                      <a:pt x="691146" y="1197263"/>
                      <a:pt x="669546" y="1197263"/>
                    </a:cubicBezTo>
                    <a:cubicBezTo>
                      <a:pt x="647970" y="1197263"/>
                      <a:pt x="630466" y="1179775"/>
                      <a:pt x="630466" y="1158188"/>
                    </a:cubicBezTo>
                    <a:cubicBezTo>
                      <a:pt x="630466" y="1136601"/>
                      <a:pt x="647970" y="1119102"/>
                      <a:pt x="669546" y="1119102"/>
                    </a:cubicBezTo>
                    <a:close/>
                    <a:moveTo>
                      <a:pt x="111145" y="1119102"/>
                    </a:moveTo>
                    <a:cubicBezTo>
                      <a:pt x="132732" y="1119102"/>
                      <a:pt x="150233" y="1136602"/>
                      <a:pt x="150233" y="1158188"/>
                    </a:cubicBezTo>
                    <a:cubicBezTo>
                      <a:pt x="150233" y="1179776"/>
                      <a:pt x="132732" y="1197263"/>
                      <a:pt x="111145" y="1197263"/>
                    </a:cubicBezTo>
                    <a:cubicBezTo>
                      <a:pt x="89558" y="1197263"/>
                      <a:pt x="72060" y="1179776"/>
                      <a:pt x="72060" y="1158188"/>
                    </a:cubicBezTo>
                    <a:cubicBezTo>
                      <a:pt x="72060" y="1136602"/>
                      <a:pt x="89558" y="1119102"/>
                      <a:pt x="111145" y="1119102"/>
                    </a:cubicBezTo>
                    <a:close/>
                    <a:moveTo>
                      <a:pt x="24845" y="1037379"/>
                    </a:moveTo>
                    <a:lnTo>
                      <a:pt x="44149" y="1045374"/>
                    </a:lnTo>
                    <a:cubicBezTo>
                      <a:pt x="51222" y="1052447"/>
                      <a:pt x="55597" y="1062219"/>
                      <a:pt x="55597" y="1073013"/>
                    </a:cubicBezTo>
                    <a:cubicBezTo>
                      <a:pt x="55597" y="1094599"/>
                      <a:pt x="38097" y="1112099"/>
                      <a:pt x="16510" y="1112099"/>
                    </a:cubicBezTo>
                    <a:lnTo>
                      <a:pt x="0" y="1105261"/>
                    </a:lnTo>
                    <a:close/>
                    <a:moveTo>
                      <a:pt x="3679017" y="1033926"/>
                    </a:moveTo>
                    <a:cubicBezTo>
                      <a:pt x="3700604" y="1033926"/>
                      <a:pt x="3718103" y="1051425"/>
                      <a:pt x="3718103" y="1073013"/>
                    </a:cubicBezTo>
                    <a:cubicBezTo>
                      <a:pt x="3718103" y="1094599"/>
                      <a:pt x="3700604" y="1112099"/>
                      <a:pt x="3679017" y="1112099"/>
                    </a:cubicBezTo>
                    <a:cubicBezTo>
                      <a:pt x="3657429" y="1112099"/>
                      <a:pt x="3639929" y="1094599"/>
                      <a:pt x="3639929" y="1073013"/>
                    </a:cubicBezTo>
                    <a:cubicBezTo>
                      <a:pt x="3639929" y="1051425"/>
                      <a:pt x="3657429" y="1033926"/>
                      <a:pt x="3679017" y="1033926"/>
                    </a:cubicBezTo>
                    <a:close/>
                    <a:moveTo>
                      <a:pt x="3584377" y="1033926"/>
                    </a:moveTo>
                    <a:cubicBezTo>
                      <a:pt x="3605964" y="1033926"/>
                      <a:pt x="3623463" y="1051425"/>
                      <a:pt x="3623463" y="1073013"/>
                    </a:cubicBezTo>
                    <a:cubicBezTo>
                      <a:pt x="3623463" y="1094599"/>
                      <a:pt x="3605964" y="1112099"/>
                      <a:pt x="3584377" y="1112099"/>
                    </a:cubicBezTo>
                    <a:cubicBezTo>
                      <a:pt x="3562789" y="1112099"/>
                      <a:pt x="3545289" y="1094599"/>
                      <a:pt x="3545289" y="1073013"/>
                    </a:cubicBezTo>
                    <a:cubicBezTo>
                      <a:pt x="3545289" y="1051425"/>
                      <a:pt x="3562789" y="1033926"/>
                      <a:pt x="3584377" y="1033926"/>
                    </a:cubicBezTo>
                    <a:close/>
                    <a:moveTo>
                      <a:pt x="3489737" y="1033926"/>
                    </a:moveTo>
                    <a:cubicBezTo>
                      <a:pt x="3511324" y="1033926"/>
                      <a:pt x="3528823" y="1051425"/>
                      <a:pt x="3528823" y="1073013"/>
                    </a:cubicBezTo>
                    <a:cubicBezTo>
                      <a:pt x="3528823" y="1094599"/>
                      <a:pt x="3511324" y="1112099"/>
                      <a:pt x="3489737" y="1112099"/>
                    </a:cubicBezTo>
                    <a:cubicBezTo>
                      <a:pt x="3468149" y="1112099"/>
                      <a:pt x="3450649" y="1094599"/>
                      <a:pt x="3450649" y="1073013"/>
                    </a:cubicBezTo>
                    <a:cubicBezTo>
                      <a:pt x="3450649" y="1051425"/>
                      <a:pt x="3468149" y="1033926"/>
                      <a:pt x="3489737" y="1033926"/>
                    </a:cubicBezTo>
                    <a:close/>
                    <a:moveTo>
                      <a:pt x="3392731" y="1033926"/>
                    </a:moveTo>
                    <a:cubicBezTo>
                      <a:pt x="3414319" y="1033926"/>
                      <a:pt x="3431819" y="1051425"/>
                      <a:pt x="3431819" y="1073013"/>
                    </a:cubicBezTo>
                    <a:cubicBezTo>
                      <a:pt x="3431819" y="1094599"/>
                      <a:pt x="3414319" y="1112099"/>
                      <a:pt x="3392731" y="1112099"/>
                    </a:cubicBezTo>
                    <a:cubicBezTo>
                      <a:pt x="3371144" y="1112099"/>
                      <a:pt x="3353644" y="1094599"/>
                      <a:pt x="3353644" y="1073013"/>
                    </a:cubicBezTo>
                    <a:cubicBezTo>
                      <a:pt x="3353644" y="1051425"/>
                      <a:pt x="3371144" y="1033926"/>
                      <a:pt x="3392731" y="1033926"/>
                    </a:cubicBezTo>
                    <a:close/>
                    <a:moveTo>
                      <a:pt x="3300455" y="1033926"/>
                    </a:moveTo>
                    <a:cubicBezTo>
                      <a:pt x="3322043" y="1033926"/>
                      <a:pt x="3339543" y="1051425"/>
                      <a:pt x="3339543" y="1073013"/>
                    </a:cubicBezTo>
                    <a:cubicBezTo>
                      <a:pt x="3339543" y="1094599"/>
                      <a:pt x="3322043" y="1112099"/>
                      <a:pt x="3300455" y="1112099"/>
                    </a:cubicBezTo>
                    <a:cubicBezTo>
                      <a:pt x="3278868" y="1112099"/>
                      <a:pt x="3261368" y="1094599"/>
                      <a:pt x="3261368" y="1073013"/>
                    </a:cubicBezTo>
                    <a:cubicBezTo>
                      <a:pt x="3261368" y="1051425"/>
                      <a:pt x="3278868" y="1033926"/>
                      <a:pt x="3300455" y="1033926"/>
                    </a:cubicBezTo>
                    <a:close/>
                    <a:moveTo>
                      <a:pt x="3205815" y="1033926"/>
                    </a:moveTo>
                    <a:cubicBezTo>
                      <a:pt x="3227403" y="1033926"/>
                      <a:pt x="3244903" y="1051425"/>
                      <a:pt x="3244903" y="1073013"/>
                    </a:cubicBezTo>
                    <a:cubicBezTo>
                      <a:pt x="3244903" y="1094599"/>
                      <a:pt x="3227403" y="1112099"/>
                      <a:pt x="3205815" y="1112099"/>
                    </a:cubicBezTo>
                    <a:cubicBezTo>
                      <a:pt x="3184228" y="1112099"/>
                      <a:pt x="3166728" y="1094599"/>
                      <a:pt x="3166728" y="1073013"/>
                    </a:cubicBezTo>
                    <a:cubicBezTo>
                      <a:pt x="3166728" y="1051425"/>
                      <a:pt x="3184228" y="1033926"/>
                      <a:pt x="3205815" y="1033926"/>
                    </a:cubicBezTo>
                    <a:close/>
                    <a:moveTo>
                      <a:pt x="3111175" y="1033926"/>
                    </a:moveTo>
                    <a:cubicBezTo>
                      <a:pt x="3132763" y="1033926"/>
                      <a:pt x="3150263" y="1051425"/>
                      <a:pt x="3150263" y="1073013"/>
                    </a:cubicBezTo>
                    <a:cubicBezTo>
                      <a:pt x="3150263" y="1094599"/>
                      <a:pt x="3132763" y="1112099"/>
                      <a:pt x="3111175" y="1112099"/>
                    </a:cubicBezTo>
                    <a:cubicBezTo>
                      <a:pt x="3089588" y="1112099"/>
                      <a:pt x="3072088" y="1094599"/>
                      <a:pt x="3072088" y="1073013"/>
                    </a:cubicBezTo>
                    <a:cubicBezTo>
                      <a:pt x="3072088" y="1051425"/>
                      <a:pt x="3089588" y="1033926"/>
                      <a:pt x="3111175" y="1033926"/>
                    </a:cubicBezTo>
                    <a:close/>
                    <a:moveTo>
                      <a:pt x="3018902" y="1033926"/>
                    </a:moveTo>
                    <a:cubicBezTo>
                      <a:pt x="3040489" y="1033926"/>
                      <a:pt x="3057989" y="1051425"/>
                      <a:pt x="3057989" y="1073013"/>
                    </a:cubicBezTo>
                    <a:cubicBezTo>
                      <a:pt x="3057989" y="1094599"/>
                      <a:pt x="3040489" y="1112099"/>
                      <a:pt x="3018902" y="1112099"/>
                    </a:cubicBezTo>
                    <a:cubicBezTo>
                      <a:pt x="2997315" y="1112099"/>
                      <a:pt x="2979815" y="1094599"/>
                      <a:pt x="2979815" y="1073013"/>
                    </a:cubicBezTo>
                    <a:cubicBezTo>
                      <a:pt x="2979815" y="1051425"/>
                      <a:pt x="2997315" y="1033926"/>
                      <a:pt x="3018902" y="1033926"/>
                    </a:cubicBezTo>
                    <a:close/>
                    <a:moveTo>
                      <a:pt x="2924263" y="1033926"/>
                    </a:moveTo>
                    <a:cubicBezTo>
                      <a:pt x="2945850" y="1033926"/>
                      <a:pt x="2963349" y="1051425"/>
                      <a:pt x="2963349" y="1073013"/>
                    </a:cubicBezTo>
                    <a:cubicBezTo>
                      <a:pt x="2963349" y="1094599"/>
                      <a:pt x="2945850" y="1112099"/>
                      <a:pt x="2924263" y="1112099"/>
                    </a:cubicBezTo>
                    <a:cubicBezTo>
                      <a:pt x="2902675" y="1112099"/>
                      <a:pt x="2885175" y="1094599"/>
                      <a:pt x="2885175" y="1073013"/>
                    </a:cubicBezTo>
                    <a:cubicBezTo>
                      <a:pt x="2885175" y="1051425"/>
                      <a:pt x="2902675" y="1033926"/>
                      <a:pt x="2924263" y="1033926"/>
                    </a:cubicBezTo>
                    <a:close/>
                    <a:moveTo>
                      <a:pt x="2831987" y="1033926"/>
                    </a:moveTo>
                    <a:cubicBezTo>
                      <a:pt x="2853574" y="1033926"/>
                      <a:pt x="2871074" y="1051425"/>
                      <a:pt x="2871074" y="1073013"/>
                    </a:cubicBezTo>
                    <a:cubicBezTo>
                      <a:pt x="2871074" y="1094599"/>
                      <a:pt x="2853574" y="1112099"/>
                      <a:pt x="2831987" y="1112099"/>
                    </a:cubicBezTo>
                    <a:cubicBezTo>
                      <a:pt x="2810400" y="1112099"/>
                      <a:pt x="2792900" y="1094599"/>
                      <a:pt x="2792900" y="1073013"/>
                    </a:cubicBezTo>
                    <a:cubicBezTo>
                      <a:pt x="2792900" y="1051425"/>
                      <a:pt x="2810400" y="1033926"/>
                      <a:pt x="2831987" y="1033926"/>
                    </a:cubicBezTo>
                    <a:close/>
                    <a:moveTo>
                      <a:pt x="2737368" y="1033926"/>
                    </a:moveTo>
                    <a:cubicBezTo>
                      <a:pt x="2758934" y="1033926"/>
                      <a:pt x="2776434" y="1051425"/>
                      <a:pt x="2776434" y="1073013"/>
                    </a:cubicBezTo>
                    <a:cubicBezTo>
                      <a:pt x="2776434" y="1094599"/>
                      <a:pt x="2758934" y="1112099"/>
                      <a:pt x="2737368" y="1112099"/>
                    </a:cubicBezTo>
                    <a:cubicBezTo>
                      <a:pt x="2715775" y="1112099"/>
                      <a:pt x="2698271" y="1094599"/>
                      <a:pt x="2698271" y="1073013"/>
                    </a:cubicBezTo>
                    <a:cubicBezTo>
                      <a:pt x="2698271" y="1051425"/>
                      <a:pt x="2715775" y="1033926"/>
                      <a:pt x="2737368" y="1033926"/>
                    </a:cubicBezTo>
                    <a:close/>
                    <a:moveTo>
                      <a:pt x="2645074" y="1033926"/>
                    </a:moveTo>
                    <a:cubicBezTo>
                      <a:pt x="2666662" y="1033926"/>
                      <a:pt x="2684167" y="1051425"/>
                      <a:pt x="2684167" y="1073013"/>
                    </a:cubicBezTo>
                    <a:cubicBezTo>
                      <a:pt x="2684167" y="1094599"/>
                      <a:pt x="2666662" y="1112099"/>
                      <a:pt x="2645074" y="1112099"/>
                    </a:cubicBezTo>
                    <a:cubicBezTo>
                      <a:pt x="2623489" y="1112099"/>
                      <a:pt x="2605987" y="1094599"/>
                      <a:pt x="2605987" y="1073013"/>
                    </a:cubicBezTo>
                    <a:cubicBezTo>
                      <a:pt x="2605987" y="1051425"/>
                      <a:pt x="2623489" y="1033926"/>
                      <a:pt x="2645074" y="1033926"/>
                    </a:cubicBezTo>
                    <a:close/>
                    <a:moveTo>
                      <a:pt x="2550439" y="1033926"/>
                    </a:moveTo>
                    <a:cubicBezTo>
                      <a:pt x="2572024" y="1033926"/>
                      <a:pt x="2589524" y="1051425"/>
                      <a:pt x="2589524" y="1073013"/>
                    </a:cubicBezTo>
                    <a:cubicBezTo>
                      <a:pt x="2589524" y="1094599"/>
                      <a:pt x="2572024" y="1112099"/>
                      <a:pt x="2550439" y="1112099"/>
                    </a:cubicBezTo>
                    <a:cubicBezTo>
                      <a:pt x="2528852" y="1112099"/>
                      <a:pt x="2511357" y="1094599"/>
                      <a:pt x="2511357" y="1073013"/>
                    </a:cubicBezTo>
                    <a:cubicBezTo>
                      <a:pt x="2511357" y="1051425"/>
                      <a:pt x="2528852" y="1033926"/>
                      <a:pt x="2550439" y="1033926"/>
                    </a:cubicBezTo>
                    <a:close/>
                    <a:moveTo>
                      <a:pt x="2458167" y="1033926"/>
                    </a:moveTo>
                    <a:cubicBezTo>
                      <a:pt x="2479755" y="1033926"/>
                      <a:pt x="2497254" y="1051425"/>
                      <a:pt x="2497254" y="1073013"/>
                    </a:cubicBezTo>
                    <a:cubicBezTo>
                      <a:pt x="2497254" y="1094599"/>
                      <a:pt x="2479755" y="1112099"/>
                      <a:pt x="2458167" y="1112099"/>
                    </a:cubicBezTo>
                    <a:cubicBezTo>
                      <a:pt x="2436589" y="1112099"/>
                      <a:pt x="2419085" y="1094599"/>
                      <a:pt x="2419085" y="1073013"/>
                    </a:cubicBezTo>
                    <a:cubicBezTo>
                      <a:pt x="2419085" y="1051425"/>
                      <a:pt x="2436589" y="1033926"/>
                      <a:pt x="2458167" y="1033926"/>
                    </a:cubicBezTo>
                    <a:close/>
                    <a:moveTo>
                      <a:pt x="2363531" y="1033926"/>
                    </a:moveTo>
                    <a:cubicBezTo>
                      <a:pt x="2385121" y="1033926"/>
                      <a:pt x="2402615" y="1051425"/>
                      <a:pt x="2402615" y="1073013"/>
                    </a:cubicBezTo>
                    <a:cubicBezTo>
                      <a:pt x="2402615" y="1094599"/>
                      <a:pt x="2385121" y="1112099"/>
                      <a:pt x="2363531" y="1112099"/>
                    </a:cubicBezTo>
                    <a:cubicBezTo>
                      <a:pt x="2341947" y="1112099"/>
                      <a:pt x="2324444" y="1094599"/>
                      <a:pt x="2324444" y="1073013"/>
                    </a:cubicBezTo>
                    <a:cubicBezTo>
                      <a:pt x="2324444" y="1051425"/>
                      <a:pt x="2341947" y="1033926"/>
                      <a:pt x="2363531" y="1033926"/>
                    </a:cubicBezTo>
                    <a:close/>
                    <a:moveTo>
                      <a:pt x="1419556" y="1033926"/>
                    </a:moveTo>
                    <a:cubicBezTo>
                      <a:pt x="1441140" y="1033926"/>
                      <a:pt x="1458643" y="1051425"/>
                      <a:pt x="1458643" y="1073013"/>
                    </a:cubicBezTo>
                    <a:cubicBezTo>
                      <a:pt x="1458643" y="1094599"/>
                      <a:pt x="1441140" y="1112099"/>
                      <a:pt x="1419556" y="1112099"/>
                    </a:cubicBezTo>
                    <a:cubicBezTo>
                      <a:pt x="1397963" y="1112099"/>
                      <a:pt x="1380461" y="1094599"/>
                      <a:pt x="1380461" y="1073013"/>
                    </a:cubicBezTo>
                    <a:cubicBezTo>
                      <a:pt x="1380461" y="1051425"/>
                      <a:pt x="1397963" y="1033926"/>
                      <a:pt x="1419556" y="1033926"/>
                    </a:cubicBezTo>
                    <a:close/>
                    <a:moveTo>
                      <a:pt x="1329642" y="1033926"/>
                    </a:moveTo>
                    <a:cubicBezTo>
                      <a:pt x="1351228" y="1033926"/>
                      <a:pt x="1368731" y="1051425"/>
                      <a:pt x="1368731" y="1073013"/>
                    </a:cubicBezTo>
                    <a:cubicBezTo>
                      <a:pt x="1368731" y="1094599"/>
                      <a:pt x="1351228" y="1112099"/>
                      <a:pt x="1329642" y="1112099"/>
                    </a:cubicBezTo>
                    <a:cubicBezTo>
                      <a:pt x="1308059" y="1112099"/>
                      <a:pt x="1290561" y="1094599"/>
                      <a:pt x="1290561" y="1073013"/>
                    </a:cubicBezTo>
                    <a:cubicBezTo>
                      <a:pt x="1290561" y="1051425"/>
                      <a:pt x="1308059" y="1033926"/>
                      <a:pt x="1329642" y="1033926"/>
                    </a:cubicBezTo>
                    <a:close/>
                    <a:moveTo>
                      <a:pt x="1232649" y="1033926"/>
                    </a:moveTo>
                    <a:cubicBezTo>
                      <a:pt x="1254235" y="1033926"/>
                      <a:pt x="1271722" y="1051425"/>
                      <a:pt x="1271722" y="1073013"/>
                    </a:cubicBezTo>
                    <a:cubicBezTo>
                      <a:pt x="1271722" y="1094599"/>
                      <a:pt x="1254235" y="1112099"/>
                      <a:pt x="1232649" y="1112099"/>
                    </a:cubicBezTo>
                    <a:cubicBezTo>
                      <a:pt x="1211058" y="1112099"/>
                      <a:pt x="1193565" y="1094599"/>
                      <a:pt x="1193565" y="1073013"/>
                    </a:cubicBezTo>
                    <a:cubicBezTo>
                      <a:pt x="1193565" y="1051425"/>
                      <a:pt x="1211058" y="1033926"/>
                      <a:pt x="1232649" y="1033926"/>
                    </a:cubicBezTo>
                    <a:close/>
                    <a:moveTo>
                      <a:pt x="1142736" y="1033926"/>
                    </a:moveTo>
                    <a:cubicBezTo>
                      <a:pt x="1164329" y="1033926"/>
                      <a:pt x="1181828" y="1051425"/>
                      <a:pt x="1181828" y="1073013"/>
                    </a:cubicBezTo>
                    <a:cubicBezTo>
                      <a:pt x="1181828" y="1094599"/>
                      <a:pt x="1164329" y="1112099"/>
                      <a:pt x="1142736" y="1112099"/>
                    </a:cubicBezTo>
                    <a:cubicBezTo>
                      <a:pt x="1121143" y="1112099"/>
                      <a:pt x="1103639" y="1094599"/>
                      <a:pt x="1103639" y="1073013"/>
                    </a:cubicBezTo>
                    <a:cubicBezTo>
                      <a:pt x="1103639" y="1051425"/>
                      <a:pt x="1121143" y="1033926"/>
                      <a:pt x="1142736" y="1033926"/>
                    </a:cubicBezTo>
                    <a:close/>
                    <a:moveTo>
                      <a:pt x="1045712" y="1033926"/>
                    </a:moveTo>
                    <a:cubicBezTo>
                      <a:pt x="1067297" y="1033926"/>
                      <a:pt x="1084802" y="1051425"/>
                      <a:pt x="1084802" y="1073013"/>
                    </a:cubicBezTo>
                    <a:cubicBezTo>
                      <a:pt x="1084802" y="1094599"/>
                      <a:pt x="1067297" y="1112099"/>
                      <a:pt x="1045712" y="1112099"/>
                    </a:cubicBezTo>
                    <a:cubicBezTo>
                      <a:pt x="1024128" y="1112099"/>
                      <a:pt x="1006631" y="1094599"/>
                      <a:pt x="1006631" y="1073013"/>
                    </a:cubicBezTo>
                    <a:cubicBezTo>
                      <a:pt x="1006631" y="1051425"/>
                      <a:pt x="1024128" y="1033926"/>
                      <a:pt x="1045712" y="1033926"/>
                    </a:cubicBezTo>
                    <a:close/>
                    <a:moveTo>
                      <a:pt x="951085" y="1033926"/>
                    </a:moveTo>
                    <a:cubicBezTo>
                      <a:pt x="972669" y="1033926"/>
                      <a:pt x="990166" y="1051425"/>
                      <a:pt x="990166" y="1073013"/>
                    </a:cubicBezTo>
                    <a:cubicBezTo>
                      <a:pt x="990166" y="1094599"/>
                      <a:pt x="972669" y="1112099"/>
                      <a:pt x="951085" y="1112099"/>
                    </a:cubicBezTo>
                    <a:cubicBezTo>
                      <a:pt x="929501" y="1112099"/>
                      <a:pt x="912003" y="1094599"/>
                      <a:pt x="912003" y="1073013"/>
                    </a:cubicBezTo>
                    <a:cubicBezTo>
                      <a:pt x="912003" y="1051425"/>
                      <a:pt x="929501" y="1033926"/>
                      <a:pt x="951085" y="1033926"/>
                    </a:cubicBezTo>
                    <a:close/>
                    <a:moveTo>
                      <a:pt x="856458" y="1033926"/>
                    </a:moveTo>
                    <a:cubicBezTo>
                      <a:pt x="878042" y="1033926"/>
                      <a:pt x="895540" y="1051425"/>
                      <a:pt x="895540" y="1073013"/>
                    </a:cubicBezTo>
                    <a:cubicBezTo>
                      <a:pt x="895540" y="1094599"/>
                      <a:pt x="878042" y="1112099"/>
                      <a:pt x="856458" y="1112099"/>
                    </a:cubicBezTo>
                    <a:cubicBezTo>
                      <a:pt x="834874" y="1112099"/>
                      <a:pt x="817376" y="1094599"/>
                      <a:pt x="817376" y="1073013"/>
                    </a:cubicBezTo>
                    <a:cubicBezTo>
                      <a:pt x="817376" y="1051425"/>
                      <a:pt x="834874" y="1033926"/>
                      <a:pt x="856458" y="1033926"/>
                    </a:cubicBezTo>
                    <a:close/>
                    <a:moveTo>
                      <a:pt x="764197" y="1033926"/>
                    </a:moveTo>
                    <a:cubicBezTo>
                      <a:pt x="785781" y="1033926"/>
                      <a:pt x="803279" y="1051425"/>
                      <a:pt x="803279" y="1073013"/>
                    </a:cubicBezTo>
                    <a:cubicBezTo>
                      <a:pt x="803279" y="1094599"/>
                      <a:pt x="785781" y="1112099"/>
                      <a:pt x="764197" y="1112099"/>
                    </a:cubicBezTo>
                    <a:cubicBezTo>
                      <a:pt x="742604" y="1112099"/>
                      <a:pt x="725113" y="1094599"/>
                      <a:pt x="725113" y="1073013"/>
                    </a:cubicBezTo>
                    <a:cubicBezTo>
                      <a:pt x="725113" y="1051425"/>
                      <a:pt x="742604" y="1033926"/>
                      <a:pt x="764197" y="1033926"/>
                    </a:cubicBezTo>
                    <a:close/>
                    <a:moveTo>
                      <a:pt x="669546" y="1033926"/>
                    </a:moveTo>
                    <a:cubicBezTo>
                      <a:pt x="691152" y="1033926"/>
                      <a:pt x="708650" y="1051425"/>
                      <a:pt x="708650" y="1073013"/>
                    </a:cubicBezTo>
                    <a:cubicBezTo>
                      <a:pt x="708650" y="1094599"/>
                      <a:pt x="691152" y="1112099"/>
                      <a:pt x="669546" y="1112099"/>
                    </a:cubicBezTo>
                    <a:cubicBezTo>
                      <a:pt x="647977" y="1112099"/>
                      <a:pt x="630473" y="1094599"/>
                      <a:pt x="630473" y="1073013"/>
                    </a:cubicBezTo>
                    <a:cubicBezTo>
                      <a:pt x="630473" y="1051425"/>
                      <a:pt x="647977" y="1033926"/>
                      <a:pt x="669546" y="1033926"/>
                    </a:cubicBezTo>
                    <a:close/>
                    <a:moveTo>
                      <a:pt x="577271" y="1033926"/>
                    </a:moveTo>
                    <a:cubicBezTo>
                      <a:pt x="598864" y="1033926"/>
                      <a:pt x="616368" y="1051425"/>
                      <a:pt x="616368" y="1073013"/>
                    </a:cubicBezTo>
                    <a:cubicBezTo>
                      <a:pt x="616368" y="1094599"/>
                      <a:pt x="598864" y="1112099"/>
                      <a:pt x="577271" y="1112099"/>
                    </a:cubicBezTo>
                    <a:cubicBezTo>
                      <a:pt x="555678" y="1112099"/>
                      <a:pt x="538174" y="1094599"/>
                      <a:pt x="538174" y="1073013"/>
                    </a:cubicBezTo>
                    <a:cubicBezTo>
                      <a:pt x="538174" y="1051425"/>
                      <a:pt x="555678" y="1033926"/>
                      <a:pt x="577271" y="1033926"/>
                    </a:cubicBezTo>
                    <a:close/>
                    <a:moveTo>
                      <a:pt x="484984" y="1033926"/>
                    </a:moveTo>
                    <a:cubicBezTo>
                      <a:pt x="506570" y="1033926"/>
                      <a:pt x="524069" y="1051425"/>
                      <a:pt x="524069" y="1073013"/>
                    </a:cubicBezTo>
                    <a:cubicBezTo>
                      <a:pt x="524069" y="1094599"/>
                      <a:pt x="506570" y="1112099"/>
                      <a:pt x="484984" y="1112099"/>
                    </a:cubicBezTo>
                    <a:cubicBezTo>
                      <a:pt x="463388" y="1112099"/>
                      <a:pt x="445908" y="1094599"/>
                      <a:pt x="445908" y="1073013"/>
                    </a:cubicBezTo>
                    <a:cubicBezTo>
                      <a:pt x="445908" y="1051425"/>
                      <a:pt x="463388" y="1033926"/>
                      <a:pt x="484984" y="1033926"/>
                    </a:cubicBezTo>
                    <a:close/>
                    <a:moveTo>
                      <a:pt x="390337" y="1033926"/>
                    </a:moveTo>
                    <a:cubicBezTo>
                      <a:pt x="411922" y="1033926"/>
                      <a:pt x="429437" y="1051425"/>
                      <a:pt x="429437" y="1073013"/>
                    </a:cubicBezTo>
                    <a:cubicBezTo>
                      <a:pt x="429437" y="1094599"/>
                      <a:pt x="411922" y="1112099"/>
                      <a:pt x="390337" y="1112099"/>
                    </a:cubicBezTo>
                    <a:cubicBezTo>
                      <a:pt x="368768" y="1112099"/>
                      <a:pt x="351267" y="1094599"/>
                      <a:pt x="351267" y="1073013"/>
                    </a:cubicBezTo>
                    <a:cubicBezTo>
                      <a:pt x="351267" y="1051425"/>
                      <a:pt x="368768" y="1033926"/>
                      <a:pt x="390337" y="1033926"/>
                    </a:cubicBezTo>
                    <a:close/>
                    <a:moveTo>
                      <a:pt x="298068" y="1033926"/>
                    </a:moveTo>
                    <a:cubicBezTo>
                      <a:pt x="319650" y="1033926"/>
                      <a:pt x="337166" y="1051425"/>
                      <a:pt x="337166" y="1073013"/>
                    </a:cubicBezTo>
                    <a:cubicBezTo>
                      <a:pt x="337166" y="1094599"/>
                      <a:pt x="319650" y="1112099"/>
                      <a:pt x="298068" y="1112099"/>
                    </a:cubicBezTo>
                    <a:cubicBezTo>
                      <a:pt x="276478" y="1112099"/>
                      <a:pt x="258978" y="1094599"/>
                      <a:pt x="258978" y="1073013"/>
                    </a:cubicBezTo>
                    <a:cubicBezTo>
                      <a:pt x="258978" y="1051425"/>
                      <a:pt x="276478" y="1033926"/>
                      <a:pt x="298068" y="1033926"/>
                    </a:cubicBezTo>
                    <a:close/>
                    <a:moveTo>
                      <a:pt x="203423" y="1033926"/>
                    </a:moveTo>
                    <a:cubicBezTo>
                      <a:pt x="225013" y="1033926"/>
                      <a:pt x="242512" y="1051425"/>
                      <a:pt x="242512" y="1073013"/>
                    </a:cubicBezTo>
                    <a:cubicBezTo>
                      <a:pt x="242512" y="1094599"/>
                      <a:pt x="225013" y="1112099"/>
                      <a:pt x="203423" y="1112099"/>
                    </a:cubicBezTo>
                    <a:cubicBezTo>
                      <a:pt x="181837" y="1112099"/>
                      <a:pt x="164337" y="1094599"/>
                      <a:pt x="164337" y="1073013"/>
                    </a:cubicBezTo>
                    <a:cubicBezTo>
                      <a:pt x="164337" y="1051425"/>
                      <a:pt x="181837" y="1033926"/>
                      <a:pt x="203423" y="1033926"/>
                    </a:cubicBezTo>
                    <a:close/>
                    <a:moveTo>
                      <a:pt x="111150" y="1033926"/>
                    </a:moveTo>
                    <a:cubicBezTo>
                      <a:pt x="132737" y="1033926"/>
                      <a:pt x="150237" y="1051425"/>
                      <a:pt x="150237" y="1073013"/>
                    </a:cubicBezTo>
                    <a:cubicBezTo>
                      <a:pt x="150237" y="1094599"/>
                      <a:pt x="132737" y="1112099"/>
                      <a:pt x="111150" y="1112099"/>
                    </a:cubicBezTo>
                    <a:cubicBezTo>
                      <a:pt x="89563" y="1112099"/>
                      <a:pt x="72064" y="1094599"/>
                      <a:pt x="72064" y="1073013"/>
                    </a:cubicBezTo>
                    <a:cubicBezTo>
                      <a:pt x="72064" y="1051425"/>
                      <a:pt x="89563" y="1033926"/>
                      <a:pt x="111150" y="1033926"/>
                    </a:cubicBezTo>
                    <a:close/>
                    <a:moveTo>
                      <a:pt x="51905" y="976551"/>
                    </a:moveTo>
                    <a:lnTo>
                      <a:pt x="55600" y="985473"/>
                    </a:lnTo>
                    <a:cubicBezTo>
                      <a:pt x="55600" y="996267"/>
                      <a:pt x="51225" y="1006038"/>
                      <a:pt x="44152" y="1013112"/>
                    </a:cubicBezTo>
                    <a:lnTo>
                      <a:pt x="31864" y="1018202"/>
                    </a:lnTo>
                    <a:lnTo>
                      <a:pt x="31938" y="1017999"/>
                    </a:lnTo>
                    <a:close/>
                    <a:moveTo>
                      <a:pt x="3672511" y="949081"/>
                    </a:moveTo>
                    <a:lnTo>
                      <a:pt x="3703905" y="1014251"/>
                    </a:lnTo>
                    <a:lnTo>
                      <a:pt x="3679017" y="1024560"/>
                    </a:lnTo>
                    <a:cubicBezTo>
                      <a:pt x="3657429" y="1024560"/>
                      <a:pt x="3639929" y="1007060"/>
                      <a:pt x="3639929" y="985473"/>
                    </a:cubicBezTo>
                    <a:cubicBezTo>
                      <a:pt x="3639929" y="974679"/>
                      <a:pt x="3644304" y="964908"/>
                      <a:pt x="3651378" y="957835"/>
                    </a:cubicBezTo>
                    <a:close/>
                    <a:moveTo>
                      <a:pt x="3584377" y="946387"/>
                    </a:moveTo>
                    <a:cubicBezTo>
                      <a:pt x="3605964" y="946387"/>
                      <a:pt x="3623463" y="963886"/>
                      <a:pt x="3623463" y="985473"/>
                    </a:cubicBezTo>
                    <a:cubicBezTo>
                      <a:pt x="3623463" y="1007060"/>
                      <a:pt x="3605964" y="1024560"/>
                      <a:pt x="3584377" y="1024560"/>
                    </a:cubicBezTo>
                    <a:cubicBezTo>
                      <a:pt x="3562789" y="1024560"/>
                      <a:pt x="3545289" y="1007060"/>
                      <a:pt x="3545289" y="985473"/>
                    </a:cubicBezTo>
                    <a:cubicBezTo>
                      <a:pt x="3545289" y="963886"/>
                      <a:pt x="3562789" y="946387"/>
                      <a:pt x="3584377" y="946387"/>
                    </a:cubicBezTo>
                    <a:close/>
                    <a:moveTo>
                      <a:pt x="3489737" y="946387"/>
                    </a:moveTo>
                    <a:cubicBezTo>
                      <a:pt x="3511324" y="946387"/>
                      <a:pt x="3528823" y="963886"/>
                      <a:pt x="3528823" y="985473"/>
                    </a:cubicBezTo>
                    <a:cubicBezTo>
                      <a:pt x="3528823" y="1007060"/>
                      <a:pt x="3511324" y="1024560"/>
                      <a:pt x="3489737" y="1024560"/>
                    </a:cubicBezTo>
                    <a:cubicBezTo>
                      <a:pt x="3468149" y="1024560"/>
                      <a:pt x="3450649" y="1007060"/>
                      <a:pt x="3450649" y="985473"/>
                    </a:cubicBezTo>
                    <a:cubicBezTo>
                      <a:pt x="3450649" y="963886"/>
                      <a:pt x="3468149" y="946387"/>
                      <a:pt x="3489737" y="946387"/>
                    </a:cubicBezTo>
                    <a:close/>
                    <a:moveTo>
                      <a:pt x="3392731" y="946387"/>
                    </a:moveTo>
                    <a:cubicBezTo>
                      <a:pt x="3414319" y="946387"/>
                      <a:pt x="3431819" y="963886"/>
                      <a:pt x="3431819" y="985473"/>
                    </a:cubicBezTo>
                    <a:cubicBezTo>
                      <a:pt x="3431819" y="1007060"/>
                      <a:pt x="3414319" y="1024560"/>
                      <a:pt x="3392731" y="1024560"/>
                    </a:cubicBezTo>
                    <a:cubicBezTo>
                      <a:pt x="3371144" y="1024560"/>
                      <a:pt x="3353644" y="1007060"/>
                      <a:pt x="3353644" y="985473"/>
                    </a:cubicBezTo>
                    <a:cubicBezTo>
                      <a:pt x="3353644" y="963886"/>
                      <a:pt x="3371144" y="946387"/>
                      <a:pt x="3392731" y="946387"/>
                    </a:cubicBezTo>
                    <a:close/>
                    <a:moveTo>
                      <a:pt x="3300455" y="946387"/>
                    </a:moveTo>
                    <a:cubicBezTo>
                      <a:pt x="3322043" y="946387"/>
                      <a:pt x="3339543" y="963886"/>
                      <a:pt x="3339543" y="985473"/>
                    </a:cubicBezTo>
                    <a:cubicBezTo>
                      <a:pt x="3339543" y="1007060"/>
                      <a:pt x="3322043" y="1024560"/>
                      <a:pt x="3300455" y="1024560"/>
                    </a:cubicBezTo>
                    <a:cubicBezTo>
                      <a:pt x="3278868" y="1024560"/>
                      <a:pt x="3261368" y="1007060"/>
                      <a:pt x="3261368" y="985473"/>
                    </a:cubicBezTo>
                    <a:cubicBezTo>
                      <a:pt x="3261368" y="963886"/>
                      <a:pt x="3278868" y="946387"/>
                      <a:pt x="3300455" y="946387"/>
                    </a:cubicBezTo>
                    <a:close/>
                    <a:moveTo>
                      <a:pt x="3205815" y="946387"/>
                    </a:moveTo>
                    <a:cubicBezTo>
                      <a:pt x="3227403" y="946387"/>
                      <a:pt x="3244903" y="963886"/>
                      <a:pt x="3244903" y="985473"/>
                    </a:cubicBezTo>
                    <a:cubicBezTo>
                      <a:pt x="3244903" y="1007060"/>
                      <a:pt x="3227403" y="1024560"/>
                      <a:pt x="3205815" y="1024560"/>
                    </a:cubicBezTo>
                    <a:cubicBezTo>
                      <a:pt x="3184228" y="1024560"/>
                      <a:pt x="3166728" y="1007060"/>
                      <a:pt x="3166728" y="985473"/>
                    </a:cubicBezTo>
                    <a:cubicBezTo>
                      <a:pt x="3166728" y="963886"/>
                      <a:pt x="3184228" y="946387"/>
                      <a:pt x="3205815" y="946387"/>
                    </a:cubicBezTo>
                    <a:close/>
                    <a:moveTo>
                      <a:pt x="3111175" y="946387"/>
                    </a:moveTo>
                    <a:cubicBezTo>
                      <a:pt x="3132763" y="946387"/>
                      <a:pt x="3150263" y="963886"/>
                      <a:pt x="3150263" y="985473"/>
                    </a:cubicBezTo>
                    <a:cubicBezTo>
                      <a:pt x="3150263" y="1007060"/>
                      <a:pt x="3132763" y="1024560"/>
                      <a:pt x="3111175" y="1024560"/>
                    </a:cubicBezTo>
                    <a:cubicBezTo>
                      <a:pt x="3089588" y="1024560"/>
                      <a:pt x="3072088" y="1007060"/>
                      <a:pt x="3072088" y="985473"/>
                    </a:cubicBezTo>
                    <a:cubicBezTo>
                      <a:pt x="3072088" y="963886"/>
                      <a:pt x="3089588" y="946387"/>
                      <a:pt x="3111175" y="946387"/>
                    </a:cubicBezTo>
                    <a:close/>
                    <a:moveTo>
                      <a:pt x="3018902" y="946387"/>
                    </a:moveTo>
                    <a:cubicBezTo>
                      <a:pt x="3040489" y="946387"/>
                      <a:pt x="3057989" y="963886"/>
                      <a:pt x="3057989" y="985473"/>
                    </a:cubicBezTo>
                    <a:cubicBezTo>
                      <a:pt x="3057989" y="1007060"/>
                      <a:pt x="3040489" y="1024560"/>
                      <a:pt x="3018902" y="1024560"/>
                    </a:cubicBezTo>
                    <a:cubicBezTo>
                      <a:pt x="2997315" y="1024560"/>
                      <a:pt x="2979815" y="1007060"/>
                      <a:pt x="2979815" y="985473"/>
                    </a:cubicBezTo>
                    <a:cubicBezTo>
                      <a:pt x="2979815" y="963886"/>
                      <a:pt x="2997315" y="946387"/>
                      <a:pt x="3018902" y="946387"/>
                    </a:cubicBezTo>
                    <a:close/>
                    <a:moveTo>
                      <a:pt x="2737369" y="946387"/>
                    </a:moveTo>
                    <a:cubicBezTo>
                      <a:pt x="2758934" y="946387"/>
                      <a:pt x="2776434" y="963886"/>
                      <a:pt x="2776434" y="985473"/>
                    </a:cubicBezTo>
                    <a:cubicBezTo>
                      <a:pt x="2776434" y="1007060"/>
                      <a:pt x="2758934" y="1024560"/>
                      <a:pt x="2737369" y="1024560"/>
                    </a:cubicBezTo>
                    <a:cubicBezTo>
                      <a:pt x="2715775" y="1024560"/>
                      <a:pt x="2698271" y="1007060"/>
                      <a:pt x="2698271" y="985473"/>
                    </a:cubicBezTo>
                    <a:cubicBezTo>
                      <a:pt x="2698271" y="963886"/>
                      <a:pt x="2715775" y="946387"/>
                      <a:pt x="2737369" y="946387"/>
                    </a:cubicBezTo>
                    <a:close/>
                    <a:moveTo>
                      <a:pt x="2458167" y="946387"/>
                    </a:moveTo>
                    <a:cubicBezTo>
                      <a:pt x="2479755" y="946387"/>
                      <a:pt x="2497255" y="963886"/>
                      <a:pt x="2497255" y="985473"/>
                    </a:cubicBezTo>
                    <a:cubicBezTo>
                      <a:pt x="2497255" y="1007060"/>
                      <a:pt x="2479755" y="1024560"/>
                      <a:pt x="2458167" y="1024560"/>
                    </a:cubicBezTo>
                    <a:cubicBezTo>
                      <a:pt x="2436591" y="1024560"/>
                      <a:pt x="2419086" y="1007060"/>
                      <a:pt x="2419086" y="985473"/>
                    </a:cubicBezTo>
                    <a:cubicBezTo>
                      <a:pt x="2419086" y="963886"/>
                      <a:pt x="2436591" y="946387"/>
                      <a:pt x="2458167" y="946387"/>
                    </a:cubicBezTo>
                    <a:close/>
                    <a:moveTo>
                      <a:pt x="1329646" y="946387"/>
                    </a:moveTo>
                    <a:cubicBezTo>
                      <a:pt x="1351233" y="946387"/>
                      <a:pt x="1368735" y="963886"/>
                      <a:pt x="1368735" y="985473"/>
                    </a:cubicBezTo>
                    <a:cubicBezTo>
                      <a:pt x="1368735" y="1007060"/>
                      <a:pt x="1351233" y="1024560"/>
                      <a:pt x="1329646" y="1024560"/>
                    </a:cubicBezTo>
                    <a:cubicBezTo>
                      <a:pt x="1308064" y="1024560"/>
                      <a:pt x="1290566" y="1007060"/>
                      <a:pt x="1290566" y="985473"/>
                    </a:cubicBezTo>
                    <a:cubicBezTo>
                      <a:pt x="1290566" y="963886"/>
                      <a:pt x="1308064" y="946387"/>
                      <a:pt x="1329646" y="946387"/>
                    </a:cubicBezTo>
                    <a:close/>
                    <a:moveTo>
                      <a:pt x="1232653" y="946387"/>
                    </a:moveTo>
                    <a:cubicBezTo>
                      <a:pt x="1254239" y="946387"/>
                      <a:pt x="1271726" y="963886"/>
                      <a:pt x="1271726" y="985473"/>
                    </a:cubicBezTo>
                    <a:cubicBezTo>
                      <a:pt x="1271726" y="1007060"/>
                      <a:pt x="1254239" y="1024560"/>
                      <a:pt x="1232653" y="1024560"/>
                    </a:cubicBezTo>
                    <a:cubicBezTo>
                      <a:pt x="1211062" y="1024560"/>
                      <a:pt x="1193568" y="1007060"/>
                      <a:pt x="1193568" y="985473"/>
                    </a:cubicBezTo>
                    <a:cubicBezTo>
                      <a:pt x="1193568" y="963886"/>
                      <a:pt x="1211062" y="946387"/>
                      <a:pt x="1232653" y="946387"/>
                    </a:cubicBezTo>
                    <a:close/>
                    <a:moveTo>
                      <a:pt x="1142740" y="946387"/>
                    </a:moveTo>
                    <a:cubicBezTo>
                      <a:pt x="1164334" y="946387"/>
                      <a:pt x="1181832" y="963886"/>
                      <a:pt x="1181832" y="985473"/>
                    </a:cubicBezTo>
                    <a:cubicBezTo>
                      <a:pt x="1181832" y="1007060"/>
                      <a:pt x="1164334" y="1024560"/>
                      <a:pt x="1142740" y="1024560"/>
                    </a:cubicBezTo>
                    <a:cubicBezTo>
                      <a:pt x="1121148" y="1024560"/>
                      <a:pt x="1103643" y="1007060"/>
                      <a:pt x="1103643" y="985473"/>
                    </a:cubicBezTo>
                    <a:cubicBezTo>
                      <a:pt x="1103643" y="963886"/>
                      <a:pt x="1121148" y="946387"/>
                      <a:pt x="1142740" y="946387"/>
                    </a:cubicBezTo>
                    <a:close/>
                    <a:moveTo>
                      <a:pt x="1045716" y="946387"/>
                    </a:moveTo>
                    <a:cubicBezTo>
                      <a:pt x="1067301" y="946387"/>
                      <a:pt x="1084805" y="963886"/>
                      <a:pt x="1084805" y="985473"/>
                    </a:cubicBezTo>
                    <a:cubicBezTo>
                      <a:pt x="1084805" y="1007060"/>
                      <a:pt x="1067301" y="1024560"/>
                      <a:pt x="1045716" y="1024560"/>
                    </a:cubicBezTo>
                    <a:cubicBezTo>
                      <a:pt x="1024132" y="1024560"/>
                      <a:pt x="1006635" y="1007060"/>
                      <a:pt x="1006635" y="985473"/>
                    </a:cubicBezTo>
                    <a:cubicBezTo>
                      <a:pt x="1006635" y="963886"/>
                      <a:pt x="1024132" y="946387"/>
                      <a:pt x="1045716" y="946387"/>
                    </a:cubicBezTo>
                    <a:close/>
                    <a:moveTo>
                      <a:pt x="764201" y="946387"/>
                    </a:moveTo>
                    <a:cubicBezTo>
                      <a:pt x="785785" y="946387"/>
                      <a:pt x="803284" y="963886"/>
                      <a:pt x="803284" y="985473"/>
                    </a:cubicBezTo>
                    <a:cubicBezTo>
                      <a:pt x="803284" y="1007060"/>
                      <a:pt x="785785" y="1024560"/>
                      <a:pt x="764201" y="1024560"/>
                    </a:cubicBezTo>
                    <a:cubicBezTo>
                      <a:pt x="742608" y="1024560"/>
                      <a:pt x="725120" y="1007060"/>
                      <a:pt x="725120" y="985473"/>
                    </a:cubicBezTo>
                    <a:cubicBezTo>
                      <a:pt x="725120" y="963886"/>
                      <a:pt x="742608" y="946387"/>
                      <a:pt x="764201" y="946387"/>
                    </a:cubicBezTo>
                    <a:close/>
                    <a:moveTo>
                      <a:pt x="669559" y="946387"/>
                    </a:moveTo>
                    <a:cubicBezTo>
                      <a:pt x="691158" y="946387"/>
                      <a:pt x="708656" y="963886"/>
                      <a:pt x="708656" y="985473"/>
                    </a:cubicBezTo>
                    <a:cubicBezTo>
                      <a:pt x="708656" y="1007060"/>
                      <a:pt x="691158" y="1024560"/>
                      <a:pt x="669559" y="1024560"/>
                    </a:cubicBezTo>
                    <a:cubicBezTo>
                      <a:pt x="647983" y="1024560"/>
                      <a:pt x="630479" y="1007060"/>
                      <a:pt x="630479" y="985473"/>
                    </a:cubicBezTo>
                    <a:cubicBezTo>
                      <a:pt x="630479" y="963886"/>
                      <a:pt x="647983" y="946387"/>
                      <a:pt x="669559" y="946387"/>
                    </a:cubicBezTo>
                    <a:close/>
                    <a:moveTo>
                      <a:pt x="577276" y="946387"/>
                    </a:moveTo>
                    <a:cubicBezTo>
                      <a:pt x="598870" y="946387"/>
                      <a:pt x="616374" y="963886"/>
                      <a:pt x="616374" y="985473"/>
                    </a:cubicBezTo>
                    <a:cubicBezTo>
                      <a:pt x="616374" y="1007060"/>
                      <a:pt x="598870" y="1024560"/>
                      <a:pt x="577276" y="1024560"/>
                    </a:cubicBezTo>
                    <a:cubicBezTo>
                      <a:pt x="555683" y="1024560"/>
                      <a:pt x="538178" y="1007060"/>
                      <a:pt x="538178" y="985473"/>
                    </a:cubicBezTo>
                    <a:cubicBezTo>
                      <a:pt x="538178" y="963886"/>
                      <a:pt x="555683" y="946387"/>
                      <a:pt x="577276" y="946387"/>
                    </a:cubicBezTo>
                    <a:close/>
                    <a:moveTo>
                      <a:pt x="484989" y="946387"/>
                    </a:moveTo>
                    <a:cubicBezTo>
                      <a:pt x="506576" y="946387"/>
                      <a:pt x="524074" y="963886"/>
                      <a:pt x="524074" y="985473"/>
                    </a:cubicBezTo>
                    <a:cubicBezTo>
                      <a:pt x="524074" y="1007060"/>
                      <a:pt x="506576" y="1024560"/>
                      <a:pt x="484989" y="1024560"/>
                    </a:cubicBezTo>
                    <a:cubicBezTo>
                      <a:pt x="463391" y="1024560"/>
                      <a:pt x="445913" y="1007060"/>
                      <a:pt x="445913" y="985473"/>
                    </a:cubicBezTo>
                    <a:cubicBezTo>
                      <a:pt x="445913" y="963886"/>
                      <a:pt x="463391" y="946387"/>
                      <a:pt x="484989" y="946387"/>
                    </a:cubicBezTo>
                    <a:close/>
                    <a:moveTo>
                      <a:pt x="390337" y="946387"/>
                    </a:moveTo>
                    <a:cubicBezTo>
                      <a:pt x="411934" y="946387"/>
                      <a:pt x="429441" y="963886"/>
                      <a:pt x="429441" y="985473"/>
                    </a:cubicBezTo>
                    <a:cubicBezTo>
                      <a:pt x="429441" y="1007060"/>
                      <a:pt x="411934" y="1024560"/>
                      <a:pt x="390337" y="1024560"/>
                    </a:cubicBezTo>
                    <a:cubicBezTo>
                      <a:pt x="368774" y="1024560"/>
                      <a:pt x="351272" y="1007060"/>
                      <a:pt x="351272" y="985473"/>
                    </a:cubicBezTo>
                    <a:cubicBezTo>
                      <a:pt x="351272" y="963886"/>
                      <a:pt x="368774" y="946387"/>
                      <a:pt x="390337" y="946387"/>
                    </a:cubicBezTo>
                    <a:close/>
                    <a:moveTo>
                      <a:pt x="298073" y="946387"/>
                    </a:moveTo>
                    <a:cubicBezTo>
                      <a:pt x="319653" y="946387"/>
                      <a:pt x="337170" y="963886"/>
                      <a:pt x="337170" y="985473"/>
                    </a:cubicBezTo>
                    <a:cubicBezTo>
                      <a:pt x="337170" y="1007060"/>
                      <a:pt x="319653" y="1024560"/>
                      <a:pt x="298073" y="1024560"/>
                    </a:cubicBezTo>
                    <a:cubicBezTo>
                      <a:pt x="276482" y="1024560"/>
                      <a:pt x="258982" y="1007060"/>
                      <a:pt x="258982" y="985473"/>
                    </a:cubicBezTo>
                    <a:cubicBezTo>
                      <a:pt x="258982" y="963886"/>
                      <a:pt x="276482" y="946387"/>
                      <a:pt x="298073" y="946387"/>
                    </a:cubicBezTo>
                    <a:close/>
                    <a:moveTo>
                      <a:pt x="203426" y="946387"/>
                    </a:moveTo>
                    <a:cubicBezTo>
                      <a:pt x="225017" y="946387"/>
                      <a:pt x="242516" y="963886"/>
                      <a:pt x="242516" y="985473"/>
                    </a:cubicBezTo>
                    <a:cubicBezTo>
                      <a:pt x="242516" y="1007060"/>
                      <a:pt x="225017" y="1024560"/>
                      <a:pt x="203426" y="1024560"/>
                    </a:cubicBezTo>
                    <a:cubicBezTo>
                      <a:pt x="181841" y="1024560"/>
                      <a:pt x="164342" y="1007060"/>
                      <a:pt x="164342" y="985473"/>
                    </a:cubicBezTo>
                    <a:cubicBezTo>
                      <a:pt x="164342" y="963886"/>
                      <a:pt x="181841" y="946387"/>
                      <a:pt x="203426" y="946387"/>
                    </a:cubicBezTo>
                    <a:close/>
                    <a:moveTo>
                      <a:pt x="111154" y="946387"/>
                    </a:moveTo>
                    <a:cubicBezTo>
                      <a:pt x="132741" y="946387"/>
                      <a:pt x="150240" y="963886"/>
                      <a:pt x="150240" y="985473"/>
                    </a:cubicBezTo>
                    <a:cubicBezTo>
                      <a:pt x="150240" y="1007060"/>
                      <a:pt x="132741" y="1024560"/>
                      <a:pt x="111154" y="1024560"/>
                    </a:cubicBezTo>
                    <a:cubicBezTo>
                      <a:pt x="89567" y="1024560"/>
                      <a:pt x="72068" y="1007060"/>
                      <a:pt x="72068" y="985473"/>
                    </a:cubicBezTo>
                    <a:cubicBezTo>
                      <a:pt x="72068" y="963886"/>
                      <a:pt x="89567" y="946387"/>
                      <a:pt x="111154" y="946387"/>
                    </a:cubicBezTo>
                    <a:close/>
                    <a:moveTo>
                      <a:pt x="3644655" y="891256"/>
                    </a:moveTo>
                    <a:lnTo>
                      <a:pt x="3666478" y="936557"/>
                    </a:lnTo>
                    <a:lnTo>
                      <a:pt x="3651378" y="930303"/>
                    </a:lnTo>
                    <a:cubicBezTo>
                      <a:pt x="3644304" y="923230"/>
                      <a:pt x="3639929" y="913458"/>
                      <a:pt x="3639929" y="902664"/>
                    </a:cubicBezTo>
                    <a:close/>
                    <a:moveTo>
                      <a:pt x="3584377" y="863578"/>
                    </a:moveTo>
                    <a:cubicBezTo>
                      <a:pt x="3605964" y="863578"/>
                      <a:pt x="3623463" y="881078"/>
                      <a:pt x="3623463" y="902664"/>
                    </a:cubicBezTo>
                    <a:cubicBezTo>
                      <a:pt x="3623463" y="924251"/>
                      <a:pt x="3605964" y="941751"/>
                      <a:pt x="3584377" y="941751"/>
                    </a:cubicBezTo>
                    <a:cubicBezTo>
                      <a:pt x="3562789" y="941751"/>
                      <a:pt x="3545289" y="924251"/>
                      <a:pt x="3545289" y="902664"/>
                    </a:cubicBezTo>
                    <a:cubicBezTo>
                      <a:pt x="3545289" y="881078"/>
                      <a:pt x="3562789" y="863578"/>
                      <a:pt x="3584377" y="863578"/>
                    </a:cubicBezTo>
                    <a:close/>
                    <a:moveTo>
                      <a:pt x="3489737" y="863578"/>
                    </a:moveTo>
                    <a:cubicBezTo>
                      <a:pt x="3511324" y="863578"/>
                      <a:pt x="3528823" y="881078"/>
                      <a:pt x="3528823" y="902664"/>
                    </a:cubicBezTo>
                    <a:cubicBezTo>
                      <a:pt x="3528823" y="924251"/>
                      <a:pt x="3511324" y="941751"/>
                      <a:pt x="3489737" y="941751"/>
                    </a:cubicBezTo>
                    <a:cubicBezTo>
                      <a:pt x="3468149" y="941751"/>
                      <a:pt x="3450649" y="924251"/>
                      <a:pt x="3450649" y="902664"/>
                    </a:cubicBezTo>
                    <a:cubicBezTo>
                      <a:pt x="3450649" y="881078"/>
                      <a:pt x="3468149" y="863578"/>
                      <a:pt x="3489737" y="863578"/>
                    </a:cubicBezTo>
                    <a:close/>
                    <a:moveTo>
                      <a:pt x="3392731" y="863578"/>
                    </a:moveTo>
                    <a:cubicBezTo>
                      <a:pt x="3414319" y="863578"/>
                      <a:pt x="3431819" y="881078"/>
                      <a:pt x="3431819" y="902664"/>
                    </a:cubicBezTo>
                    <a:cubicBezTo>
                      <a:pt x="3431819" y="924251"/>
                      <a:pt x="3414319" y="941751"/>
                      <a:pt x="3392731" y="941751"/>
                    </a:cubicBezTo>
                    <a:cubicBezTo>
                      <a:pt x="3371144" y="941751"/>
                      <a:pt x="3353644" y="924251"/>
                      <a:pt x="3353644" y="902664"/>
                    </a:cubicBezTo>
                    <a:cubicBezTo>
                      <a:pt x="3353644" y="881078"/>
                      <a:pt x="3371144" y="863578"/>
                      <a:pt x="3392731" y="863578"/>
                    </a:cubicBezTo>
                    <a:close/>
                    <a:moveTo>
                      <a:pt x="3300455" y="863578"/>
                    </a:moveTo>
                    <a:cubicBezTo>
                      <a:pt x="3322043" y="863578"/>
                      <a:pt x="3339543" y="881078"/>
                      <a:pt x="3339543" y="902664"/>
                    </a:cubicBezTo>
                    <a:cubicBezTo>
                      <a:pt x="3339543" y="924251"/>
                      <a:pt x="3322043" y="941751"/>
                      <a:pt x="3300455" y="941751"/>
                    </a:cubicBezTo>
                    <a:cubicBezTo>
                      <a:pt x="3278868" y="941751"/>
                      <a:pt x="3261368" y="924251"/>
                      <a:pt x="3261368" y="902664"/>
                    </a:cubicBezTo>
                    <a:cubicBezTo>
                      <a:pt x="3261368" y="881078"/>
                      <a:pt x="3278868" y="863578"/>
                      <a:pt x="3300455" y="863578"/>
                    </a:cubicBezTo>
                    <a:close/>
                    <a:moveTo>
                      <a:pt x="3205815" y="863578"/>
                    </a:moveTo>
                    <a:cubicBezTo>
                      <a:pt x="3227403" y="863578"/>
                      <a:pt x="3244903" y="881078"/>
                      <a:pt x="3244903" y="902664"/>
                    </a:cubicBezTo>
                    <a:cubicBezTo>
                      <a:pt x="3244903" y="924251"/>
                      <a:pt x="3227403" y="941751"/>
                      <a:pt x="3205815" y="941751"/>
                    </a:cubicBezTo>
                    <a:cubicBezTo>
                      <a:pt x="3184228" y="941751"/>
                      <a:pt x="3166728" y="924251"/>
                      <a:pt x="3166728" y="902664"/>
                    </a:cubicBezTo>
                    <a:cubicBezTo>
                      <a:pt x="3166728" y="881078"/>
                      <a:pt x="3184228" y="863578"/>
                      <a:pt x="3205815" y="863578"/>
                    </a:cubicBezTo>
                    <a:close/>
                    <a:moveTo>
                      <a:pt x="3111175" y="863578"/>
                    </a:moveTo>
                    <a:cubicBezTo>
                      <a:pt x="3132763" y="863578"/>
                      <a:pt x="3150263" y="881078"/>
                      <a:pt x="3150263" y="902664"/>
                    </a:cubicBezTo>
                    <a:cubicBezTo>
                      <a:pt x="3150263" y="924251"/>
                      <a:pt x="3132763" y="941751"/>
                      <a:pt x="3111175" y="941751"/>
                    </a:cubicBezTo>
                    <a:cubicBezTo>
                      <a:pt x="3089588" y="941751"/>
                      <a:pt x="3072088" y="924251"/>
                      <a:pt x="3072088" y="902664"/>
                    </a:cubicBezTo>
                    <a:cubicBezTo>
                      <a:pt x="3072088" y="881078"/>
                      <a:pt x="3089588" y="863578"/>
                      <a:pt x="3111175" y="863578"/>
                    </a:cubicBezTo>
                    <a:close/>
                    <a:moveTo>
                      <a:pt x="3018902" y="863578"/>
                    </a:moveTo>
                    <a:cubicBezTo>
                      <a:pt x="3040489" y="863578"/>
                      <a:pt x="3057989" y="881078"/>
                      <a:pt x="3057989" y="902664"/>
                    </a:cubicBezTo>
                    <a:cubicBezTo>
                      <a:pt x="3057989" y="924251"/>
                      <a:pt x="3040489" y="941751"/>
                      <a:pt x="3018902" y="941751"/>
                    </a:cubicBezTo>
                    <a:cubicBezTo>
                      <a:pt x="2997315" y="941751"/>
                      <a:pt x="2979815" y="924251"/>
                      <a:pt x="2979815" y="902664"/>
                    </a:cubicBezTo>
                    <a:cubicBezTo>
                      <a:pt x="2979815" y="881078"/>
                      <a:pt x="2997315" y="863578"/>
                      <a:pt x="3018902" y="863578"/>
                    </a:cubicBezTo>
                    <a:close/>
                    <a:moveTo>
                      <a:pt x="2831987" y="863578"/>
                    </a:moveTo>
                    <a:cubicBezTo>
                      <a:pt x="2853574" y="863578"/>
                      <a:pt x="2871074" y="881078"/>
                      <a:pt x="2871074" y="902664"/>
                    </a:cubicBezTo>
                    <a:cubicBezTo>
                      <a:pt x="2871074" y="924251"/>
                      <a:pt x="2853574" y="941751"/>
                      <a:pt x="2831987" y="941751"/>
                    </a:cubicBezTo>
                    <a:cubicBezTo>
                      <a:pt x="2810400" y="941751"/>
                      <a:pt x="2792900" y="924251"/>
                      <a:pt x="2792900" y="902664"/>
                    </a:cubicBezTo>
                    <a:cubicBezTo>
                      <a:pt x="2792900" y="881078"/>
                      <a:pt x="2810400" y="863578"/>
                      <a:pt x="2831987" y="863578"/>
                    </a:cubicBezTo>
                    <a:close/>
                    <a:moveTo>
                      <a:pt x="2737371" y="863578"/>
                    </a:moveTo>
                    <a:cubicBezTo>
                      <a:pt x="2758934" y="863578"/>
                      <a:pt x="2776434" y="881078"/>
                      <a:pt x="2776434" y="902664"/>
                    </a:cubicBezTo>
                    <a:cubicBezTo>
                      <a:pt x="2776434" y="924251"/>
                      <a:pt x="2758934" y="941751"/>
                      <a:pt x="2737371" y="941751"/>
                    </a:cubicBezTo>
                    <a:cubicBezTo>
                      <a:pt x="2715777" y="941751"/>
                      <a:pt x="2698272" y="924251"/>
                      <a:pt x="2698272" y="902664"/>
                    </a:cubicBezTo>
                    <a:cubicBezTo>
                      <a:pt x="2698272" y="881078"/>
                      <a:pt x="2715777" y="863578"/>
                      <a:pt x="2737371" y="863578"/>
                    </a:cubicBezTo>
                    <a:close/>
                    <a:moveTo>
                      <a:pt x="2645074" y="863578"/>
                    </a:moveTo>
                    <a:cubicBezTo>
                      <a:pt x="2666662" y="863578"/>
                      <a:pt x="2684168" y="881078"/>
                      <a:pt x="2684168" y="902664"/>
                    </a:cubicBezTo>
                    <a:cubicBezTo>
                      <a:pt x="2684168" y="924251"/>
                      <a:pt x="2666662" y="941751"/>
                      <a:pt x="2645074" y="941751"/>
                    </a:cubicBezTo>
                    <a:cubicBezTo>
                      <a:pt x="2623489" y="941751"/>
                      <a:pt x="2605987" y="924251"/>
                      <a:pt x="2605987" y="902664"/>
                    </a:cubicBezTo>
                    <a:cubicBezTo>
                      <a:pt x="2605987" y="881078"/>
                      <a:pt x="2623489" y="863578"/>
                      <a:pt x="2645074" y="863578"/>
                    </a:cubicBezTo>
                    <a:close/>
                    <a:moveTo>
                      <a:pt x="2458167" y="863577"/>
                    </a:moveTo>
                    <a:cubicBezTo>
                      <a:pt x="2479755" y="863577"/>
                      <a:pt x="2497256" y="881077"/>
                      <a:pt x="2497256" y="902664"/>
                    </a:cubicBezTo>
                    <a:cubicBezTo>
                      <a:pt x="2497256" y="924250"/>
                      <a:pt x="2479755" y="941750"/>
                      <a:pt x="2458167" y="941750"/>
                    </a:cubicBezTo>
                    <a:cubicBezTo>
                      <a:pt x="2436591" y="941750"/>
                      <a:pt x="2419089" y="924250"/>
                      <a:pt x="2419089" y="902664"/>
                    </a:cubicBezTo>
                    <a:cubicBezTo>
                      <a:pt x="2419089" y="881077"/>
                      <a:pt x="2436591" y="863577"/>
                      <a:pt x="2458167" y="863577"/>
                    </a:cubicBezTo>
                    <a:close/>
                    <a:moveTo>
                      <a:pt x="1232658" y="863577"/>
                    </a:moveTo>
                    <a:cubicBezTo>
                      <a:pt x="1254244" y="863577"/>
                      <a:pt x="1271731" y="881077"/>
                      <a:pt x="1271731" y="902664"/>
                    </a:cubicBezTo>
                    <a:cubicBezTo>
                      <a:pt x="1271731" y="924250"/>
                      <a:pt x="1254244" y="941750"/>
                      <a:pt x="1232658" y="941750"/>
                    </a:cubicBezTo>
                    <a:cubicBezTo>
                      <a:pt x="1211065" y="941750"/>
                      <a:pt x="1193572" y="924250"/>
                      <a:pt x="1193572" y="902664"/>
                    </a:cubicBezTo>
                    <a:cubicBezTo>
                      <a:pt x="1193572" y="881077"/>
                      <a:pt x="1211065" y="863577"/>
                      <a:pt x="1232658" y="863577"/>
                    </a:cubicBezTo>
                    <a:close/>
                    <a:moveTo>
                      <a:pt x="1142744" y="863577"/>
                    </a:moveTo>
                    <a:cubicBezTo>
                      <a:pt x="1164338" y="863577"/>
                      <a:pt x="1181836" y="881077"/>
                      <a:pt x="1181836" y="902664"/>
                    </a:cubicBezTo>
                    <a:cubicBezTo>
                      <a:pt x="1181836" y="924250"/>
                      <a:pt x="1164338" y="941750"/>
                      <a:pt x="1142744" y="941750"/>
                    </a:cubicBezTo>
                    <a:cubicBezTo>
                      <a:pt x="1121151" y="941750"/>
                      <a:pt x="1103646" y="924250"/>
                      <a:pt x="1103646" y="902664"/>
                    </a:cubicBezTo>
                    <a:cubicBezTo>
                      <a:pt x="1103646" y="881077"/>
                      <a:pt x="1121151" y="863577"/>
                      <a:pt x="1142744" y="863577"/>
                    </a:cubicBezTo>
                    <a:close/>
                    <a:moveTo>
                      <a:pt x="1045719" y="863577"/>
                    </a:moveTo>
                    <a:cubicBezTo>
                      <a:pt x="1067303" y="863577"/>
                      <a:pt x="1084808" y="881077"/>
                      <a:pt x="1084808" y="902664"/>
                    </a:cubicBezTo>
                    <a:cubicBezTo>
                      <a:pt x="1084808" y="924250"/>
                      <a:pt x="1067303" y="941750"/>
                      <a:pt x="1045719" y="941750"/>
                    </a:cubicBezTo>
                    <a:cubicBezTo>
                      <a:pt x="1024135" y="941750"/>
                      <a:pt x="1006638" y="924250"/>
                      <a:pt x="1006638" y="902664"/>
                    </a:cubicBezTo>
                    <a:cubicBezTo>
                      <a:pt x="1006638" y="881077"/>
                      <a:pt x="1024135" y="863577"/>
                      <a:pt x="1045719" y="863577"/>
                    </a:cubicBezTo>
                    <a:close/>
                    <a:moveTo>
                      <a:pt x="669559" y="863577"/>
                    </a:moveTo>
                    <a:cubicBezTo>
                      <a:pt x="691164" y="863577"/>
                      <a:pt x="708661" y="881077"/>
                      <a:pt x="708661" y="902664"/>
                    </a:cubicBezTo>
                    <a:cubicBezTo>
                      <a:pt x="708661" y="924250"/>
                      <a:pt x="691164" y="941750"/>
                      <a:pt x="669559" y="941750"/>
                    </a:cubicBezTo>
                    <a:cubicBezTo>
                      <a:pt x="647989" y="941750"/>
                      <a:pt x="630484" y="924250"/>
                      <a:pt x="630484" y="902664"/>
                    </a:cubicBezTo>
                    <a:cubicBezTo>
                      <a:pt x="630484" y="881077"/>
                      <a:pt x="647989" y="863577"/>
                      <a:pt x="669559" y="863577"/>
                    </a:cubicBezTo>
                    <a:close/>
                    <a:moveTo>
                      <a:pt x="577280" y="863577"/>
                    </a:moveTo>
                    <a:cubicBezTo>
                      <a:pt x="598874" y="863577"/>
                      <a:pt x="616379" y="881077"/>
                      <a:pt x="616379" y="902664"/>
                    </a:cubicBezTo>
                    <a:cubicBezTo>
                      <a:pt x="616379" y="924250"/>
                      <a:pt x="598874" y="941750"/>
                      <a:pt x="577280" y="941750"/>
                    </a:cubicBezTo>
                    <a:cubicBezTo>
                      <a:pt x="555687" y="941750"/>
                      <a:pt x="538181" y="924250"/>
                      <a:pt x="538181" y="902664"/>
                    </a:cubicBezTo>
                    <a:cubicBezTo>
                      <a:pt x="538181" y="881077"/>
                      <a:pt x="555687" y="863577"/>
                      <a:pt x="577280" y="863577"/>
                    </a:cubicBezTo>
                    <a:close/>
                    <a:moveTo>
                      <a:pt x="484994" y="863577"/>
                    </a:moveTo>
                    <a:cubicBezTo>
                      <a:pt x="506580" y="863577"/>
                      <a:pt x="524078" y="881077"/>
                      <a:pt x="524078" y="902664"/>
                    </a:cubicBezTo>
                    <a:cubicBezTo>
                      <a:pt x="524078" y="924250"/>
                      <a:pt x="506580" y="941750"/>
                      <a:pt x="484994" y="941750"/>
                    </a:cubicBezTo>
                    <a:cubicBezTo>
                      <a:pt x="463395" y="941750"/>
                      <a:pt x="445922" y="924250"/>
                      <a:pt x="445922" y="902664"/>
                    </a:cubicBezTo>
                    <a:cubicBezTo>
                      <a:pt x="445922" y="881077"/>
                      <a:pt x="463395" y="863577"/>
                      <a:pt x="484994" y="863577"/>
                    </a:cubicBezTo>
                    <a:close/>
                    <a:moveTo>
                      <a:pt x="390347" y="863577"/>
                    </a:moveTo>
                    <a:cubicBezTo>
                      <a:pt x="411934" y="863577"/>
                      <a:pt x="429445" y="881077"/>
                      <a:pt x="429445" y="902664"/>
                    </a:cubicBezTo>
                    <a:cubicBezTo>
                      <a:pt x="429445" y="924250"/>
                      <a:pt x="411934" y="941750"/>
                      <a:pt x="390347" y="941750"/>
                    </a:cubicBezTo>
                    <a:cubicBezTo>
                      <a:pt x="368777" y="941750"/>
                      <a:pt x="351276" y="924250"/>
                      <a:pt x="351276" y="902664"/>
                    </a:cubicBezTo>
                    <a:cubicBezTo>
                      <a:pt x="351276" y="881077"/>
                      <a:pt x="368777" y="863577"/>
                      <a:pt x="390347" y="863577"/>
                    </a:cubicBezTo>
                    <a:close/>
                    <a:moveTo>
                      <a:pt x="298076" y="863577"/>
                    </a:moveTo>
                    <a:cubicBezTo>
                      <a:pt x="319657" y="863577"/>
                      <a:pt x="337175" y="881077"/>
                      <a:pt x="337175" y="902664"/>
                    </a:cubicBezTo>
                    <a:cubicBezTo>
                      <a:pt x="337175" y="924250"/>
                      <a:pt x="319657" y="941750"/>
                      <a:pt x="298076" y="941750"/>
                    </a:cubicBezTo>
                    <a:cubicBezTo>
                      <a:pt x="276485" y="941750"/>
                      <a:pt x="258986" y="924250"/>
                      <a:pt x="258986" y="902664"/>
                    </a:cubicBezTo>
                    <a:cubicBezTo>
                      <a:pt x="258986" y="881077"/>
                      <a:pt x="276485" y="863577"/>
                      <a:pt x="298076" y="863577"/>
                    </a:cubicBezTo>
                    <a:close/>
                    <a:moveTo>
                      <a:pt x="203430" y="863577"/>
                    </a:moveTo>
                    <a:cubicBezTo>
                      <a:pt x="225020" y="863577"/>
                      <a:pt x="242520" y="881077"/>
                      <a:pt x="242520" y="902664"/>
                    </a:cubicBezTo>
                    <a:cubicBezTo>
                      <a:pt x="242520" y="924250"/>
                      <a:pt x="225020" y="941750"/>
                      <a:pt x="203430" y="941750"/>
                    </a:cubicBezTo>
                    <a:cubicBezTo>
                      <a:pt x="181845" y="941750"/>
                      <a:pt x="164345" y="924250"/>
                      <a:pt x="164345" y="902664"/>
                    </a:cubicBezTo>
                    <a:cubicBezTo>
                      <a:pt x="164345" y="881077"/>
                      <a:pt x="181845" y="863577"/>
                      <a:pt x="203430" y="863577"/>
                    </a:cubicBezTo>
                    <a:close/>
                    <a:moveTo>
                      <a:pt x="111158" y="863577"/>
                    </a:moveTo>
                    <a:cubicBezTo>
                      <a:pt x="132745" y="863577"/>
                      <a:pt x="150245" y="881077"/>
                      <a:pt x="150245" y="902664"/>
                    </a:cubicBezTo>
                    <a:cubicBezTo>
                      <a:pt x="150245" y="924250"/>
                      <a:pt x="132745" y="941750"/>
                      <a:pt x="111158" y="941750"/>
                    </a:cubicBezTo>
                    <a:cubicBezTo>
                      <a:pt x="100365" y="941750"/>
                      <a:pt x="90593" y="937375"/>
                      <a:pt x="83520" y="930302"/>
                    </a:cubicBezTo>
                    <a:lnTo>
                      <a:pt x="79204" y="919881"/>
                    </a:lnTo>
                    <a:lnTo>
                      <a:pt x="105123" y="866077"/>
                    </a:lnTo>
                    <a:close/>
                    <a:moveTo>
                      <a:pt x="142783" y="799461"/>
                    </a:moveTo>
                    <a:lnTo>
                      <a:pt x="150250" y="817487"/>
                    </a:lnTo>
                    <a:cubicBezTo>
                      <a:pt x="150250" y="839075"/>
                      <a:pt x="132750" y="856575"/>
                      <a:pt x="111162" y="856575"/>
                    </a:cubicBezTo>
                    <a:lnTo>
                      <a:pt x="109944" y="856070"/>
                    </a:lnTo>
                    <a:lnTo>
                      <a:pt x="115886" y="843734"/>
                    </a:lnTo>
                    <a:close/>
                    <a:moveTo>
                      <a:pt x="3582534" y="779163"/>
                    </a:moveTo>
                    <a:lnTo>
                      <a:pt x="3616309" y="834758"/>
                    </a:lnTo>
                    <a:lnTo>
                      <a:pt x="3612015" y="845126"/>
                    </a:lnTo>
                    <a:cubicBezTo>
                      <a:pt x="3604941" y="852200"/>
                      <a:pt x="3595169" y="856575"/>
                      <a:pt x="3584375" y="856575"/>
                    </a:cubicBezTo>
                    <a:cubicBezTo>
                      <a:pt x="3562788" y="856575"/>
                      <a:pt x="3545289" y="839075"/>
                      <a:pt x="3545289" y="817487"/>
                    </a:cubicBezTo>
                    <a:cubicBezTo>
                      <a:pt x="3545289" y="806694"/>
                      <a:pt x="3549664" y="796922"/>
                      <a:pt x="3556737" y="789849"/>
                    </a:cubicBezTo>
                    <a:close/>
                    <a:moveTo>
                      <a:pt x="3489735" y="778400"/>
                    </a:moveTo>
                    <a:cubicBezTo>
                      <a:pt x="3511323" y="778400"/>
                      <a:pt x="3528823" y="795900"/>
                      <a:pt x="3528823" y="817487"/>
                    </a:cubicBezTo>
                    <a:cubicBezTo>
                      <a:pt x="3528823" y="839075"/>
                      <a:pt x="3511323" y="856575"/>
                      <a:pt x="3489735" y="856575"/>
                    </a:cubicBezTo>
                    <a:cubicBezTo>
                      <a:pt x="3468148" y="856575"/>
                      <a:pt x="3450649" y="839075"/>
                      <a:pt x="3450649" y="817487"/>
                    </a:cubicBezTo>
                    <a:cubicBezTo>
                      <a:pt x="3450649" y="795900"/>
                      <a:pt x="3468148" y="778400"/>
                      <a:pt x="3489735" y="778400"/>
                    </a:cubicBezTo>
                    <a:close/>
                    <a:moveTo>
                      <a:pt x="3392730" y="778400"/>
                    </a:moveTo>
                    <a:cubicBezTo>
                      <a:pt x="3414317" y="778400"/>
                      <a:pt x="3431817" y="795900"/>
                      <a:pt x="3431817" y="817487"/>
                    </a:cubicBezTo>
                    <a:cubicBezTo>
                      <a:pt x="3431817" y="839075"/>
                      <a:pt x="3414317" y="856575"/>
                      <a:pt x="3392730" y="856575"/>
                    </a:cubicBezTo>
                    <a:cubicBezTo>
                      <a:pt x="3371143" y="856575"/>
                      <a:pt x="3353643" y="839075"/>
                      <a:pt x="3353643" y="817487"/>
                    </a:cubicBezTo>
                    <a:cubicBezTo>
                      <a:pt x="3353643" y="795900"/>
                      <a:pt x="3371143" y="778400"/>
                      <a:pt x="3392730" y="778400"/>
                    </a:cubicBezTo>
                    <a:close/>
                    <a:moveTo>
                      <a:pt x="3300455" y="778400"/>
                    </a:moveTo>
                    <a:cubicBezTo>
                      <a:pt x="3322043" y="778400"/>
                      <a:pt x="3339543" y="795900"/>
                      <a:pt x="3339543" y="817487"/>
                    </a:cubicBezTo>
                    <a:cubicBezTo>
                      <a:pt x="3339543" y="839075"/>
                      <a:pt x="3322043" y="856575"/>
                      <a:pt x="3300455" y="856575"/>
                    </a:cubicBezTo>
                    <a:cubicBezTo>
                      <a:pt x="3278868" y="856575"/>
                      <a:pt x="3261368" y="839075"/>
                      <a:pt x="3261368" y="817487"/>
                    </a:cubicBezTo>
                    <a:cubicBezTo>
                      <a:pt x="3261368" y="795900"/>
                      <a:pt x="3278868" y="778400"/>
                      <a:pt x="3300455" y="778400"/>
                    </a:cubicBezTo>
                    <a:close/>
                    <a:moveTo>
                      <a:pt x="3205815" y="778400"/>
                    </a:moveTo>
                    <a:cubicBezTo>
                      <a:pt x="3227402" y="778400"/>
                      <a:pt x="3244902" y="795900"/>
                      <a:pt x="3244902" y="817487"/>
                    </a:cubicBezTo>
                    <a:cubicBezTo>
                      <a:pt x="3244902" y="839075"/>
                      <a:pt x="3227402" y="856575"/>
                      <a:pt x="3205815" y="856575"/>
                    </a:cubicBezTo>
                    <a:cubicBezTo>
                      <a:pt x="3184227" y="856575"/>
                      <a:pt x="3166728" y="839075"/>
                      <a:pt x="3166728" y="817487"/>
                    </a:cubicBezTo>
                    <a:cubicBezTo>
                      <a:pt x="3166728" y="795900"/>
                      <a:pt x="3184227" y="778400"/>
                      <a:pt x="3205815" y="778400"/>
                    </a:cubicBezTo>
                    <a:close/>
                    <a:moveTo>
                      <a:pt x="3111175" y="778400"/>
                    </a:moveTo>
                    <a:cubicBezTo>
                      <a:pt x="3132762" y="778400"/>
                      <a:pt x="3150262" y="795900"/>
                      <a:pt x="3150262" y="817487"/>
                    </a:cubicBezTo>
                    <a:cubicBezTo>
                      <a:pt x="3150262" y="839075"/>
                      <a:pt x="3132762" y="856575"/>
                      <a:pt x="3111175" y="856575"/>
                    </a:cubicBezTo>
                    <a:cubicBezTo>
                      <a:pt x="3089588" y="856575"/>
                      <a:pt x="3072088" y="839075"/>
                      <a:pt x="3072088" y="817487"/>
                    </a:cubicBezTo>
                    <a:cubicBezTo>
                      <a:pt x="3072088" y="795900"/>
                      <a:pt x="3089588" y="778400"/>
                      <a:pt x="3111175" y="778400"/>
                    </a:cubicBezTo>
                    <a:close/>
                    <a:moveTo>
                      <a:pt x="3018901" y="778400"/>
                    </a:moveTo>
                    <a:cubicBezTo>
                      <a:pt x="3040488" y="778400"/>
                      <a:pt x="3057988" y="795900"/>
                      <a:pt x="3057988" y="817487"/>
                    </a:cubicBezTo>
                    <a:cubicBezTo>
                      <a:pt x="3057988" y="839075"/>
                      <a:pt x="3040488" y="856575"/>
                      <a:pt x="3018901" y="856575"/>
                    </a:cubicBezTo>
                    <a:cubicBezTo>
                      <a:pt x="2997313" y="856575"/>
                      <a:pt x="2979813" y="839075"/>
                      <a:pt x="2979813" y="817487"/>
                    </a:cubicBezTo>
                    <a:cubicBezTo>
                      <a:pt x="2979813" y="795900"/>
                      <a:pt x="2997313" y="778400"/>
                      <a:pt x="3018901" y="778400"/>
                    </a:cubicBezTo>
                    <a:close/>
                    <a:moveTo>
                      <a:pt x="2831986" y="778400"/>
                    </a:moveTo>
                    <a:cubicBezTo>
                      <a:pt x="2853573" y="778400"/>
                      <a:pt x="2871073" y="795900"/>
                      <a:pt x="2871073" y="817487"/>
                    </a:cubicBezTo>
                    <a:cubicBezTo>
                      <a:pt x="2871073" y="839075"/>
                      <a:pt x="2853573" y="856575"/>
                      <a:pt x="2831986" y="856575"/>
                    </a:cubicBezTo>
                    <a:cubicBezTo>
                      <a:pt x="2810399" y="856575"/>
                      <a:pt x="2792899" y="839075"/>
                      <a:pt x="2792899" y="817487"/>
                    </a:cubicBezTo>
                    <a:cubicBezTo>
                      <a:pt x="2792899" y="795900"/>
                      <a:pt x="2810399" y="778400"/>
                      <a:pt x="2831986" y="778400"/>
                    </a:cubicBezTo>
                    <a:close/>
                    <a:moveTo>
                      <a:pt x="2737371" y="778400"/>
                    </a:moveTo>
                    <a:cubicBezTo>
                      <a:pt x="2758933" y="778400"/>
                      <a:pt x="2776433" y="795900"/>
                      <a:pt x="2776433" y="817487"/>
                    </a:cubicBezTo>
                    <a:cubicBezTo>
                      <a:pt x="2776433" y="839075"/>
                      <a:pt x="2758933" y="856575"/>
                      <a:pt x="2737371" y="856575"/>
                    </a:cubicBezTo>
                    <a:cubicBezTo>
                      <a:pt x="2715777" y="856575"/>
                      <a:pt x="2698271" y="839075"/>
                      <a:pt x="2698271" y="817487"/>
                    </a:cubicBezTo>
                    <a:cubicBezTo>
                      <a:pt x="2698271" y="795900"/>
                      <a:pt x="2715777" y="778400"/>
                      <a:pt x="2737371" y="778400"/>
                    </a:cubicBezTo>
                    <a:close/>
                    <a:moveTo>
                      <a:pt x="2645073" y="778400"/>
                    </a:moveTo>
                    <a:cubicBezTo>
                      <a:pt x="2666662" y="778400"/>
                      <a:pt x="2684167" y="795900"/>
                      <a:pt x="2684167" y="817487"/>
                    </a:cubicBezTo>
                    <a:cubicBezTo>
                      <a:pt x="2684167" y="839075"/>
                      <a:pt x="2666662" y="856575"/>
                      <a:pt x="2645073" y="856575"/>
                    </a:cubicBezTo>
                    <a:cubicBezTo>
                      <a:pt x="2623489" y="856575"/>
                      <a:pt x="2605987" y="839075"/>
                      <a:pt x="2605987" y="817487"/>
                    </a:cubicBezTo>
                    <a:cubicBezTo>
                      <a:pt x="2605987" y="795900"/>
                      <a:pt x="2623489" y="778400"/>
                      <a:pt x="2645073" y="778400"/>
                    </a:cubicBezTo>
                    <a:close/>
                    <a:moveTo>
                      <a:pt x="1703431" y="778400"/>
                    </a:moveTo>
                    <a:cubicBezTo>
                      <a:pt x="1725009" y="778400"/>
                      <a:pt x="1742522" y="795900"/>
                      <a:pt x="1742522" y="817487"/>
                    </a:cubicBezTo>
                    <a:cubicBezTo>
                      <a:pt x="1742522" y="839075"/>
                      <a:pt x="1725009" y="856575"/>
                      <a:pt x="1703431" y="856575"/>
                    </a:cubicBezTo>
                    <a:cubicBezTo>
                      <a:pt x="1681836" y="856575"/>
                      <a:pt x="1664349" y="839075"/>
                      <a:pt x="1664349" y="817487"/>
                    </a:cubicBezTo>
                    <a:cubicBezTo>
                      <a:pt x="1664349" y="795900"/>
                      <a:pt x="1681836" y="778400"/>
                      <a:pt x="1703431" y="778400"/>
                    </a:cubicBezTo>
                    <a:close/>
                    <a:moveTo>
                      <a:pt x="1045724" y="778400"/>
                    </a:moveTo>
                    <a:cubicBezTo>
                      <a:pt x="1067307" y="778400"/>
                      <a:pt x="1084813" y="795900"/>
                      <a:pt x="1084813" y="817487"/>
                    </a:cubicBezTo>
                    <a:cubicBezTo>
                      <a:pt x="1084813" y="839075"/>
                      <a:pt x="1067307" y="856575"/>
                      <a:pt x="1045724" y="856575"/>
                    </a:cubicBezTo>
                    <a:cubicBezTo>
                      <a:pt x="1024139" y="856575"/>
                      <a:pt x="1006642" y="839075"/>
                      <a:pt x="1006642" y="817487"/>
                    </a:cubicBezTo>
                    <a:cubicBezTo>
                      <a:pt x="1006642" y="795900"/>
                      <a:pt x="1024139" y="778400"/>
                      <a:pt x="1045724" y="778400"/>
                    </a:cubicBezTo>
                    <a:close/>
                    <a:moveTo>
                      <a:pt x="669571" y="778400"/>
                    </a:moveTo>
                    <a:cubicBezTo>
                      <a:pt x="691172" y="778400"/>
                      <a:pt x="708668" y="795900"/>
                      <a:pt x="708668" y="817487"/>
                    </a:cubicBezTo>
                    <a:cubicBezTo>
                      <a:pt x="708668" y="839075"/>
                      <a:pt x="691172" y="856575"/>
                      <a:pt x="669571" y="856575"/>
                    </a:cubicBezTo>
                    <a:cubicBezTo>
                      <a:pt x="647995" y="856575"/>
                      <a:pt x="630491" y="839075"/>
                      <a:pt x="630491" y="817487"/>
                    </a:cubicBezTo>
                    <a:cubicBezTo>
                      <a:pt x="630491" y="795900"/>
                      <a:pt x="647995" y="778400"/>
                      <a:pt x="669571" y="778400"/>
                    </a:cubicBezTo>
                    <a:close/>
                    <a:moveTo>
                      <a:pt x="577286" y="778400"/>
                    </a:moveTo>
                    <a:cubicBezTo>
                      <a:pt x="598880" y="778400"/>
                      <a:pt x="616386" y="795900"/>
                      <a:pt x="616386" y="817487"/>
                    </a:cubicBezTo>
                    <a:cubicBezTo>
                      <a:pt x="616386" y="839075"/>
                      <a:pt x="598880" y="856575"/>
                      <a:pt x="577286" y="856575"/>
                    </a:cubicBezTo>
                    <a:cubicBezTo>
                      <a:pt x="555692" y="856575"/>
                      <a:pt x="538187" y="839075"/>
                      <a:pt x="538187" y="817487"/>
                    </a:cubicBezTo>
                    <a:cubicBezTo>
                      <a:pt x="538187" y="795900"/>
                      <a:pt x="555692" y="778400"/>
                      <a:pt x="577286" y="778400"/>
                    </a:cubicBezTo>
                    <a:close/>
                    <a:moveTo>
                      <a:pt x="484999" y="778400"/>
                    </a:moveTo>
                    <a:cubicBezTo>
                      <a:pt x="506585" y="778400"/>
                      <a:pt x="524083" y="795900"/>
                      <a:pt x="524083" y="817487"/>
                    </a:cubicBezTo>
                    <a:cubicBezTo>
                      <a:pt x="524083" y="839075"/>
                      <a:pt x="506585" y="856575"/>
                      <a:pt x="484999" y="856575"/>
                    </a:cubicBezTo>
                    <a:cubicBezTo>
                      <a:pt x="463402" y="856575"/>
                      <a:pt x="445926" y="839075"/>
                      <a:pt x="445926" y="817487"/>
                    </a:cubicBezTo>
                    <a:cubicBezTo>
                      <a:pt x="445926" y="795900"/>
                      <a:pt x="463402" y="778400"/>
                      <a:pt x="484999" y="778400"/>
                    </a:cubicBezTo>
                    <a:close/>
                    <a:moveTo>
                      <a:pt x="390347" y="778400"/>
                    </a:moveTo>
                    <a:cubicBezTo>
                      <a:pt x="411934" y="778400"/>
                      <a:pt x="429451" y="795900"/>
                      <a:pt x="429451" y="817487"/>
                    </a:cubicBezTo>
                    <a:cubicBezTo>
                      <a:pt x="429451" y="839075"/>
                      <a:pt x="411934" y="856575"/>
                      <a:pt x="390347" y="856575"/>
                    </a:cubicBezTo>
                    <a:cubicBezTo>
                      <a:pt x="368783" y="856575"/>
                      <a:pt x="351281" y="839075"/>
                      <a:pt x="351281" y="817487"/>
                    </a:cubicBezTo>
                    <a:cubicBezTo>
                      <a:pt x="351281" y="795900"/>
                      <a:pt x="368783" y="778400"/>
                      <a:pt x="390347" y="778400"/>
                    </a:cubicBezTo>
                    <a:close/>
                    <a:moveTo>
                      <a:pt x="298081" y="778400"/>
                    </a:moveTo>
                    <a:cubicBezTo>
                      <a:pt x="319662" y="778400"/>
                      <a:pt x="337179" y="795900"/>
                      <a:pt x="337179" y="817487"/>
                    </a:cubicBezTo>
                    <a:cubicBezTo>
                      <a:pt x="337179" y="839075"/>
                      <a:pt x="319662" y="856575"/>
                      <a:pt x="298081" y="856575"/>
                    </a:cubicBezTo>
                    <a:cubicBezTo>
                      <a:pt x="276488" y="856575"/>
                      <a:pt x="258991" y="839075"/>
                      <a:pt x="258991" y="817487"/>
                    </a:cubicBezTo>
                    <a:cubicBezTo>
                      <a:pt x="258991" y="795900"/>
                      <a:pt x="276488" y="778400"/>
                      <a:pt x="298081" y="778400"/>
                    </a:cubicBezTo>
                    <a:close/>
                    <a:moveTo>
                      <a:pt x="203435" y="778400"/>
                    </a:moveTo>
                    <a:cubicBezTo>
                      <a:pt x="225025" y="778400"/>
                      <a:pt x="242524" y="795900"/>
                      <a:pt x="242524" y="817487"/>
                    </a:cubicBezTo>
                    <a:cubicBezTo>
                      <a:pt x="242524" y="839075"/>
                      <a:pt x="225025" y="856575"/>
                      <a:pt x="203435" y="856575"/>
                    </a:cubicBezTo>
                    <a:cubicBezTo>
                      <a:pt x="181849" y="856575"/>
                      <a:pt x="164349" y="839075"/>
                      <a:pt x="164349" y="817487"/>
                    </a:cubicBezTo>
                    <a:cubicBezTo>
                      <a:pt x="164349" y="795900"/>
                      <a:pt x="181849" y="778400"/>
                      <a:pt x="203435" y="778400"/>
                    </a:cubicBezTo>
                    <a:close/>
                    <a:moveTo>
                      <a:pt x="3548266" y="722756"/>
                    </a:moveTo>
                    <a:lnTo>
                      <a:pt x="3573690" y="764605"/>
                    </a:lnTo>
                    <a:lnTo>
                      <a:pt x="3556737" y="757582"/>
                    </a:lnTo>
                    <a:cubicBezTo>
                      <a:pt x="3549664" y="750509"/>
                      <a:pt x="3545289" y="740737"/>
                      <a:pt x="3545289" y="729943"/>
                    </a:cubicBezTo>
                    <a:close/>
                    <a:moveTo>
                      <a:pt x="207691" y="692618"/>
                    </a:moveTo>
                    <a:lnTo>
                      <a:pt x="231082" y="702305"/>
                    </a:lnTo>
                    <a:cubicBezTo>
                      <a:pt x="238155" y="709378"/>
                      <a:pt x="242530" y="719150"/>
                      <a:pt x="242530" y="729943"/>
                    </a:cubicBezTo>
                    <a:cubicBezTo>
                      <a:pt x="242530" y="751531"/>
                      <a:pt x="225032" y="769031"/>
                      <a:pt x="203440" y="769031"/>
                    </a:cubicBezTo>
                    <a:cubicBezTo>
                      <a:pt x="192648" y="769031"/>
                      <a:pt x="182877" y="764656"/>
                      <a:pt x="175804" y="757582"/>
                    </a:cubicBezTo>
                    <a:lnTo>
                      <a:pt x="172731" y="750164"/>
                    </a:lnTo>
                    <a:close/>
                    <a:moveTo>
                      <a:pt x="3489735" y="690857"/>
                    </a:moveTo>
                    <a:cubicBezTo>
                      <a:pt x="3511322" y="690857"/>
                      <a:pt x="3528822" y="708357"/>
                      <a:pt x="3528822" y="729943"/>
                    </a:cubicBezTo>
                    <a:cubicBezTo>
                      <a:pt x="3528822" y="751531"/>
                      <a:pt x="3511322" y="769031"/>
                      <a:pt x="3489735" y="769031"/>
                    </a:cubicBezTo>
                    <a:cubicBezTo>
                      <a:pt x="3468147" y="769031"/>
                      <a:pt x="3450647" y="751531"/>
                      <a:pt x="3450647" y="729943"/>
                    </a:cubicBezTo>
                    <a:cubicBezTo>
                      <a:pt x="3450647" y="708357"/>
                      <a:pt x="3468147" y="690857"/>
                      <a:pt x="3489735" y="690857"/>
                    </a:cubicBezTo>
                    <a:close/>
                    <a:moveTo>
                      <a:pt x="3392730" y="690857"/>
                    </a:moveTo>
                    <a:cubicBezTo>
                      <a:pt x="3414317" y="690857"/>
                      <a:pt x="3431817" y="708357"/>
                      <a:pt x="3431817" y="729943"/>
                    </a:cubicBezTo>
                    <a:cubicBezTo>
                      <a:pt x="3431817" y="751531"/>
                      <a:pt x="3414317" y="769031"/>
                      <a:pt x="3392730" y="769031"/>
                    </a:cubicBezTo>
                    <a:cubicBezTo>
                      <a:pt x="3371143" y="769031"/>
                      <a:pt x="3353643" y="751531"/>
                      <a:pt x="3353643" y="729943"/>
                    </a:cubicBezTo>
                    <a:cubicBezTo>
                      <a:pt x="3353643" y="708357"/>
                      <a:pt x="3371143" y="690857"/>
                      <a:pt x="3392730" y="690857"/>
                    </a:cubicBezTo>
                    <a:close/>
                    <a:moveTo>
                      <a:pt x="3300455" y="690857"/>
                    </a:moveTo>
                    <a:cubicBezTo>
                      <a:pt x="3322042" y="690857"/>
                      <a:pt x="3339542" y="708357"/>
                      <a:pt x="3339542" y="729944"/>
                    </a:cubicBezTo>
                    <a:cubicBezTo>
                      <a:pt x="3339542" y="751532"/>
                      <a:pt x="3322042" y="769031"/>
                      <a:pt x="3300455" y="769031"/>
                    </a:cubicBezTo>
                    <a:cubicBezTo>
                      <a:pt x="3278867" y="769031"/>
                      <a:pt x="3261368" y="751532"/>
                      <a:pt x="3261368" y="729944"/>
                    </a:cubicBezTo>
                    <a:cubicBezTo>
                      <a:pt x="3261368" y="708357"/>
                      <a:pt x="3278867" y="690857"/>
                      <a:pt x="3300455" y="690857"/>
                    </a:cubicBezTo>
                    <a:close/>
                    <a:moveTo>
                      <a:pt x="3205815" y="690857"/>
                    </a:moveTo>
                    <a:cubicBezTo>
                      <a:pt x="3227402" y="690857"/>
                      <a:pt x="3244902" y="708357"/>
                      <a:pt x="3244902" y="729943"/>
                    </a:cubicBezTo>
                    <a:cubicBezTo>
                      <a:pt x="3244902" y="751531"/>
                      <a:pt x="3227402" y="769031"/>
                      <a:pt x="3205815" y="769031"/>
                    </a:cubicBezTo>
                    <a:cubicBezTo>
                      <a:pt x="3184227" y="769031"/>
                      <a:pt x="3166728" y="751531"/>
                      <a:pt x="3166728" y="729943"/>
                    </a:cubicBezTo>
                    <a:cubicBezTo>
                      <a:pt x="3166728" y="708357"/>
                      <a:pt x="3184227" y="690857"/>
                      <a:pt x="3205815" y="690857"/>
                    </a:cubicBezTo>
                    <a:close/>
                    <a:moveTo>
                      <a:pt x="3111175" y="690857"/>
                    </a:moveTo>
                    <a:cubicBezTo>
                      <a:pt x="3132762" y="690857"/>
                      <a:pt x="3150262" y="708357"/>
                      <a:pt x="3150262" y="729944"/>
                    </a:cubicBezTo>
                    <a:cubicBezTo>
                      <a:pt x="3150262" y="751532"/>
                      <a:pt x="3132762" y="769031"/>
                      <a:pt x="3111175" y="769031"/>
                    </a:cubicBezTo>
                    <a:cubicBezTo>
                      <a:pt x="3089588" y="769031"/>
                      <a:pt x="3072088" y="751532"/>
                      <a:pt x="3072088" y="729944"/>
                    </a:cubicBezTo>
                    <a:cubicBezTo>
                      <a:pt x="3072088" y="708357"/>
                      <a:pt x="3089588" y="690857"/>
                      <a:pt x="3111175" y="690857"/>
                    </a:cubicBezTo>
                    <a:close/>
                    <a:moveTo>
                      <a:pt x="3018901" y="690857"/>
                    </a:moveTo>
                    <a:cubicBezTo>
                      <a:pt x="3040488" y="690857"/>
                      <a:pt x="3057988" y="708357"/>
                      <a:pt x="3057988" y="729944"/>
                    </a:cubicBezTo>
                    <a:cubicBezTo>
                      <a:pt x="3057988" y="751532"/>
                      <a:pt x="3040488" y="769031"/>
                      <a:pt x="3018901" y="769031"/>
                    </a:cubicBezTo>
                    <a:cubicBezTo>
                      <a:pt x="2997313" y="769031"/>
                      <a:pt x="2979813" y="751532"/>
                      <a:pt x="2979813" y="729944"/>
                    </a:cubicBezTo>
                    <a:cubicBezTo>
                      <a:pt x="2979813" y="708357"/>
                      <a:pt x="2997313" y="690857"/>
                      <a:pt x="3018901" y="690857"/>
                    </a:cubicBezTo>
                    <a:close/>
                    <a:moveTo>
                      <a:pt x="2924262" y="690857"/>
                    </a:moveTo>
                    <a:cubicBezTo>
                      <a:pt x="2945849" y="690857"/>
                      <a:pt x="2963349" y="708357"/>
                      <a:pt x="2963349" y="729943"/>
                    </a:cubicBezTo>
                    <a:cubicBezTo>
                      <a:pt x="2963349" y="751531"/>
                      <a:pt x="2945849" y="769031"/>
                      <a:pt x="2924262" y="769031"/>
                    </a:cubicBezTo>
                    <a:cubicBezTo>
                      <a:pt x="2902675" y="769031"/>
                      <a:pt x="2885175" y="751531"/>
                      <a:pt x="2885175" y="729943"/>
                    </a:cubicBezTo>
                    <a:cubicBezTo>
                      <a:pt x="2885175" y="708357"/>
                      <a:pt x="2902675" y="690857"/>
                      <a:pt x="2924262" y="690857"/>
                    </a:cubicBezTo>
                    <a:close/>
                    <a:moveTo>
                      <a:pt x="2831986" y="690857"/>
                    </a:moveTo>
                    <a:cubicBezTo>
                      <a:pt x="2853573" y="690857"/>
                      <a:pt x="2871073" y="708357"/>
                      <a:pt x="2871073" y="729944"/>
                    </a:cubicBezTo>
                    <a:cubicBezTo>
                      <a:pt x="2871073" y="751532"/>
                      <a:pt x="2853573" y="769031"/>
                      <a:pt x="2831986" y="769031"/>
                    </a:cubicBezTo>
                    <a:cubicBezTo>
                      <a:pt x="2810399" y="769031"/>
                      <a:pt x="2792899" y="751532"/>
                      <a:pt x="2792899" y="729944"/>
                    </a:cubicBezTo>
                    <a:cubicBezTo>
                      <a:pt x="2792899" y="708357"/>
                      <a:pt x="2810399" y="690857"/>
                      <a:pt x="2831986" y="690857"/>
                    </a:cubicBezTo>
                    <a:close/>
                    <a:moveTo>
                      <a:pt x="2737373" y="690857"/>
                    </a:moveTo>
                    <a:cubicBezTo>
                      <a:pt x="2758934" y="690857"/>
                      <a:pt x="2776434" y="708357"/>
                      <a:pt x="2776434" y="729944"/>
                    </a:cubicBezTo>
                    <a:cubicBezTo>
                      <a:pt x="2776434" y="751532"/>
                      <a:pt x="2758934" y="769031"/>
                      <a:pt x="2737373" y="769031"/>
                    </a:cubicBezTo>
                    <a:cubicBezTo>
                      <a:pt x="2715778" y="769031"/>
                      <a:pt x="2698271" y="751532"/>
                      <a:pt x="2698271" y="729944"/>
                    </a:cubicBezTo>
                    <a:cubicBezTo>
                      <a:pt x="2698271" y="708357"/>
                      <a:pt x="2715778" y="690857"/>
                      <a:pt x="2737373" y="690857"/>
                    </a:cubicBezTo>
                    <a:close/>
                    <a:moveTo>
                      <a:pt x="2266534" y="690857"/>
                    </a:moveTo>
                    <a:cubicBezTo>
                      <a:pt x="2288114" y="690857"/>
                      <a:pt x="2305617" y="708357"/>
                      <a:pt x="2305617" y="729943"/>
                    </a:cubicBezTo>
                    <a:cubicBezTo>
                      <a:pt x="2305617" y="751531"/>
                      <a:pt x="2288114" y="769031"/>
                      <a:pt x="2266534" y="769031"/>
                    </a:cubicBezTo>
                    <a:cubicBezTo>
                      <a:pt x="2244933" y="769031"/>
                      <a:pt x="2227440" y="751531"/>
                      <a:pt x="2227440" y="729943"/>
                    </a:cubicBezTo>
                    <a:cubicBezTo>
                      <a:pt x="2227440" y="708357"/>
                      <a:pt x="2244933" y="690857"/>
                      <a:pt x="2266534" y="690857"/>
                    </a:cubicBezTo>
                    <a:close/>
                    <a:moveTo>
                      <a:pt x="2171886" y="690857"/>
                    </a:moveTo>
                    <a:cubicBezTo>
                      <a:pt x="2193476" y="690857"/>
                      <a:pt x="2210979" y="708357"/>
                      <a:pt x="2210979" y="729944"/>
                    </a:cubicBezTo>
                    <a:cubicBezTo>
                      <a:pt x="2210979" y="751532"/>
                      <a:pt x="2193476" y="769031"/>
                      <a:pt x="2171886" y="769031"/>
                    </a:cubicBezTo>
                    <a:cubicBezTo>
                      <a:pt x="2150294" y="769031"/>
                      <a:pt x="2132800" y="751532"/>
                      <a:pt x="2132800" y="729944"/>
                    </a:cubicBezTo>
                    <a:cubicBezTo>
                      <a:pt x="2132800" y="708357"/>
                      <a:pt x="2150294" y="690857"/>
                      <a:pt x="2171886" y="690857"/>
                    </a:cubicBezTo>
                    <a:close/>
                    <a:moveTo>
                      <a:pt x="2079612" y="690857"/>
                    </a:moveTo>
                    <a:cubicBezTo>
                      <a:pt x="2101211" y="690857"/>
                      <a:pt x="2118698" y="708357"/>
                      <a:pt x="2118698" y="729944"/>
                    </a:cubicBezTo>
                    <a:cubicBezTo>
                      <a:pt x="2118698" y="751532"/>
                      <a:pt x="2101211" y="769031"/>
                      <a:pt x="2079612" y="769031"/>
                    </a:cubicBezTo>
                    <a:cubicBezTo>
                      <a:pt x="2058029" y="769031"/>
                      <a:pt x="2040529" y="751532"/>
                      <a:pt x="2040529" y="729944"/>
                    </a:cubicBezTo>
                    <a:cubicBezTo>
                      <a:pt x="2040529" y="708357"/>
                      <a:pt x="2058029" y="690857"/>
                      <a:pt x="2079612" y="690857"/>
                    </a:cubicBezTo>
                    <a:close/>
                    <a:moveTo>
                      <a:pt x="1703432" y="690857"/>
                    </a:moveTo>
                    <a:cubicBezTo>
                      <a:pt x="1725009" y="690857"/>
                      <a:pt x="1742522" y="708357"/>
                      <a:pt x="1742522" y="729943"/>
                    </a:cubicBezTo>
                    <a:cubicBezTo>
                      <a:pt x="1742522" y="751531"/>
                      <a:pt x="1725009" y="769031"/>
                      <a:pt x="1703432" y="769031"/>
                    </a:cubicBezTo>
                    <a:cubicBezTo>
                      <a:pt x="1681839" y="769031"/>
                      <a:pt x="1664351" y="751531"/>
                      <a:pt x="1664351" y="729943"/>
                    </a:cubicBezTo>
                    <a:cubicBezTo>
                      <a:pt x="1664351" y="708357"/>
                      <a:pt x="1681839" y="690857"/>
                      <a:pt x="1703432" y="690857"/>
                    </a:cubicBezTo>
                    <a:close/>
                    <a:moveTo>
                      <a:pt x="1611147" y="690857"/>
                    </a:moveTo>
                    <a:cubicBezTo>
                      <a:pt x="1632741" y="690857"/>
                      <a:pt x="1650245" y="708357"/>
                      <a:pt x="1650245" y="729944"/>
                    </a:cubicBezTo>
                    <a:cubicBezTo>
                      <a:pt x="1650245" y="751532"/>
                      <a:pt x="1632741" y="769031"/>
                      <a:pt x="1611147" y="769031"/>
                    </a:cubicBezTo>
                    <a:cubicBezTo>
                      <a:pt x="1589631" y="769031"/>
                      <a:pt x="1572133" y="751532"/>
                      <a:pt x="1572133" y="729944"/>
                    </a:cubicBezTo>
                    <a:cubicBezTo>
                      <a:pt x="1572133" y="708357"/>
                      <a:pt x="1589631" y="690857"/>
                      <a:pt x="1611147" y="690857"/>
                    </a:cubicBezTo>
                    <a:close/>
                    <a:moveTo>
                      <a:pt x="1232669" y="690857"/>
                    </a:moveTo>
                    <a:cubicBezTo>
                      <a:pt x="1254252" y="690857"/>
                      <a:pt x="1271741" y="708357"/>
                      <a:pt x="1271741" y="729943"/>
                    </a:cubicBezTo>
                    <a:cubicBezTo>
                      <a:pt x="1271741" y="751531"/>
                      <a:pt x="1254252" y="769031"/>
                      <a:pt x="1232669" y="769031"/>
                    </a:cubicBezTo>
                    <a:cubicBezTo>
                      <a:pt x="1211075" y="769031"/>
                      <a:pt x="1193583" y="751531"/>
                      <a:pt x="1193583" y="729943"/>
                    </a:cubicBezTo>
                    <a:cubicBezTo>
                      <a:pt x="1193583" y="708357"/>
                      <a:pt x="1211075" y="690857"/>
                      <a:pt x="1232669" y="690857"/>
                    </a:cubicBezTo>
                    <a:close/>
                    <a:moveTo>
                      <a:pt x="1142756" y="690857"/>
                    </a:moveTo>
                    <a:cubicBezTo>
                      <a:pt x="1164349" y="690857"/>
                      <a:pt x="1181847" y="708357"/>
                      <a:pt x="1181847" y="729944"/>
                    </a:cubicBezTo>
                    <a:cubicBezTo>
                      <a:pt x="1181847" y="751532"/>
                      <a:pt x="1164349" y="769031"/>
                      <a:pt x="1142756" y="769031"/>
                    </a:cubicBezTo>
                    <a:cubicBezTo>
                      <a:pt x="1121161" y="769031"/>
                      <a:pt x="1103656" y="751532"/>
                      <a:pt x="1103656" y="729944"/>
                    </a:cubicBezTo>
                    <a:cubicBezTo>
                      <a:pt x="1103656" y="708357"/>
                      <a:pt x="1121161" y="690857"/>
                      <a:pt x="1142756" y="690857"/>
                    </a:cubicBezTo>
                    <a:close/>
                    <a:moveTo>
                      <a:pt x="856480" y="690857"/>
                    </a:moveTo>
                    <a:cubicBezTo>
                      <a:pt x="878063" y="690857"/>
                      <a:pt x="895560" y="708357"/>
                      <a:pt x="895560" y="729943"/>
                    </a:cubicBezTo>
                    <a:cubicBezTo>
                      <a:pt x="895560" y="751531"/>
                      <a:pt x="878063" y="769031"/>
                      <a:pt x="856480" y="769031"/>
                    </a:cubicBezTo>
                    <a:cubicBezTo>
                      <a:pt x="834897" y="769031"/>
                      <a:pt x="817401" y="751531"/>
                      <a:pt x="817401" y="729943"/>
                    </a:cubicBezTo>
                    <a:cubicBezTo>
                      <a:pt x="817401" y="708357"/>
                      <a:pt x="834897" y="690857"/>
                      <a:pt x="856480" y="690857"/>
                    </a:cubicBezTo>
                    <a:close/>
                    <a:moveTo>
                      <a:pt x="764220" y="690857"/>
                    </a:moveTo>
                    <a:cubicBezTo>
                      <a:pt x="785806" y="690857"/>
                      <a:pt x="803302" y="708357"/>
                      <a:pt x="803302" y="729944"/>
                    </a:cubicBezTo>
                    <a:cubicBezTo>
                      <a:pt x="803302" y="751532"/>
                      <a:pt x="785806" y="769031"/>
                      <a:pt x="764220" y="769031"/>
                    </a:cubicBezTo>
                    <a:cubicBezTo>
                      <a:pt x="742627" y="769031"/>
                      <a:pt x="725137" y="751532"/>
                      <a:pt x="725137" y="729944"/>
                    </a:cubicBezTo>
                    <a:cubicBezTo>
                      <a:pt x="725137" y="708357"/>
                      <a:pt x="742627" y="690857"/>
                      <a:pt x="764220" y="690857"/>
                    </a:cubicBezTo>
                    <a:close/>
                    <a:moveTo>
                      <a:pt x="669571" y="690857"/>
                    </a:moveTo>
                    <a:cubicBezTo>
                      <a:pt x="691179" y="690857"/>
                      <a:pt x="708675" y="708357"/>
                      <a:pt x="708675" y="729943"/>
                    </a:cubicBezTo>
                    <a:cubicBezTo>
                      <a:pt x="708675" y="751531"/>
                      <a:pt x="691179" y="769031"/>
                      <a:pt x="669571" y="769031"/>
                    </a:cubicBezTo>
                    <a:cubicBezTo>
                      <a:pt x="648002" y="769031"/>
                      <a:pt x="630497" y="751531"/>
                      <a:pt x="630497" y="729943"/>
                    </a:cubicBezTo>
                    <a:cubicBezTo>
                      <a:pt x="630497" y="708357"/>
                      <a:pt x="648002" y="690857"/>
                      <a:pt x="669571" y="690857"/>
                    </a:cubicBezTo>
                    <a:close/>
                    <a:moveTo>
                      <a:pt x="577293" y="690857"/>
                    </a:moveTo>
                    <a:cubicBezTo>
                      <a:pt x="598887" y="690857"/>
                      <a:pt x="616393" y="708357"/>
                      <a:pt x="616393" y="729943"/>
                    </a:cubicBezTo>
                    <a:cubicBezTo>
                      <a:pt x="616393" y="751531"/>
                      <a:pt x="598887" y="769031"/>
                      <a:pt x="577293" y="769031"/>
                    </a:cubicBezTo>
                    <a:cubicBezTo>
                      <a:pt x="555699" y="769031"/>
                      <a:pt x="538195" y="751531"/>
                      <a:pt x="538195" y="729943"/>
                    </a:cubicBezTo>
                    <a:cubicBezTo>
                      <a:pt x="538195" y="708357"/>
                      <a:pt x="555699" y="690857"/>
                      <a:pt x="577293" y="690857"/>
                    </a:cubicBezTo>
                    <a:close/>
                    <a:moveTo>
                      <a:pt x="485003" y="690857"/>
                    </a:moveTo>
                    <a:cubicBezTo>
                      <a:pt x="506592" y="690857"/>
                      <a:pt x="524091" y="708357"/>
                      <a:pt x="524091" y="729943"/>
                    </a:cubicBezTo>
                    <a:cubicBezTo>
                      <a:pt x="524091" y="751531"/>
                      <a:pt x="506592" y="769031"/>
                      <a:pt x="485003" y="769031"/>
                    </a:cubicBezTo>
                    <a:cubicBezTo>
                      <a:pt x="463406" y="769031"/>
                      <a:pt x="445934" y="751531"/>
                      <a:pt x="445934" y="729943"/>
                    </a:cubicBezTo>
                    <a:cubicBezTo>
                      <a:pt x="445934" y="708357"/>
                      <a:pt x="463406" y="690857"/>
                      <a:pt x="485003" y="690857"/>
                    </a:cubicBezTo>
                    <a:close/>
                    <a:moveTo>
                      <a:pt x="390354" y="690857"/>
                    </a:moveTo>
                    <a:cubicBezTo>
                      <a:pt x="411947" y="690857"/>
                      <a:pt x="429457" y="708357"/>
                      <a:pt x="429457" y="729943"/>
                    </a:cubicBezTo>
                    <a:cubicBezTo>
                      <a:pt x="429457" y="751531"/>
                      <a:pt x="411947" y="769031"/>
                      <a:pt x="390354" y="769031"/>
                    </a:cubicBezTo>
                    <a:cubicBezTo>
                      <a:pt x="368790" y="769031"/>
                      <a:pt x="351287" y="751531"/>
                      <a:pt x="351287" y="729943"/>
                    </a:cubicBezTo>
                    <a:cubicBezTo>
                      <a:pt x="351287" y="708357"/>
                      <a:pt x="368790" y="690857"/>
                      <a:pt x="390354" y="690857"/>
                    </a:cubicBezTo>
                    <a:close/>
                    <a:moveTo>
                      <a:pt x="298087" y="690857"/>
                    </a:moveTo>
                    <a:cubicBezTo>
                      <a:pt x="319667" y="690857"/>
                      <a:pt x="337188" y="708357"/>
                      <a:pt x="337188" y="729943"/>
                    </a:cubicBezTo>
                    <a:cubicBezTo>
                      <a:pt x="337188" y="751531"/>
                      <a:pt x="319667" y="769031"/>
                      <a:pt x="298087" y="769031"/>
                    </a:cubicBezTo>
                    <a:cubicBezTo>
                      <a:pt x="276494" y="769031"/>
                      <a:pt x="258997" y="751531"/>
                      <a:pt x="258997" y="729943"/>
                    </a:cubicBezTo>
                    <a:cubicBezTo>
                      <a:pt x="258997" y="708357"/>
                      <a:pt x="276494" y="690857"/>
                      <a:pt x="298087" y="690857"/>
                    </a:cubicBezTo>
                    <a:close/>
                    <a:moveTo>
                      <a:pt x="242207" y="643975"/>
                    </a:moveTo>
                    <a:lnTo>
                      <a:pt x="242535" y="644768"/>
                    </a:lnTo>
                    <a:cubicBezTo>
                      <a:pt x="242535" y="655562"/>
                      <a:pt x="238161" y="665334"/>
                      <a:pt x="231087" y="672407"/>
                    </a:cubicBezTo>
                    <a:lnTo>
                      <a:pt x="216396" y="678492"/>
                    </a:lnTo>
                    <a:close/>
                    <a:moveTo>
                      <a:pt x="3472229" y="612933"/>
                    </a:moveTo>
                    <a:lnTo>
                      <a:pt x="3516862" y="672620"/>
                    </a:lnTo>
                    <a:lnTo>
                      <a:pt x="3489735" y="683855"/>
                    </a:lnTo>
                    <a:cubicBezTo>
                      <a:pt x="3468148" y="683855"/>
                      <a:pt x="3450649" y="666356"/>
                      <a:pt x="3450649" y="644768"/>
                    </a:cubicBezTo>
                    <a:cubicBezTo>
                      <a:pt x="3450649" y="633975"/>
                      <a:pt x="3455024" y="624203"/>
                      <a:pt x="3462097" y="617130"/>
                    </a:cubicBezTo>
                    <a:close/>
                    <a:moveTo>
                      <a:pt x="3392730" y="605682"/>
                    </a:moveTo>
                    <a:cubicBezTo>
                      <a:pt x="3414317" y="605682"/>
                      <a:pt x="3431817" y="623181"/>
                      <a:pt x="3431817" y="644768"/>
                    </a:cubicBezTo>
                    <a:cubicBezTo>
                      <a:pt x="3431817" y="666356"/>
                      <a:pt x="3414317" y="683855"/>
                      <a:pt x="3392730" y="683855"/>
                    </a:cubicBezTo>
                    <a:cubicBezTo>
                      <a:pt x="3371143" y="683855"/>
                      <a:pt x="3353643" y="666356"/>
                      <a:pt x="3353643" y="644768"/>
                    </a:cubicBezTo>
                    <a:cubicBezTo>
                      <a:pt x="3353643" y="623181"/>
                      <a:pt x="3371143" y="605682"/>
                      <a:pt x="3392730" y="605682"/>
                    </a:cubicBezTo>
                    <a:close/>
                    <a:moveTo>
                      <a:pt x="3300455" y="605682"/>
                    </a:moveTo>
                    <a:cubicBezTo>
                      <a:pt x="3322043" y="605682"/>
                      <a:pt x="3339543" y="623181"/>
                      <a:pt x="3339543" y="644768"/>
                    </a:cubicBezTo>
                    <a:cubicBezTo>
                      <a:pt x="3339543" y="666356"/>
                      <a:pt x="3322043" y="683855"/>
                      <a:pt x="3300455" y="683855"/>
                    </a:cubicBezTo>
                    <a:cubicBezTo>
                      <a:pt x="3278868" y="683855"/>
                      <a:pt x="3261368" y="666356"/>
                      <a:pt x="3261368" y="644768"/>
                    </a:cubicBezTo>
                    <a:cubicBezTo>
                      <a:pt x="3261368" y="623181"/>
                      <a:pt x="3278868" y="605682"/>
                      <a:pt x="3300455" y="605682"/>
                    </a:cubicBezTo>
                    <a:close/>
                    <a:moveTo>
                      <a:pt x="3205815" y="605682"/>
                    </a:moveTo>
                    <a:cubicBezTo>
                      <a:pt x="3227403" y="605682"/>
                      <a:pt x="3244903" y="623181"/>
                      <a:pt x="3244903" y="644768"/>
                    </a:cubicBezTo>
                    <a:cubicBezTo>
                      <a:pt x="3244903" y="666356"/>
                      <a:pt x="3227403" y="683855"/>
                      <a:pt x="3205815" y="683855"/>
                    </a:cubicBezTo>
                    <a:cubicBezTo>
                      <a:pt x="3184228" y="683855"/>
                      <a:pt x="3166728" y="666356"/>
                      <a:pt x="3166728" y="644768"/>
                    </a:cubicBezTo>
                    <a:cubicBezTo>
                      <a:pt x="3166728" y="623181"/>
                      <a:pt x="3184228" y="605682"/>
                      <a:pt x="3205815" y="605682"/>
                    </a:cubicBezTo>
                    <a:close/>
                    <a:moveTo>
                      <a:pt x="3111175" y="605682"/>
                    </a:moveTo>
                    <a:cubicBezTo>
                      <a:pt x="3132763" y="605682"/>
                      <a:pt x="3150263" y="623181"/>
                      <a:pt x="3150263" y="644768"/>
                    </a:cubicBezTo>
                    <a:cubicBezTo>
                      <a:pt x="3150263" y="666356"/>
                      <a:pt x="3132763" y="683855"/>
                      <a:pt x="3111175" y="683855"/>
                    </a:cubicBezTo>
                    <a:cubicBezTo>
                      <a:pt x="3089588" y="683855"/>
                      <a:pt x="3072088" y="666356"/>
                      <a:pt x="3072088" y="644768"/>
                    </a:cubicBezTo>
                    <a:cubicBezTo>
                      <a:pt x="3072088" y="623181"/>
                      <a:pt x="3089588" y="605682"/>
                      <a:pt x="3111175" y="605682"/>
                    </a:cubicBezTo>
                    <a:close/>
                    <a:moveTo>
                      <a:pt x="3018901" y="605682"/>
                    </a:moveTo>
                    <a:cubicBezTo>
                      <a:pt x="3040488" y="605682"/>
                      <a:pt x="3057988" y="623181"/>
                      <a:pt x="3057988" y="644768"/>
                    </a:cubicBezTo>
                    <a:cubicBezTo>
                      <a:pt x="3057988" y="666356"/>
                      <a:pt x="3040488" y="683855"/>
                      <a:pt x="3018901" y="683855"/>
                    </a:cubicBezTo>
                    <a:cubicBezTo>
                      <a:pt x="2997313" y="683855"/>
                      <a:pt x="2979813" y="666356"/>
                      <a:pt x="2979813" y="644768"/>
                    </a:cubicBezTo>
                    <a:cubicBezTo>
                      <a:pt x="2979813" y="623181"/>
                      <a:pt x="2997313" y="605682"/>
                      <a:pt x="3018901" y="605682"/>
                    </a:cubicBezTo>
                    <a:close/>
                    <a:moveTo>
                      <a:pt x="2924262" y="605682"/>
                    </a:moveTo>
                    <a:cubicBezTo>
                      <a:pt x="2945849" y="605682"/>
                      <a:pt x="2963349" y="623181"/>
                      <a:pt x="2963349" y="644768"/>
                    </a:cubicBezTo>
                    <a:cubicBezTo>
                      <a:pt x="2963349" y="666356"/>
                      <a:pt x="2945849" y="683855"/>
                      <a:pt x="2924262" y="683855"/>
                    </a:cubicBezTo>
                    <a:cubicBezTo>
                      <a:pt x="2902675" y="683855"/>
                      <a:pt x="2885175" y="666356"/>
                      <a:pt x="2885175" y="644768"/>
                    </a:cubicBezTo>
                    <a:cubicBezTo>
                      <a:pt x="2885175" y="623181"/>
                      <a:pt x="2902675" y="605682"/>
                      <a:pt x="2924262" y="605682"/>
                    </a:cubicBezTo>
                    <a:close/>
                    <a:moveTo>
                      <a:pt x="2831987" y="605682"/>
                    </a:moveTo>
                    <a:cubicBezTo>
                      <a:pt x="2853574" y="605682"/>
                      <a:pt x="2871074" y="623181"/>
                      <a:pt x="2871074" y="644768"/>
                    </a:cubicBezTo>
                    <a:cubicBezTo>
                      <a:pt x="2871074" y="666356"/>
                      <a:pt x="2853574" y="683855"/>
                      <a:pt x="2831987" y="683855"/>
                    </a:cubicBezTo>
                    <a:cubicBezTo>
                      <a:pt x="2810400" y="683855"/>
                      <a:pt x="2792900" y="666356"/>
                      <a:pt x="2792900" y="644768"/>
                    </a:cubicBezTo>
                    <a:cubicBezTo>
                      <a:pt x="2792900" y="623181"/>
                      <a:pt x="2810400" y="605682"/>
                      <a:pt x="2831987" y="605682"/>
                    </a:cubicBezTo>
                    <a:close/>
                    <a:moveTo>
                      <a:pt x="2171887" y="605682"/>
                    </a:moveTo>
                    <a:cubicBezTo>
                      <a:pt x="2193477" y="605682"/>
                      <a:pt x="2210979" y="623181"/>
                      <a:pt x="2210979" y="644768"/>
                    </a:cubicBezTo>
                    <a:cubicBezTo>
                      <a:pt x="2210979" y="666356"/>
                      <a:pt x="2193477" y="683855"/>
                      <a:pt x="2171887" y="683855"/>
                    </a:cubicBezTo>
                    <a:cubicBezTo>
                      <a:pt x="2150295" y="683855"/>
                      <a:pt x="2132800" y="666356"/>
                      <a:pt x="2132800" y="644768"/>
                    </a:cubicBezTo>
                    <a:cubicBezTo>
                      <a:pt x="2132800" y="623181"/>
                      <a:pt x="2150295" y="605682"/>
                      <a:pt x="2171887" y="605682"/>
                    </a:cubicBezTo>
                    <a:close/>
                    <a:moveTo>
                      <a:pt x="1798073" y="605682"/>
                    </a:moveTo>
                    <a:cubicBezTo>
                      <a:pt x="1819661" y="605682"/>
                      <a:pt x="1837146" y="623181"/>
                      <a:pt x="1837146" y="644768"/>
                    </a:cubicBezTo>
                    <a:cubicBezTo>
                      <a:pt x="1837146" y="666356"/>
                      <a:pt x="1819661" y="683855"/>
                      <a:pt x="1798073" y="683855"/>
                    </a:cubicBezTo>
                    <a:cubicBezTo>
                      <a:pt x="1776481" y="683855"/>
                      <a:pt x="1758966" y="666356"/>
                      <a:pt x="1758966" y="644768"/>
                    </a:cubicBezTo>
                    <a:cubicBezTo>
                      <a:pt x="1758966" y="623181"/>
                      <a:pt x="1776481" y="605682"/>
                      <a:pt x="1798073" y="605682"/>
                    </a:cubicBezTo>
                    <a:close/>
                    <a:moveTo>
                      <a:pt x="1703432" y="605682"/>
                    </a:moveTo>
                    <a:cubicBezTo>
                      <a:pt x="1725011" y="605682"/>
                      <a:pt x="1742522" y="623181"/>
                      <a:pt x="1742522" y="644768"/>
                    </a:cubicBezTo>
                    <a:cubicBezTo>
                      <a:pt x="1742522" y="666356"/>
                      <a:pt x="1725011" y="683855"/>
                      <a:pt x="1703432" y="683855"/>
                    </a:cubicBezTo>
                    <a:cubicBezTo>
                      <a:pt x="1681839" y="683855"/>
                      <a:pt x="1664351" y="666356"/>
                      <a:pt x="1664351" y="644768"/>
                    </a:cubicBezTo>
                    <a:cubicBezTo>
                      <a:pt x="1664351" y="623181"/>
                      <a:pt x="1681839" y="605682"/>
                      <a:pt x="1703432" y="605682"/>
                    </a:cubicBezTo>
                    <a:close/>
                    <a:moveTo>
                      <a:pt x="1611147" y="605682"/>
                    </a:moveTo>
                    <a:cubicBezTo>
                      <a:pt x="1632741" y="605682"/>
                      <a:pt x="1650245" y="623181"/>
                      <a:pt x="1650245" y="644768"/>
                    </a:cubicBezTo>
                    <a:cubicBezTo>
                      <a:pt x="1650245" y="666356"/>
                      <a:pt x="1632741" y="683855"/>
                      <a:pt x="1611147" y="683855"/>
                    </a:cubicBezTo>
                    <a:cubicBezTo>
                      <a:pt x="1589637" y="683855"/>
                      <a:pt x="1572140" y="666356"/>
                      <a:pt x="1572140" y="644768"/>
                    </a:cubicBezTo>
                    <a:cubicBezTo>
                      <a:pt x="1572140" y="623181"/>
                      <a:pt x="1589637" y="605682"/>
                      <a:pt x="1611147" y="605682"/>
                    </a:cubicBezTo>
                    <a:close/>
                    <a:moveTo>
                      <a:pt x="1232676" y="605682"/>
                    </a:moveTo>
                    <a:cubicBezTo>
                      <a:pt x="1254261" y="605682"/>
                      <a:pt x="1271747" y="623181"/>
                      <a:pt x="1271747" y="644768"/>
                    </a:cubicBezTo>
                    <a:cubicBezTo>
                      <a:pt x="1271747" y="666356"/>
                      <a:pt x="1254261" y="683855"/>
                      <a:pt x="1232676" y="683855"/>
                    </a:cubicBezTo>
                    <a:cubicBezTo>
                      <a:pt x="1211083" y="683855"/>
                      <a:pt x="1193590" y="666356"/>
                      <a:pt x="1193590" y="644768"/>
                    </a:cubicBezTo>
                    <a:cubicBezTo>
                      <a:pt x="1193590" y="623181"/>
                      <a:pt x="1211083" y="605682"/>
                      <a:pt x="1232676" y="605682"/>
                    </a:cubicBezTo>
                    <a:close/>
                    <a:moveTo>
                      <a:pt x="1142761" y="605682"/>
                    </a:moveTo>
                    <a:cubicBezTo>
                      <a:pt x="1164354" y="605682"/>
                      <a:pt x="1181853" y="623181"/>
                      <a:pt x="1181853" y="644768"/>
                    </a:cubicBezTo>
                    <a:cubicBezTo>
                      <a:pt x="1181853" y="666356"/>
                      <a:pt x="1164354" y="683855"/>
                      <a:pt x="1142761" y="683855"/>
                    </a:cubicBezTo>
                    <a:cubicBezTo>
                      <a:pt x="1121167" y="683855"/>
                      <a:pt x="1103661" y="666356"/>
                      <a:pt x="1103661" y="644768"/>
                    </a:cubicBezTo>
                    <a:cubicBezTo>
                      <a:pt x="1103661" y="623181"/>
                      <a:pt x="1121167" y="605682"/>
                      <a:pt x="1142761" y="605682"/>
                    </a:cubicBezTo>
                    <a:close/>
                    <a:moveTo>
                      <a:pt x="1045734" y="605682"/>
                    </a:moveTo>
                    <a:cubicBezTo>
                      <a:pt x="1067319" y="605682"/>
                      <a:pt x="1084825" y="623181"/>
                      <a:pt x="1084825" y="644768"/>
                    </a:cubicBezTo>
                    <a:cubicBezTo>
                      <a:pt x="1084825" y="666356"/>
                      <a:pt x="1067319" y="683855"/>
                      <a:pt x="1045734" y="683855"/>
                    </a:cubicBezTo>
                    <a:cubicBezTo>
                      <a:pt x="1024149" y="683855"/>
                      <a:pt x="1006653" y="666356"/>
                      <a:pt x="1006653" y="644768"/>
                    </a:cubicBezTo>
                    <a:cubicBezTo>
                      <a:pt x="1006653" y="623181"/>
                      <a:pt x="1024149" y="605682"/>
                      <a:pt x="1045734" y="605682"/>
                    </a:cubicBezTo>
                    <a:close/>
                    <a:moveTo>
                      <a:pt x="856487" y="605682"/>
                    </a:moveTo>
                    <a:cubicBezTo>
                      <a:pt x="878069" y="605682"/>
                      <a:pt x="895566" y="623181"/>
                      <a:pt x="895566" y="644768"/>
                    </a:cubicBezTo>
                    <a:cubicBezTo>
                      <a:pt x="895566" y="666356"/>
                      <a:pt x="878069" y="683855"/>
                      <a:pt x="856487" y="683855"/>
                    </a:cubicBezTo>
                    <a:cubicBezTo>
                      <a:pt x="834903" y="683855"/>
                      <a:pt x="817405" y="666356"/>
                      <a:pt x="817405" y="644768"/>
                    </a:cubicBezTo>
                    <a:cubicBezTo>
                      <a:pt x="817405" y="623181"/>
                      <a:pt x="834903" y="605682"/>
                      <a:pt x="856487" y="605682"/>
                    </a:cubicBezTo>
                    <a:close/>
                    <a:moveTo>
                      <a:pt x="764226" y="605682"/>
                    </a:moveTo>
                    <a:cubicBezTo>
                      <a:pt x="785811" y="605682"/>
                      <a:pt x="803309" y="623181"/>
                      <a:pt x="803309" y="644768"/>
                    </a:cubicBezTo>
                    <a:cubicBezTo>
                      <a:pt x="803309" y="666356"/>
                      <a:pt x="785811" y="683855"/>
                      <a:pt x="764226" y="683855"/>
                    </a:cubicBezTo>
                    <a:cubicBezTo>
                      <a:pt x="742635" y="683855"/>
                      <a:pt x="725145" y="666356"/>
                      <a:pt x="725145" y="644768"/>
                    </a:cubicBezTo>
                    <a:cubicBezTo>
                      <a:pt x="725145" y="623181"/>
                      <a:pt x="742635" y="605682"/>
                      <a:pt x="764226" y="605682"/>
                    </a:cubicBezTo>
                    <a:close/>
                    <a:moveTo>
                      <a:pt x="669584" y="605682"/>
                    </a:moveTo>
                    <a:cubicBezTo>
                      <a:pt x="691185" y="605682"/>
                      <a:pt x="708684" y="623181"/>
                      <a:pt x="708684" y="644768"/>
                    </a:cubicBezTo>
                    <a:cubicBezTo>
                      <a:pt x="708684" y="666356"/>
                      <a:pt x="691185" y="683855"/>
                      <a:pt x="669584" y="683855"/>
                    </a:cubicBezTo>
                    <a:cubicBezTo>
                      <a:pt x="648010" y="683855"/>
                      <a:pt x="630505" y="666356"/>
                      <a:pt x="630505" y="644768"/>
                    </a:cubicBezTo>
                    <a:cubicBezTo>
                      <a:pt x="630505" y="623181"/>
                      <a:pt x="648010" y="605682"/>
                      <a:pt x="669584" y="605682"/>
                    </a:cubicBezTo>
                    <a:close/>
                    <a:moveTo>
                      <a:pt x="577298" y="605682"/>
                    </a:moveTo>
                    <a:cubicBezTo>
                      <a:pt x="598894" y="605682"/>
                      <a:pt x="616400" y="623181"/>
                      <a:pt x="616400" y="644768"/>
                    </a:cubicBezTo>
                    <a:cubicBezTo>
                      <a:pt x="616400" y="666356"/>
                      <a:pt x="598894" y="683855"/>
                      <a:pt x="577298" y="683855"/>
                    </a:cubicBezTo>
                    <a:cubicBezTo>
                      <a:pt x="555705" y="683855"/>
                      <a:pt x="538200" y="666356"/>
                      <a:pt x="538200" y="644768"/>
                    </a:cubicBezTo>
                    <a:cubicBezTo>
                      <a:pt x="538200" y="623181"/>
                      <a:pt x="555705" y="605682"/>
                      <a:pt x="577298" y="605682"/>
                    </a:cubicBezTo>
                    <a:close/>
                    <a:moveTo>
                      <a:pt x="485012" y="605682"/>
                    </a:moveTo>
                    <a:cubicBezTo>
                      <a:pt x="506598" y="605682"/>
                      <a:pt x="524097" y="623181"/>
                      <a:pt x="524097" y="644768"/>
                    </a:cubicBezTo>
                    <a:cubicBezTo>
                      <a:pt x="524097" y="666356"/>
                      <a:pt x="506598" y="683855"/>
                      <a:pt x="485012" y="683855"/>
                    </a:cubicBezTo>
                    <a:cubicBezTo>
                      <a:pt x="463415" y="683855"/>
                      <a:pt x="445938" y="666356"/>
                      <a:pt x="445938" y="644768"/>
                    </a:cubicBezTo>
                    <a:cubicBezTo>
                      <a:pt x="445938" y="623181"/>
                      <a:pt x="463415" y="605682"/>
                      <a:pt x="485012" y="605682"/>
                    </a:cubicBezTo>
                    <a:close/>
                    <a:moveTo>
                      <a:pt x="390363" y="605682"/>
                    </a:moveTo>
                    <a:cubicBezTo>
                      <a:pt x="411947" y="605682"/>
                      <a:pt x="429464" y="623181"/>
                      <a:pt x="429464" y="644768"/>
                    </a:cubicBezTo>
                    <a:cubicBezTo>
                      <a:pt x="429464" y="666356"/>
                      <a:pt x="411947" y="683855"/>
                      <a:pt x="390363" y="683855"/>
                    </a:cubicBezTo>
                    <a:cubicBezTo>
                      <a:pt x="368797" y="683855"/>
                      <a:pt x="351296" y="666356"/>
                      <a:pt x="351296" y="644768"/>
                    </a:cubicBezTo>
                    <a:cubicBezTo>
                      <a:pt x="351296" y="623181"/>
                      <a:pt x="368797" y="605682"/>
                      <a:pt x="390363" y="605682"/>
                    </a:cubicBezTo>
                    <a:close/>
                    <a:moveTo>
                      <a:pt x="298093" y="605682"/>
                    </a:moveTo>
                    <a:cubicBezTo>
                      <a:pt x="319673" y="605682"/>
                      <a:pt x="337193" y="623181"/>
                      <a:pt x="337193" y="644768"/>
                    </a:cubicBezTo>
                    <a:cubicBezTo>
                      <a:pt x="337193" y="666356"/>
                      <a:pt x="319673" y="683855"/>
                      <a:pt x="298093" y="683855"/>
                    </a:cubicBezTo>
                    <a:cubicBezTo>
                      <a:pt x="276501" y="683855"/>
                      <a:pt x="259002" y="666356"/>
                      <a:pt x="259002" y="644768"/>
                    </a:cubicBezTo>
                    <a:cubicBezTo>
                      <a:pt x="259002" y="623181"/>
                      <a:pt x="276501" y="605682"/>
                      <a:pt x="298093" y="605682"/>
                    </a:cubicBezTo>
                    <a:close/>
                    <a:moveTo>
                      <a:pt x="327714" y="529629"/>
                    </a:moveTo>
                    <a:lnTo>
                      <a:pt x="337200" y="552513"/>
                    </a:lnTo>
                    <a:cubicBezTo>
                      <a:pt x="337200" y="574082"/>
                      <a:pt x="319679" y="591582"/>
                      <a:pt x="298099" y="591582"/>
                    </a:cubicBezTo>
                    <a:lnTo>
                      <a:pt x="285337" y="586297"/>
                    </a:lnTo>
                    <a:close/>
                    <a:moveTo>
                      <a:pt x="3205817" y="513426"/>
                    </a:moveTo>
                    <a:cubicBezTo>
                      <a:pt x="3227404" y="513426"/>
                      <a:pt x="3244904" y="530925"/>
                      <a:pt x="3244904" y="552512"/>
                    </a:cubicBezTo>
                    <a:cubicBezTo>
                      <a:pt x="3244904" y="574082"/>
                      <a:pt x="3227404" y="591582"/>
                      <a:pt x="3205817" y="591582"/>
                    </a:cubicBezTo>
                    <a:cubicBezTo>
                      <a:pt x="3184229" y="591582"/>
                      <a:pt x="3166729" y="574082"/>
                      <a:pt x="3166729" y="552512"/>
                    </a:cubicBezTo>
                    <a:cubicBezTo>
                      <a:pt x="3166729" y="530925"/>
                      <a:pt x="3184229" y="513426"/>
                      <a:pt x="3205817" y="513426"/>
                    </a:cubicBezTo>
                    <a:close/>
                    <a:moveTo>
                      <a:pt x="3111175" y="513426"/>
                    </a:moveTo>
                    <a:cubicBezTo>
                      <a:pt x="3132763" y="513426"/>
                      <a:pt x="3150263" y="530925"/>
                      <a:pt x="3150263" y="552512"/>
                    </a:cubicBezTo>
                    <a:cubicBezTo>
                      <a:pt x="3150263" y="574082"/>
                      <a:pt x="3132763" y="591582"/>
                      <a:pt x="3111175" y="591582"/>
                    </a:cubicBezTo>
                    <a:cubicBezTo>
                      <a:pt x="3089588" y="591582"/>
                      <a:pt x="3072088" y="574082"/>
                      <a:pt x="3072088" y="552512"/>
                    </a:cubicBezTo>
                    <a:cubicBezTo>
                      <a:pt x="3072088" y="530925"/>
                      <a:pt x="3089588" y="513426"/>
                      <a:pt x="3111175" y="513426"/>
                    </a:cubicBezTo>
                    <a:close/>
                    <a:moveTo>
                      <a:pt x="3018902" y="513426"/>
                    </a:moveTo>
                    <a:cubicBezTo>
                      <a:pt x="3040489" y="513426"/>
                      <a:pt x="3057989" y="530925"/>
                      <a:pt x="3057989" y="552512"/>
                    </a:cubicBezTo>
                    <a:cubicBezTo>
                      <a:pt x="3057989" y="574082"/>
                      <a:pt x="3040489" y="591582"/>
                      <a:pt x="3018902" y="591582"/>
                    </a:cubicBezTo>
                    <a:cubicBezTo>
                      <a:pt x="2997315" y="591582"/>
                      <a:pt x="2979815" y="574082"/>
                      <a:pt x="2979815" y="552512"/>
                    </a:cubicBezTo>
                    <a:cubicBezTo>
                      <a:pt x="2979815" y="530925"/>
                      <a:pt x="2997315" y="513426"/>
                      <a:pt x="3018902" y="513426"/>
                    </a:cubicBezTo>
                    <a:close/>
                    <a:moveTo>
                      <a:pt x="2924263" y="513426"/>
                    </a:moveTo>
                    <a:cubicBezTo>
                      <a:pt x="2945850" y="513426"/>
                      <a:pt x="2963349" y="530925"/>
                      <a:pt x="2963349" y="552512"/>
                    </a:cubicBezTo>
                    <a:cubicBezTo>
                      <a:pt x="2963349" y="574082"/>
                      <a:pt x="2945850" y="591582"/>
                      <a:pt x="2924263" y="591582"/>
                    </a:cubicBezTo>
                    <a:cubicBezTo>
                      <a:pt x="2902675" y="591582"/>
                      <a:pt x="2885175" y="574082"/>
                      <a:pt x="2885175" y="552512"/>
                    </a:cubicBezTo>
                    <a:cubicBezTo>
                      <a:pt x="2885175" y="530925"/>
                      <a:pt x="2902675" y="513426"/>
                      <a:pt x="2924263" y="513426"/>
                    </a:cubicBezTo>
                    <a:close/>
                    <a:moveTo>
                      <a:pt x="2831988" y="513426"/>
                    </a:moveTo>
                    <a:cubicBezTo>
                      <a:pt x="2853575" y="513426"/>
                      <a:pt x="2871075" y="530925"/>
                      <a:pt x="2871075" y="552512"/>
                    </a:cubicBezTo>
                    <a:cubicBezTo>
                      <a:pt x="2871075" y="574082"/>
                      <a:pt x="2853575" y="591582"/>
                      <a:pt x="2831988" y="591582"/>
                    </a:cubicBezTo>
                    <a:cubicBezTo>
                      <a:pt x="2810401" y="591582"/>
                      <a:pt x="2792901" y="574082"/>
                      <a:pt x="2792901" y="552512"/>
                    </a:cubicBezTo>
                    <a:cubicBezTo>
                      <a:pt x="2792901" y="530925"/>
                      <a:pt x="2810401" y="513426"/>
                      <a:pt x="2831988" y="513426"/>
                    </a:cubicBezTo>
                    <a:close/>
                    <a:moveTo>
                      <a:pt x="1984971" y="513426"/>
                    </a:moveTo>
                    <a:cubicBezTo>
                      <a:pt x="2006563" y="513426"/>
                      <a:pt x="2024068" y="530925"/>
                      <a:pt x="2024068" y="552513"/>
                    </a:cubicBezTo>
                    <a:cubicBezTo>
                      <a:pt x="2024068" y="574082"/>
                      <a:pt x="2006563" y="591582"/>
                      <a:pt x="1984971" y="591582"/>
                    </a:cubicBezTo>
                    <a:cubicBezTo>
                      <a:pt x="1963377" y="591582"/>
                      <a:pt x="1945873" y="574082"/>
                      <a:pt x="1945873" y="552513"/>
                    </a:cubicBezTo>
                    <a:cubicBezTo>
                      <a:pt x="1945873" y="530925"/>
                      <a:pt x="1963377" y="513426"/>
                      <a:pt x="1984971" y="513426"/>
                    </a:cubicBezTo>
                    <a:close/>
                    <a:moveTo>
                      <a:pt x="1890340" y="513426"/>
                    </a:moveTo>
                    <a:cubicBezTo>
                      <a:pt x="1911917" y="513426"/>
                      <a:pt x="1929413" y="530925"/>
                      <a:pt x="1929413" y="552513"/>
                    </a:cubicBezTo>
                    <a:cubicBezTo>
                      <a:pt x="1929413" y="574082"/>
                      <a:pt x="1911917" y="591582"/>
                      <a:pt x="1890340" y="591582"/>
                    </a:cubicBezTo>
                    <a:cubicBezTo>
                      <a:pt x="1868762" y="591582"/>
                      <a:pt x="1851255" y="574082"/>
                      <a:pt x="1851255" y="552513"/>
                    </a:cubicBezTo>
                    <a:cubicBezTo>
                      <a:pt x="1851255" y="530925"/>
                      <a:pt x="1868762" y="513426"/>
                      <a:pt x="1890340" y="513426"/>
                    </a:cubicBezTo>
                    <a:close/>
                    <a:moveTo>
                      <a:pt x="1798073" y="513426"/>
                    </a:moveTo>
                    <a:cubicBezTo>
                      <a:pt x="1819663" y="513426"/>
                      <a:pt x="1837149" y="530925"/>
                      <a:pt x="1837149" y="552513"/>
                    </a:cubicBezTo>
                    <a:cubicBezTo>
                      <a:pt x="1837149" y="574082"/>
                      <a:pt x="1819663" y="591582"/>
                      <a:pt x="1798073" y="591582"/>
                    </a:cubicBezTo>
                    <a:cubicBezTo>
                      <a:pt x="1776483" y="591582"/>
                      <a:pt x="1758966" y="574082"/>
                      <a:pt x="1758966" y="552513"/>
                    </a:cubicBezTo>
                    <a:cubicBezTo>
                      <a:pt x="1758966" y="530925"/>
                      <a:pt x="1776483" y="513426"/>
                      <a:pt x="1798073" y="513426"/>
                    </a:cubicBezTo>
                    <a:close/>
                    <a:moveTo>
                      <a:pt x="1703432" y="513426"/>
                    </a:moveTo>
                    <a:cubicBezTo>
                      <a:pt x="1725011" y="513426"/>
                      <a:pt x="1742522" y="530925"/>
                      <a:pt x="1742522" y="552513"/>
                    </a:cubicBezTo>
                    <a:cubicBezTo>
                      <a:pt x="1742522" y="574082"/>
                      <a:pt x="1725011" y="591582"/>
                      <a:pt x="1703432" y="591582"/>
                    </a:cubicBezTo>
                    <a:cubicBezTo>
                      <a:pt x="1681839" y="591582"/>
                      <a:pt x="1664351" y="574082"/>
                      <a:pt x="1664351" y="552513"/>
                    </a:cubicBezTo>
                    <a:cubicBezTo>
                      <a:pt x="1664351" y="530925"/>
                      <a:pt x="1681839" y="513426"/>
                      <a:pt x="1703432" y="513426"/>
                    </a:cubicBezTo>
                    <a:close/>
                    <a:moveTo>
                      <a:pt x="1611151" y="513426"/>
                    </a:moveTo>
                    <a:cubicBezTo>
                      <a:pt x="1632741" y="513426"/>
                      <a:pt x="1650245" y="530925"/>
                      <a:pt x="1650245" y="552513"/>
                    </a:cubicBezTo>
                    <a:cubicBezTo>
                      <a:pt x="1650245" y="574082"/>
                      <a:pt x="1632741" y="591582"/>
                      <a:pt x="1611151" y="591582"/>
                    </a:cubicBezTo>
                    <a:cubicBezTo>
                      <a:pt x="1589645" y="591582"/>
                      <a:pt x="1572147" y="574082"/>
                      <a:pt x="1572147" y="552513"/>
                    </a:cubicBezTo>
                    <a:cubicBezTo>
                      <a:pt x="1572147" y="530925"/>
                      <a:pt x="1589645" y="513426"/>
                      <a:pt x="1611151" y="513426"/>
                    </a:cubicBezTo>
                    <a:close/>
                    <a:moveTo>
                      <a:pt x="1232682" y="513426"/>
                    </a:moveTo>
                    <a:cubicBezTo>
                      <a:pt x="1254268" y="513426"/>
                      <a:pt x="1271755" y="530925"/>
                      <a:pt x="1271755" y="552513"/>
                    </a:cubicBezTo>
                    <a:cubicBezTo>
                      <a:pt x="1271755" y="574082"/>
                      <a:pt x="1254268" y="591582"/>
                      <a:pt x="1232682" y="591582"/>
                    </a:cubicBezTo>
                    <a:cubicBezTo>
                      <a:pt x="1211090" y="591582"/>
                      <a:pt x="1193598" y="574082"/>
                      <a:pt x="1193598" y="552513"/>
                    </a:cubicBezTo>
                    <a:cubicBezTo>
                      <a:pt x="1193598" y="530925"/>
                      <a:pt x="1211090" y="513426"/>
                      <a:pt x="1232682" y="513426"/>
                    </a:cubicBezTo>
                    <a:close/>
                    <a:moveTo>
                      <a:pt x="1142769" y="513426"/>
                    </a:moveTo>
                    <a:cubicBezTo>
                      <a:pt x="1164361" y="513426"/>
                      <a:pt x="1181859" y="530925"/>
                      <a:pt x="1181859" y="552513"/>
                    </a:cubicBezTo>
                    <a:cubicBezTo>
                      <a:pt x="1181859" y="574082"/>
                      <a:pt x="1164361" y="591582"/>
                      <a:pt x="1142769" y="591582"/>
                    </a:cubicBezTo>
                    <a:cubicBezTo>
                      <a:pt x="1121175" y="591582"/>
                      <a:pt x="1103669" y="574082"/>
                      <a:pt x="1103669" y="552513"/>
                    </a:cubicBezTo>
                    <a:cubicBezTo>
                      <a:pt x="1103669" y="530925"/>
                      <a:pt x="1121175" y="513426"/>
                      <a:pt x="1142769" y="513426"/>
                    </a:cubicBezTo>
                    <a:close/>
                    <a:moveTo>
                      <a:pt x="1045741" y="513426"/>
                    </a:moveTo>
                    <a:cubicBezTo>
                      <a:pt x="1067327" y="513426"/>
                      <a:pt x="1084832" y="530925"/>
                      <a:pt x="1084832" y="552513"/>
                    </a:cubicBezTo>
                    <a:cubicBezTo>
                      <a:pt x="1084832" y="574082"/>
                      <a:pt x="1067327" y="591582"/>
                      <a:pt x="1045741" y="591582"/>
                    </a:cubicBezTo>
                    <a:cubicBezTo>
                      <a:pt x="1024158" y="591582"/>
                      <a:pt x="1006661" y="574082"/>
                      <a:pt x="1006661" y="552513"/>
                    </a:cubicBezTo>
                    <a:cubicBezTo>
                      <a:pt x="1006661" y="530925"/>
                      <a:pt x="1024158" y="513426"/>
                      <a:pt x="1045741" y="513426"/>
                    </a:cubicBezTo>
                    <a:close/>
                    <a:moveTo>
                      <a:pt x="951119" y="513426"/>
                    </a:moveTo>
                    <a:cubicBezTo>
                      <a:pt x="972700" y="513426"/>
                      <a:pt x="990197" y="530925"/>
                      <a:pt x="990197" y="552513"/>
                    </a:cubicBezTo>
                    <a:cubicBezTo>
                      <a:pt x="990197" y="574082"/>
                      <a:pt x="972700" y="591582"/>
                      <a:pt x="951119" y="591582"/>
                    </a:cubicBezTo>
                    <a:cubicBezTo>
                      <a:pt x="929534" y="591582"/>
                      <a:pt x="912036" y="574082"/>
                      <a:pt x="912036" y="552513"/>
                    </a:cubicBezTo>
                    <a:cubicBezTo>
                      <a:pt x="912036" y="530925"/>
                      <a:pt x="929534" y="513426"/>
                      <a:pt x="951119" y="513426"/>
                    </a:cubicBezTo>
                    <a:close/>
                    <a:moveTo>
                      <a:pt x="856494" y="513426"/>
                    </a:moveTo>
                    <a:cubicBezTo>
                      <a:pt x="878077" y="513426"/>
                      <a:pt x="895574" y="530925"/>
                      <a:pt x="895574" y="552513"/>
                    </a:cubicBezTo>
                    <a:cubicBezTo>
                      <a:pt x="895574" y="574082"/>
                      <a:pt x="878077" y="591582"/>
                      <a:pt x="856494" y="591582"/>
                    </a:cubicBezTo>
                    <a:cubicBezTo>
                      <a:pt x="834910" y="591582"/>
                      <a:pt x="817413" y="574082"/>
                      <a:pt x="817413" y="552513"/>
                    </a:cubicBezTo>
                    <a:cubicBezTo>
                      <a:pt x="817413" y="530925"/>
                      <a:pt x="834910" y="513426"/>
                      <a:pt x="856494" y="513426"/>
                    </a:cubicBezTo>
                    <a:close/>
                    <a:moveTo>
                      <a:pt x="764235" y="513426"/>
                    </a:moveTo>
                    <a:cubicBezTo>
                      <a:pt x="785818" y="513426"/>
                      <a:pt x="803316" y="530925"/>
                      <a:pt x="803316" y="552513"/>
                    </a:cubicBezTo>
                    <a:cubicBezTo>
                      <a:pt x="803316" y="574082"/>
                      <a:pt x="785818" y="591582"/>
                      <a:pt x="764235" y="591582"/>
                    </a:cubicBezTo>
                    <a:cubicBezTo>
                      <a:pt x="742642" y="591582"/>
                      <a:pt x="725152" y="574082"/>
                      <a:pt x="725152" y="552513"/>
                    </a:cubicBezTo>
                    <a:cubicBezTo>
                      <a:pt x="725152" y="530925"/>
                      <a:pt x="742642" y="513426"/>
                      <a:pt x="764235" y="513426"/>
                    </a:cubicBezTo>
                    <a:close/>
                    <a:moveTo>
                      <a:pt x="669584" y="513426"/>
                    </a:moveTo>
                    <a:cubicBezTo>
                      <a:pt x="691193" y="513426"/>
                      <a:pt x="708691" y="530925"/>
                      <a:pt x="708691" y="552513"/>
                    </a:cubicBezTo>
                    <a:cubicBezTo>
                      <a:pt x="708691" y="574082"/>
                      <a:pt x="691193" y="591582"/>
                      <a:pt x="669584" y="591582"/>
                    </a:cubicBezTo>
                    <a:cubicBezTo>
                      <a:pt x="648018" y="591582"/>
                      <a:pt x="630513" y="574082"/>
                      <a:pt x="630513" y="552513"/>
                    </a:cubicBezTo>
                    <a:cubicBezTo>
                      <a:pt x="630513" y="530925"/>
                      <a:pt x="648018" y="513426"/>
                      <a:pt x="669584" y="513426"/>
                    </a:cubicBezTo>
                    <a:close/>
                    <a:moveTo>
                      <a:pt x="577307" y="513426"/>
                    </a:moveTo>
                    <a:cubicBezTo>
                      <a:pt x="598901" y="513426"/>
                      <a:pt x="616408" y="530925"/>
                      <a:pt x="616408" y="552513"/>
                    </a:cubicBezTo>
                    <a:cubicBezTo>
                      <a:pt x="616408" y="574082"/>
                      <a:pt x="598901" y="591582"/>
                      <a:pt x="577307" y="591582"/>
                    </a:cubicBezTo>
                    <a:cubicBezTo>
                      <a:pt x="555715" y="591582"/>
                      <a:pt x="538207" y="574082"/>
                      <a:pt x="538207" y="552513"/>
                    </a:cubicBezTo>
                    <a:cubicBezTo>
                      <a:pt x="538207" y="530925"/>
                      <a:pt x="555715" y="513426"/>
                      <a:pt x="577307" y="513426"/>
                    </a:cubicBezTo>
                    <a:close/>
                    <a:moveTo>
                      <a:pt x="485015" y="513426"/>
                    </a:moveTo>
                    <a:cubicBezTo>
                      <a:pt x="506608" y="513426"/>
                      <a:pt x="524104" y="530925"/>
                      <a:pt x="524104" y="552513"/>
                    </a:cubicBezTo>
                    <a:cubicBezTo>
                      <a:pt x="524104" y="574082"/>
                      <a:pt x="506608" y="591582"/>
                      <a:pt x="485015" y="591582"/>
                    </a:cubicBezTo>
                    <a:cubicBezTo>
                      <a:pt x="463419" y="591582"/>
                      <a:pt x="445948" y="574082"/>
                      <a:pt x="445948" y="552513"/>
                    </a:cubicBezTo>
                    <a:cubicBezTo>
                      <a:pt x="445948" y="530925"/>
                      <a:pt x="463419" y="513426"/>
                      <a:pt x="485015" y="513426"/>
                    </a:cubicBezTo>
                    <a:close/>
                    <a:moveTo>
                      <a:pt x="390371" y="513426"/>
                    </a:moveTo>
                    <a:cubicBezTo>
                      <a:pt x="411958" y="513426"/>
                      <a:pt x="429471" y="530925"/>
                      <a:pt x="429471" y="552513"/>
                    </a:cubicBezTo>
                    <a:cubicBezTo>
                      <a:pt x="429471" y="574082"/>
                      <a:pt x="411958" y="591582"/>
                      <a:pt x="390371" y="591582"/>
                    </a:cubicBezTo>
                    <a:cubicBezTo>
                      <a:pt x="368803" y="591582"/>
                      <a:pt x="351303" y="574082"/>
                      <a:pt x="351303" y="552513"/>
                    </a:cubicBezTo>
                    <a:cubicBezTo>
                      <a:pt x="351303" y="530925"/>
                      <a:pt x="368803" y="513426"/>
                      <a:pt x="390371" y="513426"/>
                    </a:cubicBezTo>
                    <a:close/>
                    <a:moveTo>
                      <a:pt x="409794" y="438656"/>
                    </a:moveTo>
                    <a:lnTo>
                      <a:pt x="418018" y="442062"/>
                    </a:lnTo>
                    <a:cubicBezTo>
                      <a:pt x="425096" y="449136"/>
                      <a:pt x="429475" y="458908"/>
                      <a:pt x="429475" y="469700"/>
                    </a:cubicBezTo>
                    <a:cubicBezTo>
                      <a:pt x="429475" y="491287"/>
                      <a:pt x="411958" y="508788"/>
                      <a:pt x="390371" y="508788"/>
                    </a:cubicBezTo>
                    <a:cubicBezTo>
                      <a:pt x="379591" y="508788"/>
                      <a:pt x="369825" y="504413"/>
                      <a:pt x="362754" y="497339"/>
                    </a:cubicBezTo>
                    <a:lnTo>
                      <a:pt x="360783" y="492581"/>
                    </a:lnTo>
                    <a:close/>
                    <a:moveTo>
                      <a:pt x="3111175" y="430614"/>
                    </a:moveTo>
                    <a:cubicBezTo>
                      <a:pt x="3132763" y="430614"/>
                      <a:pt x="3150263" y="448115"/>
                      <a:pt x="3150263" y="469701"/>
                    </a:cubicBezTo>
                    <a:cubicBezTo>
                      <a:pt x="3150263" y="491287"/>
                      <a:pt x="3132763" y="508790"/>
                      <a:pt x="3111175" y="508790"/>
                    </a:cubicBezTo>
                    <a:cubicBezTo>
                      <a:pt x="3089588" y="508790"/>
                      <a:pt x="3072088" y="491287"/>
                      <a:pt x="3072088" y="469701"/>
                    </a:cubicBezTo>
                    <a:cubicBezTo>
                      <a:pt x="3072088" y="448115"/>
                      <a:pt x="3089588" y="430614"/>
                      <a:pt x="3111175" y="430614"/>
                    </a:cubicBezTo>
                    <a:close/>
                    <a:moveTo>
                      <a:pt x="3018902" y="430614"/>
                    </a:moveTo>
                    <a:cubicBezTo>
                      <a:pt x="3040489" y="430614"/>
                      <a:pt x="3057989" y="448115"/>
                      <a:pt x="3057989" y="469701"/>
                    </a:cubicBezTo>
                    <a:cubicBezTo>
                      <a:pt x="3057989" y="491287"/>
                      <a:pt x="3040489" y="508790"/>
                      <a:pt x="3018902" y="508790"/>
                    </a:cubicBezTo>
                    <a:cubicBezTo>
                      <a:pt x="2997315" y="508790"/>
                      <a:pt x="2979815" y="491287"/>
                      <a:pt x="2979815" y="469701"/>
                    </a:cubicBezTo>
                    <a:cubicBezTo>
                      <a:pt x="2979815" y="448115"/>
                      <a:pt x="2997315" y="430614"/>
                      <a:pt x="3018902" y="430614"/>
                    </a:cubicBezTo>
                    <a:close/>
                    <a:moveTo>
                      <a:pt x="2924263" y="430613"/>
                    </a:moveTo>
                    <a:cubicBezTo>
                      <a:pt x="2945850" y="430613"/>
                      <a:pt x="2963349" y="448114"/>
                      <a:pt x="2963349" y="469699"/>
                    </a:cubicBezTo>
                    <a:cubicBezTo>
                      <a:pt x="2963349" y="491287"/>
                      <a:pt x="2945850" y="508788"/>
                      <a:pt x="2924263" y="508788"/>
                    </a:cubicBezTo>
                    <a:cubicBezTo>
                      <a:pt x="2902675" y="508788"/>
                      <a:pt x="2885175" y="491287"/>
                      <a:pt x="2885175" y="469699"/>
                    </a:cubicBezTo>
                    <a:cubicBezTo>
                      <a:pt x="2885175" y="448114"/>
                      <a:pt x="2902675" y="430613"/>
                      <a:pt x="2924263" y="430613"/>
                    </a:cubicBezTo>
                    <a:close/>
                    <a:moveTo>
                      <a:pt x="2079618" y="430613"/>
                    </a:moveTo>
                    <a:cubicBezTo>
                      <a:pt x="2101211" y="430613"/>
                      <a:pt x="2118703" y="448114"/>
                      <a:pt x="2118703" y="469699"/>
                    </a:cubicBezTo>
                    <a:cubicBezTo>
                      <a:pt x="2118703" y="491287"/>
                      <a:pt x="2101211" y="508788"/>
                      <a:pt x="2079618" y="508788"/>
                    </a:cubicBezTo>
                    <a:cubicBezTo>
                      <a:pt x="2058036" y="508788"/>
                      <a:pt x="2040537" y="491287"/>
                      <a:pt x="2040537" y="469699"/>
                    </a:cubicBezTo>
                    <a:cubicBezTo>
                      <a:pt x="2040537" y="448114"/>
                      <a:pt x="2058036" y="430613"/>
                      <a:pt x="2079618" y="430613"/>
                    </a:cubicBezTo>
                    <a:close/>
                    <a:moveTo>
                      <a:pt x="1984971" y="430613"/>
                    </a:moveTo>
                    <a:cubicBezTo>
                      <a:pt x="2006563" y="430613"/>
                      <a:pt x="2024068" y="448114"/>
                      <a:pt x="2024068" y="469699"/>
                    </a:cubicBezTo>
                    <a:cubicBezTo>
                      <a:pt x="2024068" y="491287"/>
                      <a:pt x="2006563" y="508788"/>
                      <a:pt x="1984971" y="508788"/>
                    </a:cubicBezTo>
                    <a:cubicBezTo>
                      <a:pt x="1963377" y="508788"/>
                      <a:pt x="1945873" y="491287"/>
                      <a:pt x="1945873" y="469699"/>
                    </a:cubicBezTo>
                    <a:cubicBezTo>
                      <a:pt x="1945873" y="448114"/>
                      <a:pt x="1963377" y="430613"/>
                      <a:pt x="1984971" y="430613"/>
                    </a:cubicBezTo>
                    <a:close/>
                    <a:moveTo>
                      <a:pt x="1890340" y="430613"/>
                    </a:moveTo>
                    <a:cubicBezTo>
                      <a:pt x="1911917" y="430613"/>
                      <a:pt x="1929413" y="448114"/>
                      <a:pt x="1929413" y="469699"/>
                    </a:cubicBezTo>
                    <a:cubicBezTo>
                      <a:pt x="1929413" y="491287"/>
                      <a:pt x="1911917" y="508788"/>
                      <a:pt x="1890340" y="508788"/>
                    </a:cubicBezTo>
                    <a:cubicBezTo>
                      <a:pt x="1868762" y="508788"/>
                      <a:pt x="1851255" y="491287"/>
                      <a:pt x="1851255" y="469699"/>
                    </a:cubicBezTo>
                    <a:cubicBezTo>
                      <a:pt x="1851255" y="448114"/>
                      <a:pt x="1868762" y="430613"/>
                      <a:pt x="1890340" y="430613"/>
                    </a:cubicBezTo>
                    <a:close/>
                    <a:moveTo>
                      <a:pt x="1798073" y="430613"/>
                    </a:moveTo>
                    <a:cubicBezTo>
                      <a:pt x="1819663" y="430613"/>
                      <a:pt x="1837149" y="448114"/>
                      <a:pt x="1837149" y="469699"/>
                    </a:cubicBezTo>
                    <a:cubicBezTo>
                      <a:pt x="1837149" y="491287"/>
                      <a:pt x="1819663" y="508788"/>
                      <a:pt x="1798073" y="508788"/>
                    </a:cubicBezTo>
                    <a:cubicBezTo>
                      <a:pt x="1776483" y="508788"/>
                      <a:pt x="1758966" y="491287"/>
                      <a:pt x="1758966" y="469699"/>
                    </a:cubicBezTo>
                    <a:cubicBezTo>
                      <a:pt x="1758966" y="448114"/>
                      <a:pt x="1776483" y="430613"/>
                      <a:pt x="1798073" y="430613"/>
                    </a:cubicBezTo>
                    <a:close/>
                    <a:moveTo>
                      <a:pt x="1703435" y="430613"/>
                    </a:moveTo>
                    <a:cubicBezTo>
                      <a:pt x="1725015" y="430613"/>
                      <a:pt x="1742524" y="448114"/>
                      <a:pt x="1742524" y="469699"/>
                    </a:cubicBezTo>
                    <a:cubicBezTo>
                      <a:pt x="1742524" y="491287"/>
                      <a:pt x="1725015" y="508788"/>
                      <a:pt x="1703435" y="508788"/>
                    </a:cubicBezTo>
                    <a:cubicBezTo>
                      <a:pt x="1681841" y="508788"/>
                      <a:pt x="1664351" y="491287"/>
                      <a:pt x="1664351" y="469699"/>
                    </a:cubicBezTo>
                    <a:cubicBezTo>
                      <a:pt x="1664351" y="448114"/>
                      <a:pt x="1681841" y="430613"/>
                      <a:pt x="1703435" y="430613"/>
                    </a:cubicBezTo>
                    <a:close/>
                    <a:moveTo>
                      <a:pt x="1611151" y="430613"/>
                    </a:moveTo>
                    <a:cubicBezTo>
                      <a:pt x="1632741" y="430613"/>
                      <a:pt x="1650245" y="448114"/>
                      <a:pt x="1650245" y="469699"/>
                    </a:cubicBezTo>
                    <a:cubicBezTo>
                      <a:pt x="1650245" y="491287"/>
                      <a:pt x="1632741" y="508788"/>
                      <a:pt x="1611151" y="508788"/>
                    </a:cubicBezTo>
                    <a:cubicBezTo>
                      <a:pt x="1589649" y="508788"/>
                      <a:pt x="1572151" y="491287"/>
                      <a:pt x="1572151" y="469699"/>
                    </a:cubicBezTo>
                    <a:cubicBezTo>
                      <a:pt x="1572151" y="448114"/>
                      <a:pt x="1589649" y="430613"/>
                      <a:pt x="1611151" y="430613"/>
                    </a:cubicBezTo>
                    <a:close/>
                    <a:moveTo>
                      <a:pt x="1516598" y="430613"/>
                    </a:moveTo>
                    <a:cubicBezTo>
                      <a:pt x="1538184" y="430613"/>
                      <a:pt x="1555687" y="448114"/>
                      <a:pt x="1555687" y="469699"/>
                    </a:cubicBezTo>
                    <a:cubicBezTo>
                      <a:pt x="1555687" y="491287"/>
                      <a:pt x="1538184" y="508788"/>
                      <a:pt x="1516598" y="508788"/>
                    </a:cubicBezTo>
                    <a:cubicBezTo>
                      <a:pt x="1495008" y="508788"/>
                      <a:pt x="1477507" y="491287"/>
                      <a:pt x="1477507" y="469699"/>
                    </a:cubicBezTo>
                    <a:cubicBezTo>
                      <a:pt x="1477507" y="448114"/>
                      <a:pt x="1495008" y="430613"/>
                      <a:pt x="1516598" y="430613"/>
                    </a:cubicBezTo>
                    <a:close/>
                    <a:moveTo>
                      <a:pt x="1045749" y="430613"/>
                    </a:moveTo>
                    <a:cubicBezTo>
                      <a:pt x="1067333" y="430613"/>
                      <a:pt x="1084837" y="448114"/>
                      <a:pt x="1084837" y="469699"/>
                    </a:cubicBezTo>
                    <a:cubicBezTo>
                      <a:pt x="1084837" y="491287"/>
                      <a:pt x="1067333" y="508788"/>
                      <a:pt x="1045749" y="508788"/>
                    </a:cubicBezTo>
                    <a:cubicBezTo>
                      <a:pt x="1024164" y="508788"/>
                      <a:pt x="1006666" y="491287"/>
                      <a:pt x="1006666" y="469699"/>
                    </a:cubicBezTo>
                    <a:cubicBezTo>
                      <a:pt x="1006666" y="448114"/>
                      <a:pt x="1024164" y="430613"/>
                      <a:pt x="1045749" y="430613"/>
                    </a:cubicBezTo>
                    <a:close/>
                    <a:moveTo>
                      <a:pt x="951124" y="430613"/>
                    </a:moveTo>
                    <a:cubicBezTo>
                      <a:pt x="972705" y="430613"/>
                      <a:pt x="990202" y="448114"/>
                      <a:pt x="990202" y="469699"/>
                    </a:cubicBezTo>
                    <a:cubicBezTo>
                      <a:pt x="990202" y="491287"/>
                      <a:pt x="972705" y="508788"/>
                      <a:pt x="951124" y="508788"/>
                    </a:cubicBezTo>
                    <a:cubicBezTo>
                      <a:pt x="929541" y="508788"/>
                      <a:pt x="912041" y="491287"/>
                      <a:pt x="912041" y="469699"/>
                    </a:cubicBezTo>
                    <a:cubicBezTo>
                      <a:pt x="912041" y="448114"/>
                      <a:pt x="929541" y="430613"/>
                      <a:pt x="951124" y="430613"/>
                    </a:cubicBezTo>
                    <a:close/>
                    <a:moveTo>
                      <a:pt x="856499" y="430613"/>
                    </a:moveTo>
                    <a:cubicBezTo>
                      <a:pt x="878082" y="430613"/>
                      <a:pt x="895578" y="448115"/>
                      <a:pt x="895578" y="469699"/>
                    </a:cubicBezTo>
                    <a:cubicBezTo>
                      <a:pt x="895578" y="491287"/>
                      <a:pt x="878082" y="508788"/>
                      <a:pt x="856499" y="508788"/>
                    </a:cubicBezTo>
                    <a:cubicBezTo>
                      <a:pt x="834915" y="508788"/>
                      <a:pt x="817418" y="491287"/>
                      <a:pt x="817418" y="469699"/>
                    </a:cubicBezTo>
                    <a:cubicBezTo>
                      <a:pt x="817418" y="448115"/>
                      <a:pt x="834915" y="430613"/>
                      <a:pt x="856499" y="430613"/>
                    </a:cubicBezTo>
                    <a:close/>
                    <a:moveTo>
                      <a:pt x="764240" y="430613"/>
                    </a:moveTo>
                    <a:cubicBezTo>
                      <a:pt x="785824" y="430613"/>
                      <a:pt x="803321" y="448115"/>
                      <a:pt x="803321" y="469699"/>
                    </a:cubicBezTo>
                    <a:cubicBezTo>
                      <a:pt x="803321" y="491287"/>
                      <a:pt x="785824" y="508788"/>
                      <a:pt x="764240" y="508788"/>
                    </a:cubicBezTo>
                    <a:cubicBezTo>
                      <a:pt x="742646" y="508788"/>
                      <a:pt x="725157" y="491287"/>
                      <a:pt x="725157" y="469699"/>
                    </a:cubicBezTo>
                    <a:cubicBezTo>
                      <a:pt x="725157" y="448115"/>
                      <a:pt x="742646" y="430613"/>
                      <a:pt x="764240" y="430613"/>
                    </a:cubicBezTo>
                    <a:close/>
                    <a:moveTo>
                      <a:pt x="669597" y="430613"/>
                    </a:moveTo>
                    <a:cubicBezTo>
                      <a:pt x="691199" y="430613"/>
                      <a:pt x="708695" y="448115"/>
                      <a:pt x="708695" y="469699"/>
                    </a:cubicBezTo>
                    <a:cubicBezTo>
                      <a:pt x="708695" y="491287"/>
                      <a:pt x="691199" y="508788"/>
                      <a:pt x="669597" y="508788"/>
                    </a:cubicBezTo>
                    <a:cubicBezTo>
                      <a:pt x="648023" y="508788"/>
                      <a:pt x="630517" y="491287"/>
                      <a:pt x="630517" y="469699"/>
                    </a:cubicBezTo>
                    <a:cubicBezTo>
                      <a:pt x="630517" y="448115"/>
                      <a:pt x="648023" y="430613"/>
                      <a:pt x="669597" y="430613"/>
                    </a:cubicBezTo>
                    <a:close/>
                    <a:moveTo>
                      <a:pt x="577311" y="430613"/>
                    </a:moveTo>
                    <a:cubicBezTo>
                      <a:pt x="598906" y="430613"/>
                      <a:pt x="616412" y="448115"/>
                      <a:pt x="616412" y="469700"/>
                    </a:cubicBezTo>
                    <a:cubicBezTo>
                      <a:pt x="616412" y="491287"/>
                      <a:pt x="598906" y="508788"/>
                      <a:pt x="577311" y="508788"/>
                    </a:cubicBezTo>
                    <a:cubicBezTo>
                      <a:pt x="555718" y="508788"/>
                      <a:pt x="538213" y="491287"/>
                      <a:pt x="538213" y="469700"/>
                    </a:cubicBezTo>
                    <a:cubicBezTo>
                      <a:pt x="538213" y="448115"/>
                      <a:pt x="555718" y="430613"/>
                      <a:pt x="577311" y="430613"/>
                    </a:cubicBezTo>
                    <a:close/>
                    <a:moveTo>
                      <a:pt x="485025" y="430613"/>
                    </a:moveTo>
                    <a:cubicBezTo>
                      <a:pt x="506612" y="430613"/>
                      <a:pt x="524109" y="448115"/>
                      <a:pt x="524109" y="469700"/>
                    </a:cubicBezTo>
                    <a:cubicBezTo>
                      <a:pt x="524109" y="491287"/>
                      <a:pt x="506612" y="508788"/>
                      <a:pt x="485025" y="508788"/>
                    </a:cubicBezTo>
                    <a:cubicBezTo>
                      <a:pt x="463427" y="508788"/>
                      <a:pt x="445951" y="491287"/>
                      <a:pt x="445951" y="469700"/>
                    </a:cubicBezTo>
                    <a:cubicBezTo>
                      <a:pt x="445951" y="448115"/>
                      <a:pt x="463427" y="430613"/>
                      <a:pt x="485025" y="430613"/>
                    </a:cubicBezTo>
                    <a:close/>
                    <a:moveTo>
                      <a:pt x="493081" y="353508"/>
                    </a:moveTo>
                    <a:lnTo>
                      <a:pt x="512664" y="361620"/>
                    </a:lnTo>
                    <a:cubicBezTo>
                      <a:pt x="519737" y="368693"/>
                      <a:pt x="524111" y="378465"/>
                      <a:pt x="524111" y="389259"/>
                    </a:cubicBezTo>
                    <a:cubicBezTo>
                      <a:pt x="524111" y="410845"/>
                      <a:pt x="506614" y="428346"/>
                      <a:pt x="485026" y="428346"/>
                    </a:cubicBezTo>
                    <a:cubicBezTo>
                      <a:pt x="474228" y="428346"/>
                      <a:pt x="464460" y="423970"/>
                      <a:pt x="457392" y="416897"/>
                    </a:cubicBezTo>
                    <a:lnTo>
                      <a:pt x="448688" y="395861"/>
                    </a:lnTo>
                    <a:lnTo>
                      <a:pt x="459172" y="384326"/>
                    </a:lnTo>
                    <a:close/>
                    <a:moveTo>
                      <a:pt x="2079618" y="350171"/>
                    </a:moveTo>
                    <a:cubicBezTo>
                      <a:pt x="2101211" y="350171"/>
                      <a:pt x="2118703" y="367670"/>
                      <a:pt x="2118703" y="389259"/>
                    </a:cubicBezTo>
                    <a:cubicBezTo>
                      <a:pt x="2118703" y="410845"/>
                      <a:pt x="2101211" y="428346"/>
                      <a:pt x="2079618" y="428346"/>
                    </a:cubicBezTo>
                    <a:cubicBezTo>
                      <a:pt x="2058036" y="428346"/>
                      <a:pt x="2040537" y="410845"/>
                      <a:pt x="2040537" y="389259"/>
                    </a:cubicBezTo>
                    <a:cubicBezTo>
                      <a:pt x="2040537" y="367670"/>
                      <a:pt x="2058036" y="350171"/>
                      <a:pt x="2079618" y="350171"/>
                    </a:cubicBezTo>
                    <a:close/>
                    <a:moveTo>
                      <a:pt x="1984971" y="350171"/>
                    </a:moveTo>
                    <a:cubicBezTo>
                      <a:pt x="2006563" y="350171"/>
                      <a:pt x="2024068" y="367670"/>
                      <a:pt x="2024068" y="389259"/>
                    </a:cubicBezTo>
                    <a:cubicBezTo>
                      <a:pt x="2024068" y="410845"/>
                      <a:pt x="2006563" y="428346"/>
                      <a:pt x="1984971" y="428346"/>
                    </a:cubicBezTo>
                    <a:cubicBezTo>
                      <a:pt x="1963377" y="428346"/>
                      <a:pt x="1945873" y="410845"/>
                      <a:pt x="1945873" y="389259"/>
                    </a:cubicBezTo>
                    <a:cubicBezTo>
                      <a:pt x="1945873" y="367670"/>
                      <a:pt x="1963377" y="350171"/>
                      <a:pt x="1984971" y="350171"/>
                    </a:cubicBezTo>
                    <a:close/>
                    <a:moveTo>
                      <a:pt x="1890340" y="350171"/>
                    </a:moveTo>
                    <a:cubicBezTo>
                      <a:pt x="1911917" y="350171"/>
                      <a:pt x="1929413" y="367670"/>
                      <a:pt x="1929413" y="389259"/>
                    </a:cubicBezTo>
                    <a:cubicBezTo>
                      <a:pt x="1929413" y="410845"/>
                      <a:pt x="1911917" y="428346"/>
                      <a:pt x="1890340" y="428346"/>
                    </a:cubicBezTo>
                    <a:cubicBezTo>
                      <a:pt x="1868762" y="428346"/>
                      <a:pt x="1851255" y="410845"/>
                      <a:pt x="1851255" y="389259"/>
                    </a:cubicBezTo>
                    <a:cubicBezTo>
                      <a:pt x="1851255" y="367670"/>
                      <a:pt x="1868762" y="350171"/>
                      <a:pt x="1890340" y="350171"/>
                    </a:cubicBezTo>
                    <a:close/>
                    <a:moveTo>
                      <a:pt x="1798073" y="350171"/>
                    </a:moveTo>
                    <a:cubicBezTo>
                      <a:pt x="1819663" y="350171"/>
                      <a:pt x="1837149" y="367670"/>
                      <a:pt x="1837149" y="389259"/>
                    </a:cubicBezTo>
                    <a:cubicBezTo>
                      <a:pt x="1837149" y="410845"/>
                      <a:pt x="1819663" y="428346"/>
                      <a:pt x="1798073" y="428346"/>
                    </a:cubicBezTo>
                    <a:cubicBezTo>
                      <a:pt x="1776483" y="428346"/>
                      <a:pt x="1758966" y="410845"/>
                      <a:pt x="1758966" y="389259"/>
                    </a:cubicBezTo>
                    <a:cubicBezTo>
                      <a:pt x="1758966" y="367670"/>
                      <a:pt x="1776483" y="350171"/>
                      <a:pt x="1798073" y="350171"/>
                    </a:cubicBezTo>
                    <a:close/>
                    <a:moveTo>
                      <a:pt x="1703435" y="350171"/>
                    </a:moveTo>
                    <a:cubicBezTo>
                      <a:pt x="1725015" y="350171"/>
                      <a:pt x="1742524" y="367670"/>
                      <a:pt x="1742524" y="389259"/>
                    </a:cubicBezTo>
                    <a:cubicBezTo>
                      <a:pt x="1742524" y="410845"/>
                      <a:pt x="1725015" y="428346"/>
                      <a:pt x="1703435" y="428346"/>
                    </a:cubicBezTo>
                    <a:cubicBezTo>
                      <a:pt x="1681841" y="428346"/>
                      <a:pt x="1664351" y="410845"/>
                      <a:pt x="1664351" y="389259"/>
                    </a:cubicBezTo>
                    <a:cubicBezTo>
                      <a:pt x="1664351" y="367670"/>
                      <a:pt x="1681841" y="350171"/>
                      <a:pt x="1703435" y="350171"/>
                    </a:cubicBezTo>
                    <a:close/>
                    <a:moveTo>
                      <a:pt x="1611151" y="350171"/>
                    </a:moveTo>
                    <a:cubicBezTo>
                      <a:pt x="1632741" y="350171"/>
                      <a:pt x="1650245" y="367670"/>
                      <a:pt x="1650245" y="389259"/>
                    </a:cubicBezTo>
                    <a:cubicBezTo>
                      <a:pt x="1650245" y="410845"/>
                      <a:pt x="1632741" y="428346"/>
                      <a:pt x="1611151" y="428346"/>
                    </a:cubicBezTo>
                    <a:cubicBezTo>
                      <a:pt x="1589652" y="428346"/>
                      <a:pt x="1572155" y="410845"/>
                      <a:pt x="1572155" y="389259"/>
                    </a:cubicBezTo>
                    <a:cubicBezTo>
                      <a:pt x="1572155" y="367670"/>
                      <a:pt x="1589652" y="350171"/>
                      <a:pt x="1611151" y="350171"/>
                    </a:cubicBezTo>
                    <a:close/>
                    <a:moveTo>
                      <a:pt x="1516602" y="350171"/>
                    </a:moveTo>
                    <a:cubicBezTo>
                      <a:pt x="1538185" y="350171"/>
                      <a:pt x="1555690" y="367670"/>
                      <a:pt x="1555690" y="389259"/>
                    </a:cubicBezTo>
                    <a:cubicBezTo>
                      <a:pt x="1555690" y="410845"/>
                      <a:pt x="1538185" y="428346"/>
                      <a:pt x="1516602" y="428346"/>
                    </a:cubicBezTo>
                    <a:cubicBezTo>
                      <a:pt x="1495010" y="428346"/>
                      <a:pt x="1477510" y="410845"/>
                      <a:pt x="1477510" y="389259"/>
                    </a:cubicBezTo>
                    <a:cubicBezTo>
                      <a:pt x="1477510" y="367670"/>
                      <a:pt x="1495010" y="350171"/>
                      <a:pt x="1516602" y="350171"/>
                    </a:cubicBezTo>
                    <a:close/>
                    <a:moveTo>
                      <a:pt x="951124" y="350171"/>
                    </a:moveTo>
                    <a:cubicBezTo>
                      <a:pt x="972708" y="350171"/>
                      <a:pt x="990204" y="367670"/>
                      <a:pt x="990204" y="389259"/>
                    </a:cubicBezTo>
                    <a:cubicBezTo>
                      <a:pt x="990204" y="410845"/>
                      <a:pt x="972708" y="428346"/>
                      <a:pt x="951124" y="428346"/>
                    </a:cubicBezTo>
                    <a:cubicBezTo>
                      <a:pt x="929543" y="428346"/>
                      <a:pt x="912042" y="410845"/>
                      <a:pt x="912042" y="389259"/>
                    </a:cubicBezTo>
                    <a:cubicBezTo>
                      <a:pt x="912042" y="367670"/>
                      <a:pt x="929543" y="350171"/>
                      <a:pt x="951124" y="350171"/>
                    </a:cubicBezTo>
                    <a:close/>
                    <a:moveTo>
                      <a:pt x="856501" y="350171"/>
                    </a:moveTo>
                    <a:cubicBezTo>
                      <a:pt x="878085" y="350171"/>
                      <a:pt x="895581" y="367670"/>
                      <a:pt x="895581" y="389259"/>
                    </a:cubicBezTo>
                    <a:cubicBezTo>
                      <a:pt x="895581" y="410845"/>
                      <a:pt x="878085" y="428346"/>
                      <a:pt x="856501" y="428346"/>
                    </a:cubicBezTo>
                    <a:cubicBezTo>
                      <a:pt x="834918" y="428346"/>
                      <a:pt x="817421" y="410845"/>
                      <a:pt x="817421" y="389259"/>
                    </a:cubicBezTo>
                    <a:cubicBezTo>
                      <a:pt x="817421" y="367670"/>
                      <a:pt x="834918" y="350171"/>
                      <a:pt x="856501" y="350171"/>
                    </a:cubicBezTo>
                    <a:close/>
                    <a:moveTo>
                      <a:pt x="764243" y="350171"/>
                    </a:moveTo>
                    <a:cubicBezTo>
                      <a:pt x="785826" y="350171"/>
                      <a:pt x="803324" y="367671"/>
                      <a:pt x="803324" y="389259"/>
                    </a:cubicBezTo>
                    <a:cubicBezTo>
                      <a:pt x="803324" y="410845"/>
                      <a:pt x="785826" y="428346"/>
                      <a:pt x="764243" y="428346"/>
                    </a:cubicBezTo>
                    <a:cubicBezTo>
                      <a:pt x="742651" y="428346"/>
                      <a:pt x="725160" y="410845"/>
                      <a:pt x="725160" y="389259"/>
                    </a:cubicBezTo>
                    <a:cubicBezTo>
                      <a:pt x="725160" y="367671"/>
                      <a:pt x="742651" y="350171"/>
                      <a:pt x="764243" y="350171"/>
                    </a:cubicBezTo>
                    <a:close/>
                    <a:moveTo>
                      <a:pt x="669597" y="350171"/>
                    </a:moveTo>
                    <a:cubicBezTo>
                      <a:pt x="691200" y="350171"/>
                      <a:pt x="708698" y="367671"/>
                      <a:pt x="708698" y="389259"/>
                    </a:cubicBezTo>
                    <a:cubicBezTo>
                      <a:pt x="708698" y="410845"/>
                      <a:pt x="691200" y="428346"/>
                      <a:pt x="669597" y="428346"/>
                    </a:cubicBezTo>
                    <a:cubicBezTo>
                      <a:pt x="648024" y="428346"/>
                      <a:pt x="630519" y="410845"/>
                      <a:pt x="630519" y="389259"/>
                    </a:cubicBezTo>
                    <a:cubicBezTo>
                      <a:pt x="630519" y="367671"/>
                      <a:pt x="648024" y="350171"/>
                      <a:pt x="669597" y="350171"/>
                    </a:cubicBezTo>
                    <a:close/>
                    <a:moveTo>
                      <a:pt x="577316" y="350171"/>
                    </a:moveTo>
                    <a:cubicBezTo>
                      <a:pt x="598910" y="350171"/>
                      <a:pt x="616414" y="367671"/>
                      <a:pt x="616414" y="389259"/>
                    </a:cubicBezTo>
                    <a:cubicBezTo>
                      <a:pt x="616414" y="410845"/>
                      <a:pt x="598910" y="428346"/>
                      <a:pt x="577316" y="428346"/>
                    </a:cubicBezTo>
                    <a:cubicBezTo>
                      <a:pt x="555721" y="428346"/>
                      <a:pt x="538216" y="410845"/>
                      <a:pt x="538216" y="389259"/>
                    </a:cubicBezTo>
                    <a:cubicBezTo>
                      <a:pt x="538216" y="367671"/>
                      <a:pt x="555721" y="350171"/>
                      <a:pt x="577316" y="350171"/>
                    </a:cubicBezTo>
                    <a:close/>
                    <a:moveTo>
                      <a:pt x="591716" y="263862"/>
                    </a:moveTo>
                    <a:lnTo>
                      <a:pt x="604964" y="269347"/>
                    </a:lnTo>
                    <a:cubicBezTo>
                      <a:pt x="612039" y="276420"/>
                      <a:pt x="616416" y="286192"/>
                      <a:pt x="616416" y="296985"/>
                    </a:cubicBezTo>
                    <a:cubicBezTo>
                      <a:pt x="616416" y="318571"/>
                      <a:pt x="598910" y="336071"/>
                      <a:pt x="577316" y="336071"/>
                    </a:cubicBezTo>
                    <a:cubicBezTo>
                      <a:pt x="566520" y="336071"/>
                      <a:pt x="556745" y="331696"/>
                      <a:pt x="549670" y="324623"/>
                    </a:cubicBezTo>
                    <a:lnTo>
                      <a:pt x="542883" y="308244"/>
                    </a:lnTo>
                    <a:close/>
                    <a:moveTo>
                      <a:pt x="951129" y="257899"/>
                    </a:moveTo>
                    <a:cubicBezTo>
                      <a:pt x="972708" y="257899"/>
                      <a:pt x="990205" y="275398"/>
                      <a:pt x="990205" y="296985"/>
                    </a:cubicBezTo>
                    <a:cubicBezTo>
                      <a:pt x="990205" y="318571"/>
                      <a:pt x="972708" y="336070"/>
                      <a:pt x="951129" y="336070"/>
                    </a:cubicBezTo>
                    <a:cubicBezTo>
                      <a:pt x="929543" y="336070"/>
                      <a:pt x="912045" y="318571"/>
                      <a:pt x="912045" y="296985"/>
                    </a:cubicBezTo>
                    <a:cubicBezTo>
                      <a:pt x="912045" y="275398"/>
                      <a:pt x="929543" y="257899"/>
                      <a:pt x="951129" y="257899"/>
                    </a:cubicBezTo>
                    <a:close/>
                    <a:moveTo>
                      <a:pt x="856503" y="257899"/>
                    </a:moveTo>
                    <a:cubicBezTo>
                      <a:pt x="878086" y="257899"/>
                      <a:pt x="895582" y="275398"/>
                      <a:pt x="895582" y="296985"/>
                    </a:cubicBezTo>
                    <a:cubicBezTo>
                      <a:pt x="895582" y="318571"/>
                      <a:pt x="878086" y="336070"/>
                      <a:pt x="856503" y="336070"/>
                    </a:cubicBezTo>
                    <a:cubicBezTo>
                      <a:pt x="834919" y="336070"/>
                      <a:pt x="817422" y="318571"/>
                      <a:pt x="817422" y="296985"/>
                    </a:cubicBezTo>
                    <a:cubicBezTo>
                      <a:pt x="817422" y="275398"/>
                      <a:pt x="834919" y="257899"/>
                      <a:pt x="856503" y="257899"/>
                    </a:cubicBezTo>
                    <a:close/>
                    <a:moveTo>
                      <a:pt x="764243" y="257899"/>
                    </a:moveTo>
                    <a:cubicBezTo>
                      <a:pt x="785826" y="257899"/>
                      <a:pt x="803326" y="275398"/>
                      <a:pt x="803326" y="296985"/>
                    </a:cubicBezTo>
                    <a:cubicBezTo>
                      <a:pt x="803326" y="318571"/>
                      <a:pt x="785826" y="336070"/>
                      <a:pt x="764243" y="336070"/>
                    </a:cubicBezTo>
                    <a:cubicBezTo>
                      <a:pt x="742651" y="336070"/>
                      <a:pt x="725161" y="318571"/>
                      <a:pt x="725161" y="296985"/>
                    </a:cubicBezTo>
                    <a:cubicBezTo>
                      <a:pt x="725161" y="275398"/>
                      <a:pt x="742651" y="257899"/>
                      <a:pt x="764243" y="257899"/>
                    </a:cubicBezTo>
                    <a:close/>
                    <a:moveTo>
                      <a:pt x="669597" y="257899"/>
                    </a:moveTo>
                    <a:cubicBezTo>
                      <a:pt x="691200" y="257899"/>
                      <a:pt x="708698" y="275398"/>
                      <a:pt x="708698" y="296985"/>
                    </a:cubicBezTo>
                    <a:cubicBezTo>
                      <a:pt x="708698" y="318571"/>
                      <a:pt x="691200" y="336070"/>
                      <a:pt x="669597" y="336070"/>
                    </a:cubicBezTo>
                    <a:cubicBezTo>
                      <a:pt x="648024" y="336070"/>
                      <a:pt x="630520" y="318571"/>
                      <a:pt x="630520" y="296985"/>
                    </a:cubicBezTo>
                    <a:cubicBezTo>
                      <a:pt x="630520" y="275398"/>
                      <a:pt x="648024" y="257899"/>
                      <a:pt x="669597" y="257899"/>
                    </a:cubicBezTo>
                    <a:close/>
                    <a:moveTo>
                      <a:pt x="2079618" y="257899"/>
                    </a:moveTo>
                    <a:cubicBezTo>
                      <a:pt x="2101211" y="257899"/>
                      <a:pt x="2118703" y="275398"/>
                      <a:pt x="2118703" y="296984"/>
                    </a:cubicBezTo>
                    <a:cubicBezTo>
                      <a:pt x="2118703" y="318571"/>
                      <a:pt x="2101211" y="336070"/>
                      <a:pt x="2079618" y="336070"/>
                    </a:cubicBezTo>
                    <a:cubicBezTo>
                      <a:pt x="2058036" y="336070"/>
                      <a:pt x="2040537" y="318571"/>
                      <a:pt x="2040537" y="296984"/>
                    </a:cubicBezTo>
                    <a:cubicBezTo>
                      <a:pt x="2040537" y="275398"/>
                      <a:pt x="2058036" y="257899"/>
                      <a:pt x="2079618" y="257899"/>
                    </a:cubicBezTo>
                    <a:close/>
                    <a:moveTo>
                      <a:pt x="1984971" y="257899"/>
                    </a:moveTo>
                    <a:cubicBezTo>
                      <a:pt x="2006563" y="257899"/>
                      <a:pt x="2024068" y="275398"/>
                      <a:pt x="2024068" y="296984"/>
                    </a:cubicBezTo>
                    <a:cubicBezTo>
                      <a:pt x="2024068" y="318571"/>
                      <a:pt x="2006563" y="336070"/>
                      <a:pt x="1984971" y="336070"/>
                    </a:cubicBezTo>
                    <a:cubicBezTo>
                      <a:pt x="1963377" y="336070"/>
                      <a:pt x="1945873" y="318571"/>
                      <a:pt x="1945873" y="296984"/>
                    </a:cubicBezTo>
                    <a:cubicBezTo>
                      <a:pt x="1945873" y="275398"/>
                      <a:pt x="1963377" y="257899"/>
                      <a:pt x="1984971" y="257899"/>
                    </a:cubicBezTo>
                    <a:close/>
                    <a:moveTo>
                      <a:pt x="1890340" y="257899"/>
                    </a:moveTo>
                    <a:cubicBezTo>
                      <a:pt x="1911917" y="257899"/>
                      <a:pt x="1929413" y="275398"/>
                      <a:pt x="1929413" y="296984"/>
                    </a:cubicBezTo>
                    <a:cubicBezTo>
                      <a:pt x="1929413" y="318571"/>
                      <a:pt x="1911917" y="336070"/>
                      <a:pt x="1890340" y="336070"/>
                    </a:cubicBezTo>
                    <a:cubicBezTo>
                      <a:pt x="1868762" y="336070"/>
                      <a:pt x="1851255" y="318571"/>
                      <a:pt x="1851255" y="296984"/>
                    </a:cubicBezTo>
                    <a:cubicBezTo>
                      <a:pt x="1851255" y="275398"/>
                      <a:pt x="1868762" y="257899"/>
                      <a:pt x="1890340" y="257899"/>
                    </a:cubicBezTo>
                    <a:close/>
                    <a:moveTo>
                      <a:pt x="1798073" y="257899"/>
                    </a:moveTo>
                    <a:cubicBezTo>
                      <a:pt x="1819663" y="257899"/>
                      <a:pt x="1837149" y="275398"/>
                      <a:pt x="1837149" y="296984"/>
                    </a:cubicBezTo>
                    <a:cubicBezTo>
                      <a:pt x="1837149" y="318571"/>
                      <a:pt x="1819663" y="336070"/>
                      <a:pt x="1798073" y="336070"/>
                    </a:cubicBezTo>
                    <a:cubicBezTo>
                      <a:pt x="1776483" y="336070"/>
                      <a:pt x="1758966" y="318571"/>
                      <a:pt x="1758966" y="296984"/>
                    </a:cubicBezTo>
                    <a:cubicBezTo>
                      <a:pt x="1758966" y="275398"/>
                      <a:pt x="1776483" y="257899"/>
                      <a:pt x="1798073" y="257899"/>
                    </a:cubicBezTo>
                    <a:close/>
                    <a:moveTo>
                      <a:pt x="1703435" y="257899"/>
                    </a:moveTo>
                    <a:cubicBezTo>
                      <a:pt x="1725015" y="257899"/>
                      <a:pt x="1742524" y="275398"/>
                      <a:pt x="1742524" y="296984"/>
                    </a:cubicBezTo>
                    <a:cubicBezTo>
                      <a:pt x="1742524" y="318571"/>
                      <a:pt x="1725015" y="336070"/>
                      <a:pt x="1703435" y="336070"/>
                    </a:cubicBezTo>
                    <a:cubicBezTo>
                      <a:pt x="1681841" y="336070"/>
                      <a:pt x="1664351" y="318571"/>
                      <a:pt x="1664351" y="296984"/>
                    </a:cubicBezTo>
                    <a:cubicBezTo>
                      <a:pt x="1664351" y="275398"/>
                      <a:pt x="1681841" y="257899"/>
                      <a:pt x="1703435" y="257899"/>
                    </a:cubicBezTo>
                    <a:close/>
                    <a:moveTo>
                      <a:pt x="1611151" y="257899"/>
                    </a:moveTo>
                    <a:cubicBezTo>
                      <a:pt x="1632741" y="257899"/>
                      <a:pt x="1650245" y="275398"/>
                      <a:pt x="1650245" y="296984"/>
                    </a:cubicBezTo>
                    <a:cubicBezTo>
                      <a:pt x="1650245" y="318571"/>
                      <a:pt x="1632741" y="336070"/>
                      <a:pt x="1611151" y="336070"/>
                    </a:cubicBezTo>
                    <a:cubicBezTo>
                      <a:pt x="1589655" y="336070"/>
                      <a:pt x="1572155" y="318571"/>
                      <a:pt x="1572155" y="296984"/>
                    </a:cubicBezTo>
                    <a:cubicBezTo>
                      <a:pt x="1572155" y="275398"/>
                      <a:pt x="1589655" y="257899"/>
                      <a:pt x="1611151" y="257899"/>
                    </a:cubicBezTo>
                    <a:close/>
                    <a:moveTo>
                      <a:pt x="1516605" y="257899"/>
                    </a:moveTo>
                    <a:cubicBezTo>
                      <a:pt x="1538188" y="257899"/>
                      <a:pt x="1555690" y="275398"/>
                      <a:pt x="1555690" y="296984"/>
                    </a:cubicBezTo>
                    <a:cubicBezTo>
                      <a:pt x="1555690" y="318571"/>
                      <a:pt x="1538188" y="336070"/>
                      <a:pt x="1516605" y="336070"/>
                    </a:cubicBezTo>
                    <a:cubicBezTo>
                      <a:pt x="1495013" y="336070"/>
                      <a:pt x="1477512" y="318571"/>
                      <a:pt x="1477512" y="296984"/>
                    </a:cubicBezTo>
                    <a:cubicBezTo>
                      <a:pt x="1477512" y="275398"/>
                      <a:pt x="1495013" y="257899"/>
                      <a:pt x="1516605" y="257899"/>
                    </a:cubicBezTo>
                    <a:close/>
                    <a:moveTo>
                      <a:pt x="1419597" y="257899"/>
                    </a:moveTo>
                    <a:cubicBezTo>
                      <a:pt x="1441183" y="257899"/>
                      <a:pt x="1458689" y="275398"/>
                      <a:pt x="1458689" y="296984"/>
                    </a:cubicBezTo>
                    <a:cubicBezTo>
                      <a:pt x="1458689" y="318571"/>
                      <a:pt x="1441183" y="336070"/>
                      <a:pt x="1419597" y="336070"/>
                    </a:cubicBezTo>
                    <a:cubicBezTo>
                      <a:pt x="1398003" y="336070"/>
                      <a:pt x="1380501" y="318571"/>
                      <a:pt x="1380501" y="296984"/>
                    </a:cubicBezTo>
                    <a:cubicBezTo>
                      <a:pt x="1380501" y="275398"/>
                      <a:pt x="1398003" y="257899"/>
                      <a:pt x="1419597" y="257899"/>
                    </a:cubicBezTo>
                    <a:close/>
                    <a:moveTo>
                      <a:pt x="1329683" y="257899"/>
                    </a:moveTo>
                    <a:cubicBezTo>
                      <a:pt x="1351272" y="257899"/>
                      <a:pt x="1368775" y="275398"/>
                      <a:pt x="1368775" y="296984"/>
                    </a:cubicBezTo>
                    <a:cubicBezTo>
                      <a:pt x="1368775" y="318571"/>
                      <a:pt x="1351272" y="336070"/>
                      <a:pt x="1329683" y="336070"/>
                    </a:cubicBezTo>
                    <a:cubicBezTo>
                      <a:pt x="1308100" y="336070"/>
                      <a:pt x="1290601" y="318571"/>
                      <a:pt x="1290601" y="296984"/>
                    </a:cubicBezTo>
                    <a:cubicBezTo>
                      <a:pt x="1290601" y="275398"/>
                      <a:pt x="1308100" y="257899"/>
                      <a:pt x="1329683" y="257899"/>
                    </a:cubicBezTo>
                    <a:close/>
                    <a:moveTo>
                      <a:pt x="1232690" y="257899"/>
                    </a:moveTo>
                    <a:cubicBezTo>
                      <a:pt x="1254278" y="257899"/>
                      <a:pt x="1271764" y="275398"/>
                      <a:pt x="1271764" y="296985"/>
                    </a:cubicBezTo>
                    <a:cubicBezTo>
                      <a:pt x="1271764" y="318571"/>
                      <a:pt x="1254278" y="336070"/>
                      <a:pt x="1232690" y="336070"/>
                    </a:cubicBezTo>
                    <a:cubicBezTo>
                      <a:pt x="1211099" y="336070"/>
                      <a:pt x="1193607" y="318571"/>
                      <a:pt x="1193607" y="296985"/>
                    </a:cubicBezTo>
                    <a:cubicBezTo>
                      <a:pt x="1193607" y="275398"/>
                      <a:pt x="1211099" y="257899"/>
                      <a:pt x="1232690" y="257899"/>
                    </a:cubicBezTo>
                    <a:close/>
                    <a:moveTo>
                      <a:pt x="1516605" y="175085"/>
                    </a:moveTo>
                    <a:cubicBezTo>
                      <a:pt x="1538188" y="175085"/>
                      <a:pt x="1555690" y="192585"/>
                      <a:pt x="1555690" y="214170"/>
                    </a:cubicBezTo>
                    <a:cubicBezTo>
                      <a:pt x="1555690" y="235758"/>
                      <a:pt x="1538188" y="253265"/>
                      <a:pt x="1516605" y="253265"/>
                    </a:cubicBezTo>
                    <a:cubicBezTo>
                      <a:pt x="1495013" y="253265"/>
                      <a:pt x="1477512" y="235758"/>
                      <a:pt x="1477512" y="214170"/>
                    </a:cubicBezTo>
                    <a:cubicBezTo>
                      <a:pt x="1477512" y="192585"/>
                      <a:pt x="1495013" y="175085"/>
                      <a:pt x="1516605" y="175085"/>
                    </a:cubicBezTo>
                    <a:close/>
                    <a:moveTo>
                      <a:pt x="1419600" y="175085"/>
                    </a:moveTo>
                    <a:cubicBezTo>
                      <a:pt x="1441183" y="175085"/>
                      <a:pt x="1458689" y="192585"/>
                      <a:pt x="1458689" y="214170"/>
                    </a:cubicBezTo>
                    <a:cubicBezTo>
                      <a:pt x="1458689" y="235758"/>
                      <a:pt x="1441183" y="253265"/>
                      <a:pt x="1419600" y="253265"/>
                    </a:cubicBezTo>
                    <a:cubicBezTo>
                      <a:pt x="1398003" y="253265"/>
                      <a:pt x="1380502" y="235758"/>
                      <a:pt x="1380502" y="214170"/>
                    </a:cubicBezTo>
                    <a:cubicBezTo>
                      <a:pt x="1380502" y="192585"/>
                      <a:pt x="1398003" y="175085"/>
                      <a:pt x="1419600" y="175085"/>
                    </a:cubicBezTo>
                    <a:close/>
                    <a:moveTo>
                      <a:pt x="1329683" y="175085"/>
                    </a:moveTo>
                    <a:cubicBezTo>
                      <a:pt x="1351272" y="175085"/>
                      <a:pt x="1368775" y="192585"/>
                      <a:pt x="1368775" y="214170"/>
                    </a:cubicBezTo>
                    <a:cubicBezTo>
                      <a:pt x="1368775" y="235758"/>
                      <a:pt x="1351272" y="253265"/>
                      <a:pt x="1329683" y="253265"/>
                    </a:cubicBezTo>
                    <a:cubicBezTo>
                      <a:pt x="1308100" y="253265"/>
                      <a:pt x="1290601" y="235758"/>
                      <a:pt x="1290601" y="214170"/>
                    </a:cubicBezTo>
                    <a:cubicBezTo>
                      <a:pt x="1290601" y="192585"/>
                      <a:pt x="1308100" y="175085"/>
                      <a:pt x="1329683" y="175085"/>
                    </a:cubicBezTo>
                    <a:close/>
                    <a:moveTo>
                      <a:pt x="1232690" y="175085"/>
                    </a:moveTo>
                    <a:cubicBezTo>
                      <a:pt x="1254278" y="175085"/>
                      <a:pt x="1271764" y="192585"/>
                      <a:pt x="1271764" y="214170"/>
                    </a:cubicBezTo>
                    <a:cubicBezTo>
                      <a:pt x="1271764" y="235758"/>
                      <a:pt x="1254278" y="253265"/>
                      <a:pt x="1232690" y="253265"/>
                    </a:cubicBezTo>
                    <a:cubicBezTo>
                      <a:pt x="1211099" y="253265"/>
                      <a:pt x="1193607" y="235758"/>
                      <a:pt x="1193607" y="214170"/>
                    </a:cubicBezTo>
                    <a:cubicBezTo>
                      <a:pt x="1193607" y="192585"/>
                      <a:pt x="1211099" y="175085"/>
                      <a:pt x="1232690" y="175085"/>
                    </a:cubicBezTo>
                    <a:close/>
                    <a:moveTo>
                      <a:pt x="1045751" y="175085"/>
                    </a:moveTo>
                    <a:cubicBezTo>
                      <a:pt x="1067337" y="175085"/>
                      <a:pt x="1084842" y="192585"/>
                      <a:pt x="1084842" y="214172"/>
                    </a:cubicBezTo>
                    <a:cubicBezTo>
                      <a:pt x="1084842" y="235758"/>
                      <a:pt x="1067337" y="253265"/>
                      <a:pt x="1045751" y="253265"/>
                    </a:cubicBezTo>
                    <a:cubicBezTo>
                      <a:pt x="1024168" y="253265"/>
                      <a:pt x="1006670" y="235758"/>
                      <a:pt x="1006670" y="214172"/>
                    </a:cubicBezTo>
                    <a:cubicBezTo>
                      <a:pt x="1006670" y="192585"/>
                      <a:pt x="1024168" y="175085"/>
                      <a:pt x="1045751" y="175085"/>
                    </a:cubicBezTo>
                    <a:close/>
                    <a:moveTo>
                      <a:pt x="951129" y="175085"/>
                    </a:moveTo>
                    <a:cubicBezTo>
                      <a:pt x="972708" y="175085"/>
                      <a:pt x="990205" y="192585"/>
                      <a:pt x="990205" y="214172"/>
                    </a:cubicBezTo>
                    <a:cubicBezTo>
                      <a:pt x="990205" y="235758"/>
                      <a:pt x="972708" y="253265"/>
                      <a:pt x="951129" y="253265"/>
                    </a:cubicBezTo>
                    <a:cubicBezTo>
                      <a:pt x="929543" y="253265"/>
                      <a:pt x="912045" y="235758"/>
                      <a:pt x="912045" y="214172"/>
                    </a:cubicBezTo>
                    <a:cubicBezTo>
                      <a:pt x="912045" y="192585"/>
                      <a:pt x="929543" y="175085"/>
                      <a:pt x="951129" y="175085"/>
                    </a:cubicBezTo>
                    <a:close/>
                    <a:moveTo>
                      <a:pt x="856503" y="175085"/>
                    </a:moveTo>
                    <a:cubicBezTo>
                      <a:pt x="878086" y="175085"/>
                      <a:pt x="895582" y="192585"/>
                      <a:pt x="895582" y="214172"/>
                    </a:cubicBezTo>
                    <a:cubicBezTo>
                      <a:pt x="895582" y="235758"/>
                      <a:pt x="878086" y="253265"/>
                      <a:pt x="856503" y="253265"/>
                    </a:cubicBezTo>
                    <a:cubicBezTo>
                      <a:pt x="834919" y="253265"/>
                      <a:pt x="817422" y="235758"/>
                      <a:pt x="817422" y="214172"/>
                    </a:cubicBezTo>
                    <a:cubicBezTo>
                      <a:pt x="817422" y="192585"/>
                      <a:pt x="834919" y="175085"/>
                      <a:pt x="856503" y="175085"/>
                    </a:cubicBezTo>
                    <a:close/>
                    <a:moveTo>
                      <a:pt x="764243" y="175085"/>
                    </a:moveTo>
                    <a:cubicBezTo>
                      <a:pt x="785830" y="175085"/>
                      <a:pt x="803326" y="192585"/>
                      <a:pt x="803326" y="214172"/>
                    </a:cubicBezTo>
                    <a:cubicBezTo>
                      <a:pt x="803326" y="235758"/>
                      <a:pt x="785830" y="253265"/>
                      <a:pt x="764243" y="253265"/>
                    </a:cubicBezTo>
                    <a:cubicBezTo>
                      <a:pt x="742651" y="253265"/>
                      <a:pt x="725161" y="235758"/>
                      <a:pt x="725161" y="214172"/>
                    </a:cubicBezTo>
                    <a:cubicBezTo>
                      <a:pt x="725161" y="192585"/>
                      <a:pt x="742651" y="175085"/>
                      <a:pt x="764243" y="175085"/>
                    </a:cubicBezTo>
                    <a:close/>
                    <a:moveTo>
                      <a:pt x="2831988" y="175085"/>
                    </a:moveTo>
                    <a:cubicBezTo>
                      <a:pt x="2853575" y="175085"/>
                      <a:pt x="2871075" y="192585"/>
                      <a:pt x="2871075" y="214170"/>
                    </a:cubicBezTo>
                    <a:cubicBezTo>
                      <a:pt x="2871075" y="235758"/>
                      <a:pt x="2853575" y="253265"/>
                      <a:pt x="2831988" y="253265"/>
                    </a:cubicBezTo>
                    <a:cubicBezTo>
                      <a:pt x="2810401" y="253265"/>
                      <a:pt x="2792901" y="235758"/>
                      <a:pt x="2792901" y="214170"/>
                    </a:cubicBezTo>
                    <a:cubicBezTo>
                      <a:pt x="2792901" y="192585"/>
                      <a:pt x="2810401" y="175085"/>
                      <a:pt x="2831988" y="175085"/>
                    </a:cubicBezTo>
                    <a:close/>
                    <a:moveTo>
                      <a:pt x="2079618" y="175085"/>
                    </a:moveTo>
                    <a:cubicBezTo>
                      <a:pt x="2101211" y="175085"/>
                      <a:pt x="2118703" y="192585"/>
                      <a:pt x="2118703" y="214170"/>
                    </a:cubicBezTo>
                    <a:cubicBezTo>
                      <a:pt x="2118703" y="235758"/>
                      <a:pt x="2101211" y="253265"/>
                      <a:pt x="2079618" y="253265"/>
                    </a:cubicBezTo>
                    <a:cubicBezTo>
                      <a:pt x="2058036" y="253265"/>
                      <a:pt x="2040537" y="235758"/>
                      <a:pt x="2040537" y="214170"/>
                    </a:cubicBezTo>
                    <a:cubicBezTo>
                      <a:pt x="2040537" y="192585"/>
                      <a:pt x="2058036" y="175085"/>
                      <a:pt x="2079618" y="175085"/>
                    </a:cubicBezTo>
                    <a:close/>
                    <a:moveTo>
                      <a:pt x="1984973" y="175085"/>
                    </a:moveTo>
                    <a:cubicBezTo>
                      <a:pt x="2006565" y="175085"/>
                      <a:pt x="2024073" y="192585"/>
                      <a:pt x="2024073" y="214170"/>
                    </a:cubicBezTo>
                    <a:cubicBezTo>
                      <a:pt x="2024073" y="235758"/>
                      <a:pt x="2006565" y="253265"/>
                      <a:pt x="1984973" y="253265"/>
                    </a:cubicBezTo>
                    <a:cubicBezTo>
                      <a:pt x="1963378" y="253265"/>
                      <a:pt x="1945875" y="235758"/>
                      <a:pt x="1945875" y="214170"/>
                    </a:cubicBezTo>
                    <a:cubicBezTo>
                      <a:pt x="1945875" y="192585"/>
                      <a:pt x="1963378" y="175085"/>
                      <a:pt x="1984973" y="175085"/>
                    </a:cubicBezTo>
                    <a:close/>
                    <a:moveTo>
                      <a:pt x="1890340" y="175085"/>
                    </a:moveTo>
                    <a:cubicBezTo>
                      <a:pt x="1911917" y="175085"/>
                      <a:pt x="1929413" y="192585"/>
                      <a:pt x="1929413" y="214170"/>
                    </a:cubicBezTo>
                    <a:cubicBezTo>
                      <a:pt x="1929413" y="235758"/>
                      <a:pt x="1911917" y="253265"/>
                      <a:pt x="1890340" y="253265"/>
                    </a:cubicBezTo>
                    <a:cubicBezTo>
                      <a:pt x="1868762" y="253265"/>
                      <a:pt x="1851255" y="235758"/>
                      <a:pt x="1851255" y="214170"/>
                    </a:cubicBezTo>
                    <a:cubicBezTo>
                      <a:pt x="1851255" y="192585"/>
                      <a:pt x="1868762" y="175085"/>
                      <a:pt x="1890340" y="175085"/>
                    </a:cubicBezTo>
                    <a:close/>
                    <a:moveTo>
                      <a:pt x="1798073" y="175085"/>
                    </a:moveTo>
                    <a:cubicBezTo>
                      <a:pt x="1819663" y="175085"/>
                      <a:pt x="1837149" y="192585"/>
                      <a:pt x="1837149" y="214170"/>
                    </a:cubicBezTo>
                    <a:cubicBezTo>
                      <a:pt x="1837149" y="235758"/>
                      <a:pt x="1819663" y="253265"/>
                      <a:pt x="1798073" y="253265"/>
                    </a:cubicBezTo>
                    <a:cubicBezTo>
                      <a:pt x="1776483" y="253265"/>
                      <a:pt x="1758966" y="235758"/>
                      <a:pt x="1758966" y="214170"/>
                    </a:cubicBezTo>
                    <a:cubicBezTo>
                      <a:pt x="1758966" y="192585"/>
                      <a:pt x="1776483" y="175085"/>
                      <a:pt x="1798073" y="175085"/>
                    </a:cubicBezTo>
                    <a:close/>
                    <a:moveTo>
                      <a:pt x="1703435" y="175085"/>
                    </a:moveTo>
                    <a:cubicBezTo>
                      <a:pt x="1725015" y="175085"/>
                      <a:pt x="1742524" y="192585"/>
                      <a:pt x="1742524" y="214170"/>
                    </a:cubicBezTo>
                    <a:cubicBezTo>
                      <a:pt x="1742524" y="235758"/>
                      <a:pt x="1725015" y="253265"/>
                      <a:pt x="1703435" y="253265"/>
                    </a:cubicBezTo>
                    <a:cubicBezTo>
                      <a:pt x="1681841" y="253265"/>
                      <a:pt x="1664351" y="235758"/>
                      <a:pt x="1664351" y="214170"/>
                    </a:cubicBezTo>
                    <a:cubicBezTo>
                      <a:pt x="1664351" y="192585"/>
                      <a:pt x="1681841" y="175085"/>
                      <a:pt x="1703435" y="175085"/>
                    </a:cubicBezTo>
                    <a:close/>
                    <a:moveTo>
                      <a:pt x="1611151" y="175085"/>
                    </a:moveTo>
                    <a:cubicBezTo>
                      <a:pt x="1632741" y="175085"/>
                      <a:pt x="1650245" y="192585"/>
                      <a:pt x="1650245" y="214170"/>
                    </a:cubicBezTo>
                    <a:cubicBezTo>
                      <a:pt x="1650245" y="235758"/>
                      <a:pt x="1632741" y="253265"/>
                      <a:pt x="1611151" y="253265"/>
                    </a:cubicBezTo>
                    <a:cubicBezTo>
                      <a:pt x="1589656" y="253265"/>
                      <a:pt x="1572158" y="235758"/>
                      <a:pt x="1572158" y="214170"/>
                    </a:cubicBezTo>
                    <a:cubicBezTo>
                      <a:pt x="1572158" y="192585"/>
                      <a:pt x="1589656" y="175085"/>
                      <a:pt x="1611151" y="175085"/>
                    </a:cubicBezTo>
                    <a:close/>
                    <a:moveTo>
                      <a:pt x="798955" y="113714"/>
                    </a:moveTo>
                    <a:lnTo>
                      <a:pt x="803326" y="124268"/>
                    </a:lnTo>
                    <a:cubicBezTo>
                      <a:pt x="803326" y="145855"/>
                      <a:pt x="785830" y="163353"/>
                      <a:pt x="764243" y="163353"/>
                    </a:cubicBezTo>
                    <a:lnTo>
                      <a:pt x="738461" y="152674"/>
                    </a:lnTo>
                    <a:lnTo>
                      <a:pt x="754212" y="140896"/>
                    </a:lnTo>
                    <a:close/>
                    <a:moveTo>
                      <a:pt x="2904918" y="93195"/>
                    </a:moveTo>
                    <a:lnTo>
                      <a:pt x="2961886" y="127804"/>
                    </a:lnTo>
                    <a:lnTo>
                      <a:pt x="2951903" y="151905"/>
                    </a:lnTo>
                    <a:cubicBezTo>
                      <a:pt x="2944829" y="158978"/>
                      <a:pt x="2935058" y="163353"/>
                      <a:pt x="2924264" y="163353"/>
                    </a:cubicBezTo>
                    <a:cubicBezTo>
                      <a:pt x="2902677" y="163353"/>
                      <a:pt x="2885177" y="145855"/>
                      <a:pt x="2885177" y="124267"/>
                    </a:cubicBezTo>
                    <a:cubicBezTo>
                      <a:pt x="2885177" y="113475"/>
                      <a:pt x="2889552" y="103703"/>
                      <a:pt x="2896625" y="96630"/>
                    </a:cubicBezTo>
                    <a:close/>
                    <a:moveTo>
                      <a:pt x="2831988" y="85181"/>
                    </a:moveTo>
                    <a:cubicBezTo>
                      <a:pt x="2853575" y="85181"/>
                      <a:pt x="2871075" y="102682"/>
                      <a:pt x="2871075" y="124267"/>
                    </a:cubicBezTo>
                    <a:cubicBezTo>
                      <a:pt x="2871075" y="145855"/>
                      <a:pt x="2853575" y="163353"/>
                      <a:pt x="2831988" y="163353"/>
                    </a:cubicBezTo>
                    <a:cubicBezTo>
                      <a:pt x="2810401" y="163353"/>
                      <a:pt x="2792901" y="145855"/>
                      <a:pt x="2792901" y="124267"/>
                    </a:cubicBezTo>
                    <a:cubicBezTo>
                      <a:pt x="2792901" y="102682"/>
                      <a:pt x="2810401" y="85181"/>
                      <a:pt x="2831988" y="85181"/>
                    </a:cubicBezTo>
                    <a:close/>
                    <a:moveTo>
                      <a:pt x="2171887" y="85181"/>
                    </a:moveTo>
                    <a:cubicBezTo>
                      <a:pt x="2193477" y="85181"/>
                      <a:pt x="2210981" y="102682"/>
                      <a:pt x="2210981" y="124267"/>
                    </a:cubicBezTo>
                    <a:cubicBezTo>
                      <a:pt x="2210981" y="145855"/>
                      <a:pt x="2193477" y="163353"/>
                      <a:pt x="2171887" y="163353"/>
                    </a:cubicBezTo>
                    <a:cubicBezTo>
                      <a:pt x="2150295" y="163353"/>
                      <a:pt x="2132800" y="145855"/>
                      <a:pt x="2132800" y="124267"/>
                    </a:cubicBezTo>
                    <a:cubicBezTo>
                      <a:pt x="2132800" y="102682"/>
                      <a:pt x="2150295" y="85181"/>
                      <a:pt x="2171887" y="85181"/>
                    </a:cubicBezTo>
                    <a:close/>
                    <a:moveTo>
                      <a:pt x="2079618" y="85181"/>
                    </a:moveTo>
                    <a:cubicBezTo>
                      <a:pt x="2101211" y="85181"/>
                      <a:pt x="2118703" y="102682"/>
                      <a:pt x="2118703" y="124267"/>
                    </a:cubicBezTo>
                    <a:cubicBezTo>
                      <a:pt x="2118703" y="145855"/>
                      <a:pt x="2101211" y="163353"/>
                      <a:pt x="2079618" y="163353"/>
                    </a:cubicBezTo>
                    <a:cubicBezTo>
                      <a:pt x="2058036" y="163353"/>
                      <a:pt x="2040537" y="145855"/>
                      <a:pt x="2040537" y="124267"/>
                    </a:cubicBezTo>
                    <a:cubicBezTo>
                      <a:pt x="2040537" y="102682"/>
                      <a:pt x="2058036" y="85181"/>
                      <a:pt x="2079618" y="85181"/>
                    </a:cubicBezTo>
                    <a:close/>
                    <a:moveTo>
                      <a:pt x="1984973" y="85181"/>
                    </a:moveTo>
                    <a:cubicBezTo>
                      <a:pt x="2006565" y="85181"/>
                      <a:pt x="2024073" y="102682"/>
                      <a:pt x="2024073" y="124268"/>
                    </a:cubicBezTo>
                    <a:cubicBezTo>
                      <a:pt x="2024073" y="145855"/>
                      <a:pt x="2006565" y="163353"/>
                      <a:pt x="1984973" y="163353"/>
                    </a:cubicBezTo>
                    <a:cubicBezTo>
                      <a:pt x="1963378" y="163353"/>
                      <a:pt x="1945875" y="145855"/>
                      <a:pt x="1945875" y="124268"/>
                    </a:cubicBezTo>
                    <a:cubicBezTo>
                      <a:pt x="1945875" y="102682"/>
                      <a:pt x="1963378" y="85181"/>
                      <a:pt x="1984973" y="85181"/>
                    </a:cubicBezTo>
                    <a:close/>
                    <a:moveTo>
                      <a:pt x="1890340" y="85181"/>
                    </a:moveTo>
                    <a:cubicBezTo>
                      <a:pt x="1911917" y="85181"/>
                      <a:pt x="1929413" y="102682"/>
                      <a:pt x="1929413" y="124268"/>
                    </a:cubicBezTo>
                    <a:cubicBezTo>
                      <a:pt x="1929413" y="145855"/>
                      <a:pt x="1911917" y="163353"/>
                      <a:pt x="1890340" y="163353"/>
                    </a:cubicBezTo>
                    <a:cubicBezTo>
                      <a:pt x="1868762" y="163353"/>
                      <a:pt x="1851255" y="145855"/>
                      <a:pt x="1851255" y="124268"/>
                    </a:cubicBezTo>
                    <a:cubicBezTo>
                      <a:pt x="1851255" y="102682"/>
                      <a:pt x="1868762" y="85181"/>
                      <a:pt x="1890340" y="85181"/>
                    </a:cubicBezTo>
                    <a:close/>
                    <a:moveTo>
                      <a:pt x="1798073" y="85181"/>
                    </a:moveTo>
                    <a:cubicBezTo>
                      <a:pt x="1819663" y="85181"/>
                      <a:pt x="1837149" y="102682"/>
                      <a:pt x="1837149" y="124268"/>
                    </a:cubicBezTo>
                    <a:cubicBezTo>
                      <a:pt x="1837149" y="145855"/>
                      <a:pt x="1819663" y="163353"/>
                      <a:pt x="1798073" y="163353"/>
                    </a:cubicBezTo>
                    <a:cubicBezTo>
                      <a:pt x="1776483" y="163353"/>
                      <a:pt x="1758966" y="145855"/>
                      <a:pt x="1758966" y="124268"/>
                    </a:cubicBezTo>
                    <a:cubicBezTo>
                      <a:pt x="1758966" y="102682"/>
                      <a:pt x="1776483" y="85181"/>
                      <a:pt x="1798073" y="85181"/>
                    </a:cubicBezTo>
                    <a:close/>
                    <a:moveTo>
                      <a:pt x="1703435" y="85181"/>
                    </a:moveTo>
                    <a:cubicBezTo>
                      <a:pt x="1725015" y="85181"/>
                      <a:pt x="1742524" y="102682"/>
                      <a:pt x="1742524" y="124268"/>
                    </a:cubicBezTo>
                    <a:cubicBezTo>
                      <a:pt x="1742524" y="145855"/>
                      <a:pt x="1725015" y="163353"/>
                      <a:pt x="1703435" y="163353"/>
                    </a:cubicBezTo>
                    <a:cubicBezTo>
                      <a:pt x="1681841" y="163353"/>
                      <a:pt x="1664351" y="145855"/>
                      <a:pt x="1664351" y="124268"/>
                    </a:cubicBezTo>
                    <a:cubicBezTo>
                      <a:pt x="1664351" y="102682"/>
                      <a:pt x="1681841" y="85181"/>
                      <a:pt x="1703435" y="85181"/>
                    </a:cubicBezTo>
                    <a:close/>
                    <a:moveTo>
                      <a:pt x="1611151" y="85181"/>
                    </a:moveTo>
                    <a:cubicBezTo>
                      <a:pt x="1632741" y="85181"/>
                      <a:pt x="1650245" y="102683"/>
                      <a:pt x="1650245" y="124268"/>
                    </a:cubicBezTo>
                    <a:cubicBezTo>
                      <a:pt x="1650245" y="145855"/>
                      <a:pt x="1632741" y="163353"/>
                      <a:pt x="1611151" y="163353"/>
                    </a:cubicBezTo>
                    <a:cubicBezTo>
                      <a:pt x="1589656" y="163353"/>
                      <a:pt x="1572160" y="145855"/>
                      <a:pt x="1572160" y="124268"/>
                    </a:cubicBezTo>
                    <a:cubicBezTo>
                      <a:pt x="1572160" y="102683"/>
                      <a:pt x="1589656" y="85181"/>
                      <a:pt x="1611151" y="85181"/>
                    </a:cubicBezTo>
                    <a:close/>
                    <a:moveTo>
                      <a:pt x="1516607" y="85181"/>
                    </a:moveTo>
                    <a:cubicBezTo>
                      <a:pt x="1538188" y="85181"/>
                      <a:pt x="1555693" y="102683"/>
                      <a:pt x="1555693" y="124268"/>
                    </a:cubicBezTo>
                    <a:cubicBezTo>
                      <a:pt x="1555693" y="145855"/>
                      <a:pt x="1538188" y="163353"/>
                      <a:pt x="1516607" y="163353"/>
                    </a:cubicBezTo>
                    <a:cubicBezTo>
                      <a:pt x="1495014" y="163353"/>
                      <a:pt x="1477512" y="145855"/>
                      <a:pt x="1477512" y="124268"/>
                    </a:cubicBezTo>
                    <a:cubicBezTo>
                      <a:pt x="1477512" y="102683"/>
                      <a:pt x="1495014" y="85181"/>
                      <a:pt x="1516607" y="85181"/>
                    </a:cubicBezTo>
                    <a:close/>
                    <a:moveTo>
                      <a:pt x="1419600" y="85181"/>
                    </a:moveTo>
                    <a:cubicBezTo>
                      <a:pt x="1441183" y="85181"/>
                      <a:pt x="1458689" y="102683"/>
                      <a:pt x="1458689" y="124268"/>
                    </a:cubicBezTo>
                    <a:cubicBezTo>
                      <a:pt x="1458689" y="145855"/>
                      <a:pt x="1441183" y="163353"/>
                      <a:pt x="1419600" y="163353"/>
                    </a:cubicBezTo>
                    <a:cubicBezTo>
                      <a:pt x="1398003" y="163353"/>
                      <a:pt x="1380504" y="145855"/>
                      <a:pt x="1380504" y="124268"/>
                    </a:cubicBezTo>
                    <a:cubicBezTo>
                      <a:pt x="1380504" y="102683"/>
                      <a:pt x="1398003" y="85181"/>
                      <a:pt x="1419600" y="85181"/>
                    </a:cubicBezTo>
                    <a:close/>
                    <a:moveTo>
                      <a:pt x="1329684" y="85181"/>
                    </a:moveTo>
                    <a:cubicBezTo>
                      <a:pt x="1351272" y="85181"/>
                      <a:pt x="1368775" y="102683"/>
                      <a:pt x="1368775" y="124268"/>
                    </a:cubicBezTo>
                    <a:cubicBezTo>
                      <a:pt x="1368775" y="145855"/>
                      <a:pt x="1351272" y="163353"/>
                      <a:pt x="1329684" y="163353"/>
                    </a:cubicBezTo>
                    <a:cubicBezTo>
                      <a:pt x="1308100" y="163353"/>
                      <a:pt x="1290604" y="145855"/>
                      <a:pt x="1290604" y="124268"/>
                    </a:cubicBezTo>
                    <a:cubicBezTo>
                      <a:pt x="1290604" y="102683"/>
                      <a:pt x="1308100" y="85181"/>
                      <a:pt x="1329684" y="85181"/>
                    </a:cubicBezTo>
                    <a:close/>
                    <a:moveTo>
                      <a:pt x="1142780" y="85181"/>
                    </a:moveTo>
                    <a:cubicBezTo>
                      <a:pt x="1164374" y="85181"/>
                      <a:pt x="1181872" y="102683"/>
                      <a:pt x="1181872" y="124268"/>
                    </a:cubicBezTo>
                    <a:cubicBezTo>
                      <a:pt x="1181872" y="145855"/>
                      <a:pt x="1164374" y="163353"/>
                      <a:pt x="1142780" y="163353"/>
                    </a:cubicBezTo>
                    <a:cubicBezTo>
                      <a:pt x="1121186" y="163353"/>
                      <a:pt x="1103680" y="145855"/>
                      <a:pt x="1103680" y="124268"/>
                    </a:cubicBezTo>
                    <a:cubicBezTo>
                      <a:pt x="1103680" y="102683"/>
                      <a:pt x="1121186" y="85181"/>
                      <a:pt x="1142780" y="85181"/>
                    </a:cubicBezTo>
                    <a:close/>
                    <a:moveTo>
                      <a:pt x="1045753" y="85181"/>
                    </a:moveTo>
                    <a:cubicBezTo>
                      <a:pt x="1067337" y="85181"/>
                      <a:pt x="1084842" y="102683"/>
                      <a:pt x="1084842" y="124268"/>
                    </a:cubicBezTo>
                    <a:cubicBezTo>
                      <a:pt x="1084842" y="145855"/>
                      <a:pt x="1067337" y="163353"/>
                      <a:pt x="1045753" y="163353"/>
                    </a:cubicBezTo>
                    <a:cubicBezTo>
                      <a:pt x="1024168" y="163353"/>
                      <a:pt x="1006670" y="145855"/>
                      <a:pt x="1006670" y="124268"/>
                    </a:cubicBezTo>
                    <a:cubicBezTo>
                      <a:pt x="1006670" y="102683"/>
                      <a:pt x="1024168" y="85181"/>
                      <a:pt x="1045753" y="85181"/>
                    </a:cubicBezTo>
                    <a:close/>
                    <a:moveTo>
                      <a:pt x="951129" y="85181"/>
                    </a:moveTo>
                    <a:cubicBezTo>
                      <a:pt x="972708" y="85181"/>
                      <a:pt x="990205" y="102683"/>
                      <a:pt x="990205" y="124268"/>
                    </a:cubicBezTo>
                    <a:cubicBezTo>
                      <a:pt x="990205" y="145855"/>
                      <a:pt x="972708" y="163353"/>
                      <a:pt x="951129" y="163353"/>
                    </a:cubicBezTo>
                    <a:cubicBezTo>
                      <a:pt x="929543" y="163353"/>
                      <a:pt x="912045" y="145855"/>
                      <a:pt x="912045" y="124268"/>
                    </a:cubicBezTo>
                    <a:cubicBezTo>
                      <a:pt x="912045" y="102683"/>
                      <a:pt x="929543" y="85181"/>
                      <a:pt x="951129" y="85181"/>
                    </a:cubicBezTo>
                    <a:close/>
                    <a:moveTo>
                      <a:pt x="856503" y="85181"/>
                    </a:moveTo>
                    <a:cubicBezTo>
                      <a:pt x="878086" y="85181"/>
                      <a:pt x="895582" y="102683"/>
                      <a:pt x="895582" y="124268"/>
                    </a:cubicBezTo>
                    <a:cubicBezTo>
                      <a:pt x="895582" y="145855"/>
                      <a:pt x="878086" y="163353"/>
                      <a:pt x="856503" y="163353"/>
                    </a:cubicBezTo>
                    <a:cubicBezTo>
                      <a:pt x="834921" y="163353"/>
                      <a:pt x="817424" y="145855"/>
                      <a:pt x="817424" y="124268"/>
                    </a:cubicBezTo>
                    <a:cubicBezTo>
                      <a:pt x="817424" y="102683"/>
                      <a:pt x="834921" y="85181"/>
                      <a:pt x="856503" y="85181"/>
                    </a:cubicBezTo>
                    <a:close/>
                    <a:moveTo>
                      <a:pt x="978967" y="11950"/>
                    </a:moveTo>
                    <a:lnTo>
                      <a:pt x="990205" y="39087"/>
                    </a:lnTo>
                    <a:cubicBezTo>
                      <a:pt x="990205" y="60674"/>
                      <a:pt x="972708" y="78173"/>
                      <a:pt x="951129" y="78173"/>
                    </a:cubicBezTo>
                    <a:cubicBezTo>
                      <a:pt x="940336" y="78173"/>
                      <a:pt x="930565" y="73798"/>
                      <a:pt x="923492" y="66725"/>
                    </a:cubicBezTo>
                    <a:lnTo>
                      <a:pt x="914005" y="43819"/>
                    </a:lnTo>
                    <a:lnTo>
                      <a:pt x="918580" y="41040"/>
                    </a:lnTo>
                    <a:close/>
                    <a:moveTo>
                      <a:pt x="2266537" y="0"/>
                    </a:moveTo>
                    <a:cubicBezTo>
                      <a:pt x="2288118" y="0"/>
                      <a:pt x="2305619" y="17499"/>
                      <a:pt x="2305619" y="39087"/>
                    </a:cubicBezTo>
                    <a:cubicBezTo>
                      <a:pt x="2305619" y="60673"/>
                      <a:pt x="2288118" y="78173"/>
                      <a:pt x="2266537" y="78173"/>
                    </a:cubicBezTo>
                    <a:cubicBezTo>
                      <a:pt x="2244936" y="78173"/>
                      <a:pt x="2227443" y="60673"/>
                      <a:pt x="2227443" y="39087"/>
                    </a:cubicBezTo>
                    <a:cubicBezTo>
                      <a:pt x="2227443" y="17499"/>
                      <a:pt x="2244936" y="0"/>
                      <a:pt x="2266537" y="0"/>
                    </a:cubicBezTo>
                    <a:close/>
                    <a:moveTo>
                      <a:pt x="2171887" y="0"/>
                    </a:moveTo>
                    <a:cubicBezTo>
                      <a:pt x="2193477" y="0"/>
                      <a:pt x="2210981" y="17499"/>
                      <a:pt x="2210981" y="39087"/>
                    </a:cubicBezTo>
                    <a:cubicBezTo>
                      <a:pt x="2210981" y="60673"/>
                      <a:pt x="2193477" y="78173"/>
                      <a:pt x="2171887" y="78173"/>
                    </a:cubicBezTo>
                    <a:cubicBezTo>
                      <a:pt x="2150295" y="78173"/>
                      <a:pt x="2132800" y="60673"/>
                      <a:pt x="2132800" y="39087"/>
                    </a:cubicBezTo>
                    <a:cubicBezTo>
                      <a:pt x="2132800" y="17499"/>
                      <a:pt x="2150295" y="0"/>
                      <a:pt x="2171887" y="0"/>
                    </a:cubicBezTo>
                    <a:close/>
                    <a:moveTo>
                      <a:pt x="2079618" y="0"/>
                    </a:moveTo>
                    <a:cubicBezTo>
                      <a:pt x="2101211" y="0"/>
                      <a:pt x="2118703" y="17499"/>
                      <a:pt x="2118703" y="39087"/>
                    </a:cubicBezTo>
                    <a:cubicBezTo>
                      <a:pt x="2118703" y="60673"/>
                      <a:pt x="2101211" y="78173"/>
                      <a:pt x="2079618" y="78173"/>
                    </a:cubicBezTo>
                    <a:cubicBezTo>
                      <a:pt x="2058036" y="78173"/>
                      <a:pt x="2040537" y="60673"/>
                      <a:pt x="2040537" y="39087"/>
                    </a:cubicBezTo>
                    <a:cubicBezTo>
                      <a:pt x="2040537" y="17499"/>
                      <a:pt x="2058036" y="0"/>
                      <a:pt x="2079618" y="0"/>
                    </a:cubicBezTo>
                    <a:close/>
                    <a:moveTo>
                      <a:pt x="1984973" y="0"/>
                    </a:moveTo>
                    <a:cubicBezTo>
                      <a:pt x="2006565" y="0"/>
                      <a:pt x="2024073" y="17499"/>
                      <a:pt x="2024073" y="39087"/>
                    </a:cubicBezTo>
                    <a:cubicBezTo>
                      <a:pt x="2024073" y="60673"/>
                      <a:pt x="2006565" y="78173"/>
                      <a:pt x="1984973" y="78173"/>
                    </a:cubicBezTo>
                    <a:cubicBezTo>
                      <a:pt x="1963378" y="78173"/>
                      <a:pt x="1945875" y="60673"/>
                      <a:pt x="1945875" y="39087"/>
                    </a:cubicBezTo>
                    <a:cubicBezTo>
                      <a:pt x="1945875" y="17499"/>
                      <a:pt x="1963378" y="0"/>
                      <a:pt x="1984973" y="0"/>
                    </a:cubicBezTo>
                    <a:close/>
                    <a:moveTo>
                      <a:pt x="1890340" y="0"/>
                    </a:moveTo>
                    <a:cubicBezTo>
                      <a:pt x="1911917" y="0"/>
                      <a:pt x="1929413" y="17499"/>
                      <a:pt x="1929413" y="39087"/>
                    </a:cubicBezTo>
                    <a:cubicBezTo>
                      <a:pt x="1929413" y="60673"/>
                      <a:pt x="1911917" y="78173"/>
                      <a:pt x="1890340" y="78173"/>
                    </a:cubicBezTo>
                    <a:cubicBezTo>
                      <a:pt x="1868762" y="78173"/>
                      <a:pt x="1851255" y="60673"/>
                      <a:pt x="1851255" y="39087"/>
                    </a:cubicBezTo>
                    <a:cubicBezTo>
                      <a:pt x="1851255" y="17499"/>
                      <a:pt x="1868762" y="0"/>
                      <a:pt x="1890340" y="0"/>
                    </a:cubicBezTo>
                    <a:close/>
                    <a:moveTo>
                      <a:pt x="1798073" y="0"/>
                    </a:moveTo>
                    <a:cubicBezTo>
                      <a:pt x="1819663" y="0"/>
                      <a:pt x="1837149" y="17499"/>
                      <a:pt x="1837149" y="39087"/>
                    </a:cubicBezTo>
                    <a:cubicBezTo>
                      <a:pt x="1837149" y="60673"/>
                      <a:pt x="1819663" y="78173"/>
                      <a:pt x="1798073" y="78173"/>
                    </a:cubicBezTo>
                    <a:cubicBezTo>
                      <a:pt x="1776483" y="78173"/>
                      <a:pt x="1758966" y="60673"/>
                      <a:pt x="1758966" y="39087"/>
                    </a:cubicBezTo>
                    <a:cubicBezTo>
                      <a:pt x="1758966" y="17499"/>
                      <a:pt x="1776483" y="0"/>
                      <a:pt x="1798073" y="0"/>
                    </a:cubicBezTo>
                    <a:close/>
                    <a:moveTo>
                      <a:pt x="1703435" y="0"/>
                    </a:moveTo>
                    <a:cubicBezTo>
                      <a:pt x="1725015" y="0"/>
                      <a:pt x="1742524" y="17499"/>
                      <a:pt x="1742524" y="39087"/>
                    </a:cubicBezTo>
                    <a:cubicBezTo>
                      <a:pt x="1742524" y="60673"/>
                      <a:pt x="1725015" y="78173"/>
                      <a:pt x="1703435" y="78173"/>
                    </a:cubicBezTo>
                    <a:cubicBezTo>
                      <a:pt x="1681841" y="78173"/>
                      <a:pt x="1664351" y="60673"/>
                      <a:pt x="1664351" y="39087"/>
                    </a:cubicBezTo>
                    <a:cubicBezTo>
                      <a:pt x="1664351" y="17499"/>
                      <a:pt x="1681841" y="0"/>
                      <a:pt x="1703435" y="0"/>
                    </a:cubicBezTo>
                    <a:close/>
                    <a:moveTo>
                      <a:pt x="1611151" y="0"/>
                    </a:moveTo>
                    <a:cubicBezTo>
                      <a:pt x="1632741" y="0"/>
                      <a:pt x="1650245" y="17499"/>
                      <a:pt x="1650245" y="39087"/>
                    </a:cubicBezTo>
                    <a:cubicBezTo>
                      <a:pt x="1650245" y="60673"/>
                      <a:pt x="1632741" y="78173"/>
                      <a:pt x="1611151" y="78173"/>
                    </a:cubicBezTo>
                    <a:cubicBezTo>
                      <a:pt x="1589656" y="78173"/>
                      <a:pt x="1572160" y="60673"/>
                      <a:pt x="1572160" y="39087"/>
                    </a:cubicBezTo>
                    <a:cubicBezTo>
                      <a:pt x="1572160" y="17499"/>
                      <a:pt x="1589656" y="0"/>
                      <a:pt x="1611151" y="0"/>
                    </a:cubicBezTo>
                    <a:close/>
                    <a:moveTo>
                      <a:pt x="1516607" y="0"/>
                    </a:moveTo>
                    <a:cubicBezTo>
                      <a:pt x="1538188" y="0"/>
                      <a:pt x="1555693" y="17499"/>
                      <a:pt x="1555693" y="39087"/>
                    </a:cubicBezTo>
                    <a:cubicBezTo>
                      <a:pt x="1555693" y="60673"/>
                      <a:pt x="1538188" y="78173"/>
                      <a:pt x="1516607" y="78173"/>
                    </a:cubicBezTo>
                    <a:cubicBezTo>
                      <a:pt x="1495014" y="78173"/>
                      <a:pt x="1477512" y="60673"/>
                      <a:pt x="1477512" y="39087"/>
                    </a:cubicBezTo>
                    <a:cubicBezTo>
                      <a:pt x="1477512" y="17499"/>
                      <a:pt x="1495014" y="0"/>
                      <a:pt x="1516607" y="0"/>
                    </a:cubicBezTo>
                    <a:close/>
                    <a:moveTo>
                      <a:pt x="1232692" y="0"/>
                    </a:moveTo>
                    <a:cubicBezTo>
                      <a:pt x="1254278" y="0"/>
                      <a:pt x="1271765" y="17499"/>
                      <a:pt x="1271765" y="39087"/>
                    </a:cubicBezTo>
                    <a:cubicBezTo>
                      <a:pt x="1271765" y="60673"/>
                      <a:pt x="1254278" y="78173"/>
                      <a:pt x="1232692" y="78173"/>
                    </a:cubicBezTo>
                    <a:cubicBezTo>
                      <a:pt x="1211099" y="78173"/>
                      <a:pt x="1193607" y="60673"/>
                      <a:pt x="1193607" y="39087"/>
                    </a:cubicBezTo>
                    <a:cubicBezTo>
                      <a:pt x="1193607" y="17499"/>
                      <a:pt x="1211099" y="0"/>
                      <a:pt x="1232692" y="0"/>
                    </a:cubicBezTo>
                    <a:close/>
                    <a:moveTo>
                      <a:pt x="1142780" y="0"/>
                    </a:moveTo>
                    <a:cubicBezTo>
                      <a:pt x="1164374" y="0"/>
                      <a:pt x="1181872" y="17499"/>
                      <a:pt x="1181872" y="39087"/>
                    </a:cubicBezTo>
                    <a:cubicBezTo>
                      <a:pt x="1181872" y="60674"/>
                      <a:pt x="1164374" y="78173"/>
                      <a:pt x="1142780" y="78173"/>
                    </a:cubicBezTo>
                    <a:cubicBezTo>
                      <a:pt x="1121186" y="78173"/>
                      <a:pt x="1103680" y="60674"/>
                      <a:pt x="1103680" y="39087"/>
                    </a:cubicBezTo>
                    <a:cubicBezTo>
                      <a:pt x="1103680" y="17499"/>
                      <a:pt x="1121186" y="0"/>
                      <a:pt x="1142780" y="0"/>
                    </a:cubicBezTo>
                    <a:close/>
                    <a:moveTo>
                      <a:pt x="1045753" y="0"/>
                    </a:moveTo>
                    <a:cubicBezTo>
                      <a:pt x="1067337" y="0"/>
                      <a:pt x="1084842" y="17500"/>
                      <a:pt x="1084842" y="39087"/>
                    </a:cubicBezTo>
                    <a:cubicBezTo>
                      <a:pt x="1084842" y="60674"/>
                      <a:pt x="1067337" y="78173"/>
                      <a:pt x="1045753" y="78173"/>
                    </a:cubicBezTo>
                    <a:cubicBezTo>
                      <a:pt x="1024168" y="78173"/>
                      <a:pt x="1006670" y="60674"/>
                      <a:pt x="1006670" y="39087"/>
                    </a:cubicBezTo>
                    <a:cubicBezTo>
                      <a:pt x="1006670" y="17500"/>
                      <a:pt x="1024168" y="0"/>
                      <a:pt x="1045753" y="0"/>
                    </a:cubicBezTo>
                    <a:close/>
                  </a:path>
                </a:pathLst>
              </a:custGeom>
              <a:solidFill>
                <a:srgbClr val="B8D432"/>
              </a:solidFill>
              <a:ln w="0">
                <a:noFill/>
                <a:prstDash val="solid"/>
                <a:round/>
                <a:headEnd/>
                <a:tailEnd/>
              </a:ln>
            </p:spPr>
            <p:txBody>
              <a:bodyPr vert="horz" wrap="square" lIns="93260" tIns="46630" rIns="93260" bIns="46630" numCol="1" anchor="t" anchorCtr="0" compatLnSpc="1">
                <a:prstTxWarp prst="textNoShape">
                  <a:avLst/>
                </a:prstTxWarp>
                <a:noAutofit/>
              </a:bodyPr>
              <a:lstStyle/>
              <a:p>
                <a:endParaRPr lang="en-US" sz="1836"/>
              </a:p>
            </p:txBody>
          </p:sp>
        </p:grpSp>
        <p:sp>
          <p:nvSpPr>
            <p:cNvPr id="53" name="Freeform: Shape 111"/>
            <p:cNvSpPr/>
            <p:nvPr/>
          </p:nvSpPr>
          <p:spPr>
            <a:xfrm rot="11700000">
              <a:off x="6658414" y="5005131"/>
              <a:ext cx="612491" cy="506810"/>
            </a:xfrm>
            <a:custGeom>
              <a:avLst/>
              <a:gdLst>
                <a:gd name="connsiteX0" fmla="*/ 527662 w 632165"/>
                <a:gd name="connsiteY0" fmla="*/ 335414 h 335414"/>
                <a:gd name="connsiteX1" fmla="*/ 793 w 632165"/>
                <a:gd name="connsiteY1" fmla="*/ 4488 h 335414"/>
                <a:gd name="connsiteX2" fmla="*/ 632165 w 632165"/>
                <a:gd name="connsiteY2" fmla="*/ 174305 h 335414"/>
                <a:gd name="connsiteX0" fmla="*/ 542910 w 647413"/>
                <a:gd name="connsiteY0" fmla="*/ 410831 h 410831"/>
                <a:gd name="connsiteX1" fmla="*/ 16041 w 647413"/>
                <a:gd name="connsiteY1" fmla="*/ 79905 h 410831"/>
                <a:gd name="connsiteX2" fmla="*/ 647413 w 647413"/>
                <a:gd name="connsiteY2" fmla="*/ 249722 h 410831"/>
                <a:gd name="connsiteX0" fmla="*/ 527063 w 577137"/>
                <a:gd name="connsiteY0" fmla="*/ 331712 h 331712"/>
                <a:gd name="connsiteX1" fmla="*/ 194 w 577137"/>
                <a:gd name="connsiteY1" fmla="*/ 786 h 331712"/>
                <a:gd name="connsiteX2" fmla="*/ 577137 w 577137"/>
                <a:gd name="connsiteY2" fmla="*/ 250432 h 331712"/>
                <a:gd name="connsiteX0" fmla="*/ 527063 w 577137"/>
                <a:gd name="connsiteY0" fmla="*/ 335493 h 335493"/>
                <a:gd name="connsiteX1" fmla="*/ 194 w 577137"/>
                <a:gd name="connsiteY1" fmla="*/ 4567 h 335493"/>
                <a:gd name="connsiteX2" fmla="*/ 577137 w 577137"/>
                <a:gd name="connsiteY2" fmla="*/ 254213 h 335493"/>
                <a:gd name="connsiteX0" fmla="*/ 0 w 50074"/>
                <a:gd name="connsiteY0" fmla="*/ 81280 h 81280"/>
                <a:gd name="connsiteX1" fmla="*/ 50074 w 50074"/>
                <a:gd name="connsiteY1" fmla="*/ 0 h 81280"/>
                <a:gd name="connsiteX0" fmla="*/ 312578 w 362652"/>
                <a:gd name="connsiteY0" fmla="*/ 81280 h 81280"/>
                <a:gd name="connsiteX1" fmla="*/ 362652 w 362652"/>
                <a:gd name="connsiteY1" fmla="*/ 0 h 81280"/>
                <a:gd name="connsiteX0" fmla="*/ 420807 w 470881"/>
                <a:gd name="connsiteY0" fmla="*/ 302554 h 302554"/>
                <a:gd name="connsiteX1" fmla="*/ 470881 w 470881"/>
                <a:gd name="connsiteY1" fmla="*/ 221274 h 302554"/>
                <a:gd name="connsiteX0" fmla="*/ 409238 w 459312"/>
                <a:gd name="connsiteY0" fmla="*/ 335612 h 335612"/>
                <a:gd name="connsiteX1" fmla="*/ 459312 w 459312"/>
                <a:gd name="connsiteY1" fmla="*/ 254332 h 335612"/>
                <a:gd name="connsiteX0" fmla="*/ 379622 w 514967"/>
                <a:gd name="connsiteY0" fmla="*/ 429309 h 429309"/>
                <a:gd name="connsiteX1" fmla="*/ 514967 w 514967"/>
                <a:gd name="connsiteY1" fmla="*/ 226472 h 429309"/>
                <a:gd name="connsiteX0" fmla="*/ 342987 w 600796"/>
                <a:gd name="connsiteY0" fmla="*/ 176919 h 331950"/>
                <a:gd name="connsiteX1" fmla="*/ 600796 w 600796"/>
                <a:gd name="connsiteY1" fmla="*/ 331950 h 331950"/>
                <a:gd name="connsiteX0" fmla="*/ 345613 w 593897"/>
                <a:gd name="connsiteY0" fmla="*/ 112119 h 392336"/>
                <a:gd name="connsiteX1" fmla="*/ 593897 w 593897"/>
                <a:gd name="connsiteY1" fmla="*/ 392336 h 392336"/>
                <a:gd name="connsiteX0" fmla="*/ 201334 w 564830"/>
                <a:gd name="connsiteY0" fmla="*/ 153356 h 433573"/>
                <a:gd name="connsiteX1" fmla="*/ 449618 w 564830"/>
                <a:gd name="connsiteY1" fmla="*/ 433573 h 433573"/>
                <a:gd name="connsiteX0" fmla="*/ 0 w 441974"/>
                <a:gd name="connsiteY0" fmla="*/ 367454 h 647671"/>
                <a:gd name="connsiteX1" fmla="*/ 248284 w 441974"/>
                <a:gd name="connsiteY1" fmla="*/ 647671 h 647671"/>
                <a:gd name="connsiteX0" fmla="*/ 0 w 420780"/>
                <a:gd name="connsiteY0" fmla="*/ 381084 h 624562"/>
                <a:gd name="connsiteX1" fmla="*/ 222430 w 420780"/>
                <a:gd name="connsiteY1" fmla="*/ 624562 h 624562"/>
                <a:gd name="connsiteX0" fmla="*/ 0 w 464572"/>
                <a:gd name="connsiteY0" fmla="*/ 265538 h 509016"/>
                <a:gd name="connsiteX1" fmla="*/ 222430 w 464572"/>
                <a:gd name="connsiteY1" fmla="*/ 509016 h 509016"/>
                <a:gd name="connsiteX0" fmla="*/ 0 w 469892"/>
                <a:gd name="connsiteY0" fmla="*/ 429654 h 673132"/>
                <a:gd name="connsiteX1" fmla="*/ 222430 w 469892"/>
                <a:gd name="connsiteY1" fmla="*/ 673132 h 673132"/>
                <a:gd name="connsiteX0" fmla="*/ 0 w 661692"/>
                <a:gd name="connsiteY0" fmla="*/ 422521 h 665999"/>
                <a:gd name="connsiteX1" fmla="*/ 222430 w 661692"/>
                <a:gd name="connsiteY1" fmla="*/ 665999 h 665999"/>
                <a:gd name="connsiteX0" fmla="*/ 0 w 514443"/>
                <a:gd name="connsiteY0" fmla="*/ 482376 h 499286"/>
                <a:gd name="connsiteX1" fmla="*/ 27196 w 514443"/>
                <a:gd name="connsiteY1" fmla="*/ 499286 h 499286"/>
                <a:gd name="connsiteX0" fmla="*/ 0 w 552988"/>
                <a:gd name="connsiteY0" fmla="*/ 423754 h 443390"/>
                <a:gd name="connsiteX1" fmla="*/ 27196 w 552988"/>
                <a:gd name="connsiteY1" fmla="*/ 440664 h 443390"/>
                <a:gd name="connsiteX0" fmla="*/ 0 w 542469"/>
                <a:gd name="connsiteY0" fmla="*/ 422020 h 448869"/>
                <a:gd name="connsiteX1" fmla="*/ 12734 w 542469"/>
                <a:gd name="connsiteY1" fmla="*/ 446161 h 448869"/>
              </a:gdLst>
              <a:ahLst/>
              <a:cxnLst>
                <a:cxn ang="0">
                  <a:pos x="connsiteX0" y="connsiteY0"/>
                </a:cxn>
                <a:cxn ang="0">
                  <a:pos x="connsiteX1" y="connsiteY1"/>
                </a:cxn>
              </a:cxnLst>
              <a:rect l="l" t="t" r="r" b="b"/>
              <a:pathLst>
                <a:path w="542469" h="448869">
                  <a:moveTo>
                    <a:pt x="0" y="422020"/>
                  </a:moveTo>
                  <a:cubicBezTo>
                    <a:pt x="94797" y="-571633"/>
                    <a:pt x="1163675" y="509581"/>
                    <a:pt x="12734" y="446161"/>
                  </a:cubicBezTo>
                </a:path>
              </a:pathLst>
            </a:custGeom>
            <a:noFill/>
            <a:ln w="31750" cap="rnd">
              <a:solidFill>
                <a:srgbClr val="59B4D9"/>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sp>
          <p:nvSpPr>
            <p:cNvPr id="54" name="Freeform: Shape 111"/>
            <p:cNvSpPr/>
            <p:nvPr/>
          </p:nvSpPr>
          <p:spPr>
            <a:xfrm rot="16200000">
              <a:off x="6418512" y="3309087"/>
              <a:ext cx="612491" cy="506810"/>
            </a:xfrm>
            <a:custGeom>
              <a:avLst/>
              <a:gdLst>
                <a:gd name="connsiteX0" fmla="*/ 527662 w 632165"/>
                <a:gd name="connsiteY0" fmla="*/ 335414 h 335414"/>
                <a:gd name="connsiteX1" fmla="*/ 793 w 632165"/>
                <a:gd name="connsiteY1" fmla="*/ 4488 h 335414"/>
                <a:gd name="connsiteX2" fmla="*/ 632165 w 632165"/>
                <a:gd name="connsiteY2" fmla="*/ 174305 h 335414"/>
                <a:gd name="connsiteX0" fmla="*/ 542910 w 647413"/>
                <a:gd name="connsiteY0" fmla="*/ 410831 h 410831"/>
                <a:gd name="connsiteX1" fmla="*/ 16041 w 647413"/>
                <a:gd name="connsiteY1" fmla="*/ 79905 h 410831"/>
                <a:gd name="connsiteX2" fmla="*/ 647413 w 647413"/>
                <a:gd name="connsiteY2" fmla="*/ 249722 h 410831"/>
                <a:gd name="connsiteX0" fmla="*/ 527063 w 577137"/>
                <a:gd name="connsiteY0" fmla="*/ 331712 h 331712"/>
                <a:gd name="connsiteX1" fmla="*/ 194 w 577137"/>
                <a:gd name="connsiteY1" fmla="*/ 786 h 331712"/>
                <a:gd name="connsiteX2" fmla="*/ 577137 w 577137"/>
                <a:gd name="connsiteY2" fmla="*/ 250432 h 331712"/>
                <a:gd name="connsiteX0" fmla="*/ 527063 w 577137"/>
                <a:gd name="connsiteY0" fmla="*/ 335493 h 335493"/>
                <a:gd name="connsiteX1" fmla="*/ 194 w 577137"/>
                <a:gd name="connsiteY1" fmla="*/ 4567 h 335493"/>
                <a:gd name="connsiteX2" fmla="*/ 577137 w 577137"/>
                <a:gd name="connsiteY2" fmla="*/ 254213 h 335493"/>
                <a:gd name="connsiteX0" fmla="*/ 0 w 50074"/>
                <a:gd name="connsiteY0" fmla="*/ 81280 h 81280"/>
                <a:gd name="connsiteX1" fmla="*/ 50074 w 50074"/>
                <a:gd name="connsiteY1" fmla="*/ 0 h 81280"/>
                <a:gd name="connsiteX0" fmla="*/ 312578 w 362652"/>
                <a:gd name="connsiteY0" fmla="*/ 81280 h 81280"/>
                <a:gd name="connsiteX1" fmla="*/ 362652 w 362652"/>
                <a:gd name="connsiteY1" fmla="*/ 0 h 81280"/>
                <a:gd name="connsiteX0" fmla="*/ 420807 w 470881"/>
                <a:gd name="connsiteY0" fmla="*/ 302554 h 302554"/>
                <a:gd name="connsiteX1" fmla="*/ 470881 w 470881"/>
                <a:gd name="connsiteY1" fmla="*/ 221274 h 302554"/>
                <a:gd name="connsiteX0" fmla="*/ 409238 w 459312"/>
                <a:gd name="connsiteY0" fmla="*/ 335612 h 335612"/>
                <a:gd name="connsiteX1" fmla="*/ 459312 w 459312"/>
                <a:gd name="connsiteY1" fmla="*/ 254332 h 335612"/>
                <a:gd name="connsiteX0" fmla="*/ 379622 w 514967"/>
                <a:gd name="connsiteY0" fmla="*/ 429309 h 429309"/>
                <a:gd name="connsiteX1" fmla="*/ 514967 w 514967"/>
                <a:gd name="connsiteY1" fmla="*/ 226472 h 429309"/>
                <a:gd name="connsiteX0" fmla="*/ 342987 w 600796"/>
                <a:gd name="connsiteY0" fmla="*/ 176919 h 331950"/>
                <a:gd name="connsiteX1" fmla="*/ 600796 w 600796"/>
                <a:gd name="connsiteY1" fmla="*/ 331950 h 331950"/>
                <a:gd name="connsiteX0" fmla="*/ 345613 w 593897"/>
                <a:gd name="connsiteY0" fmla="*/ 112119 h 392336"/>
                <a:gd name="connsiteX1" fmla="*/ 593897 w 593897"/>
                <a:gd name="connsiteY1" fmla="*/ 392336 h 392336"/>
                <a:gd name="connsiteX0" fmla="*/ 201334 w 564830"/>
                <a:gd name="connsiteY0" fmla="*/ 153356 h 433573"/>
                <a:gd name="connsiteX1" fmla="*/ 449618 w 564830"/>
                <a:gd name="connsiteY1" fmla="*/ 433573 h 433573"/>
                <a:gd name="connsiteX0" fmla="*/ 0 w 441974"/>
                <a:gd name="connsiteY0" fmla="*/ 367454 h 647671"/>
                <a:gd name="connsiteX1" fmla="*/ 248284 w 441974"/>
                <a:gd name="connsiteY1" fmla="*/ 647671 h 647671"/>
                <a:gd name="connsiteX0" fmla="*/ 0 w 420780"/>
                <a:gd name="connsiteY0" fmla="*/ 381084 h 624562"/>
                <a:gd name="connsiteX1" fmla="*/ 222430 w 420780"/>
                <a:gd name="connsiteY1" fmla="*/ 624562 h 624562"/>
                <a:gd name="connsiteX0" fmla="*/ 0 w 464572"/>
                <a:gd name="connsiteY0" fmla="*/ 265538 h 509016"/>
                <a:gd name="connsiteX1" fmla="*/ 222430 w 464572"/>
                <a:gd name="connsiteY1" fmla="*/ 509016 h 509016"/>
                <a:gd name="connsiteX0" fmla="*/ 0 w 469892"/>
                <a:gd name="connsiteY0" fmla="*/ 429654 h 673132"/>
                <a:gd name="connsiteX1" fmla="*/ 222430 w 469892"/>
                <a:gd name="connsiteY1" fmla="*/ 673132 h 673132"/>
                <a:gd name="connsiteX0" fmla="*/ 0 w 661692"/>
                <a:gd name="connsiteY0" fmla="*/ 422521 h 665999"/>
                <a:gd name="connsiteX1" fmla="*/ 222430 w 661692"/>
                <a:gd name="connsiteY1" fmla="*/ 665999 h 665999"/>
                <a:gd name="connsiteX0" fmla="*/ 0 w 514443"/>
                <a:gd name="connsiteY0" fmla="*/ 482376 h 499286"/>
                <a:gd name="connsiteX1" fmla="*/ 27196 w 514443"/>
                <a:gd name="connsiteY1" fmla="*/ 499286 h 499286"/>
                <a:gd name="connsiteX0" fmla="*/ 0 w 552988"/>
                <a:gd name="connsiteY0" fmla="*/ 423754 h 443390"/>
                <a:gd name="connsiteX1" fmla="*/ 27196 w 552988"/>
                <a:gd name="connsiteY1" fmla="*/ 440664 h 443390"/>
                <a:gd name="connsiteX0" fmla="*/ 0 w 542469"/>
                <a:gd name="connsiteY0" fmla="*/ 422020 h 448869"/>
                <a:gd name="connsiteX1" fmla="*/ 12734 w 542469"/>
                <a:gd name="connsiteY1" fmla="*/ 446161 h 448869"/>
              </a:gdLst>
              <a:ahLst/>
              <a:cxnLst>
                <a:cxn ang="0">
                  <a:pos x="connsiteX0" y="connsiteY0"/>
                </a:cxn>
                <a:cxn ang="0">
                  <a:pos x="connsiteX1" y="connsiteY1"/>
                </a:cxn>
              </a:cxnLst>
              <a:rect l="l" t="t" r="r" b="b"/>
              <a:pathLst>
                <a:path w="542469" h="448869">
                  <a:moveTo>
                    <a:pt x="0" y="422020"/>
                  </a:moveTo>
                  <a:cubicBezTo>
                    <a:pt x="94797" y="-571633"/>
                    <a:pt x="1163675" y="509581"/>
                    <a:pt x="12734" y="446161"/>
                  </a:cubicBezTo>
                </a:path>
              </a:pathLst>
            </a:custGeom>
            <a:noFill/>
            <a:ln w="31750" cap="rnd">
              <a:solidFill>
                <a:srgbClr val="59B4D9"/>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sp>
          <p:nvSpPr>
            <p:cNvPr id="55" name="Freeform: Shape 111"/>
            <p:cNvSpPr/>
            <p:nvPr/>
          </p:nvSpPr>
          <p:spPr>
            <a:xfrm rot="900000">
              <a:off x="9329300" y="3010667"/>
              <a:ext cx="612491" cy="506810"/>
            </a:xfrm>
            <a:custGeom>
              <a:avLst/>
              <a:gdLst>
                <a:gd name="connsiteX0" fmla="*/ 527662 w 632165"/>
                <a:gd name="connsiteY0" fmla="*/ 335414 h 335414"/>
                <a:gd name="connsiteX1" fmla="*/ 793 w 632165"/>
                <a:gd name="connsiteY1" fmla="*/ 4488 h 335414"/>
                <a:gd name="connsiteX2" fmla="*/ 632165 w 632165"/>
                <a:gd name="connsiteY2" fmla="*/ 174305 h 335414"/>
                <a:gd name="connsiteX0" fmla="*/ 542910 w 647413"/>
                <a:gd name="connsiteY0" fmla="*/ 410831 h 410831"/>
                <a:gd name="connsiteX1" fmla="*/ 16041 w 647413"/>
                <a:gd name="connsiteY1" fmla="*/ 79905 h 410831"/>
                <a:gd name="connsiteX2" fmla="*/ 647413 w 647413"/>
                <a:gd name="connsiteY2" fmla="*/ 249722 h 410831"/>
                <a:gd name="connsiteX0" fmla="*/ 527063 w 577137"/>
                <a:gd name="connsiteY0" fmla="*/ 331712 h 331712"/>
                <a:gd name="connsiteX1" fmla="*/ 194 w 577137"/>
                <a:gd name="connsiteY1" fmla="*/ 786 h 331712"/>
                <a:gd name="connsiteX2" fmla="*/ 577137 w 577137"/>
                <a:gd name="connsiteY2" fmla="*/ 250432 h 331712"/>
                <a:gd name="connsiteX0" fmla="*/ 527063 w 577137"/>
                <a:gd name="connsiteY0" fmla="*/ 335493 h 335493"/>
                <a:gd name="connsiteX1" fmla="*/ 194 w 577137"/>
                <a:gd name="connsiteY1" fmla="*/ 4567 h 335493"/>
                <a:gd name="connsiteX2" fmla="*/ 577137 w 577137"/>
                <a:gd name="connsiteY2" fmla="*/ 254213 h 335493"/>
                <a:gd name="connsiteX0" fmla="*/ 0 w 50074"/>
                <a:gd name="connsiteY0" fmla="*/ 81280 h 81280"/>
                <a:gd name="connsiteX1" fmla="*/ 50074 w 50074"/>
                <a:gd name="connsiteY1" fmla="*/ 0 h 81280"/>
                <a:gd name="connsiteX0" fmla="*/ 312578 w 362652"/>
                <a:gd name="connsiteY0" fmla="*/ 81280 h 81280"/>
                <a:gd name="connsiteX1" fmla="*/ 362652 w 362652"/>
                <a:gd name="connsiteY1" fmla="*/ 0 h 81280"/>
                <a:gd name="connsiteX0" fmla="*/ 420807 w 470881"/>
                <a:gd name="connsiteY0" fmla="*/ 302554 h 302554"/>
                <a:gd name="connsiteX1" fmla="*/ 470881 w 470881"/>
                <a:gd name="connsiteY1" fmla="*/ 221274 h 302554"/>
                <a:gd name="connsiteX0" fmla="*/ 409238 w 459312"/>
                <a:gd name="connsiteY0" fmla="*/ 335612 h 335612"/>
                <a:gd name="connsiteX1" fmla="*/ 459312 w 459312"/>
                <a:gd name="connsiteY1" fmla="*/ 254332 h 335612"/>
                <a:gd name="connsiteX0" fmla="*/ 379622 w 514967"/>
                <a:gd name="connsiteY0" fmla="*/ 429309 h 429309"/>
                <a:gd name="connsiteX1" fmla="*/ 514967 w 514967"/>
                <a:gd name="connsiteY1" fmla="*/ 226472 h 429309"/>
                <a:gd name="connsiteX0" fmla="*/ 342987 w 600796"/>
                <a:gd name="connsiteY0" fmla="*/ 176919 h 331950"/>
                <a:gd name="connsiteX1" fmla="*/ 600796 w 600796"/>
                <a:gd name="connsiteY1" fmla="*/ 331950 h 331950"/>
                <a:gd name="connsiteX0" fmla="*/ 345613 w 593897"/>
                <a:gd name="connsiteY0" fmla="*/ 112119 h 392336"/>
                <a:gd name="connsiteX1" fmla="*/ 593897 w 593897"/>
                <a:gd name="connsiteY1" fmla="*/ 392336 h 392336"/>
                <a:gd name="connsiteX0" fmla="*/ 201334 w 564830"/>
                <a:gd name="connsiteY0" fmla="*/ 153356 h 433573"/>
                <a:gd name="connsiteX1" fmla="*/ 449618 w 564830"/>
                <a:gd name="connsiteY1" fmla="*/ 433573 h 433573"/>
                <a:gd name="connsiteX0" fmla="*/ 0 w 441974"/>
                <a:gd name="connsiteY0" fmla="*/ 367454 h 647671"/>
                <a:gd name="connsiteX1" fmla="*/ 248284 w 441974"/>
                <a:gd name="connsiteY1" fmla="*/ 647671 h 647671"/>
                <a:gd name="connsiteX0" fmla="*/ 0 w 420780"/>
                <a:gd name="connsiteY0" fmla="*/ 381084 h 624562"/>
                <a:gd name="connsiteX1" fmla="*/ 222430 w 420780"/>
                <a:gd name="connsiteY1" fmla="*/ 624562 h 624562"/>
                <a:gd name="connsiteX0" fmla="*/ 0 w 464572"/>
                <a:gd name="connsiteY0" fmla="*/ 265538 h 509016"/>
                <a:gd name="connsiteX1" fmla="*/ 222430 w 464572"/>
                <a:gd name="connsiteY1" fmla="*/ 509016 h 509016"/>
                <a:gd name="connsiteX0" fmla="*/ 0 w 469892"/>
                <a:gd name="connsiteY0" fmla="*/ 429654 h 673132"/>
                <a:gd name="connsiteX1" fmla="*/ 222430 w 469892"/>
                <a:gd name="connsiteY1" fmla="*/ 673132 h 673132"/>
                <a:gd name="connsiteX0" fmla="*/ 0 w 661692"/>
                <a:gd name="connsiteY0" fmla="*/ 422521 h 665999"/>
                <a:gd name="connsiteX1" fmla="*/ 222430 w 661692"/>
                <a:gd name="connsiteY1" fmla="*/ 665999 h 665999"/>
                <a:gd name="connsiteX0" fmla="*/ 0 w 514443"/>
                <a:gd name="connsiteY0" fmla="*/ 482376 h 499286"/>
                <a:gd name="connsiteX1" fmla="*/ 27196 w 514443"/>
                <a:gd name="connsiteY1" fmla="*/ 499286 h 499286"/>
                <a:gd name="connsiteX0" fmla="*/ 0 w 552988"/>
                <a:gd name="connsiteY0" fmla="*/ 423754 h 443390"/>
                <a:gd name="connsiteX1" fmla="*/ 27196 w 552988"/>
                <a:gd name="connsiteY1" fmla="*/ 440664 h 443390"/>
                <a:gd name="connsiteX0" fmla="*/ 0 w 542469"/>
                <a:gd name="connsiteY0" fmla="*/ 422020 h 448869"/>
                <a:gd name="connsiteX1" fmla="*/ 12734 w 542469"/>
                <a:gd name="connsiteY1" fmla="*/ 446161 h 448869"/>
              </a:gdLst>
              <a:ahLst/>
              <a:cxnLst>
                <a:cxn ang="0">
                  <a:pos x="connsiteX0" y="connsiteY0"/>
                </a:cxn>
                <a:cxn ang="0">
                  <a:pos x="connsiteX1" y="connsiteY1"/>
                </a:cxn>
              </a:cxnLst>
              <a:rect l="l" t="t" r="r" b="b"/>
              <a:pathLst>
                <a:path w="542469" h="448869">
                  <a:moveTo>
                    <a:pt x="0" y="422020"/>
                  </a:moveTo>
                  <a:cubicBezTo>
                    <a:pt x="94797" y="-571633"/>
                    <a:pt x="1163675" y="509581"/>
                    <a:pt x="12734" y="446161"/>
                  </a:cubicBezTo>
                </a:path>
              </a:pathLst>
            </a:custGeom>
            <a:noFill/>
            <a:ln w="31750" cap="rnd">
              <a:solidFill>
                <a:srgbClr val="59B4D9"/>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sp>
          <p:nvSpPr>
            <p:cNvPr id="56" name="Freeform: Shape 111"/>
            <p:cNvSpPr/>
            <p:nvPr/>
          </p:nvSpPr>
          <p:spPr>
            <a:xfrm rot="6300000">
              <a:off x="9270812" y="5656109"/>
              <a:ext cx="612491" cy="506810"/>
            </a:xfrm>
            <a:custGeom>
              <a:avLst/>
              <a:gdLst>
                <a:gd name="connsiteX0" fmla="*/ 527662 w 632165"/>
                <a:gd name="connsiteY0" fmla="*/ 335414 h 335414"/>
                <a:gd name="connsiteX1" fmla="*/ 793 w 632165"/>
                <a:gd name="connsiteY1" fmla="*/ 4488 h 335414"/>
                <a:gd name="connsiteX2" fmla="*/ 632165 w 632165"/>
                <a:gd name="connsiteY2" fmla="*/ 174305 h 335414"/>
                <a:gd name="connsiteX0" fmla="*/ 542910 w 647413"/>
                <a:gd name="connsiteY0" fmla="*/ 410831 h 410831"/>
                <a:gd name="connsiteX1" fmla="*/ 16041 w 647413"/>
                <a:gd name="connsiteY1" fmla="*/ 79905 h 410831"/>
                <a:gd name="connsiteX2" fmla="*/ 647413 w 647413"/>
                <a:gd name="connsiteY2" fmla="*/ 249722 h 410831"/>
                <a:gd name="connsiteX0" fmla="*/ 527063 w 577137"/>
                <a:gd name="connsiteY0" fmla="*/ 331712 h 331712"/>
                <a:gd name="connsiteX1" fmla="*/ 194 w 577137"/>
                <a:gd name="connsiteY1" fmla="*/ 786 h 331712"/>
                <a:gd name="connsiteX2" fmla="*/ 577137 w 577137"/>
                <a:gd name="connsiteY2" fmla="*/ 250432 h 331712"/>
                <a:gd name="connsiteX0" fmla="*/ 527063 w 577137"/>
                <a:gd name="connsiteY0" fmla="*/ 335493 h 335493"/>
                <a:gd name="connsiteX1" fmla="*/ 194 w 577137"/>
                <a:gd name="connsiteY1" fmla="*/ 4567 h 335493"/>
                <a:gd name="connsiteX2" fmla="*/ 577137 w 577137"/>
                <a:gd name="connsiteY2" fmla="*/ 254213 h 335493"/>
                <a:gd name="connsiteX0" fmla="*/ 0 w 50074"/>
                <a:gd name="connsiteY0" fmla="*/ 81280 h 81280"/>
                <a:gd name="connsiteX1" fmla="*/ 50074 w 50074"/>
                <a:gd name="connsiteY1" fmla="*/ 0 h 81280"/>
                <a:gd name="connsiteX0" fmla="*/ 312578 w 362652"/>
                <a:gd name="connsiteY0" fmla="*/ 81280 h 81280"/>
                <a:gd name="connsiteX1" fmla="*/ 362652 w 362652"/>
                <a:gd name="connsiteY1" fmla="*/ 0 h 81280"/>
                <a:gd name="connsiteX0" fmla="*/ 420807 w 470881"/>
                <a:gd name="connsiteY0" fmla="*/ 302554 h 302554"/>
                <a:gd name="connsiteX1" fmla="*/ 470881 w 470881"/>
                <a:gd name="connsiteY1" fmla="*/ 221274 h 302554"/>
                <a:gd name="connsiteX0" fmla="*/ 409238 w 459312"/>
                <a:gd name="connsiteY0" fmla="*/ 335612 h 335612"/>
                <a:gd name="connsiteX1" fmla="*/ 459312 w 459312"/>
                <a:gd name="connsiteY1" fmla="*/ 254332 h 335612"/>
                <a:gd name="connsiteX0" fmla="*/ 379622 w 514967"/>
                <a:gd name="connsiteY0" fmla="*/ 429309 h 429309"/>
                <a:gd name="connsiteX1" fmla="*/ 514967 w 514967"/>
                <a:gd name="connsiteY1" fmla="*/ 226472 h 429309"/>
                <a:gd name="connsiteX0" fmla="*/ 342987 w 600796"/>
                <a:gd name="connsiteY0" fmla="*/ 176919 h 331950"/>
                <a:gd name="connsiteX1" fmla="*/ 600796 w 600796"/>
                <a:gd name="connsiteY1" fmla="*/ 331950 h 331950"/>
                <a:gd name="connsiteX0" fmla="*/ 345613 w 593897"/>
                <a:gd name="connsiteY0" fmla="*/ 112119 h 392336"/>
                <a:gd name="connsiteX1" fmla="*/ 593897 w 593897"/>
                <a:gd name="connsiteY1" fmla="*/ 392336 h 392336"/>
                <a:gd name="connsiteX0" fmla="*/ 201334 w 564830"/>
                <a:gd name="connsiteY0" fmla="*/ 153356 h 433573"/>
                <a:gd name="connsiteX1" fmla="*/ 449618 w 564830"/>
                <a:gd name="connsiteY1" fmla="*/ 433573 h 433573"/>
                <a:gd name="connsiteX0" fmla="*/ 0 w 441974"/>
                <a:gd name="connsiteY0" fmla="*/ 367454 h 647671"/>
                <a:gd name="connsiteX1" fmla="*/ 248284 w 441974"/>
                <a:gd name="connsiteY1" fmla="*/ 647671 h 647671"/>
                <a:gd name="connsiteX0" fmla="*/ 0 w 420780"/>
                <a:gd name="connsiteY0" fmla="*/ 381084 h 624562"/>
                <a:gd name="connsiteX1" fmla="*/ 222430 w 420780"/>
                <a:gd name="connsiteY1" fmla="*/ 624562 h 624562"/>
                <a:gd name="connsiteX0" fmla="*/ 0 w 464572"/>
                <a:gd name="connsiteY0" fmla="*/ 265538 h 509016"/>
                <a:gd name="connsiteX1" fmla="*/ 222430 w 464572"/>
                <a:gd name="connsiteY1" fmla="*/ 509016 h 509016"/>
                <a:gd name="connsiteX0" fmla="*/ 0 w 469892"/>
                <a:gd name="connsiteY0" fmla="*/ 429654 h 673132"/>
                <a:gd name="connsiteX1" fmla="*/ 222430 w 469892"/>
                <a:gd name="connsiteY1" fmla="*/ 673132 h 673132"/>
                <a:gd name="connsiteX0" fmla="*/ 0 w 661692"/>
                <a:gd name="connsiteY0" fmla="*/ 422521 h 665999"/>
                <a:gd name="connsiteX1" fmla="*/ 222430 w 661692"/>
                <a:gd name="connsiteY1" fmla="*/ 665999 h 665999"/>
                <a:gd name="connsiteX0" fmla="*/ 0 w 514443"/>
                <a:gd name="connsiteY0" fmla="*/ 482376 h 499286"/>
                <a:gd name="connsiteX1" fmla="*/ 27196 w 514443"/>
                <a:gd name="connsiteY1" fmla="*/ 499286 h 499286"/>
                <a:gd name="connsiteX0" fmla="*/ 0 w 552988"/>
                <a:gd name="connsiteY0" fmla="*/ 423754 h 443390"/>
                <a:gd name="connsiteX1" fmla="*/ 27196 w 552988"/>
                <a:gd name="connsiteY1" fmla="*/ 440664 h 443390"/>
                <a:gd name="connsiteX0" fmla="*/ 0 w 542469"/>
                <a:gd name="connsiteY0" fmla="*/ 422020 h 448869"/>
                <a:gd name="connsiteX1" fmla="*/ 12734 w 542469"/>
                <a:gd name="connsiteY1" fmla="*/ 446161 h 448869"/>
              </a:gdLst>
              <a:ahLst/>
              <a:cxnLst>
                <a:cxn ang="0">
                  <a:pos x="connsiteX0" y="connsiteY0"/>
                </a:cxn>
                <a:cxn ang="0">
                  <a:pos x="connsiteX1" y="connsiteY1"/>
                </a:cxn>
              </a:cxnLst>
              <a:rect l="l" t="t" r="r" b="b"/>
              <a:pathLst>
                <a:path w="542469" h="448869">
                  <a:moveTo>
                    <a:pt x="0" y="422020"/>
                  </a:moveTo>
                  <a:cubicBezTo>
                    <a:pt x="94797" y="-571633"/>
                    <a:pt x="1163675" y="509581"/>
                    <a:pt x="12734" y="446161"/>
                  </a:cubicBezTo>
                </a:path>
              </a:pathLst>
            </a:custGeom>
            <a:noFill/>
            <a:ln w="31750" cap="rnd">
              <a:solidFill>
                <a:srgbClr val="59B4D9"/>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grpSp>
      <p:sp>
        <p:nvSpPr>
          <p:cNvPr id="2" name="Rectangle 1"/>
          <p:cNvSpPr/>
          <p:nvPr/>
        </p:nvSpPr>
        <p:spPr>
          <a:xfrm>
            <a:off x="9752941" y="4397065"/>
            <a:ext cx="1911077" cy="751552"/>
          </a:xfrm>
          <a:prstGeom prst="rect">
            <a:avLst/>
          </a:prstGeom>
        </p:spPr>
        <p:txBody>
          <a:bodyPr wrap="square">
            <a:spAutoFit/>
          </a:bodyPr>
          <a:lstStyle/>
          <a:p>
            <a:r>
              <a:rPr lang="en-US" sz="1428" b="1">
                <a:solidFill>
                  <a:schemeClr val="bg1"/>
                </a:solidFill>
                <a:latin typeface="Segoe UI Semibold" charset="0"/>
                <a:ea typeface="Segoe UI Semibold" charset="0"/>
                <a:cs typeface="Segoe UI Semibold" charset="0"/>
              </a:rPr>
              <a:t>Guaranteed global millisecond latency at the 99</a:t>
            </a:r>
            <a:r>
              <a:rPr lang="en-US" sz="1428" b="1" baseline="30000">
                <a:solidFill>
                  <a:schemeClr val="bg1"/>
                </a:solidFill>
                <a:latin typeface="Segoe UI Semibold" charset="0"/>
                <a:ea typeface="Segoe UI Semibold" charset="0"/>
                <a:cs typeface="Segoe UI Semibold" charset="0"/>
              </a:rPr>
              <a:t>th</a:t>
            </a:r>
            <a:r>
              <a:rPr lang="en-US" sz="1428" b="1">
                <a:solidFill>
                  <a:schemeClr val="bg1"/>
                </a:solidFill>
                <a:latin typeface="Segoe UI Semibold" charset="0"/>
                <a:ea typeface="Segoe UI Semibold" charset="0"/>
                <a:cs typeface="Segoe UI Semibold" charset="0"/>
              </a:rPr>
              <a:t> percentile</a:t>
            </a:r>
          </a:p>
        </p:txBody>
      </p:sp>
    </p:spTree>
    <p:extLst>
      <p:ext uri="{BB962C8B-B14F-4D97-AF65-F5344CB8AC3E}">
        <p14:creationId xmlns:p14="http://schemas.microsoft.com/office/powerpoint/2010/main" val="5435411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49">
                                            <p:txEl>
                                              <p:pRg st="0" end="0"/>
                                            </p:txEl>
                                          </p:spTgt>
                                        </p:tgtEl>
                                        <p:attrNameLst>
                                          <p:attrName>style.visibility</p:attrName>
                                        </p:attrNameLst>
                                      </p:cBhvr>
                                      <p:to>
                                        <p:strVal val="visible"/>
                                      </p:to>
                                    </p:set>
                                    <p:animEffect transition="in" filter="fade">
                                      <p:cBhvr>
                                        <p:cTn id="7" dur="500"/>
                                        <p:tgtEl>
                                          <p:spTgt spid="49">
                                            <p:txEl>
                                              <p:pRg st="0" end="0"/>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50"/>
                                        </p:tgtEl>
                                        <p:attrNameLst>
                                          <p:attrName>style.visibility</p:attrName>
                                        </p:attrNameLst>
                                      </p:cBhvr>
                                      <p:to>
                                        <p:strVal val="visible"/>
                                      </p:to>
                                    </p:set>
                                    <p:animEffect transition="in" filter="fade">
                                      <p:cBhvr>
                                        <p:cTn id="10" dur="500"/>
                                        <p:tgtEl>
                                          <p:spTgt spid="5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9" grpId="0" build="p"/>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 name="Rectangle 52"/>
          <p:cNvSpPr/>
          <p:nvPr/>
        </p:nvSpPr>
        <p:spPr bwMode="auto">
          <a:xfrm>
            <a:off x="6748724" y="497"/>
            <a:ext cx="5686077" cy="6993533"/>
          </a:xfrm>
          <a:prstGeom prst="rect">
            <a:avLst/>
          </a:prstGeom>
          <a:solidFill>
            <a:schemeClr val="tx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0">
                    <a:srgbClr val="FFFFFF"/>
                  </a:gs>
                  <a:gs pos="100000">
                    <a:srgbClr val="FFFFFF"/>
                  </a:gs>
                </a:gsLst>
                <a:lin ang="5400000" scaled="0"/>
              </a:gradFill>
              <a:latin typeface="Segoe UI"/>
            </a:endParaRPr>
          </a:p>
        </p:txBody>
      </p:sp>
      <p:sp>
        <p:nvSpPr>
          <p:cNvPr id="2" name="Title 1"/>
          <p:cNvSpPr>
            <a:spLocks noGrp="1"/>
          </p:cNvSpPr>
          <p:nvPr>
            <p:ph type="title"/>
          </p:nvPr>
        </p:nvSpPr>
        <p:spPr>
          <a:xfrm>
            <a:off x="274689" y="295730"/>
            <a:ext cx="5907483" cy="1033507"/>
          </a:xfrm>
        </p:spPr>
        <p:txBody>
          <a:bodyPr/>
          <a:lstStyle/>
          <a:p>
            <a:pPr lvl="0"/>
            <a:r>
              <a:rPr lang="en-US" kern="0" spc="0">
                <a:ln>
                  <a:noFill/>
                </a:ln>
                <a:solidFill>
                  <a:schemeClr val="tx1"/>
                </a:solidFill>
                <a:ea typeface="Segoe UI" pitchFamily="34" charset="0"/>
              </a:rPr>
              <a:t>Balance of responsibility </a:t>
            </a:r>
            <a:endParaRPr lang="en-US" sz="4399"/>
          </a:p>
        </p:txBody>
      </p:sp>
      <p:sp>
        <p:nvSpPr>
          <p:cNvPr id="4" name="TextBox 3"/>
          <p:cNvSpPr txBox="1"/>
          <p:nvPr/>
        </p:nvSpPr>
        <p:spPr>
          <a:xfrm>
            <a:off x="274689" y="1987030"/>
            <a:ext cx="5907483" cy="4122036"/>
          </a:xfrm>
          <a:prstGeom prst="rect">
            <a:avLst/>
          </a:prstGeom>
          <a:noFill/>
        </p:spPr>
        <p:txBody>
          <a:bodyPr wrap="square" lIns="186494" tIns="149196" rIns="186494" bIns="149196" rtlCol="0">
            <a:spAutoFit/>
          </a:bodyPr>
          <a:lstStyle/>
          <a:p>
            <a:pPr defTabSz="914224">
              <a:lnSpc>
                <a:spcPct val="90000"/>
              </a:lnSpc>
              <a:spcAft>
                <a:spcPts val="612"/>
              </a:spcAft>
              <a:defRPr/>
            </a:pPr>
            <a:r>
              <a:rPr lang="en-US" sz="2448" kern="0">
                <a:solidFill>
                  <a:sysClr val="windowText" lastClr="000000"/>
                </a:solidFill>
                <a:latin typeface="Segoe UI"/>
              </a:rPr>
              <a:t>Balance of control and responsibility depends on the category of the service</a:t>
            </a:r>
          </a:p>
          <a:p>
            <a:pPr defTabSz="914224">
              <a:lnSpc>
                <a:spcPct val="90000"/>
              </a:lnSpc>
              <a:spcBef>
                <a:spcPts val="1224"/>
              </a:spcBef>
              <a:spcAft>
                <a:spcPts val="612"/>
              </a:spcAft>
              <a:defRPr/>
            </a:pPr>
            <a:r>
              <a:rPr lang="en-US" sz="2040" kern="0">
                <a:solidFill>
                  <a:sysClr val="windowText" lastClr="000000"/>
                </a:solidFill>
                <a:latin typeface="Segoe UI Semibold" panose="020B0702040204020203" pitchFamily="34" charset="0"/>
                <a:cs typeface="Segoe UI Semibold" panose="020B0702040204020203" pitchFamily="34" charset="0"/>
              </a:rPr>
              <a:t>MOVE-IN READY</a:t>
            </a:r>
          </a:p>
          <a:p>
            <a:pPr defTabSz="914224">
              <a:lnSpc>
                <a:spcPct val="90000"/>
              </a:lnSpc>
              <a:spcAft>
                <a:spcPts val="612"/>
              </a:spcAft>
              <a:defRPr/>
            </a:pPr>
            <a:r>
              <a:rPr lang="en-US" sz="1873" kern="0">
                <a:solidFill>
                  <a:sysClr val="windowText" lastClr="000000"/>
                </a:solidFill>
                <a:latin typeface="Segoe UI"/>
              </a:rPr>
              <a:t>Use immediately with minimal configuration</a:t>
            </a:r>
          </a:p>
          <a:p>
            <a:pPr defTabSz="914224">
              <a:lnSpc>
                <a:spcPct val="90000"/>
              </a:lnSpc>
              <a:spcBef>
                <a:spcPts val="1224"/>
              </a:spcBef>
              <a:spcAft>
                <a:spcPts val="612"/>
              </a:spcAft>
              <a:defRPr/>
            </a:pPr>
            <a:r>
              <a:rPr lang="en-US" sz="2040" kern="0">
                <a:solidFill>
                  <a:sysClr val="windowText" lastClr="000000"/>
                </a:solidFill>
                <a:latin typeface="Segoe UI Semibold" panose="020B0702040204020203" pitchFamily="34" charset="0"/>
                <a:cs typeface="Segoe UI Semibold" panose="020B0702040204020203" pitchFamily="34" charset="0"/>
              </a:rPr>
              <a:t>SOME ASSEMBLY REQUIRED</a:t>
            </a:r>
          </a:p>
          <a:p>
            <a:pPr defTabSz="914224">
              <a:lnSpc>
                <a:spcPct val="90000"/>
              </a:lnSpc>
              <a:spcAft>
                <a:spcPts val="612"/>
              </a:spcAft>
              <a:defRPr/>
            </a:pPr>
            <a:r>
              <a:rPr lang="en-US" sz="1873" kern="0">
                <a:solidFill>
                  <a:sysClr val="windowText" lastClr="000000"/>
                </a:solidFill>
                <a:latin typeface="Segoe UI"/>
              </a:rPr>
              <a:t>Existing services are a starting point, with additional configuration for a custom fit</a:t>
            </a:r>
          </a:p>
          <a:p>
            <a:pPr defTabSz="914224">
              <a:lnSpc>
                <a:spcPct val="90000"/>
              </a:lnSpc>
              <a:spcBef>
                <a:spcPts val="1224"/>
              </a:spcBef>
              <a:spcAft>
                <a:spcPts val="612"/>
              </a:spcAft>
              <a:defRPr/>
            </a:pPr>
            <a:r>
              <a:rPr lang="en-US" sz="2040" kern="0">
                <a:solidFill>
                  <a:sysClr val="windowText" lastClr="000000"/>
                </a:solidFill>
                <a:latin typeface="Segoe UI Semibold" panose="020B0702040204020203" pitchFamily="34" charset="0"/>
                <a:cs typeface="Segoe UI Semibold" panose="020B0702040204020203" pitchFamily="34" charset="0"/>
              </a:rPr>
              <a:t>BUILD FROM THE GROUND UP</a:t>
            </a:r>
          </a:p>
          <a:p>
            <a:pPr defTabSz="914224">
              <a:lnSpc>
                <a:spcPct val="90000"/>
              </a:lnSpc>
              <a:spcAft>
                <a:spcPts val="612"/>
              </a:spcAft>
              <a:defRPr/>
            </a:pPr>
            <a:r>
              <a:rPr lang="en-US" sz="1873" kern="0">
                <a:solidFill>
                  <a:sysClr val="windowText" lastClr="000000"/>
                </a:solidFill>
                <a:latin typeface="Segoe UI"/>
              </a:rPr>
              <a:t>Building blocks, create your own solution or apps from scratch</a:t>
            </a:r>
          </a:p>
        </p:txBody>
      </p:sp>
      <p:graphicFrame>
        <p:nvGraphicFramePr>
          <p:cNvPr id="6" name="Table 5"/>
          <p:cNvGraphicFramePr>
            <a:graphicFrameLocks noGrp="1"/>
          </p:cNvGraphicFramePr>
          <p:nvPr>
            <p:extLst/>
          </p:nvPr>
        </p:nvGraphicFramePr>
        <p:xfrm>
          <a:off x="7065501" y="287842"/>
          <a:ext cx="5043354" cy="5398296"/>
        </p:xfrm>
        <a:graphic>
          <a:graphicData uri="http://schemas.openxmlformats.org/drawingml/2006/table">
            <a:tbl>
              <a:tblPr firstRow="1" bandRow="1">
                <a:tableStyleId>{5940675A-B579-460E-94D1-54222C63F5DA}</a:tableStyleId>
              </a:tblPr>
              <a:tblGrid>
                <a:gridCol w="1864885">
                  <a:extLst>
                    <a:ext uri="{9D8B030D-6E8A-4147-A177-3AD203B41FA5}">
                      <a16:colId xmlns:a16="http://schemas.microsoft.com/office/drawing/2014/main" val="2544153837"/>
                    </a:ext>
                  </a:extLst>
                </a:gridCol>
                <a:gridCol w="923505">
                  <a:extLst>
                    <a:ext uri="{9D8B030D-6E8A-4147-A177-3AD203B41FA5}">
                      <a16:colId xmlns:a16="http://schemas.microsoft.com/office/drawing/2014/main" val="3937659814"/>
                    </a:ext>
                  </a:extLst>
                </a:gridCol>
                <a:gridCol w="655689">
                  <a:extLst>
                    <a:ext uri="{9D8B030D-6E8A-4147-A177-3AD203B41FA5}">
                      <a16:colId xmlns:a16="http://schemas.microsoft.com/office/drawing/2014/main" val="2750310453"/>
                    </a:ext>
                  </a:extLst>
                </a:gridCol>
                <a:gridCol w="729569">
                  <a:extLst>
                    <a:ext uri="{9D8B030D-6E8A-4147-A177-3AD203B41FA5}">
                      <a16:colId xmlns:a16="http://schemas.microsoft.com/office/drawing/2014/main" val="1063817949"/>
                    </a:ext>
                  </a:extLst>
                </a:gridCol>
                <a:gridCol w="869706">
                  <a:extLst>
                    <a:ext uri="{9D8B030D-6E8A-4147-A177-3AD203B41FA5}">
                      <a16:colId xmlns:a16="http://schemas.microsoft.com/office/drawing/2014/main" val="449148099"/>
                    </a:ext>
                  </a:extLst>
                </a:gridCol>
              </a:tblGrid>
              <a:tr h="526641">
                <a:tc>
                  <a:txBody>
                    <a:bodyPr/>
                    <a:lstStyle/>
                    <a:p>
                      <a:r>
                        <a:rPr lang="en-US" sz="1600" b="0" dirty="0">
                          <a:solidFill>
                            <a:schemeClr val="bg1"/>
                          </a:solidFill>
                          <a:latin typeface="Segoe UI Semibold" panose="020B0702040204020203" pitchFamily="34" charset="0"/>
                          <a:cs typeface="Segoe UI Semibold" panose="020B0702040204020203" pitchFamily="34" charset="0"/>
                        </a:rPr>
                        <a:t>Responsibility</a:t>
                      </a:r>
                    </a:p>
                  </a:txBody>
                  <a:tcPr marL="91427" marR="91427" marT="45713" marB="45713">
                    <a:lnB w="12700" cap="flat" cmpd="sng" algn="ctr">
                      <a:solidFill>
                        <a:schemeClr val="bg1"/>
                      </a:solidFill>
                      <a:prstDash val="solid"/>
                      <a:round/>
                      <a:headEnd type="none" w="med" len="med"/>
                      <a:tailEnd type="none" w="med" len="med"/>
                    </a:lnB>
                    <a:solidFill>
                      <a:schemeClr val="tx1"/>
                    </a:solidFill>
                  </a:tcPr>
                </a:tc>
                <a:tc>
                  <a:txBody>
                    <a:bodyPr/>
                    <a:lstStyle/>
                    <a:p>
                      <a:r>
                        <a:rPr lang="en-US" sz="1400" b="0" dirty="0">
                          <a:solidFill>
                            <a:schemeClr val="bg1"/>
                          </a:solidFill>
                          <a:latin typeface="Segoe UI Semibold" panose="020B0702040204020203" pitchFamily="34" charset="0"/>
                          <a:cs typeface="Segoe UI Semibold" panose="020B0702040204020203" pitchFamily="34" charset="0"/>
                        </a:rPr>
                        <a:t>On-</a:t>
                      </a:r>
                      <a:r>
                        <a:rPr lang="en-US" sz="1400" b="0" dirty="0" err="1">
                          <a:solidFill>
                            <a:schemeClr val="bg1"/>
                          </a:solidFill>
                          <a:latin typeface="Segoe UI Semibold" panose="020B0702040204020203" pitchFamily="34" charset="0"/>
                          <a:cs typeface="Segoe UI Semibold" panose="020B0702040204020203" pitchFamily="34" charset="0"/>
                        </a:rPr>
                        <a:t>Prem</a:t>
                      </a:r>
                      <a:endParaRPr lang="en-US" sz="1400" b="0" dirty="0">
                        <a:solidFill>
                          <a:schemeClr val="bg1"/>
                        </a:solidFill>
                        <a:latin typeface="Segoe UI Semibold" panose="020B0702040204020203" pitchFamily="34" charset="0"/>
                        <a:cs typeface="Segoe UI Semibold" panose="020B0702040204020203" pitchFamily="34" charset="0"/>
                      </a:endParaRPr>
                    </a:p>
                  </a:txBody>
                  <a:tcPr marL="91427" marR="91427" marT="45713" marB="45713">
                    <a:lnB w="12700" cap="flat" cmpd="sng" algn="ctr">
                      <a:solidFill>
                        <a:schemeClr val="bg1"/>
                      </a:solidFill>
                      <a:prstDash val="solid"/>
                      <a:round/>
                      <a:headEnd type="none" w="med" len="med"/>
                      <a:tailEnd type="none" w="med" len="med"/>
                    </a:lnB>
                    <a:solidFill>
                      <a:schemeClr val="tx1"/>
                    </a:solidFill>
                  </a:tcPr>
                </a:tc>
                <a:tc>
                  <a:txBody>
                    <a:bodyPr/>
                    <a:lstStyle/>
                    <a:p>
                      <a:r>
                        <a:rPr lang="en-US" sz="1400" b="0" dirty="0">
                          <a:solidFill>
                            <a:schemeClr val="bg1"/>
                          </a:solidFill>
                          <a:latin typeface="Segoe UI Semibold" panose="020B0702040204020203" pitchFamily="34" charset="0"/>
                          <a:cs typeface="Segoe UI Semibold" panose="020B0702040204020203" pitchFamily="34" charset="0"/>
                        </a:rPr>
                        <a:t>IaaS</a:t>
                      </a:r>
                    </a:p>
                  </a:txBody>
                  <a:tcPr marL="91427" marR="91427" marT="45713" marB="45713">
                    <a:lnB w="12700" cap="flat" cmpd="sng" algn="ctr">
                      <a:solidFill>
                        <a:schemeClr val="bg1"/>
                      </a:solidFill>
                      <a:prstDash val="solid"/>
                      <a:round/>
                      <a:headEnd type="none" w="med" len="med"/>
                      <a:tailEnd type="none" w="med" len="med"/>
                    </a:lnB>
                    <a:solidFill>
                      <a:schemeClr val="tx1"/>
                    </a:solidFill>
                  </a:tcPr>
                </a:tc>
                <a:tc>
                  <a:txBody>
                    <a:bodyPr/>
                    <a:lstStyle/>
                    <a:p>
                      <a:r>
                        <a:rPr lang="en-US" sz="1400" b="0" dirty="0">
                          <a:solidFill>
                            <a:schemeClr val="bg1"/>
                          </a:solidFill>
                          <a:latin typeface="Segoe UI Semibold" panose="020B0702040204020203" pitchFamily="34" charset="0"/>
                          <a:cs typeface="Segoe UI Semibold" panose="020B0702040204020203" pitchFamily="34" charset="0"/>
                        </a:rPr>
                        <a:t>PaaS</a:t>
                      </a:r>
                    </a:p>
                  </a:txBody>
                  <a:tcPr marL="91427" marR="91427" marT="45713" marB="45713">
                    <a:lnB w="12700" cap="flat" cmpd="sng" algn="ctr">
                      <a:solidFill>
                        <a:schemeClr val="bg1"/>
                      </a:solidFill>
                      <a:prstDash val="solid"/>
                      <a:round/>
                      <a:headEnd type="none" w="med" len="med"/>
                      <a:tailEnd type="none" w="med" len="med"/>
                    </a:lnB>
                    <a:solidFill>
                      <a:schemeClr val="tx1"/>
                    </a:solidFill>
                  </a:tcPr>
                </a:tc>
                <a:tc>
                  <a:txBody>
                    <a:bodyPr/>
                    <a:lstStyle/>
                    <a:p>
                      <a:r>
                        <a:rPr lang="en-US" sz="1400" b="0" dirty="0">
                          <a:solidFill>
                            <a:schemeClr val="bg1"/>
                          </a:solidFill>
                          <a:latin typeface="Segoe UI Semibold" panose="020B0702040204020203" pitchFamily="34" charset="0"/>
                          <a:cs typeface="Segoe UI Semibold" panose="020B0702040204020203" pitchFamily="34" charset="0"/>
                        </a:rPr>
                        <a:t>SaaS</a:t>
                      </a:r>
                    </a:p>
                  </a:txBody>
                  <a:tcPr marL="91427" marR="91427" marT="45713" marB="45713">
                    <a:lnB w="12700" cap="flat" cmpd="sng" algn="ctr">
                      <a:solidFill>
                        <a:schemeClr val="bg1"/>
                      </a:solidFill>
                      <a:prstDash val="solid"/>
                      <a:round/>
                      <a:headEnd type="none" w="med" len="med"/>
                      <a:tailEnd type="none" w="med" len="med"/>
                    </a:lnB>
                    <a:solidFill>
                      <a:schemeClr val="tx1"/>
                    </a:solidFill>
                  </a:tcPr>
                </a:tc>
                <a:extLst>
                  <a:ext uri="{0D108BD9-81ED-4DB2-BD59-A6C34878D82A}">
                    <a16:rowId xmlns:a16="http://schemas.microsoft.com/office/drawing/2014/main" val="1345694766"/>
                  </a:ext>
                </a:extLst>
              </a:tr>
              <a:tr h="541295">
                <a:tc>
                  <a:txBody>
                    <a:bodyPr/>
                    <a:lstStyle/>
                    <a:p>
                      <a:r>
                        <a:rPr lang="en-US" sz="1600" dirty="0">
                          <a:solidFill>
                            <a:schemeClr val="bg1"/>
                          </a:solidFill>
                        </a:rPr>
                        <a:t>Applications</a:t>
                      </a:r>
                    </a:p>
                  </a:txBody>
                  <a:tcPr marL="91427" marR="91427" marT="45713" marB="45713" anchor="b">
                    <a:lnT w="12700" cap="flat" cmpd="sng" algn="ctr">
                      <a:solidFill>
                        <a:schemeClr val="bg1"/>
                      </a:solidFill>
                      <a:prstDash val="solid"/>
                      <a:round/>
                      <a:headEnd type="none" w="med" len="med"/>
                      <a:tailEnd type="none" w="med" len="med"/>
                    </a:lnT>
                    <a:solidFill>
                      <a:schemeClr val="tx1"/>
                    </a:solidFill>
                  </a:tcPr>
                </a:tc>
                <a:tc>
                  <a:txBody>
                    <a:bodyPr/>
                    <a:lstStyle/>
                    <a:p>
                      <a:endParaRPr lang="en-US" sz="1700" dirty="0">
                        <a:solidFill>
                          <a:schemeClr val="bg1"/>
                        </a:solidFill>
                      </a:endParaRPr>
                    </a:p>
                  </a:txBody>
                  <a:tcPr marL="91427" marR="91427" marT="45713" marB="45713">
                    <a:lnT w="12700" cap="flat" cmpd="sng" algn="ctr">
                      <a:solidFill>
                        <a:schemeClr val="bg1"/>
                      </a:solidFill>
                      <a:prstDash val="solid"/>
                      <a:round/>
                      <a:headEnd type="none" w="med" len="med"/>
                      <a:tailEnd type="none" w="med" len="med"/>
                    </a:lnT>
                    <a:solidFill>
                      <a:schemeClr val="tx1"/>
                    </a:solidFill>
                  </a:tcPr>
                </a:tc>
                <a:tc>
                  <a:txBody>
                    <a:bodyPr/>
                    <a:lstStyle/>
                    <a:p>
                      <a:endParaRPr lang="en-US" sz="1700" dirty="0">
                        <a:solidFill>
                          <a:schemeClr val="bg1"/>
                        </a:solidFill>
                      </a:endParaRPr>
                    </a:p>
                  </a:txBody>
                  <a:tcPr marL="91427" marR="91427" marT="45713" marB="45713">
                    <a:lnT w="12700" cap="flat" cmpd="sng" algn="ctr">
                      <a:solidFill>
                        <a:schemeClr val="bg1"/>
                      </a:solidFill>
                      <a:prstDash val="solid"/>
                      <a:round/>
                      <a:headEnd type="none" w="med" len="med"/>
                      <a:tailEnd type="none" w="med" len="med"/>
                    </a:lnT>
                    <a:solidFill>
                      <a:schemeClr val="tx1"/>
                    </a:solidFill>
                  </a:tcPr>
                </a:tc>
                <a:tc>
                  <a:txBody>
                    <a:bodyPr/>
                    <a:lstStyle/>
                    <a:p>
                      <a:endParaRPr lang="en-US" sz="1700" dirty="0">
                        <a:solidFill>
                          <a:schemeClr val="bg1"/>
                        </a:solidFill>
                      </a:endParaRPr>
                    </a:p>
                  </a:txBody>
                  <a:tcPr marL="91427" marR="91427" marT="45713" marB="45713">
                    <a:lnT w="12700" cap="flat" cmpd="sng" algn="ctr">
                      <a:solidFill>
                        <a:schemeClr val="bg1"/>
                      </a:solidFill>
                      <a:prstDash val="solid"/>
                      <a:round/>
                      <a:headEnd type="none" w="med" len="med"/>
                      <a:tailEnd type="none" w="med" len="med"/>
                    </a:lnT>
                    <a:solidFill>
                      <a:schemeClr val="tx1"/>
                    </a:solidFill>
                  </a:tcPr>
                </a:tc>
                <a:tc>
                  <a:txBody>
                    <a:bodyPr/>
                    <a:lstStyle/>
                    <a:p>
                      <a:endParaRPr lang="en-US" sz="1700" dirty="0">
                        <a:solidFill>
                          <a:schemeClr val="bg1"/>
                        </a:solidFill>
                      </a:endParaRPr>
                    </a:p>
                  </a:txBody>
                  <a:tcPr marL="91427" marR="91427" marT="45713" marB="45713">
                    <a:lnT w="12700" cap="flat" cmpd="sng" algn="ctr">
                      <a:solidFill>
                        <a:schemeClr val="bg1"/>
                      </a:solidFill>
                      <a:prstDash val="solid"/>
                      <a:round/>
                      <a:headEnd type="none" w="med" len="med"/>
                      <a:tailEnd type="none" w="med" len="med"/>
                    </a:lnT>
                    <a:solidFill>
                      <a:schemeClr val="tx1"/>
                    </a:solidFill>
                  </a:tcPr>
                </a:tc>
                <a:extLst>
                  <a:ext uri="{0D108BD9-81ED-4DB2-BD59-A6C34878D82A}">
                    <a16:rowId xmlns:a16="http://schemas.microsoft.com/office/drawing/2014/main" val="975920690"/>
                  </a:ext>
                </a:extLst>
              </a:tr>
              <a:tr h="541295">
                <a:tc>
                  <a:txBody>
                    <a:bodyPr/>
                    <a:lstStyle/>
                    <a:p>
                      <a:r>
                        <a:rPr lang="en-US" sz="1600" dirty="0">
                          <a:solidFill>
                            <a:schemeClr val="bg1"/>
                          </a:solidFill>
                        </a:rPr>
                        <a:t>Data</a:t>
                      </a:r>
                    </a:p>
                  </a:txBody>
                  <a:tcPr marL="91427" marR="91427" marT="45713" marB="45713" anchor="b">
                    <a:solidFill>
                      <a:schemeClr val="tx1"/>
                    </a:solidFill>
                  </a:tcPr>
                </a:tc>
                <a:tc>
                  <a:txBody>
                    <a:bodyPr/>
                    <a:lstStyle/>
                    <a:p>
                      <a:endParaRPr lang="en-US" sz="1700" dirty="0">
                        <a:solidFill>
                          <a:schemeClr val="bg1"/>
                        </a:solidFill>
                      </a:endParaRPr>
                    </a:p>
                  </a:txBody>
                  <a:tcPr marL="91427" marR="91427" marT="45713" marB="45713">
                    <a:solidFill>
                      <a:schemeClr val="tx1"/>
                    </a:solidFill>
                  </a:tcPr>
                </a:tc>
                <a:tc>
                  <a:txBody>
                    <a:bodyPr/>
                    <a:lstStyle/>
                    <a:p>
                      <a:endParaRPr lang="en-US" sz="1700" dirty="0">
                        <a:solidFill>
                          <a:schemeClr val="bg1"/>
                        </a:solidFill>
                      </a:endParaRPr>
                    </a:p>
                  </a:txBody>
                  <a:tcPr marL="91427" marR="91427" marT="45713" marB="45713">
                    <a:solidFill>
                      <a:schemeClr val="tx1"/>
                    </a:solidFill>
                  </a:tcPr>
                </a:tc>
                <a:tc>
                  <a:txBody>
                    <a:bodyPr/>
                    <a:lstStyle/>
                    <a:p>
                      <a:endParaRPr lang="en-US" sz="1700" dirty="0">
                        <a:solidFill>
                          <a:schemeClr val="bg1"/>
                        </a:solidFill>
                      </a:endParaRPr>
                    </a:p>
                  </a:txBody>
                  <a:tcPr marL="91427" marR="91427" marT="45713" marB="45713">
                    <a:solidFill>
                      <a:schemeClr val="tx1"/>
                    </a:solidFill>
                  </a:tcPr>
                </a:tc>
                <a:tc>
                  <a:txBody>
                    <a:bodyPr/>
                    <a:lstStyle/>
                    <a:p>
                      <a:endParaRPr lang="en-US" sz="1700" dirty="0">
                        <a:solidFill>
                          <a:schemeClr val="bg1"/>
                        </a:solidFill>
                      </a:endParaRPr>
                    </a:p>
                  </a:txBody>
                  <a:tcPr marL="91427" marR="91427" marT="45713" marB="45713">
                    <a:solidFill>
                      <a:schemeClr val="tx1"/>
                    </a:solidFill>
                  </a:tcPr>
                </a:tc>
                <a:extLst>
                  <a:ext uri="{0D108BD9-81ED-4DB2-BD59-A6C34878D82A}">
                    <a16:rowId xmlns:a16="http://schemas.microsoft.com/office/drawing/2014/main" val="2958753268"/>
                  </a:ext>
                </a:extLst>
              </a:tr>
              <a:tr h="541295">
                <a:tc>
                  <a:txBody>
                    <a:bodyPr/>
                    <a:lstStyle/>
                    <a:p>
                      <a:r>
                        <a:rPr lang="en-US" sz="1600" dirty="0">
                          <a:solidFill>
                            <a:schemeClr val="bg1"/>
                          </a:solidFill>
                        </a:rPr>
                        <a:t>Runtime</a:t>
                      </a:r>
                    </a:p>
                  </a:txBody>
                  <a:tcPr marL="91427" marR="91427" marT="45713" marB="45713" anchor="b">
                    <a:solidFill>
                      <a:schemeClr val="tx1"/>
                    </a:solidFill>
                  </a:tcPr>
                </a:tc>
                <a:tc>
                  <a:txBody>
                    <a:bodyPr/>
                    <a:lstStyle/>
                    <a:p>
                      <a:endParaRPr lang="en-US" sz="1700" dirty="0">
                        <a:solidFill>
                          <a:schemeClr val="bg1"/>
                        </a:solidFill>
                      </a:endParaRPr>
                    </a:p>
                  </a:txBody>
                  <a:tcPr marL="91427" marR="91427" marT="45713" marB="45713">
                    <a:solidFill>
                      <a:schemeClr val="tx1"/>
                    </a:solidFill>
                  </a:tcPr>
                </a:tc>
                <a:tc>
                  <a:txBody>
                    <a:bodyPr/>
                    <a:lstStyle/>
                    <a:p>
                      <a:endParaRPr lang="en-US" sz="1700">
                        <a:solidFill>
                          <a:schemeClr val="bg1"/>
                        </a:solidFill>
                      </a:endParaRPr>
                    </a:p>
                  </a:txBody>
                  <a:tcPr marL="91427" marR="91427" marT="45713" marB="45713">
                    <a:solidFill>
                      <a:schemeClr val="tx1"/>
                    </a:solidFill>
                  </a:tcPr>
                </a:tc>
                <a:tc>
                  <a:txBody>
                    <a:bodyPr/>
                    <a:lstStyle/>
                    <a:p>
                      <a:endParaRPr lang="en-US" sz="1700" dirty="0">
                        <a:solidFill>
                          <a:schemeClr val="bg1"/>
                        </a:solidFill>
                      </a:endParaRPr>
                    </a:p>
                  </a:txBody>
                  <a:tcPr marL="91427" marR="91427" marT="45713" marB="45713">
                    <a:solidFill>
                      <a:schemeClr val="tx1"/>
                    </a:solidFill>
                  </a:tcPr>
                </a:tc>
                <a:tc>
                  <a:txBody>
                    <a:bodyPr/>
                    <a:lstStyle/>
                    <a:p>
                      <a:endParaRPr lang="en-US" sz="1700" dirty="0">
                        <a:solidFill>
                          <a:schemeClr val="bg1"/>
                        </a:solidFill>
                      </a:endParaRPr>
                    </a:p>
                  </a:txBody>
                  <a:tcPr marL="91427" marR="91427" marT="45713" marB="45713">
                    <a:solidFill>
                      <a:schemeClr val="tx1"/>
                    </a:solidFill>
                  </a:tcPr>
                </a:tc>
                <a:extLst>
                  <a:ext uri="{0D108BD9-81ED-4DB2-BD59-A6C34878D82A}">
                    <a16:rowId xmlns:a16="http://schemas.microsoft.com/office/drawing/2014/main" val="1033960191"/>
                  </a:ext>
                </a:extLst>
              </a:tr>
              <a:tr h="541295">
                <a:tc>
                  <a:txBody>
                    <a:bodyPr/>
                    <a:lstStyle/>
                    <a:p>
                      <a:r>
                        <a:rPr lang="en-US" sz="1600" dirty="0">
                          <a:solidFill>
                            <a:schemeClr val="bg1"/>
                          </a:solidFill>
                        </a:rPr>
                        <a:t>Middleware</a:t>
                      </a:r>
                    </a:p>
                  </a:txBody>
                  <a:tcPr marL="91427" marR="91427" marT="45713" marB="45713" anchor="b">
                    <a:solidFill>
                      <a:schemeClr val="tx1"/>
                    </a:solidFill>
                  </a:tcPr>
                </a:tc>
                <a:tc>
                  <a:txBody>
                    <a:bodyPr/>
                    <a:lstStyle/>
                    <a:p>
                      <a:endParaRPr lang="en-US" sz="1700" dirty="0">
                        <a:solidFill>
                          <a:schemeClr val="bg1"/>
                        </a:solidFill>
                      </a:endParaRPr>
                    </a:p>
                  </a:txBody>
                  <a:tcPr marL="91427" marR="91427" marT="45713" marB="45713">
                    <a:solidFill>
                      <a:schemeClr val="tx1"/>
                    </a:solidFill>
                  </a:tcPr>
                </a:tc>
                <a:tc>
                  <a:txBody>
                    <a:bodyPr/>
                    <a:lstStyle/>
                    <a:p>
                      <a:endParaRPr lang="en-US" sz="1700">
                        <a:solidFill>
                          <a:schemeClr val="bg1"/>
                        </a:solidFill>
                      </a:endParaRPr>
                    </a:p>
                  </a:txBody>
                  <a:tcPr marL="91427" marR="91427" marT="45713" marB="45713">
                    <a:solidFill>
                      <a:schemeClr val="tx1"/>
                    </a:solidFill>
                  </a:tcPr>
                </a:tc>
                <a:tc>
                  <a:txBody>
                    <a:bodyPr/>
                    <a:lstStyle/>
                    <a:p>
                      <a:endParaRPr lang="en-US" sz="1700" dirty="0">
                        <a:solidFill>
                          <a:schemeClr val="bg1"/>
                        </a:solidFill>
                      </a:endParaRPr>
                    </a:p>
                  </a:txBody>
                  <a:tcPr marL="91427" marR="91427" marT="45713" marB="45713">
                    <a:solidFill>
                      <a:schemeClr val="tx1"/>
                    </a:solidFill>
                  </a:tcPr>
                </a:tc>
                <a:tc>
                  <a:txBody>
                    <a:bodyPr/>
                    <a:lstStyle/>
                    <a:p>
                      <a:endParaRPr lang="en-US" sz="1700" dirty="0">
                        <a:solidFill>
                          <a:schemeClr val="bg1"/>
                        </a:solidFill>
                      </a:endParaRPr>
                    </a:p>
                  </a:txBody>
                  <a:tcPr marL="91427" marR="91427" marT="45713" marB="45713">
                    <a:solidFill>
                      <a:schemeClr val="tx1"/>
                    </a:solidFill>
                  </a:tcPr>
                </a:tc>
                <a:extLst>
                  <a:ext uri="{0D108BD9-81ED-4DB2-BD59-A6C34878D82A}">
                    <a16:rowId xmlns:a16="http://schemas.microsoft.com/office/drawing/2014/main" val="2876098919"/>
                  </a:ext>
                </a:extLst>
              </a:tr>
              <a:tr h="541295">
                <a:tc>
                  <a:txBody>
                    <a:bodyPr/>
                    <a:lstStyle/>
                    <a:p>
                      <a:r>
                        <a:rPr lang="en-US" sz="1600" dirty="0">
                          <a:solidFill>
                            <a:schemeClr val="bg1"/>
                          </a:solidFill>
                        </a:rPr>
                        <a:t>O/S</a:t>
                      </a:r>
                    </a:p>
                  </a:txBody>
                  <a:tcPr marL="91427" marR="91427" marT="45713" marB="45713" anchor="b">
                    <a:solidFill>
                      <a:schemeClr val="tx1"/>
                    </a:solidFill>
                  </a:tcPr>
                </a:tc>
                <a:tc>
                  <a:txBody>
                    <a:bodyPr/>
                    <a:lstStyle/>
                    <a:p>
                      <a:endParaRPr lang="en-US" sz="1700" dirty="0">
                        <a:solidFill>
                          <a:schemeClr val="bg1"/>
                        </a:solidFill>
                      </a:endParaRPr>
                    </a:p>
                  </a:txBody>
                  <a:tcPr marL="91427" marR="91427" marT="45713" marB="45713">
                    <a:solidFill>
                      <a:schemeClr val="tx1"/>
                    </a:solidFill>
                  </a:tcPr>
                </a:tc>
                <a:tc>
                  <a:txBody>
                    <a:bodyPr/>
                    <a:lstStyle/>
                    <a:p>
                      <a:endParaRPr lang="en-US" sz="1700" dirty="0">
                        <a:solidFill>
                          <a:schemeClr val="bg1"/>
                        </a:solidFill>
                      </a:endParaRPr>
                    </a:p>
                  </a:txBody>
                  <a:tcPr marL="91427" marR="91427" marT="45713" marB="45713">
                    <a:solidFill>
                      <a:schemeClr val="tx1"/>
                    </a:solidFill>
                  </a:tcPr>
                </a:tc>
                <a:tc>
                  <a:txBody>
                    <a:bodyPr/>
                    <a:lstStyle/>
                    <a:p>
                      <a:endParaRPr lang="en-US" sz="1700" dirty="0">
                        <a:solidFill>
                          <a:schemeClr val="bg1"/>
                        </a:solidFill>
                      </a:endParaRPr>
                    </a:p>
                  </a:txBody>
                  <a:tcPr marL="91427" marR="91427" marT="45713" marB="45713">
                    <a:solidFill>
                      <a:schemeClr val="tx1"/>
                    </a:solidFill>
                  </a:tcPr>
                </a:tc>
                <a:tc>
                  <a:txBody>
                    <a:bodyPr/>
                    <a:lstStyle/>
                    <a:p>
                      <a:endParaRPr lang="en-US" sz="1700" dirty="0">
                        <a:solidFill>
                          <a:schemeClr val="bg1"/>
                        </a:solidFill>
                      </a:endParaRPr>
                    </a:p>
                  </a:txBody>
                  <a:tcPr marL="91427" marR="91427" marT="45713" marB="45713">
                    <a:solidFill>
                      <a:schemeClr val="tx1"/>
                    </a:solidFill>
                  </a:tcPr>
                </a:tc>
                <a:extLst>
                  <a:ext uri="{0D108BD9-81ED-4DB2-BD59-A6C34878D82A}">
                    <a16:rowId xmlns:a16="http://schemas.microsoft.com/office/drawing/2014/main" val="899666371"/>
                  </a:ext>
                </a:extLst>
              </a:tr>
              <a:tr h="541295">
                <a:tc>
                  <a:txBody>
                    <a:bodyPr/>
                    <a:lstStyle/>
                    <a:p>
                      <a:r>
                        <a:rPr lang="en-US" sz="1600" dirty="0">
                          <a:solidFill>
                            <a:schemeClr val="bg1"/>
                          </a:solidFill>
                        </a:rPr>
                        <a:t>Virtualization</a:t>
                      </a:r>
                    </a:p>
                  </a:txBody>
                  <a:tcPr marL="91427" marR="91427" marT="45713" marB="45713" anchor="b">
                    <a:solidFill>
                      <a:schemeClr val="tx1"/>
                    </a:solidFill>
                  </a:tcPr>
                </a:tc>
                <a:tc>
                  <a:txBody>
                    <a:bodyPr/>
                    <a:lstStyle/>
                    <a:p>
                      <a:endParaRPr lang="en-US" sz="1700" dirty="0">
                        <a:solidFill>
                          <a:schemeClr val="bg1"/>
                        </a:solidFill>
                      </a:endParaRPr>
                    </a:p>
                  </a:txBody>
                  <a:tcPr marL="91427" marR="91427" marT="45713" marB="45713">
                    <a:solidFill>
                      <a:schemeClr val="tx1"/>
                    </a:solidFill>
                  </a:tcPr>
                </a:tc>
                <a:tc>
                  <a:txBody>
                    <a:bodyPr/>
                    <a:lstStyle/>
                    <a:p>
                      <a:endParaRPr lang="en-US" sz="1700" dirty="0">
                        <a:solidFill>
                          <a:schemeClr val="bg1"/>
                        </a:solidFill>
                      </a:endParaRPr>
                    </a:p>
                  </a:txBody>
                  <a:tcPr marL="91427" marR="91427" marT="45713" marB="45713">
                    <a:solidFill>
                      <a:schemeClr val="tx1"/>
                    </a:solidFill>
                  </a:tcPr>
                </a:tc>
                <a:tc>
                  <a:txBody>
                    <a:bodyPr/>
                    <a:lstStyle/>
                    <a:p>
                      <a:endParaRPr lang="en-US" sz="1700" dirty="0">
                        <a:solidFill>
                          <a:schemeClr val="bg1"/>
                        </a:solidFill>
                        <a:highlight>
                          <a:srgbClr val="FFFF00"/>
                        </a:highlight>
                      </a:endParaRPr>
                    </a:p>
                  </a:txBody>
                  <a:tcPr marL="91427" marR="91427" marT="45713" marB="45713">
                    <a:solidFill>
                      <a:schemeClr val="tx1"/>
                    </a:solidFill>
                  </a:tcPr>
                </a:tc>
                <a:tc>
                  <a:txBody>
                    <a:bodyPr/>
                    <a:lstStyle/>
                    <a:p>
                      <a:endParaRPr lang="en-US" sz="1700" dirty="0">
                        <a:solidFill>
                          <a:schemeClr val="bg1"/>
                        </a:solidFill>
                      </a:endParaRPr>
                    </a:p>
                  </a:txBody>
                  <a:tcPr marL="91427" marR="91427" marT="45713" marB="45713">
                    <a:solidFill>
                      <a:schemeClr val="tx1"/>
                    </a:solidFill>
                  </a:tcPr>
                </a:tc>
                <a:extLst>
                  <a:ext uri="{0D108BD9-81ED-4DB2-BD59-A6C34878D82A}">
                    <a16:rowId xmlns:a16="http://schemas.microsoft.com/office/drawing/2014/main" val="2337277180"/>
                  </a:ext>
                </a:extLst>
              </a:tr>
              <a:tr h="541295">
                <a:tc>
                  <a:txBody>
                    <a:bodyPr/>
                    <a:lstStyle/>
                    <a:p>
                      <a:r>
                        <a:rPr lang="en-US" sz="1600" dirty="0">
                          <a:solidFill>
                            <a:schemeClr val="bg1"/>
                          </a:solidFill>
                        </a:rPr>
                        <a:t>Servers</a:t>
                      </a:r>
                    </a:p>
                  </a:txBody>
                  <a:tcPr marL="91427" marR="91427" marT="45713" marB="45713" anchor="b">
                    <a:solidFill>
                      <a:schemeClr val="tx1"/>
                    </a:solidFill>
                  </a:tcPr>
                </a:tc>
                <a:tc>
                  <a:txBody>
                    <a:bodyPr/>
                    <a:lstStyle/>
                    <a:p>
                      <a:endParaRPr lang="en-US" sz="1700" dirty="0">
                        <a:solidFill>
                          <a:schemeClr val="bg1"/>
                        </a:solidFill>
                      </a:endParaRPr>
                    </a:p>
                  </a:txBody>
                  <a:tcPr marL="91427" marR="91427" marT="45713" marB="45713">
                    <a:solidFill>
                      <a:schemeClr val="tx1"/>
                    </a:solidFill>
                  </a:tcPr>
                </a:tc>
                <a:tc>
                  <a:txBody>
                    <a:bodyPr/>
                    <a:lstStyle/>
                    <a:p>
                      <a:endParaRPr lang="en-US" sz="1700" dirty="0">
                        <a:solidFill>
                          <a:schemeClr val="bg1"/>
                        </a:solidFill>
                      </a:endParaRPr>
                    </a:p>
                  </a:txBody>
                  <a:tcPr marL="91427" marR="91427" marT="45713" marB="45713">
                    <a:solidFill>
                      <a:schemeClr val="tx1"/>
                    </a:solidFill>
                  </a:tcPr>
                </a:tc>
                <a:tc>
                  <a:txBody>
                    <a:bodyPr/>
                    <a:lstStyle/>
                    <a:p>
                      <a:endParaRPr lang="en-US" sz="1700" dirty="0">
                        <a:solidFill>
                          <a:schemeClr val="bg1"/>
                        </a:solidFill>
                        <a:highlight>
                          <a:srgbClr val="FFFF00"/>
                        </a:highlight>
                      </a:endParaRPr>
                    </a:p>
                  </a:txBody>
                  <a:tcPr marL="91427" marR="91427" marT="45713" marB="45713">
                    <a:solidFill>
                      <a:schemeClr val="tx1"/>
                    </a:solidFill>
                  </a:tcPr>
                </a:tc>
                <a:tc>
                  <a:txBody>
                    <a:bodyPr/>
                    <a:lstStyle/>
                    <a:p>
                      <a:endParaRPr lang="en-US" sz="1700" dirty="0">
                        <a:solidFill>
                          <a:schemeClr val="bg1"/>
                        </a:solidFill>
                      </a:endParaRPr>
                    </a:p>
                  </a:txBody>
                  <a:tcPr marL="91427" marR="91427" marT="45713" marB="45713">
                    <a:solidFill>
                      <a:schemeClr val="tx1"/>
                    </a:solidFill>
                  </a:tcPr>
                </a:tc>
                <a:extLst>
                  <a:ext uri="{0D108BD9-81ED-4DB2-BD59-A6C34878D82A}">
                    <a16:rowId xmlns:a16="http://schemas.microsoft.com/office/drawing/2014/main" val="943673154"/>
                  </a:ext>
                </a:extLst>
              </a:tr>
              <a:tr h="541295">
                <a:tc>
                  <a:txBody>
                    <a:bodyPr/>
                    <a:lstStyle/>
                    <a:p>
                      <a:r>
                        <a:rPr lang="en-US" sz="1600" dirty="0">
                          <a:solidFill>
                            <a:schemeClr val="bg1"/>
                          </a:solidFill>
                        </a:rPr>
                        <a:t>Storage</a:t>
                      </a:r>
                    </a:p>
                  </a:txBody>
                  <a:tcPr marL="91427" marR="91427" marT="45713" marB="45713" anchor="b">
                    <a:solidFill>
                      <a:schemeClr val="tx1"/>
                    </a:solidFill>
                  </a:tcPr>
                </a:tc>
                <a:tc>
                  <a:txBody>
                    <a:bodyPr/>
                    <a:lstStyle/>
                    <a:p>
                      <a:endParaRPr lang="en-US" sz="1700" dirty="0">
                        <a:solidFill>
                          <a:schemeClr val="bg1"/>
                        </a:solidFill>
                      </a:endParaRPr>
                    </a:p>
                  </a:txBody>
                  <a:tcPr marL="91427" marR="91427" marT="45713" marB="45713">
                    <a:solidFill>
                      <a:schemeClr val="tx1"/>
                    </a:solidFill>
                  </a:tcPr>
                </a:tc>
                <a:tc>
                  <a:txBody>
                    <a:bodyPr/>
                    <a:lstStyle/>
                    <a:p>
                      <a:endParaRPr lang="en-US" sz="1700" dirty="0">
                        <a:solidFill>
                          <a:schemeClr val="bg1"/>
                        </a:solidFill>
                      </a:endParaRPr>
                    </a:p>
                  </a:txBody>
                  <a:tcPr marL="91427" marR="91427" marT="45713" marB="45713">
                    <a:solidFill>
                      <a:schemeClr val="tx1"/>
                    </a:solidFill>
                  </a:tcPr>
                </a:tc>
                <a:tc>
                  <a:txBody>
                    <a:bodyPr/>
                    <a:lstStyle/>
                    <a:p>
                      <a:endParaRPr lang="en-US" sz="1700" dirty="0">
                        <a:solidFill>
                          <a:schemeClr val="bg1"/>
                        </a:solidFill>
                        <a:highlight>
                          <a:srgbClr val="FFFF00"/>
                        </a:highlight>
                      </a:endParaRPr>
                    </a:p>
                  </a:txBody>
                  <a:tcPr marL="91427" marR="91427" marT="45713" marB="45713">
                    <a:solidFill>
                      <a:schemeClr val="tx1"/>
                    </a:solidFill>
                  </a:tcPr>
                </a:tc>
                <a:tc>
                  <a:txBody>
                    <a:bodyPr/>
                    <a:lstStyle/>
                    <a:p>
                      <a:endParaRPr lang="en-US" sz="1700" dirty="0">
                        <a:solidFill>
                          <a:schemeClr val="bg1"/>
                        </a:solidFill>
                      </a:endParaRPr>
                    </a:p>
                  </a:txBody>
                  <a:tcPr marL="91427" marR="91427" marT="45713" marB="45713">
                    <a:solidFill>
                      <a:schemeClr val="tx1"/>
                    </a:solidFill>
                  </a:tcPr>
                </a:tc>
                <a:extLst>
                  <a:ext uri="{0D108BD9-81ED-4DB2-BD59-A6C34878D82A}">
                    <a16:rowId xmlns:a16="http://schemas.microsoft.com/office/drawing/2014/main" val="2802216785"/>
                  </a:ext>
                </a:extLst>
              </a:tr>
              <a:tr h="541295">
                <a:tc>
                  <a:txBody>
                    <a:bodyPr/>
                    <a:lstStyle/>
                    <a:p>
                      <a:r>
                        <a:rPr lang="en-US" sz="1600" dirty="0">
                          <a:solidFill>
                            <a:schemeClr val="bg1"/>
                          </a:solidFill>
                        </a:rPr>
                        <a:t>Networking</a:t>
                      </a:r>
                    </a:p>
                  </a:txBody>
                  <a:tcPr marL="91427" marR="91427" marT="45713" marB="45713" anchor="b">
                    <a:solidFill>
                      <a:schemeClr val="tx1"/>
                    </a:solidFill>
                  </a:tcPr>
                </a:tc>
                <a:tc>
                  <a:txBody>
                    <a:bodyPr/>
                    <a:lstStyle/>
                    <a:p>
                      <a:endParaRPr lang="en-US" sz="1700" dirty="0">
                        <a:solidFill>
                          <a:schemeClr val="bg1"/>
                        </a:solidFill>
                      </a:endParaRPr>
                    </a:p>
                  </a:txBody>
                  <a:tcPr marL="91427" marR="91427" marT="45713" marB="45713">
                    <a:solidFill>
                      <a:schemeClr val="tx1"/>
                    </a:solidFill>
                  </a:tcPr>
                </a:tc>
                <a:tc>
                  <a:txBody>
                    <a:bodyPr/>
                    <a:lstStyle/>
                    <a:p>
                      <a:endParaRPr lang="en-US" sz="1700" dirty="0">
                        <a:solidFill>
                          <a:schemeClr val="bg1"/>
                        </a:solidFill>
                      </a:endParaRPr>
                    </a:p>
                  </a:txBody>
                  <a:tcPr marL="91427" marR="91427" marT="45713" marB="45713">
                    <a:solidFill>
                      <a:schemeClr val="tx1"/>
                    </a:solidFill>
                  </a:tcPr>
                </a:tc>
                <a:tc>
                  <a:txBody>
                    <a:bodyPr/>
                    <a:lstStyle/>
                    <a:p>
                      <a:endParaRPr lang="en-US" sz="1700" dirty="0">
                        <a:solidFill>
                          <a:schemeClr val="bg1"/>
                        </a:solidFill>
                        <a:highlight>
                          <a:srgbClr val="FFFF00"/>
                        </a:highlight>
                      </a:endParaRPr>
                    </a:p>
                  </a:txBody>
                  <a:tcPr marL="91427" marR="91427" marT="45713" marB="45713">
                    <a:solidFill>
                      <a:schemeClr val="tx1"/>
                    </a:solidFill>
                  </a:tcPr>
                </a:tc>
                <a:tc>
                  <a:txBody>
                    <a:bodyPr/>
                    <a:lstStyle/>
                    <a:p>
                      <a:endParaRPr lang="en-US" sz="1700" dirty="0">
                        <a:solidFill>
                          <a:schemeClr val="bg1"/>
                        </a:solidFill>
                      </a:endParaRPr>
                    </a:p>
                  </a:txBody>
                  <a:tcPr marL="91427" marR="91427" marT="45713" marB="45713">
                    <a:solidFill>
                      <a:schemeClr val="tx1"/>
                    </a:solidFill>
                  </a:tcPr>
                </a:tc>
                <a:extLst>
                  <a:ext uri="{0D108BD9-81ED-4DB2-BD59-A6C34878D82A}">
                    <a16:rowId xmlns:a16="http://schemas.microsoft.com/office/drawing/2014/main" val="2384714135"/>
                  </a:ext>
                </a:extLst>
              </a:tr>
            </a:tbl>
          </a:graphicData>
        </a:graphic>
      </p:graphicFrame>
      <p:grpSp>
        <p:nvGrpSpPr>
          <p:cNvPr id="49" name="Group 48"/>
          <p:cNvGrpSpPr/>
          <p:nvPr/>
        </p:nvGrpSpPr>
        <p:grpSpPr>
          <a:xfrm>
            <a:off x="11308544" y="1049935"/>
            <a:ext cx="457136" cy="4733336"/>
            <a:chOff x="9027714" y="1049587"/>
            <a:chExt cx="457201" cy="4734008"/>
          </a:xfrm>
        </p:grpSpPr>
        <p:sp>
          <p:nvSpPr>
            <p:cNvPr id="7" name="Rectangle 6"/>
            <p:cNvSpPr/>
            <p:nvPr/>
          </p:nvSpPr>
          <p:spPr bwMode="auto">
            <a:xfrm>
              <a:off x="9027715" y="1049587"/>
              <a:ext cx="457200" cy="457200"/>
            </a:xfrm>
            <a:prstGeom prst="rect">
              <a:avLst/>
            </a:prstGeom>
            <a:solidFill>
              <a:schemeClr val="bg1">
                <a:lumMod val="20000"/>
                <a:lumOff val="8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0">
                      <a:srgbClr val="FFFFFF"/>
                    </a:gs>
                    <a:gs pos="100000">
                      <a:srgbClr val="FFFFFF"/>
                    </a:gs>
                  </a:gsLst>
                  <a:lin ang="5400000" scaled="0"/>
                </a:gradFill>
                <a:latin typeface="Segoe UI"/>
              </a:endParaRPr>
            </a:p>
          </p:txBody>
        </p:sp>
        <p:sp>
          <p:nvSpPr>
            <p:cNvPr id="12" name="Rectangle 11"/>
            <p:cNvSpPr/>
            <p:nvPr/>
          </p:nvSpPr>
          <p:spPr bwMode="auto">
            <a:xfrm>
              <a:off x="9027715" y="1584188"/>
              <a:ext cx="457200" cy="457200"/>
            </a:xfrm>
            <a:prstGeom prst="rect">
              <a:avLst/>
            </a:prstGeom>
            <a:solidFill>
              <a:schemeClr val="bg1">
                <a:lumMod val="20000"/>
                <a:lumOff val="8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0">
                      <a:srgbClr val="FFFFFF"/>
                    </a:gs>
                    <a:gs pos="100000">
                      <a:srgbClr val="FFFFFF"/>
                    </a:gs>
                  </a:gsLst>
                  <a:lin ang="5400000" scaled="0"/>
                </a:gradFill>
                <a:latin typeface="Segoe UI"/>
              </a:endParaRPr>
            </a:p>
          </p:txBody>
        </p:sp>
        <p:sp>
          <p:nvSpPr>
            <p:cNvPr id="16" name="Rectangle 15"/>
            <p:cNvSpPr/>
            <p:nvPr/>
          </p:nvSpPr>
          <p:spPr bwMode="auto">
            <a:xfrm>
              <a:off x="9027715" y="2118789"/>
              <a:ext cx="457200" cy="457200"/>
            </a:xfrm>
            <a:prstGeom prst="rect">
              <a:avLst/>
            </a:prstGeom>
            <a:solidFill>
              <a:schemeClr val="bg1">
                <a:lumMod val="20000"/>
                <a:lumOff val="8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0">
                      <a:srgbClr val="FFFFFF"/>
                    </a:gs>
                    <a:gs pos="100000">
                      <a:srgbClr val="FFFFFF"/>
                    </a:gs>
                  </a:gsLst>
                  <a:lin ang="5400000" scaled="0"/>
                </a:gradFill>
                <a:latin typeface="Segoe UI"/>
              </a:endParaRPr>
            </a:p>
          </p:txBody>
        </p:sp>
        <p:sp>
          <p:nvSpPr>
            <p:cNvPr id="20" name="Rectangle 19"/>
            <p:cNvSpPr/>
            <p:nvPr/>
          </p:nvSpPr>
          <p:spPr bwMode="auto">
            <a:xfrm>
              <a:off x="9027715" y="2653390"/>
              <a:ext cx="457200" cy="457200"/>
            </a:xfrm>
            <a:prstGeom prst="rect">
              <a:avLst/>
            </a:prstGeom>
            <a:solidFill>
              <a:schemeClr val="bg1">
                <a:lumMod val="20000"/>
                <a:lumOff val="8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0">
                      <a:srgbClr val="FFFFFF"/>
                    </a:gs>
                    <a:gs pos="100000">
                      <a:srgbClr val="FFFFFF"/>
                    </a:gs>
                  </a:gsLst>
                  <a:lin ang="5400000" scaled="0"/>
                </a:gradFill>
                <a:latin typeface="Segoe UI"/>
              </a:endParaRPr>
            </a:p>
          </p:txBody>
        </p:sp>
        <p:sp>
          <p:nvSpPr>
            <p:cNvPr id="24" name="Rectangle 23"/>
            <p:cNvSpPr/>
            <p:nvPr/>
          </p:nvSpPr>
          <p:spPr bwMode="auto">
            <a:xfrm>
              <a:off x="9027715" y="3187991"/>
              <a:ext cx="457200" cy="457200"/>
            </a:xfrm>
            <a:prstGeom prst="rect">
              <a:avLst/>
            </a:prstGeom>
            <a:solidFill>
              <a:schemeClr val="bg1">
                <a:lumMod val="20000"/>
                <a:lumOff val="8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0">
                      <a:srgbClr val="FFFFFF"/>
                    </a:gs>
                    <a:gs pos="100000">
                      <a:srgbClr val="FFFFFF"/>
                    </a:gs>
                  </a:gsLst>
                  <a:lin ang="5400000" scaled="0"/>
                </a:gradFill>
                <a:latin typeface="Segoe UI"/>
              </a:endParaRPr>
            </a:p>
          </p:txBody>
        </p:sp>
        <p:sp>
          <p:nvSpPr>
            <p:cNvPr id="28" name="Rectangle 27"/>
            <p:cNvSpPr/>
            <p:nvPr/>
          </p:nvSpPr>
          <p:spPr bwMode="auto">
            <a:xfrm>
              <a:off x="9027715" y="3722592"/>
              <a:ext cx="457200" cy="457200"/>
            </a:xfrm>
            <a:prstGeom prst="rect">
              <a:avLst/>
            </a:prstGeom>
            <a:solidFill>
              <a:schemeClr val="bg1">
                <a:lumMod val="20000"/>
                <a:lumOff val="8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0">
                      <a:srgbClr val="FFFFFF"/>
                    </a:gs>
                    <a:gs pos="100000">
                      <a:srgbClr val="FFFFFF"/>
                    </a:gs>
                  </a:gsLst>
                  <a:lin ang="5400000" scaled="0"/>
                </a:gradFill>
                <a:latin typeface="Segoe UI"/>
              </a:endParaRPr>
            </a:p>
          </p:txBody>
        </p:sp>
        <p:sp>
          <p:nvSpPr>
            <p:cNvPr id="32" name="Rectangle 31"/>
            <p:cNvSpPr/>
            <p:nvPr/>
          </p:nvSpPr>
          <p:spPr bwMode="auto">
            <a:xfrm>
              <a:off x="9027715" y="4257193"/>
              <a:ext cx="457200" cy="457200"/>
            </a:xfrm>
            <a:prstGeom prst="rect">
              <a:avLst/>
            </a:prstGeom>
            <a:solidFill>
              <a:schemeClr val="bg1">
                <a:lumMod val="20000"/>
                <a:lumOff val="8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0">
                      <a:srgbClr val="FFFFFF"/>
                    </a:gs>
                    <a:gs pos="100000">
                      <a:srgbClr val="FFFFFF"/>
                    </a:gs>
                  </a:gsLst>
                  <a:lin ang="5400000" scaled="0"/>
                </a:gradFill>
                <a:latin typeface="Segoe UI"/>
              </a:endParaRPr>
            </a:p>
          </p:txBody>
        </p:sp>
        <p:sp>
          <p:nvSpPr>
            <p:cNvPr id="36" name="Rectangle 35"/>
            <p:cNvSpPr/>
            <p:nvPr/>
          </p:nvSpPr>
          <p:spPr bwMode="auto">
            <a:xfrm>
              <a:off x="9027715" y="4791794"/>
              <a:ext cx="457200" cy="457200"/>
            </a:xfrm>
            <a:prstGeom prst="rect">
              <a:avLst/>
            </a:prstGeom>
            <a:solidFill>
              <a:schemeClr val="bg1">
                <a:lumMod val="20000"/>
                <a:lumOff val="8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0">
                      <a:srgbClr val="FFFFFF"/>
                    </a:gs>
                    <a:gs pos="100000">
                      <a:srgbClr val="FFFFFF"/>
                    </a:gs>
                  </a:gsLst>
                  <a:lin ang="5400000" scaled="0"/>
                </a:gradFill>
                <a:latin typeface="Segoe UI"/>
              </a:endParaRPr>
            </a:p>
          </p:txBody>
        </p:sp>
        <p:sp>
          <p:nvSpPr>
            <p:cNvPr id="40" name="Rectangle 39"/>
            <p:cNvSpPr/>
            <p:nvPr/>
          </p:nvSpPr>
          <p:spPr bwMode="auto">
            <a:xfrm>
              <a:off x="9027714" y="5326395"/>
              <a:ext cx="457200" cy="457200"/>
            </a:xfrm>
            <a:prstGeom prst="rect">
              <a:avLst/>
            </a:prstGeom>
            <a:solidFill>
              <a:schemeClr val="bg1">
                <a:lumMod val="20000"/>
                <a:lumOff val="8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0">
                      <a:srgbClr val="FFFFFF"/>
                    </a:gs>
                    <a:gs pos="100000">
                      <a:srgbClr val="FFFFFF"/>
                    </a:gs>
                  </a:gsLst>
                  <a:lin ang="5400000" scaled="0"/>
                </a:gradFill>
                <a:latin typeface="Segoe UI"/>
              </a:endParaRPr>
            </a:p>
          </p:txBody>
        </p:sp>
      </p:grpSp>
      <p:grpSp>
        <p:nvGrpSpPr>
          <p:cNvPr id="50" name="Group 49"/>
          <p:cNvGrpSpPr/>
          <p:nvPr/>
        </p:nvGrpSpPr>
        <p:grpSpPr>
          <a:xfrm>
            <a:off x="10621788" y="1049935"/>
            <a:ext cx="457135" cy="4733336"/>
            <a:chOff x="9691654" y="1049587"/>
            <a:chExt cx="457200" cy="4734008"/>
          </a:xfrm>
        </p:grpSpPr>
        <p:sp>
          <p:nvSpPr>
            <p:cNvPr id="8" name="Rectangle 7"/>
            <p:cNvSpPr/>
            <p:nvPr/>
          </p:nvSpPr>
          <p:spPr bwMode="auto">
            <a:xfrm>
              <a:off x="9691654" y="1049587"/>
              <a:ext cx="457200" cy="457200"/>
            </a:xfrm>
            <a:prstGeom prst="rect">
              <a:avLst/>
            </a:prstGeom>
            <a:solidFill>
              <a:srgbClr val="0078D7"/>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0">
                      <a:srgbClr val="FFFFFF"/>
                    </a:gs>
                    <a:gs pos="100000">
                      <a:srgbClr val="FFFFFF"/>
                    </a:gs>
                  </a:gsLst>
                  <a:lin ang="5400000" scaled="0"/>
                </a:gradFill>
                <a:latin typeface="Segoe UI"/>
              </a:endParaRPr>
            </a:p>
          </p:txBody>
        </p:sp>
        <p:sp>
          <p:nvSpPr>
            <p:cNvPr id="13" name="Rectangle 12"/>
            <p:cNvSpPr/>
            <p:nvPr/>
          </p:nvSpPr>
          <p:spPr bwMode="auto">
            <a:xfrm>
              <a:off x="9691654" y="1584188"/>
              <a:ext cx="457200" cy="457200"/>
            </a:xfrm>
            <a:prstGeom prst="rect">
              <a:avLst/>
            </a:prstGeom>
            <a:solidFill>
              <a:srgbClr val="0078D7"/>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0">
                      <a:srgbClr val="FFFFFF"/>
                    </a:gs>
                    <a:gs pos="100000">
                      <a:srgbClr val="FFFFFF"/>
                    </a:gs>
                  </a:gsLst>
                  <a:lin ang="5400000" scaled="0"/>
                </a:gradFill>
                <a:latin typeface="Segoe UI"/>
              </a:endParaRPr>
            </a:p>
          </p:txBody>
        </p:sp>
        <p:sp>
          <p:nvSpPr>
            <p:cNvPr id="17" name="Rectangle 16"/>
            <p:cNvSpPr/>
            <p:nvPr/>
          </p:nvSpPr>
          <p:spPr bwMode="auto">
            <a:xfrm>
              <a:off x="9691654" y="2118789"/>
              <a:ext cx="457200" cy="457200"/>
            </a:xfrm>
            <a:prstGeom prst="rect">
              <a:avLst/>
            </a:prstGeom>
            <a:solidFill>
              <a:schemeClr val="bg1">
                <a:lumMod val="20000"/>
                <a:lumOff val="8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0">
                      <a:srgbClr val="FFFFFF"/>
                    </a:gs>
                    <a:gs pos="100000">
                      <a:srgbClr val="FFFFFF"/>
                    </a:gs>
                  </a:gsLst>
                  <a:lin ang="5400000" scaled="0"/>
                </a:gradFill>
                <a:latin typeface="Segoe UI"/>
              </a:endParaRPr>
            </a:p>
          </p:txBody>
        </p:sp>
        <p:sp>
          <p:nvSpPr>
            <p:cNvPr id="21" name="Rectangle 20"/>
            <p:cNvSpPr/>
            <p:nvPr/>
          </p:nvSpPr>
          <p:spPr bwMode="auto">
            <a:xfrm>
              <a:off x="9691654" y="2653390"/>
              <a:ext cx="457200" cy="457200"/>
            </a:xfrm>
            <a:prstGeom prst="rect">
              <a:avLst/>
            </a:prstGeom>
            <a:solidFill>
              <a:schemeClr val="bg1">
                <a:lumMod val="20000"/>
                <a:lumOff val="8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0">
                      <a:srgbClr val="FFFFFF"/>
                    </a:gs>
                    <a:gs pos="100000">
                      <a:srgbClr val="FFFFFF"/>
                    </a:gs>
                  </a:gsLst>
                  <a:lin ang="5400000" scaled="0"/>
                </a:gradFill>
                <a:latin typeface="Segoe UI"/>
              </a:endParaRPr>
            </a:p>
          </p:txBody>
        </p:sp>
        <p:sp>
          <p:nvSpPr>
            <p:cNvPr id="25" name="Rectangle 24"/>
            <p:cNvSpPr/>
            <p:nvPr/>
          </p:nvSpPr>
          <p:spPr bwMode="auto">
            <a:xfrm>
              <a:off x="9691654" y="3187991"/>
              <a:ext cx="457200" cy="457200"/>
            </a:xfrm>
            <a:prstGeom prst="rect">
              <a:avLst/>
            </a:prstGeom>
            <a:solidFill>
              <a:schemeClr val="bg1">
                <a:lumMod val="20000"/>
                <a:lumOff val="8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0">
                      <a:srgbClr val="FFFFFF"/>
                    </a:gs>
                    <a:gs pos="100000">
                      <a:srgbClr val="FFFFFF"/>
                    </a:gs>
                  </a:gsLst>
                  <a:lin ang="5400000" scaled="0"/>
                </a:gradFill>
                <a:latin typeface="Segoe UI"/>
              </a:endParaRPr>
            </a:p>
          </p:txBody>
        </p:sp>
        <p:sp>
          <p:nvSpPr>
            <p:cNvPr id="29" name="Rectangle 28"/>
            <p:cNvSpPr/>
            <p:nvPr/>
          </p:nvSpPr>
          <p:spPr bwMode="auto">
            <a:xfrm>
              <a:off x="9691654" y="3722592"/>
              <a:ext cx="457200" cy="457200"/>
            </a:xfrm>
            <a:prstGeom prst="rect">
              <a:avLst/>
            </a:prstGeom>
            <a:solidFill>
              <a:schemeClr val="bg1">
                <a:lumMod val="20000"/>
                <a:lumOff val="8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0">
                      <a:srgbClr val="FFFFFF"/>
                    </a:gs>
                    <a:gs pos="100000">
                      <a:srgbClr val="FFFFFF"/>
                    </a:gs>
                  </a:gsLst>
                  <a:lin ang="5400000" scaled="0"/>
                </a:gradFill>
                <a:latin typeface="Segoe UI"/>
              </a:endParaRPr>
            </a:p>
          </p:txBody>
        </p:sp>
        <p:sp>
          <p:nvSpPr>
            <p:cNvPr id="33" name="Rectangle 32"/>
            <p:cNvSpPr/>
            <p:nvPr/>
          </p:nvSpPr>
          <p:spPr bwMode="auto">
            <a:xfrm>
              <a:off x="9691654" y="4257193"/>
              <a:ext cx="457200" cy="457200"/>
            </a:xfrm>
            <a:prstGeom prst="rect">
              <a:avLst/>
            </a:prstGeom>
            <a:solidFill>
              <a:schemeClr val="bg1">
                <a:lumMod val="20000"/>
                <a:lumOff val="8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0">
                      <a:srgbClr val="FFFFFF"/>
                    </a:gs>
                    <a:gs pos="100000">
                      <a:srgbClr val="FFFFFF"/>
                    </a:gs>
                  </a:gsLst>
                  <a:lin ang="5400000" scaled="0"/>
                </a:gradFill>
                <a:latin typeface="Segoe UI"/>
              </a:endParaRPr>
            </a:p>
          </p:txBody>
        </p:sp>
        <p:sp>
          <p:nvSpPr>
            <p:cNvPr id="37" name="Rectangle 36"/>
            <p:cNvSpPr/>
            <p:nvPr/>
          </p:nvSpPr>
          <p:spPr bwMode="auto">
            <a:xfrm>
              <a:off x="9691654" y="4791794"/>
              <a:ext cx="457200" cy="457200"/>
            </a:xfrm>
            <a:prstGeom prst="rect">
              <a:avLst/>
            </a:prstGeom>
            <a:solidFill>
              <a:schemeClr val="bg1">
                <a:lumMod val="20000"/>
                <a:lumOff val="8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0">
                      <a:srgbClr val="FFFFFF"/>
                    </a:gs>
                    <a:gs pos="100000">
                      <a:srgbClr val="FFFFFF"/>
                    </a:gs>
                  </a:gsLst>
                  <a:lin ang="5400000" scaled="0"/>
                </a:gradFill>
                <a:latin typeface="Segoe UI"/>
              </a:endParaRPr>
            </a:p>
          </p:txBody>
        </p:sp>
        <p:sp>
          <p:nvSpPr>
            <p:cNvPr id="41" name="Rectangle 40"/>
            <p:cNvSpPr/>
            <p:nvPr/>
          </p:nvSpPr>
          <p:spPr bwMode="auto">
            <a:xfrm>
              <a:off x="9691654" y="5326395"/>
              <a:ext cx="457200" cy="457200"/>
            </a:xfrm>
            <a:prstGeom prst="rect">
              <a:avLst/>
            </a:prstGeom>
            <a:solidFill>
              <a:schemeClr val="bg1">
                <a:lumMod val="20000"/>
                <a:lumOff val="8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0">
                      <a:srgbClr val="FFFFFF"/>
                    </a:gs>
                    <a:gs pos="100000">
                      <a:srgbClr val="FFFFFF"/>
                    </a:gs>
                  </a:gsLst>
                  <a:lin ang="5400000" scaled="0"/>
                </a:gradFill>
                <a:latin typeface="Segoe UI"/>
              </a:endParaRPr>
            </a:p>
          </p:txBody>
        </p:sp>
      </p:grpSp>
      <p:grpSp>
        <p:nvGrpSpPr>
          <p:cNvPr id="61" name="Group 60"/>
          <p:cNvGrpSpPr/>
          <p:nvPr/>
        </p:nvGrpSpPr>
        <p:grpSpPr>
          <a:xfrm>
            <a:off x="9926451" y="1049935"/>
            <a:ext cx="465717" cy="4732942"/>
            <a:chOff x="10608689" y="1049587"/>
            <a:chExt cx="465783" cy="4733613"/>
          </a:xfrm>
        </p:grpSpPr>
        <p:sp>
          <p:nvSpPr>
            <p:cNvPr id="9" name="Rectangle 8"/>
            <p:cNvSpPr/>
            <p:nvPr/>
          </p:nvSpPr>
          <p:spPr bwMode="auto">
            <a:xfrm>
              <a:off x="10608689" y="1049587"/>
              <a:ext cx="457200" cy="457200"/>
            </a:xfrm>
            <a:prstGeom prst="rect">
              <a:avLst/>
            </a:prstGeom>
            <a:solidFill>
              <a:srgbClr val="0078D7"/>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0">
                      <a:srgbClr val="FFFFFF"/>
                    </a:gs>
                    <a:gs pos="100000">
                      <a:srgbClr val="FFFFFF"/>
                    </a:gs>
                  </a:gsLst>
                  <a:lin ang="5400000" scaled="0"/>
                </a:gradFill>
                <a:latin typeface="Segoe UI"/>
              </a:endParaRPr>
            </a:p>
          </p:txBody>
        </p:sp>
        <p:sp>
          <p:nvSpPr>
            <p:cNvPr id="14" name="Rectangle 13"/>
            <p:cNvSpPr/>
            <p:nvPr/>
          </p:nvSpPr>
          <p:spPr bwMode="auto">
            <a:xfrm>
              <a:off x="10608689" y="1584139"/>
              <a:ext cx="457200" cy="457200"/>
            </a:xfrm>
            <a:prstGeom prst="rect">
              <a:avLst/>
            </a:prstGeom>
            <a:solidFill>
              <a:srgbClr val="0078D7"/>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0">
                      <a:srgbClr val="FFFFFF"/>
                    </a:gs>
                    <a:gs pos="100000">
                      <a:srgbClr val="FFFFFF"/>
                    </a:gs>
                  </a:gsLst>
                  <a:lin ang="5400000" scaled="0"/>
                </a:gradFill>
                <a:latin typeface="Segoe UI"/>
              </a:endParaRPr>
            </a:p>
          </p:txBody>
        </p:sp>
        <p:sp>
          <p:nvSpPr>
            <p:cNvPr id="18" name="Rectangle 17"/>
            <p:cNvSpPr/>
            <p:nvPr/>
          </p:nvSpPr>
          <p:spPr bwMode="auto">
            <a:xfrm>
              <a:off x="10608689" y="2118691"/>
              <a:ext cx="457200" cy="457200"/>
            </a:xfrm>
            <a:prstGeom prst="rect">
              <a:avLst/>
            </a:prstGeom>
            <a:solidFill>
              <a:srgbClr val="0078D7"/>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0">
                      <a:srgbClr val="FFFFFF"/>
                    </a:gs>
                    <a:gs pos="100000">
                      <a:srgbClr val="FFFFFF"/>
                    </a:gs>
                  </a:gsLst>
                  <a:lin ang="5400000" scaled="0"/>
                </a:gradFill>
                <a:latin typeface="Segoe UI"/>
              </a:endParaRPr>
            </a:p>
          </p:txBody>
        </p:sp>
        <p:sp>
          <p:nvSpPr>
            <p:cNvPr id="22" name="Rectangle 21"/>
            <p:cNvSpPr/>
            <p:nvPr/>
          </p:nvSpPr>
          <p:spPr bwMode="auto">
            <a:xfrm>
              <a:off x="10608689" y="2653243"/>
              <a:ext cx="457200" cy="457200"/>
            </a:xfrm>
            <a:prstGeom prst="rect">
              <a:avLst/>
            </a:prstGeom>
            <a:solidFill>
              <a:srgbClr val="0078D7"/>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0">
                      <a:srgbClr val="FFFFFF"/>
                    </a:gs>
                    <a:gs pos="100000">
                      <a:srgbClr val="FFFFFF"/>
                    </a:gs>
                  </a:gsLst>
                  <a:lin ang="5400000" scaled="0"/>
                </a:gradFill>
                <a:latin typeface="Segoe UI"/>
              </a:endParaRPr>
            </a:p>
          </p:txBody>
        </p:sp>
        <p:sp>
          <p:nvSpPr>
            <p:cNvPr id="26" name="Rectangle 25"/>
            <p:cNvSpPr/>
            <p:nvPr/>
          </p:nvSpPr>
          <p:spPr bwMode="auto">
            <a:xfrm>
              <a:off x="10608689" y="3187795"/>
              <a:ext cx="457200" cy="457200"/>
            </a:xfrm>
            <a:prstGeom prst="rect">
              <a:avLst/>
            </a:prstGeom>
            <a:solidFill>
              <a:srgbClr val="0078D7"/>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0">
                      <a:srgbClr val="FFFFFF"/>
                    </a:gs>
                    <a:gs pos="100000">
                      <a:srgbClr val="FFFFFF"/>
                    </a:gs>
                  </a:gsLst>
                  <a:lin ang="5400000" scaled="0"/>
                </a:gradFill>
                <a:latin typeface="Segoe UI"/>
              </a:endParaRPr>
            </a:p>
          </p:txBody>
        </p:sp>
        <p:sp>
          <p:nvSpPr>
            <p:cNvPr id="30" name="Rectangle 29"/>
            <p:cNvSpPr/>
            <p:nvPr/>
          </p:nvSpPr>
          <p:spPr bwMode="auto">
            <a:xfrm>
              <a:off x="10608689" y="3722347"/>
              <a:ext cx="457200" cy="457200"/>
            </a:xfrm>
            <a:prstGeom prst="rect">
              <a:avLst/>
            </a:prstGeom>
            <a:solidFill>
              <a:schemeClr val="bg1">
                <a:lumMod val="20000"/>
                <a:lumOff val="8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0">
                      <a:srgbClr val="FFFFFF"/>
                    </a:gs>
                    <a:gs pos="100000">
                      <a:srgbClr val="FFFFFF"/>
                    </a:gs>
                  </a:gsLst>
                  <a:lin ang="5400000" scaled="0"/>
                </a:gradFill>
                <a:latin typeface="Segoe UI"/>
              </a:endParaRPr>
            </a:p>
          </p:txBody>
        </p:sp>
        <p:sp>
          <p:nvSpPr>
            <p:cNvPr id="34" name="Rectangle 33"/>
            <p:cNvSpPr/>
            <p:nvPr/>
          </p:nvSpPr>
          <p:spPr bwMode="auto">
            <a:xfrm>
              <a:off x="10608689" y="4256899"/>
              <a:ext cx="457200" cy="457200"/>
            </a:xfrm>
            <a:prstGeom prst="rect">
              <a:avLst/>
            </a:prstGeom>
            <a:solidFill>
              <a:schemeClr val="bg1">
                <a:lumMod val="20000"/>
                <a:lumOff val="8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0">
                      <a:srgbClr val="FFFFFF"/>
                    </a:gs>
                    <a:gs pos="100000">
                      <a:srgbClr val="FFFFFF"/>
                    </a:gs>
                  </a:gsLst>
                  <a:lin ang="5400000" scaled="0"/>
                </a:gradFill>
                <a:latin typeface="Segoe UI"/>
              </a:endParaRPr>
            </a:p>
          </p:txBody>
        </p:sp>
        <p:sp>
          <p:nvSpPr>
            <p:cNvPr id="38" name="Rectangle 37"/>
            <p:cNvSpPr/>
            <p:nvPr/>
          </p:nvSpPr>
          <p:spPr bwMode="auto">
            <a:xfrm>
              <a:off x="10608689" y="4791451"/>
              <a:ext cx="457200" cy="457200"/>
            </a:xfrm>
            <a:prstGeom prst="rect">
              <a:avLst/>
            </a:prstGeom>
            <a:solidFill>
              <a:schemeClr val="bg1">
                <a:lumMod val="20000"/>
                <a:lumOff val="8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0">
                      <a:srgbClr val="FFFFFF"/>
                    </a:gs>
                    <a:gs pos="100000">
                      <a:srgbClr val="FFFFFF"/>
                    </a:gs>
                  </a:gsLst>
                  <a:lin ang="5400000" scaled="0"/>
                </a:gradFill>
                <a:latin typeface="Segoe UI"/>
              </a:endParaRPr>
            </a:p>
          </p:txBody>
        </p:sp>
        <p:sp>
          <p:nvSpPr>
            <p:cNvPr id="42" name="Rectangle 41"/>
            <p:cNvSpPr/>
            <p:nvPr/>
          </p:nvSpPr>
          <p:spPr bwMode="auto">
            <a:xfrm>
              <a:off x="10617272" y="5326000"/>
              <a:ext cx="457200" cy="457200"/>
            </a:xfrm>
            <a:prstGeom prst="rect">
              <a:avLst/>
            </a:prstGeom>
            <a:solidFill>
              <a:schemeClr val="bg1">
                <a:lumMod val="20000"/>
                <a:lumOff val="8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0">
                      <a:srgbClr val="FFFFFF"/>
                    </a:gs>
                    <a:gs pos="100000">
                      <a:srgbClr val="FFFFFF"/>
                    </a:gs>
                  </a:gsLst>
                  <a:lin ang="5400000" scaled="0"/>
                </a:gradFill>
                <a:latin typeface="Segoe UI"/>
              </a:endParaRPr>
            </a:p>
          </p:txBody>
        </p:sp>
      </p:grpSp>
      <p:grpSp>
        <p:nvGrpSpPr>
          <p:cNvPr id="60" name="Group 59"/>
          <p:cNvGrpSpPr/>
          <p:nvPr/>
        </p:nvGrpSpPr>
        <p:grpSpPr>
          <a:xfrm>
            <a:off x="9239695" y="1049935"/>
            <a:ext cx="457135" cy="4732942"/>
            <a:chOff x="11310059" y="1049587"/>
            <a:chExt cx="457200" cy="4733613"/>
          </a:xfrm>
        </p:grpSpPr>
        <p:sp>
          <p:nvSpPr>
            <p:cNvPr id="10" name="Rectangle 9"/>
            <p:cNvSpPr/>
            <p:nvPr/>
          </p:nvSpPr>
          <p:spPr bwMode="auto">
            <a:xfrm>
              <a:off x="11310059" y="1049587"/>
              <a:ext cx="457200" cy="457200"/>
            </a:xfrm>
            <a:prstGeom prst="rect">
              <a:avLst/>
            </a:prstGeom>
            <a:solidFill>
              <a:srgbClr val="0078D7"/>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0">
                      <a:srgbClr val="FFFFFF"/>
                    </a:gs>
                    <a:gs pos="100000">
                      <a:srgbClr val="FFFFFF"/>
                    </a:gs>
                  </a:gsLst>
                  <a:lin ang="5400000" scaled="0"/>
                </a:gradFill>
                <a:latin typeface="Segoe UI"/>
              </a:endParaRPr>
            </a:p>
          </p:txBody>
        </p:sp>
        <p:sp>
          <p:nvSpPr>
            <p:cNvPr id="15" name="Rectangle 14"/>
            <p:cNvSpPr/>
            <p:nvPr/>
          </p:nvSpPr>
          <p:spPr bwMode="auto">
            <a:xfrm>
              <a:off x="11310059" y="1584139"/>
              <a:ext cx="457200" cy="457200"/>
            </a:xfrm>
            <a:prstGeom prst="rect">
              <a:avLst/>
            </a:prstGeom>
            <a:solidFill>
              <a:srgbClr val="0078D7"/>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0">
                      <a:srgbClr val="FFFFFF"/>
                    </a:gs>
                    <a:gs pos="100000">
                      <a:srgbClr val="FFFFFF"/>
                    </a:gs>
                  </a:gsLst>
                  <a:lin ang="5400000" scaled="0"/>
                </a:gradFill>
                <a:latin typeface="Segoe UI"/>
              </a:endParaRPr>
            </a:p>
          </p:txBody>
        </p:sp>
        <p:sp>
          <p:nvSpPr>
            <p:cNvPr id="19" name="Rectangle 18"/>
            <p:cNvSpPr/>
            <p:nvPr/>
          </p:nvSpPr>
          <p:spPr bwMode="auto">
            <a:xfrm>
              <a:off x="11310059" y="2118691"/>
              <a:ext cx="457200" cy="457200"/>
            </a:xfrm>
            <a:prstGeom prst="rect">
              <a:avLst/>
            </a:prstGeom>
            <a:solidFill>
              <a:srgbClr val="0078D7"/>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0">
                      <a:srgbClr val="FFFFFF"/>
                    </a:gs>
                    <a:gs pos="100000">
                      <a:srgbClr val="FFFFFF"/>
                    </a:gs>
                  </a:gsLst>
                  <a:lin ang="5400000" scaled="0"/>
                </a:gradFill>
                <a:latin typeface="Segoe UI"/>
              </a:endParaRPr>
            </a:p>
          </p:txBody>
        </p:sp>
        <p:sp>
          <p:nvSpPr>
            <p:cNvPr id="23" name="Rectangle 22"/>
            <p:cNvSpPr/>
            <p:nvPr/>
          </p:nvSpPr>
          <p:spPr bwMode="auto">
            <a:xfrm>
              <a:off x="11310059" y="2653243"/>
              <a:ext cx="457200" cy="457200"/>
            </a:xfrm>
            <a:prstGeom prst="rect">
              <a:avLst/>
            </a:prstGeom>
            <a:solidFill>
              <a:srgbClr val="0078D7"/>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0">
                      <a:srgbClr val="FFFFFF"/>
                    </a:gs>
                    <a:gs pos="100000">
                      <a:srgbClr val="FFFFFF"/>
                    </a:gs>
                  </a:gsLst>
                  <a:lin ang="5400000" scaled="0"/>
                </a:gradFill>
                <a:latin typeface="Segoe UI"/>
              </a:endParaRPr>
            </a:p>
          </p:txBody>
        </p:sp>
        <p:sp>
          <p:nvSpPr>
            <p:cNvPr id="27" name="Rectangle 26"/>
            <p:cNvSpPr/>
            <p:nvPr/>
          </p:nvSpPr>
          <p:spPr bwMode="auto">
            <a:xfrm>
              <a:off x="11310059" y="3187795"/>
              <a:ext cx="457200" cy="457200"/>
            </a:xfrm>
            <a:prstGeom prst="rect">
              <a:avLst/>
            </a:prstGeom>
            <a:solidFill>
              <a:srgbClr val="0078D7"/>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0">
                      <a:srgbClr val="FFFFFF"/>
                    </a:gs>
                    <a:gs pos="100000">
                      <a:srgbClr val="FFFFFF"/>
                    </a:gs>
                  </a:gsLst>
                  <a:lin ang="5400000" scaled="0"/>
                </a:gradFill>
                <a:latin typeface="Segoe UI"/>
              </a:endParaRPr>
            </a:p>
          </p:txBody>
        </p:sp>
        <p:sp>
          <p:nvSpPr>
            <p:cNvPr id="31" name="Rectangle 30"/>
            <p:cNvSpPr/>
            <p:nvPr/>
          </p:nvSpPr>
          <p:spPr bwMode="auto">
            <a:xfrm>
              <a:off x="11310059" y="3722347"/>
              <a:ext cx="457200" cy="457200"/>
            </a:xfrm>
            <a:prstGeom prst="rect">
              <a:avLst/>
            </a:prstGeom>
            <a:solidFill>
              <a:srgbClr val="0078D7"/>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0">
                      <a:srgbClr val="FFFFFF"/>
                    </a:gs>
                    <a:gs pos="100000">
                      <a:srgbClr val="FFFFFF"/>
                    </a:gs>
                  </a:gsLst>
                  <a:lin ang="5400000" scaled="0"/>
                </a:gradFill>
                <a:latin typeface="Segoe UI"/>
              </a:endParaRPr>
            </a:p>
          </p:txBody>
        </p:sp>
        <p:sp>
          <p:nvSpPr>
            <p:cNvPr id="35" name="Rectangle 34"/>
            <p:cNvSpPr/>
            <p:nvPr/>
          </p:nvSpPr>
          <p:spPr bwMode="auto">
            <a:xfrm>
              <a:off x="11310059" y="4256899"/>
              <a:ext cx="457200" cy="457200"/>
            </a:xfrm>
            <a:prstGeom prst="rect">
              <a:avLst/>
            </a:prstGeom>
            <a:solidFill>
              <a:srgbClr val="0078D7"/>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0">
                      <a:srgbClr val="FFFFFF"/>
                    </a:gs>
                    <a:gs pos="100000">
                      <a:srgbClr val="FFFFFF"/>
                    </a:gs>
                  </a:gsLst>
                  <a:lin ang="5400000" scaled="0"/>
                </a:gradFill>
                <a:latin typeface="Segoe UI"/>
              </a:endParaRPr>
            </a:p>
          </p:txBody>
        </p:sp>
        <p:sp>
          <p:nvSpPr>
            <p:cNvPr id="39" name="Rectangle 38"/>
            <p:cNvSpPr/>
            <p:nvPr/>
          </p:nvSpPr>
          <p:spPr bwMode="auto">
            <a:xfrm>
              <a:off x="11310059" y="4791451"/>
              <a:ext cx="457200" cy="457200"/>
            </a:xfrm>
            <a:prstGeom prst="rect">
              <a:avLst/>
            </a:prstGeom>
            <a:solidFill>
              <a:srgbClr val="0078D7"/>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0">
                      <a:srgbClr val="FFFFFF"/>
                    </a:gs>
                    <a:gs pos="100000">
                      <a:srgbClr val="FFFFFF"/>
                    </a:gs>
                  </a:gsLst>
                  <a:lin ang="5400000" scaled="0"/>
                </a:gradFill>
                <a:latin typeface="Segoe UI"/>
              </a:endParaRPr>
            </a:p>
          </p:txBody>
        </p:sp>
        <p:sp>
          <p:nvSpPr>
            <p:cNvPr id="43" name="Rectangle 42"/>
            <p:cNvSpPr/>
            <p:nvPr/>
          </p:nvSpPr>
          <p:spPr bwMode="auto">
            <a:xfrm>
              <a:off x="11310059" y="5326000"/>
              <a:ext cx="457200" cy="457200"/>
            </a:xfrm>
            <a:prstGeom prst="rect">
              <a:avLst/>
            </a:prstGeom>
            <a:solidFill>
              <a:srgbClr val="0078D7"/>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0">
                      <a:srgbClr val="FFFFFF"/>
                    </a:gs>
                    <a:gs pos="100000">
                      <a:srgbClr val="FFFFFF"/>
                    </a:gs>
                  </a:gsLst>
                  <a:lin ang="5400000" scaled="0"/>
                </a:gradFill>
                <a:latin typeface="Segoe UI"/>
              </a:endParaRPr>
            </a:p>
          </p:txBody>
        </p:sp>
      </p:grpSp>
      <p:grpSp>
        <p:nvGrpSpPr>
          <p:cNvPr id="59" name="Group 58"/>
          <p:cNvGrpSpPr/>
          <p:nvPr/>
        </p:nvGrpSpPr>
        <p:grpSpPr>
          <a:xfrm>
            <a:off x="10651326" y="6083101"/>
            <a:ext cx="1420855" cy="521303"/>
            <a:chOff x="9205950" y="5966176"/>
            <a:chExt cx="1421057" cy="521377"/>
          </a:xfrm>
        </p:grpSpPr>
        <p:sp>
          <p:nvSpPr>
            <p:cNvPr id="54" name="Rectangle 53"/>
            <p:cNvSpPr/>
            <p:nvPr/>
          </p:nvSpPr>
          <p:spPr bwMode="auto">
            <a:xfrm>
              <a:off x="9205950" y="6071863"/>
              <a:ext cx="274320" cy="274320"/>
            </a:xfrm>
            <a:prstGeom prst="rect">
              <a:avLst/>
            </a:prstGeom>
            <a:solidFill>
              <a:schemeClr val="bg1">
                <a:lumMod val="20000"/>
                <a:lumOff val="8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0">
                      <a:srgbClr val="FFFFFF"/>
                    </a:gs>
                    <a:gs pos="100000">
                      <a:srgbClr val="FFFFFF"/>
                    </a:gs>
                  </a:gsLst>
                  <a:lin ang="5400000" scaled="0"/>
                </a:gradFill>
                <a:latin typeface="Segoe UI"/>
              </a:endParaRPr>
            </a:p>
          </p:txBody>
        </p:sp>
        <p:sp>
          <p:nvSpPr>
            <p:cNvPr id="55" name="TextBox 54"/>
            <p:cNvSpPr txBox="1"/>
            <p:nvPr/>
          </p:nvSpPr>
          <p:spPr>
            <a:xfrm>
              <a:off x="9381237" y="5966176"/>
              <a:ext cx="1245770" cy="521377"/>
            </a:xfrm>
            <a:prstGeom prst="rect">
              <a:avLst/>
            </a:prstGeom>
            <a:noFill/>
          </p:spPr>
          <p:txBody>
            <a:bodyPr wrap="none" lIns="182854" tIns="146283" rIns="182854" bIns="146283" rtlCol="0">
              <a:spAutoFit/>
            </a:bodyPr>
            <a:lstStyle/>
            <a:p>
              <a:pPr defTabSz="914224">
                <a:lnSpc>
                  <a:spcPct val="90000"/>
                </a:lnSpc>
                <a:spcAft>
                  <a:spcPts val="600"/>
                </a:spcAft>
                <a:defRPr/>
              </a:pPr>
              <a:r>
                <a:rPr lang="en-US" sz="1599" kern="0">
                  <a:solidFill>
                    <a:srgbClr val="FFFFFF"/>
                  </a:solidFill>
                  <a:latin typeface="Segoe UI"/>
                </a:rPr>
                <a:t>Microsoft</a:t>
              </a:r>
            </a:p>
          </p:txBody>
        </p:sp>
      </p:grpSp>
      <p:grpSp>
        <p:nvGrpSpPr>
          <p:cNvPr id="58" name="Group 57"/>
          <p:cNvGrpSpPr/>
          <p:nvPr/>
        </p:nvGrpSpPr>
        <p:grpSpPr>
          <a:xfrm>
            <a:off x="9239693" y="6083101"/>
            <a:ext cx="1406468" cy="521303"/>
            <a:chOff x="10595131" y="5966176"/>
            <a:chExt cx="1406667" cy="521377"/>
          </a:xfrm>
        </p:grpSpPr>
        <p:sp>
          <p:nvSpPr>
            <p:cNvPr id="56" name="Rectangle 55"/>
            <p:cNvSpPr/>
            <p:nvPr/>
          </p:nvSpPr>
          <p:spPr bwMode="auto">
            <a:xfrm>
              <a:off x="10595131" y="6071862"/>
              <a:ext cx="274320" cy="274320"/>
            </a:xfrm>
            <a:prstGeom prst="rect">
              <a:avLst/>
            </a:prstGeom>
            <a:solidFill>
              <a:schemeClr val="bg2"/>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0">
                      <a:srgbClr val="FFFFFF"/>
                    </a:gs>
                    <a:gs pos="100000">
                      <a:srgbClr val="FFFFFF"/>
                    </a:gs>
                  </a:gsLst>
                  <a:lin ang="5400000" scaled="0"/>
                </a:gradFill>
                <a:latin typeface="Segoe UI"/>
              </a:endParaRPr>
            </a:p>
          </p:txBody>
        </p:sp>
        <p:sp>
          <p:nvSpPr>
            <p:cNvPr id="57" name="TextBox 56"/>
            <p:cNvSpPr txBox="1"/>
            <p:nvPr/>
          </p:nvSpPr>
          <p:spPr>
            <a:xfrm>
              <a:off x="10742947" y="5966176"/>
              <a:ext cx="1258851" cy="521377"/>
            </a:xfrm>
            <a:prstGeom prst="rect">
              <a:avLst/>
            </a:prstGeom>
            <a:noFill/>
          </p:spPr>
          <p:txBody>
            <a:bodyPr wrap="none" lIns="182854" tIns="146283" rIns="182854" bIns="146283" rtlCol="0">
              <a:spAutoFit/>
            </a:bodyPr>
            <a:lstStyle/>
            <a:p>
              <a:pPr defTabSz="914224">
                <a:lnSpc>
                  <a:spcPct val="90000"/>
                </a:lnSpc>
                <a:spcAft>
                  <a:spcPts val="600"/>
                </a:spcAft>
                <a:defRPr/>
              </a:pPr>
              <a:r>
                <a:rPr lang="en-US" sz="1599" kern="0">
                  <a:solidFill>
                    <a:srgbClr val="FFFFFF"/>
                  </a:solidFill>
                  <a:latin typeface="Segoe UI"/>
                </a:rPr>
                <a:t>Customer</a:t>
              </a:r>
            </a:p>
          </p:txBody>
        </p:sp>
      </p:grpSp>
      <p:grpSp>
        <p:nvGrpSpPr>
          <p:cNvPr id="44" name="Group 43"/>
          <p:cNvGrpSpPr/>
          <p:nvPr/>
        </p:nvGrpSpPr>
        <p:grpSpPr>
          <a:xfrm>
            <a:off x="12801069" y="6242766"/>
            <a:ext cx="457135" cy="458431"/>
            <a:chOff x="7976278" y="6226405"/>
            <a:chExt cx="457200" cy="458496"/>
          </a:xfrm>
        </p:grpSpPr>
        <p:sp>
          <p:nvSpPr>
            <p:cNvPr id="52" name="Rectangle 51"/>
            <p:cNvSpPr/>
            <p:nvPr/>
          </p:nvSpPr>
          <p:spPr bwMode="auto">
            <a:xfrm>
              <a:off x="7976278" y="6227701"/>
              <a:ext cx="457200" cy="457200"/>
            </a:xfrm>
            <a:prstGeom prst="rect">
              <a:avLst/>
            </a:prstGeom>
            <a:solidFill>
              <a:srgbClr val="0078D7"/>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0">
                      <a:srgbClr val="FFFFFF"/>
                    </a:gs>
                    <a:gs pos="100000">
                      <a:srgbClr val="FFFFFF"/>
                    </a:gs>
                  </a:gsLst>
                  <a:lin ang="5400000" scaled="0"/>
                </a:gradFill>
                <a:latin typeface="Segoe UI"/>
              </a:endParaRPr>
            </a:p>
          </p:txBody>
        </p:sp>
        <p:sp>
          <p:nvSpPr>
            <p:cNvPr id="5" name="Isosceles Triangle 4"/>
            <p:cNvSpPr/>
            <p:nvPr/>
          </p:nvSpPr>
          <p:spPr bwMode="auto">
            <a:xfrm>
              <a:off x="7976278" y="6226405"/>
              <a:ext cx="457200" cy="457200"/>
            </a:xfrm>
            <a:prstGeom prst="triangle">
              <a:avLst>
                <a:gd name="adj" fmla="val 0"/>
              </a:avLst>
            </a:prstGeom>
            <a:solidFill>
              <a:schemeClr val="bg1">
                <a:lumMod val="20000"/>
                <a:lumOff val="8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0">
                      <a:srgbClr val="FFFFFF"/>
                    </a:gs>
                    <a:gs pos="100000">
                      <a:srgbClr val="FFFFFF"/>
                    </a:gs>
                  </a:gsLst>
                  <a:lin ang="5400000" scaled="0"/>
                </a:gradFill>
                <a:latin typeface="Segoe UI"/>
              </a:endParaRPr>
            </a:p>
          </p:txBody>
        </p:sp>
      </p:grpSp>
    </p:spTree>
    <p:extLst>
      <p:ext uri="{BB962C8B-B14F-4D97-AF65-F5344CB8AC3E}">
        <p14:creationId xmlns:p14="http://schemas.microsoft.com/office/powerpoint/2010/main" val="26540845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grpId="0" nodeType="withEffect">
                                  <p:stCondLst>
                                    <p:cond delay="0"/>
                                  </p:stCondLst>
                                  <p:childTnLst>
                                    <p:set>
                                      <p:cBhvr>
                                        <p:cTn id="6" dur="1" fill="hold">
                                          <p:stCondLst>
                                            <p:cond delay="0"/>
                                          </p:stCondLst>
                                        </p:cTn>
                                        <p:tgtEl>
                                          <p:spTgt spid="53"/>
                                        </p:tgtEl>
                                        <p:attrNameLst>
                                          <p:attrName>style.visibility</p:attrName>
                                        </p:attrNameLst>
                                      </p:cBhvr>
                                      <p:to>
                                        <p:strVal val="visible"/>
                                      </p:to>
                                    </p:set>
                                    <p:anim calcmode="lin" valueType="num">
                                      <p:cBhvr additive="base">
                                        <p:cTn id="7" dur="500" fill="hold"/>
                                        <p:tgtEl>
                                          <p:spTgt spid="53"/>
                                        </p:tgtEl>
                                        <p:attrNameLst>
                                          <p:attrName>ppt_x</p:attrName>
                                        </p:attrNameLst>
                                      </p:cBhvr>
                                      <p:tavLst>
                                        <p:tav tm="0">
                                          <p:val>
                                            <p:strVal val="1+#ppt_w/2"/>
                                          </p:val>
                                        </p:tav>
                                        <p:tav tm="100000">
                                          <p:val>
                                            <p:strVal val="#ppt_x"/>
                                          </p:val>
                                        </p:tav>
                                      </p:tavLst>
                                    </p:anim>
                                    <p:anim calcmode="lin" valueType="num">
                                      <p:cBhvr additive="base">
                                        <p:cTn id="8" dur="500" fill="hold"/>
                                        <p:tgtEl>
                                          <p:spTgt spid="53"/>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10" presetClass="entr" presetSubtype="0" fill="hold" nodeType="afterEffect">
                                  <p:stCondLst>
                                    <p:cond delay="0"/>
                                  </p:stCondLst>
                                  <p:childTnLst>
                                    <p:set>
                                      <p:cBhvr>
                                        <p:cTn id="11" dur="1" fill="hold">
                                          <p:stCondLst>
                                            <p:cond delay="0"/>
                                          </p:stCondLst>
                                        </p:cTn>
                                        <p:tgtEl>
                                          <p:spTgt spid="6"/>
                                        </p:tgtEl>
                                        <p:attrNameLst>
                                          <p:attrName>style.visibility</p:attrName>
                                        </p:attrNameLst>
                                      </p:cBhvr>
                                      <p:to>
                                        <p:strVal val="visible"/>
                                      </p:to>
                                    </p:set>
                                    <p:animEffect transition="in" filter="fade">
                                      <p:cBhvr>
                                        <p:cTn id="12" dur="500"/>
                                        <p:tgtEl>
                                          <p:spTgt spid="6"/>
                                        </p:tgtEl>
                                      </p:cBhvr>
                                    </p:animEffect>
                                  </p:childTnLst>
                                </p:cTn>
                              </p:par>
                            </p:childTnLst>
                          </p:cTn>
                        </p:par>
                        <p:par>
                          <p:cTn id="13" fill="hold">
                            <p:stCondLst>
                              <p:cond delay="1000"/>
                            </p:stCondLst>
                            <p:childTnLst>
                              <p:par>
                                <p:cTn id="14" presetID="10" presetClass="entr" presetSubtype="0" fill="hold" nodeType="afterEffect">
                                  <p:stCondLst>
                                    <p:cond delay="0"/>
                                  </p:stCondLst>
                                  <p:childTnLst>
                                    <p:set>
                                      <p:cBhvr>
                                        <p:cTn id="15" dur="1" fill="hold">
                                          <p:stCondLst>
                                            <p:cond delay="0"/>
                                          </p:stCondLst>
                                        </p:cTn>
                                        <p:tgtEl>
                                          <p:spTgt spid="49"/>
                                        </p:tgtEl>
                                        <p:attrNameLst>
                                          <p:attrName>style.visibility</p:attrName>
                                        </p:attrNameLst>
                                      </p:cBhvr>
                                      <p:to>
                                        <p:strVal val="visible"/>
                                      </p:to>
                                    </p:set>
                                    <p:animEffect transition="in" filter="fade">
                                      <p:cBhvr>
                                        <p:cTn id="16" dur="500"/>
                                        <p:tgtEl>
                                          <p:spTgt spid="49"/>
                                        </p:tgtEl>
                                      </p:cBhvr>
                                    </p:animEffect>
                                  </p:childTnLst>
                                </p:cTn>
                              </p:par>
                            </p:childTnLst>
                          </p:cTn>
                        </p:par>
                        <p:par>
                          <p:cTn id="17" fill="hold">
                            <p:stCondLst>
                              <p:cond delay="1500"/>
                            </p:stCondLst>
                            <p:childTnLst>
                              <p:par>
                                <p:cTn id="18" presetID="10" presetClass="entr" presetSubtype="0" fill="hold" nodeType="afterEffect">
                                  <p:stCondLst>
                                    <p:cond delay="0"/>
                                  </p:stCondLst>
                                  <p:childTnLst>
                                    <p:set>
                                      <p:cBhvr>
                                        <p:cTn id="19" dur="1" fill="hold">
                                          <p:stCondLst>
                                            <p:cond delay="0"/>
                                          </p:stCondLst>
                                        </p:cTn>
                                        <p:tgtEl>
                                          <p:spTgt spid="50"/>
                                        </p:tgtEl>
                                        <p:attrNameLst>
                                          <p:attrName>style.visibility</p:attrName>
                                        </p:attrNameLst>
                                      </p:cBhvr>
                                      <p:to>
                                        <p:strVal val="visible"/>
                                      </p:to>
                                    </p:set>
                                    <p:animEffect transition="in" filter="fade">
                                      <p:cBhvr>
                                        <p:cTn id="20" dur="500"/>
                                        <p:tgtEl>
                                          <p:spTgt spid="50"/>
                                        </p:tgtEl>
                                      </p:cBhvr>
                                    </p:animEffect>
                                  </p:childTnLst>
                                </p:cTn>
                              </p:par>
                            </p:childTnLst>
                          </p:cTn>
                        </p:par>
                        <p:par>
                          <p:cTn id="21" fill="hold">
                            <p:stCondLst>
                              <p:cond delay="2000"/>
                            </p:stCondLst>
                            <p:childTnLst>
                              <p:par>
                                <p:cTn id="22" presetID="10" presetClass="entr" presetSubtype="0" fill="hold" nodeType="afterEffect">
                                  <p:stCondLst>
                                    <p:cond delay="0"/>
                                  </p:stCondLst>
                                  <p:childTnLst>
                                    <p:set>
                                      <p:cBhvr>
                                        <p:cTn id="23" dur="1" fill="hold">
                                          <p:stCondLst>
                                            <p:cond delay="0"/>
                                          </p:stCondLst>
                                        </p:cTn>
                                        <p:tgtEl>
                                          <p:spTgt spid="61"/>
                                        </p:tgtEl>
                                        <p:attrNameLst>
                                          <p:attrName>style.visibility</p:attrName>
                                        </p:attrNameLst>
                                      </p:cBhvr>
                                      <p:to>
                                        <p:strVal val="visible"/>
                                      </p:to>
                                    </p:set>
                                    <p:animEffect transition="in" filter="fade">
                                      <p:cBhvr>
                                        <p:cTn id="24" dur="500"/>
                                        <p:tgtEl>
                                          <p:spTgt spid="61"/>
                                        </p:tgtEl>
                                      </p:cBhvr>
                                    </p:animEffect>
                                  </p:childTnLst>
                                </p:cTn>
                              </p:par>
                            </p:childTnLst>
                          </p:cTn>
                        </p:par>
                        <p:par>
                          <p:cTn id="25" fill="hold">
                            <p:stCondLst>
                              <p:cond delay="2500"/>
                            </p:stCondLst>
                            <p:childTnLst>
                              <p:par>
                                <p:cTn id="26" presetID="10" presetClass="entr" presetSubtype="0" fill="hold" nodeType="afterEffect">
                                  <p:stCondLst>
                                    <p:cond delay="0"/>
                                  </p:stCondLst>
                                  <p:childTnLst>
                                    <p:set>
                                      <p:cBhvr>
                                        <p:cTn id="27" dur="1" fill="hold">
                                          <p:stCondLst>
                                            <p:cond delay="0"/>
                                          </p:stCondLst>
                                        </p:cTn>
                                        <p:tgtEl>
                                          <p:spTgt spid="60"/>
                                        </p:tgtEl>
                                        <p:attrNameLst>
                                          <p:attrName>style.visibility</p:attrName>
                                        </p:attrNameLst>
                                      </p:cBhvr>
                                      <p:to>
                                        <p:strVal val="visible"/>
                                      </p:to>
                                    </p:set>
                                    <p:animEffect transition="in" filter="fade">
                                      <p:cBhvr>
                                        <p:cTn id="28" dur="500"/>
                                        <p:tgtEl>
                                          <p:spTgt spid="60"/>
                                        </p:tgtEl>
                                      </p:cBhvr>
                                    </p:animEffect>
                                  </p:childTnLst>
                                </p:cTn>
                              </p:par>
                            </p:childTnLst>
                          </p:cTn>
                        </p:par>
                        <p:par>
                          <p:cTn id="29" fill="hold">
                            <p:stCondLst>
                              <p:cond delay="3000"/>
                            </p:stCondLst>
                            <p:childTnLst>
                              <p:par>
                                <p:cTn id="30" presetID="10" presetClass="entr" presetSubtype="0" fill="hold" nodeType="afterEffect">
                                  <p:stCondLst>
                                    <p:cond delay="0"/>
                                  </p:stCondLst>
                                  <p:childTnLst>
                                    <p:set>
                                      <p:cBhvr>
                                        <p:cTn id="31" dur="1" fill="hold">
                                          <p:stCondLst>
                                            <p:cond delay="0"/>
                                          </p:stCondLst>
                                        </p:cTn>
                                        <p:tgtEl>
                                          <p:spTgt spid="59"/>
                                        </p:tgtEl>
                                        <p:attrNameLst>
                                          <p:attrName>style.visibility</p:attrName>
                                        </p:attrNameLst>
                                      </p:cBhvr>
                                      <p:to>
                                        <p:strVal val="visible"/>
                                      </p:to>
                                    </p:set>
                                    <p:animEffect transition="in" filter="fade">
                                      <p:cBhvr>
                                        <p:cTn id="32" dur="500"/>
                                        <p:tgtEl>
                                          <p:spTgt spid="59"/>
                                        </p:tgtEl>
                                      </p:cBhvr>
                                    </p:animEffect>
                                  </p:childTnLst>
                                </p:cTn>
                              </p:par>
                            </p:childTnLst>
                          </p:cTn>
                        </p:par>
                        <p:par>
                          <p:cTn id="33" fill="hold">
                            <p:stCondLst>
                              <p:cond delay="3500"/>
                            </p:stCondLst>
                            <p:childTnLst>
                              <p:par>
                                <p:cTn id="34" presetID="10" presetClass="entr" presetSubtype="0" fill="hold" nodeType="afterEffect">
                                  <p:stCondLst>
                                    <p:cond delay="0"/>
                                  </p:stCondLst>
                                  <p:childTnLst>
                                    <p:set>
                                      <p:cBhvr>
                                        <p:cTn id="35" dur="1" fill="hold">
                                          <p:stCondLst>
                                            <p:cond delay="0"/>
                                          </p:stCondLst>
                                        </p:cTn>
                                        <p:tgtEl>
                                          <p:spTgt spid="58"/>
                                        </p:tgtEl>
                                        <p:attrNameLst>
                                          <p:attrName>style.visibility</p:attrName>
                                        </p:attrNameLst>
                                      </p:cBhvr>
                                      <p:to>
                                        <p:strVal val="visible"/>
                                      </p:to>
                                    </p:set>
                                    <p:animEffect transition="in" filter="fade">
                                      <p:cBhvr>
                                        <p:cTn id="36" dur="500"/>
                                        <p:tgtEl>
                                          <p:spTgt spid="5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 grpId="0" animBg="1"/>
    </p:bld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1" name="Rectangle 150"/>
          <p:cNvSpPr/>
          <p:nvPr/>
        </p:nvSpPr>
        <p:spPr>
          <a:xfrm>
            <a:off x="89" y="2024342"/>
            <a:ext cx="4934105" cy="4970183"/>
          </a:xfrm>
          <a:prstGeom prst="rect">
            <a:avLst/>
          </a:prstGeom>
          <a:solidFill>
            <a:srgbClr val="3999C6"/>
          </a:solidFill>
          <a:ln w="12700" cap="flat" cmpd="sng" algn="ctr">
            <a:noFill/>
            <a:prstDash val="solid"/>
            <a:miter lim="800000"/>
          </a:ln>
          <a:effectLst/>
        </p:spPr>
        <p:txBody>
          <a:bodyPr rtlCol="0" anchor="ctr"/>
          <a:lstStyle/>
          <a:p>
            <a:pPr algn="ctr" defTabSz="932597">
              <a:defRPr/>
            </a:pPr>
            <a:endParaRPr lang="en-US" sz="1836" kern="0">
              <a:solidFill>
                <a:srgbClr val="FFFFFF"/>
              </a:solidFill>
              <a:latin typeface="Calibri" panose="020F0502020204030204"/>
              <a:ea typeface=""/>
              <a:cs typeface=""/>
            </a:endParaRPr>
          </a:p>
        </p:txBody>
      </p:sp>
      <p:sp>
        <p:nvSpPr>
          <p:cNvPr id="11" name="Title 10"/>
          <p:cNvSpPr>
            <a:spLocks noGrp="1"/>
          </p:cNvSpPr>
          <p:nvPr>
            <p:ph type="title"/>
          </p:nvPr>
        </p:nvSpPr>
        <p:spPr/>
        <p:txBody>
          <a:bodyPr>
            <a:noAutofit/>
          </a:bodyPr>
          <a:lstStyle/>
          <a:p>
            <a:r>
              <a:rPr lang="en-US"/>
              <a:t>Introducing Azure Cosmos DB</a:t>
            </a:r>
            <a:br>
              <a:rPr lang="en-US"/>
            </a:br>
            <a:r>
              <a:rPr lang="en-US" sz="2448">
                <a:solidFill>
                  <a:schemeClr val="accent1"/>
                </a:solidFill>
              </a:rPr>
              <a:t>A globally distributed, massively scalable, multi-model database service</a:t>
            </a:r>
          </a:p>
        </p:txBody>
      </p:sp>
      <p:sp>
        <p:nvSpPr>
          <p:cNvPr id="3" name="Content Placeholder 2"/>
          <p:cNvSpPr>
            <a:spLocks noGrp="1"/>
          </p:cNvSpPr>
          <p:nvPr>
            <p:ph sz="half" idx="4294967295"/>
          </p:nvPr>
        </p:nvSpPr>
        <p:spPr>
          <a:xfrm>
            <a:off x="446892" y="2490181"/>
            <a:ext cx="2721713" cy="476479"/>
          </a:xfrm>
        </p:spPr>
        <p:txBody>
          <a:bodyPr wrap="square">
            <a:spAutoFit/>
          </a:bodyPr>
          <a:lstStyle/>
          <a:p>
            <a:pPr marL="0" indent="0">
              <a:buNone/>
            </a:pPr>
            <a:r>
              <a:rPr lang="en-US" sz="2040" b="1">
                <a:solidFill>
                  <a:srgbClr val="59B4D9"/>
                </a:solidFill>
                <a:latin typeface="Segoe UI" charset="0"/>
                <a:ea typeface="Segoe UI" charset="0"/>
                <a:cs typeface="Segoe UI" charset="0"/>
              </a:rPr>
              <a:t>Global distribution</a:t>
            </a:r>
          </a:p>
        </p:txBody>
      </p:sp>
      <p:grpSp>
        <p:nvGrpSpPr>
          <p:cNvPr id="323" name="Group 322"/>
          <p:cNvGrpSpPr/>
          <p:nvPr/>
        </p:nvGrpSpPr>
        <p:grpSpPr>
          <a:xfrm>
            <a:off x="-3919" y="2526364"/>
            <a:ext cx="450812" cy="305337"/>
            <a:chOff x="6082249" y="5559189"/>
            <a:chExt cx="564210" cy="382141"/>
          </a:xfrm>
          <a:solidFill>
            <a:schemeClr val="accent6"/>
          </a:solidFill>
        </p:grpSpPr>
        <p:sp>
          <p:nvSpPr>
            <p:cNvPr id="324" name="Isosceles Triangle 31"/>
            <p:cNvSpPr/>
            <p:nvPr/>
          </p:nvSpPr>
          <p:spPr bwMode="auto">
            <a:xfrm rot="5400000">
              <a:off x="6359855" y="5654725"/>
              <a:ext cx="382140" cy="191069"/>
            </a:xfrm>
            <a:prstGeom prst="triangle">
              <a:avLst>
                <a:gd name="adj" fmla="val 49896"/>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err="1">
                <a:gradFill>
                  <a:gsLst>
                    <a:gs pos="0">
                      <a:srgbClr val="FFFFFF"/>
                    </a:gs>
                    <a:gs pos="100000">
                      <a:srgbClr val="FFFFFF"/>
                    </a:gs>
                  </a:gsLst>
                  <a:lin ang="5400000" scaled="0"/>
                </a:gradFill>
                <a:ea typeface="Segoe UI" pitchFamily="34" charset="0"/>
                <a:cs typeface="Segoe UI" pitchFamily="34" charset="0"/>
              </a:endParaRPr>
            </a:p>
          </p:txBody>
        </p:sp>
        <p:sp>
          <p:nvSpPr>
            <p:cNvPr id="325" name="Rectangle 324"/>
            <p:cNvSpPr/>
            <p:nvPr/>
          </p:nvSpPr>
          <p:spPr bwMode="auto">
            <a:xfrm>
              <a:off x="6082249" y="5559189"/>
              <a:ext cx="373140" cy="382141"/>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err="1">
                <a:gradFill>
                  <a:gsLst>
                    <a:gs pos="0">
                      <a:srgbClr val="FFFFFF"/>
                    </a:gs>
                    <a:gs pos="100000">
                      <a:srgbClr val="FFFFFF"/>
                    </a:gs>
                  </a:gsLst>
                  <a:lin ang="5400000" scaled="0"/>
                </a:gradFill>
                <a:ea typeface="Segoe UI" pitchFamily="34" charset="0"/>
                <a:cs typeface="Segoe UI" pitchFamily="34" charset="0"/>
              </a:endParaRPr>
            </a:p>
          </p:txBody>
        </p:sp>
      </p:grpSp>
      <p:sp>
        <p:nvSpPr>
          <p:cNvPr id="184" name="Content Placeholder 2"/>
          <p:cNvSpPr txBox="1">
            <a:spLocks/>
          </p:cNvSpPr>
          <p:nvPr/>
        </p:nvSpPr>
        <p:spPr>
          <a:xfrm>
            <a:off x="446892" y="3218776"/>
            <a:ext cx="3395260" cy="382308"/>
          </a:xfrm>
          <a:prstGeom prst="rect">
            <a:avLst/>
          </a:prstGeom>
        </p:spPr>
        <p:txBody>
          <a:bodyPr vert="horz" wrap="square" lIns="93260" tIns="46630" rIns="93260" bIns="4663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40" b="1">
                <a:solidFill>
                  <a:srgbClr val="59B4D9"/>
                </a:solidFill>
                <a:latin typeface="Segoe UI" charset="0"/>
                <a:ea typeface="Segoe UI" charset="0"/>
                <a:cs typeface="Segoe UI" charset="0"/>
              </a:rPr>
              <a:t>Multi-model + multi API</a:t>
            </a:r>
          </a:p>
        </p:txBody>
      </p:sp>
      <p:grpSp>
        <p:nvGrpSpPr>
          <p:cNvPr id="185" name="Group 184"/>
          <p:cNvGrpSpPr/>
          <p:nvPr/>
        </p:nvGrpSpPr>
        <p:grpSpPr>
          <a:xfrm>
            <a:off x="-3919" y="3252560"/>
            <a:ext cx="450812" cy="305337"/>
            <a:chOff x="6082249" y="5559189"/>
            <a:chExt cx="564210" cy="382141"/>
          </a:xfrm>
          <a:solidFill>
            <a:schemeClr val="accent6"/>
          </a:solidFill>
        </p:grpSpPr>
        <p:sp>
          <p:nvSpPr>
            <p:cNvPr id="186" name="Isosceles Triangle 28"/>
            <p:cNvSpPr/>
            <p:nvPr/>
          </p:nvSpPr>
          <p:spPr bwMode="auto">
            <a:xfrm rot="5400000">
              <a:off x="6359855" y="5654725"/>
              <a:ext cx="382140" cy="191069"/>
            </a:xfrm>
            <a:prstGeom prst="triangle">
              <a:avLst>
                <a:gd name="adj" fmla="val 49896"/>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err="1">
                <a:gradFill>
                  <a:gsLst>
                    <a:gs pos="0">
                      <a:srgbClr val="FFFFFF"/>
                    </a:gs>
                    <a:gs pos="100000">
                      <a:srgbClr val="FFFFFF"/>
                    </a:gs>
                  </a:gsLst>
                  <a:lin ang="5400000" scaled="0"/>
                </a:gradFill>
                <a:ea typeface="Segoe UI" pitchFamily="34" charset="0"/>
                <a:cs typeface="Segoe UI" pitchFamily="34" charset="0"/>
              </a:endParaRPr>
            </a:p>
          </p:txBody>
        </p:sp>
        <p:sp>
          <p:nvSpPr>
            <p:cNvPr id="187" name="Rectangle 186"/>
            <p:cNvSpPr/>
            <p:nvPr/>
          </p:nvSpPr>
          <p:spPr bwMode="auto">
            <a:xfrm>
              <a:off x="6082249" y="5559189"/>
              <a:ext cx="373140" cy="382141"/>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err="1">
                <a:gradFill>
                  <a:gsLst>
                    <a:gs pos="0">
                      <a:srgbClr val="FFFFFF"/>
                    </a:gs>
                    <a:gs pos="100000">
                      <a:srgbClr val="FFFFFF"/>
                    </a:gs>
                  </a:gsLst>
                  <a:lin ang="5400000" scaled="0"/>
                </a:gradFill>
                <a:ea typeface="Segoe UI" pitchFamily="34" charset="0"/>
                <a:cs typeface="Segoe UI" pitchFamily="34" charset="0"/>
              </a:endParaRPr>
            </a:p>
          </p:txBody>
        </p:sp>
      </p:grpSp>
      <p:sp>
        <p:nvSpPr>
          <p:cNvPr id="58" name="Content Placeholder 2"/>
          <p:cNvSpPr txBox="1">
            <a:spLocks/>
          </p:cNvSpPr>
          <p:nvPr/>
        </p:nvSpPr>
        <p:spPr>
          <a:xfrm>
            <a:off x="446893" y="3945754"/>
            <a:ext cx="2418940" cy="382308"/>
          </a:xfrm>
          <a:prstGeom prst="rect">
            <a:avLst/>
          </a:prstGeom>
        </p:spPr>
        <p:txBody>
          <a:bodyPr vert="horz" wrap="square" lIns="93260" tIns="46630" rIns="93260" bIns="4663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40" b="1">
                <a:solidFill>
                  <a:srgbClr val="59B4D9"/>
                </a:solidFill>
                <a:latin typeface="Segoe UI" charset="0"/>
                <a:ea typeface="Segoe UI" charset="0"/>
                <a:cs typeface="Segoe UI" charset="0"/>
              </a:rPr>
              <a:t>Elastic scale-out</a:t>
            </a:r>
          </a:p>
        </p:txBody>
      </p:sp>
      <p:grpSp>
        <p:nvGrpSpPr>
          <p:cNvPr id="59" name="Group 58"/>
          <p:cNvGrpSpPr/>
          <p:nvPr/>
        </p:nvGrpSpPr>
        <p:grpSpPr>
          <a:xfrm>
            <a:off x="-3919" y="3978757"/>
            <a:ext cx="450812" cy="305337"/>
            <a:chOff x="6082249" y="5559189"/>
            <a:chExt cx="564210" cy="382141"/>
          </a:xfrm>
          <a:solidFill>
            <a:schemeClr val="accent6"/>
          </a:solidFill>
        </p:grpSpPr>
        <p:sp>
          <p:nvSpPr>
            <p:cNvPr id="60" name="Isosceles Triangle 25"/>
            <p:cNvSpPr/>
            <p:nvPr/>
          </p:nvSpPr>
          <p:spPr bwMode="auto">
            <a:xfrm rot="5400000">
              <a:off x="6359855" y="5654725"/>
              <a:ext cx="382140" cy="191069"/>
            </a:xfrm>
            <a:prstGeom prst="triangle">
              <a:avLst>
                <a:gd name="adj" fmla="val 49896"/>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err="1">
                <a:gradFill>
                  <a:gsLst>
                    <a:gs pos="0">
                      <a:srgbClr val="FFFFFF"/>
                    </a:gs>
                    <a:gs pos="100000">
                      <a:srgbClr val="FFFFFF"/>
                    </a:gs>
                  </a:gsLst>
                  <a:lin ang="5400000" scaled="0"/>
                </a:gradFill>
                <a:ea typeface="Segoe UI" pitchFamily="34" charset="0"/>
                <a:cs typeface="Segoe UI" pitchFamily="34" charset="0"/>
              </a:endParaRPr>
            </a:p>
          </p:txBody>
        </p:sp>
        <p:sp>
          <p:nvSpPr>
            <p:cNvPr id="61" name="Rectangle 60"/>
            <p:cNvSpPr/>
            <p:nvPr/>
          </p:nvSpPr>
          <p:spPr bwMode="auto">
            <a:xfrm>
              <a:off x="6082249" y="5559189"/>
              <a:ext cx="373140" cy="382141"/>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err="1">
                <a:gradFill>
                  <a:gsLst>
                    <a:gs pos="0">
                      <a:srgbClr val="FFFFFF"/>
                    </a:gs>
                    <a:gs pos="100000">
                      <a:srgbClr val="FFFFFF"/>
                    </a:gs>
                  </a:gsLst>
                  <a:lin ang="5400000" scaled="0"/>
                </a:gradFill>
                <a:ea typeface="Segoe UI" pitchFamily="34" charset="0"/>
                <a:cs typeface="Segoe UI" pitchFamily="34" charset="0"/>
              </a:endParaRPr>
            </a:p>
          </p:txBody>
        </p:sp>
      </p:grpSp>
      <p:sp>
        <p:nvSpPr>
          <p:cNvPr id="25" name="Content Placeholder 2"/>
          <p:cNvSpPr txBox="1">
            <a:spLocks/>
          </p:cNvSpPr>
          <p:nvPr/>
        </p:nvSpPr>
        <p:spPr>
          <a:xfrm>
            <a:off x="446893" y="4674351"/>
            <a:ext cx="3048771" cy="382308"/>
          </a:xfrm>
          <a:prstGeom prst="rect">
            <a:avLst/>
          </a:prstGeom>
        </p:spPr>
        <p:txBody>
          <a:bodyPr vert="horz" wrap="square" lIns="93260" tIns="46630" rIns="93260" bIns="4663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40" b="1">
                <a:solidFill>
                  <a:srgbClr val="59B4D9"/>
                </a:solidFill>
                <a:latin typeface="Segoe UI" charset="0"/>
                <a:ea typeface="Segoe UI" charset="0"/>
                <a:cs typeface="Segoe UI" charset="0"/>
              </a:rPr>
              <a:t>Choice of consistency</a:t>
            </a:r>
          </a:p>
        </p:txBody>
      </p:sp>
      <p:grpSp>
        <p:nvGrpSpPr>
          <p:cNvPr id="26" name="Group 25"/>
          <p:cNvGrpSpPr/>
          <p:nvPr/>
        </p:nvGrpSpPr>
        <p:grpSpPr>
          <a:xfrm>
            <a:off x="-3919" y="4704953"/>
            <a:ext cx="450812" cy="305337"/>
            <a:chOff x="6082249" y="5559189"/>
            <a:chExt cx="564210" cy="382141"/>
          </a:xfrm>
          <a:solidFill>
            <a:schemeClr val="accent6"/>
          </a:solidFill>
        </p:grpSpPr>
        <p:sp>
          <p:nvSpPr>
            <p:cNvPr id="27" name="Isosceles Triangle 22"/>
            <p:cNvSpPr/>
            <p:nvPr/>
          </p:nvSpPr>
          <p:spPr bwMode="auto">
            <a:xfrm rot="5400000">
              <a:off x="6359855" y="5654725"/>
              <a:ext cx="382140" cy="191069"/>
            </a:xfrm>
            <a:prstGeom prst="triangle">
              <a:avLst>
                <a:gd name="adj" fmla="val 49896"/>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err="1">
                <a:gradFill>
                  <a:gsLst>
                    <a:gs pos="0">
                      <a:srgbClr val="FFFFFF"/>
                    </a:gs>
                    <a:gs pos="100000">
                      <a:srgbClr val="FFFFFF"/>
                    </a:gs>
                  </a:gsLst>
                  <a:lin ang="5400000" scaled="0"/>
                </a:gradFill>
                <a:ea typeface="Segoe UI" pitchFamily="34" charset="0"/>
                <a:cs typeface="Segoe UI" pitchFamily="34" charset="0"/>
              </a:endParaRPr>
            </a:p>
          </p:txBody>
        </p:sp>
        <p:sp>
          <p:nvSpPr>
            <p:cNvPr id="28" name="Rectangle 27"/>
            <p:cNvSpPr/>
            <p:nvPr/>
          </p:nvSpPr>
          <p:spPr bwMode="auto">
            <a:xfrm>
              <a:off x="6082249" y="5559189"/>
              <a:ext cx="373140" cy="382141"/>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err="1">
                <a:gradFill>
                  <a:gsLst>
                    <a:gs pos="0">
                      <a:srgbClr val="FFFFFF"/>
                    </a:gs>
                    <a:gs pos="100000">
                      <a:srgbClr val="FFFFFF"/>
                    </a:gs>
                  </a:gsLst>
                  <a:lin ang="5400000" scaled="0"/>
                </a:gradFill>
                <a:ea typeface="Segoe UI" pitchFamily="34" charset="0"/>
                <a:cs typeface="Segoe UI" pitchFamily="34" charset="0"/>
              </a:endParaRPr>
            </a:p>
          </p:txBody>
        </p:sp>
      </p:grpSp>
      <p:sp>
        <p:nvSpPr>
          <p:cNvPr id="49" name="Content Placeholder 2"/>
          <p:cNvSpPr txBox="1">
            <a:spLocks/>
          </p:cNvSpPr>
          <p:nvPr/>
        </p:nvSpPr>
        <p:spPr>
          <a:xfrm>
            <a:off x="446893" y="5401327"/>
            <a:ext cx="4104427" cy="382308"/>
          </a:xfrm>
          <a:prstGeom prst="rect">
            <a:avLst/>
          </a:prstGeom>
        </p:spPr>
        <p:txBody>
          <a:bodyPr vert="horz" wrap="square" lIns="93260" tIns="46630" rIns="93260" bIns="4663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40" b="1">
                <a:solidFill>
                  <a:srgbClr val="59B4D9"/>
                </a:solidFill>
                <a:latin typeface="Segoe UI" charset="0"/>
                <a:ea typeface="Segoe UI" charset="0"/>
                <a:cs typeface="Segoe UI" charset="0"/>
              </a:rPr>
              <a:t>Guaranteed single-digit latency</a:t>
            </a:r>
          </a:p>
        </p:txBody>
      </p:sp>
      <p:grpSp>
        <p:nvGrpSpPr>
          <p:cNvPr id="50" name="Group 49"/>
          <p:cNvGrpSpPr/>
          <p:nvPr/>
        </p:nvGrpSpPr>
        <p:grpSpPr>
          <a:xfrm>
            <a:off x="-3919" y="5431150"/>
            <a:ext cx="450812" cy="305337"/>
            <a:chOff x="6082249" y="5559189"/>
            <a:chExt cx="564210" cy="382141"/>
          </a:xfrm>
          <a:solidFill>
            <a:schemeClr val="accent6"/>
          </a:solidFill>
        </p:grpSpPr>
        <p:sp>
          <p:nvSpPr>
            <p:cNvPr id="51" name="Isosceles Triangle 22"/>
            <p:cNvSpPr/>
            <p:nvPr/>
          </p:nvSpPr>
          <p:spPr bwMode="auto">
            <a:xfrm rot="5400000">
              <a:off x="6359855" y="5654725"/>
              <a:ext cx="382140" cy="191069"/>
            </a:xfrm>
            <a:prstGeom prst="triangle">
              <a:avLst>
                <a:gd name="adj" fmla="val 49896"/>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err="1">
                <a:gradFill>
                  <a:gsLst>
                    <a:gs pos="0">
                      <a:srgbClr val="FFFFFF"/>
                    </a:gs>
                    <a:gs pos="100000">
                      <a:srgbClr val="FFFFFF"/>
                    </a:gs>
                  </a:gsLst>
                  <a:lin ang="5400000" scaled="0"/>
                </a:gradFill>
                <a:ea typeface="Segoe UI" pitchFamily="34" charset="0"/>
                <a:cs typeface="Segoe UI" pitchFamily="34" charset="0"/>
              </a:endParaRPr>
            </a:p>
          </p:txBody>
        </p:sp>
        <p:sp>
          <p:nvSpPr>
            <p:cNvPr id="52" name="Rectangle 51"/>
            <p:cNvSpPr/>
            <p:nvPr/>
          </p:nvSpPr>
          <p:spPr bwMode="auto">
            <a:xfrm>
              <a:off x="6082249" y="5559189"/>
              <a:ext cx="373140" cy="382141"/>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err="1">
                <a:gradFill>
                  <a:gsLst>
                    <a:gs pos="0">
                      <a:srgbClr val="FFFFFF"/>
                    </a:gs>
                    <a:gs pos="100000">
                      <a:srgbClr val="FFFFFF"/>
                    </a:gs>
                  </a:gsLst>
                  <a:lin ang="5400000" scaled="0"/>
                </a:gradFill>
                <a:ea typeface="Segoe UI" pitchFamily="34" charset="0"/>
                <a:cs typeface="Segoe UI" pitchFamily="34" charset="0"/>
              </a:endParaRPr>
            </a:p>
          </p:txBody>
        </p:sp>
      </p:grpSp>
      <p:sp>
        <p:nvSpPr>
          <p:cNvPr id="53" name="TextBox 52"/>
          <p:cNvSpPr txBox="1"/>
          <p:nvPr/>
        </p:nvSpPr>
        <p:spPr>
          <a:xfrm>
            <a:off x="5082248" y="2162889"/>
            <a:ext cx="5203349" cy="990628"/>
          </a:xfrm>
          <a:prstGeom prst="rect">
            <a:avLst/>
          </a:prstGeom>
          <a:noFill/>
        </p:spPr>
        <p:txBody>
          <a:bodyPr wrap="square" rtlCol="0">
            <a:spAutoFit/>
          </a:bodyPr>
          <a:lstStyle/>
          <a:p>
            <a:r>
              <a:rPr lang="en-US" sz="1428" b="1">
                <a:solidFill>
                  <a:schemeClr val="accent3"/>
                </a:solidFill>
                <a:latin typeface="Segoe UI Semibold" charset="0"/>
                <a:cs typeface="Segoe UI Semibold" charset="0"/>
              </a:rPr>
              <a:t>Only service with financially-backed SLAs for millisecond latency at the 99th percentile, 99.99% HA and guaranteed throughput and consistency</a:t>
            </a:r>
          </a:p>
          <a:p>
            <a:endParaRPr lang="en-US" sz="1428" b="1">
              <a:solidFill>
                <a:schemeClr val="accent3"/>
              </a:solidFill>
              <a:latin typeface="Segoe UI Semibold" charset="0"/>
              <a:ea typeface="Segoe UI Semibold" charset="0"/>
              <a:cs typeface="Segoe UI Semibold" charset="0"/>
            </a:endParaRPr>
          </a:p>
        </p:txBody>
      </p:sp>
      <p:grpSp>
        <p:nvGrpSpPr>
          <p:cNvPr id="55" name="Group 54"/>
          <p:cNvGrpSpPr/>
          <p:nvPr/>
        </p:nvGrpSpPr>
        <p:grpSpPr>
          <a:xfrm>
            <a:off x="6996300" y="4105491"/>
            <a:ext cx="1490374" cy="1985246"/>
            <a:chOff x="8845310" y="3368421"/>
            <a:chExt cx="1905572" cy="2538308"/>
          </a:xfrm>
        </p:grpSpPr>
        <p:sp>
          <p:nvSpPr>
            <p:cNvPr id="88" name="Oval 87"/>
            <p:cNvSpPr/>
            <p:nvPr/>
          </p:nvSpPr>
          <p:spPr>
            <a:xfrm>
              <a:off x="9050588" y="4239238"/>
              <a:ext cx="1506475" cy="150647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grpSp>
          <p:nvGrpSpPr>
            <p:cNvPr id="81" name="Group 80"/>
            <p:cNvGrpSpPr/>
            <p:nvPr/>
          </p:nvGrpSpPr>
          <p:grpSpPr>
            <a:xfrm>
              <a:off x="8845310" y="3368421"/>
              <a:ext cx="1905572" cy="2538308"/>
              <a:chOff x="5640356" y="3892580"/>
              <a:chExt cx="1139316" cy="1517620"/>
            </a:xfrm>
            <a:solidFill>
              <a:srgbClr val="59B4D9"/>
            </a:solidFill>
          </p:grpSpPr>
          <p:sp>
            <p:nvSpPr>
              <p:cNvPr id="84" name="Oval 25"/>
              <p:cNvSpPr>
                <a:spLocks noChangeArrowheads="1"/>
              </p:cNvSpPr>
              <p:nvPr/>
            </p:nvSpPr>
            <p:spPr bwMode="auto">
              <a:xfrm>
                <a:off x="5883437" y="4534521"/>
                <a:ext cx="662316" cy="664537"/>
              </a:xfrm>
              <a:prstGeom prst="ellipse">
                <a:avLst/>
              </a:pr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85" name="Freeform 26"/>
              <p:cNvSpPr>
                <a:spLocks noEditPoints="1"/>
              </p:cNvSpPr>
              <p:nvPr/>
            </p:nvSpPr>
            <p:spPr bwMode="auto">
              <a:xfrm>
                <a:off x="5656740" y="4296712"/>
                <a:ext cx="1115712" cy="1113488"/>
              </a:xfrm>
              <a:custGeom>
                <a:avLst/>
                <a:gdLst>
                  <a:gd name="T0" fmla="*/ 154 w 168"/>
                  <a:gd name="T1" fmla="*/ 96 h 168"/>
                  <a:gd name="T2" fmla="*/ 168 w 168"/>
                  <a:gd name="T3" fmla="*/ 84 h 168"/>
                  <a:gd name="T4" fmla="*/ 154 w 168"/>
                  <a:gd name="T5" fmla="*/ 73 h 168"/>
                  <a:gd name="T6" fmla="*/ 163 w 168"/>
                  <a:gd name="T7" fmla="*/ 58 h 168"/>
                  <a:gd name="T8" fmla="*/ 147 w 168"/>
                  <a:gd name="T9" fmla="*/ 52 h 168"/>
                  <a:gd name="T10" fmla="*/ 152 w 168"/>
                  <a:gd name="T11" fmla="*/ 35 h 168"/>
                  <a:gd name="T12" fmla="*/ 134 w 168"/>
                  <a:gd name="T13" fmla="*/ 34 h 168"/>
                  <a:gd name="T14" fmla="*/ 133 w 168"/>
                  <a:gd name="T15" fmla="*/ 16 h 168"/>
                  <a:gd name="T16" fmla="*/ 116 w 168"/>
                  <a:gd name="T17" fmla="*/ 21 h 168"/>
                  <a:gd name="T18" fmla="*/ 110 w 168"/>
                  <a:gd name="T19" fmla="*/ 4 h 168"/>
                  <a:gd name="T20" fmla="*/ 95 w 168"/>
                  <a:gd name="T21" fmla="*/ 14 h 168"/>
                  <a:gd name="T22" fmla="*/ 84 w 168"/>
                  <a:gd name="T23" fmla="*/ 0 h 168"/>
                  <a:gd name="T24" fmla="*/ 72 w 168"/>
                  <a:gd name="T25" fmla="*/ 14 h 168"/>
                  <a:gd name="T26" fmla="*/ 58 w 168"/>
                  <a:gd name="T27" fmla="*/ 4 h 168"/>
                  <a:gd name="T28" fmla="*/ 51 w 168"/>
                  <a:gd name="T29" fmla="*/ 21 h 168"/>
                  <a:gd name="T30" fmla="*/ 34 w 168"/>
                  <a:gd name="T31" fmla="*/ 16 h 168"/>
                  <a:gd name="T32" fmla="*/ 33 w 168"/>
                  <a:gd name="T33" fmla="*/ 34 h 168"/>
                  <a:gd name="T34" fmla="*/ 16 w 168"/>
                  <a:gd name="T35" fmla="*/ 35 h 168"/>
                  <a:gd name="T36" fmla="*/ 20 w 168"/>
                  <a:gd name="T37" fmla="*/ 52 h 168"/>
                  <a:gd name="T38" fmla="*/ 4 w 168"/>
                  <a:gd name="T39" fmla="*/ 58 h 168"/>
                  <a:gd name="T40" fmla="*/ 13 w 168"/>
                  <a:gd name="T41" fmla="*/ 73 h 168"/>
                  <a:gd name="T42" fmla="*/ 0 w 168"/>
                  <a:gd name="T43" fmla="*/ 84 h 168"/>
                  <a:gd name="T44" fmla="*/ 13 w 168"/>
                  <a:gd name="T45" fmla="*/ 96 h 168"/>
                  <a:gd name="T46" fmla="*/ 4 w 168"/>
                  <a:gd name="T47" fmla="*/ 110 h 168"/>
                  <a:gd name="T48" fmla="*/ 20 w 168"/>
                  <a:gd name="T49" fmla="*/ 117 h 168"/>
                  <a:gd name="T50" fmla="*/ 16 w 168"/>
                  <a:gd name="T51" fmla="*/ 134 h 168"/>
                  <a:gd name="T52" fmla="*/ 33 w 168"/>
                  <a:gd name="T53" fmla="*/ 135 h 168"/>
                  <a:gd name="T54" fmla="*/ 34 w 168"/>
                  <a:gd name="T55" fmla="*/ 152 h 168"/>
                  <a:gd name="T56" fmla="*/ 51 w 168"/>
                  <a:gd name="T57" fmla="*/ 148 h 168"/>
                  <a:gd name="T58" fmla="*/ 58 w 168"/>
                  <a:gd name="T59" fmla="*/ 164 h 168"/>
                  <a:gd name="T60" fmla="*/ 72 w 168"/>
                  <a:gd name="T61" fmla="*/ 155 h 168"/>
                  <a:gd name="T62" fmla="*/ 84 w 168"/>
                  <a:gd name="T63" fmla="*/ 168 h 168"/>
                  <a:gd name="T64" fmla="*/ 95 w 168"/>
                  <a:gd name="T65" fmla="*/ 155 h 168"/>
                  <a:gd name="T66" fmla="*/ 110 w 168"/>
                  <a:gd name="T67" fmla="*/ 164 h 168"/>
                  <a:gd name="T68" fmla="*/ 116 w 168"/>
                  <a:gd name="T69" fmla="*/ 148 h 168"/>
                  <a:gd name="T70" fmla="*/ 133 w 168"/>
                  <a:gd name="T71" fmla="*/ 152 h 168"/>
                  <a:gd name="T72" fmla="*/ 134 w 168"/>
                  <a:gd name="T73" fmla="*/ 135 h 168"/>
                  <a:gd name="T74" fmla="*/ 152 w 168"/>
                  <a:gd name="T75" fmla="*/ 134 h 168"/>
                  <a:gd name="T76" fmla="*/ 147 w 168"/>
                  <a:gd name="T77" fmla="*/ 117 h 168"/>
                  <a:gd name="T78" fmla="*/ 163 w 168"/>
                  <a:gd name="T79" fmla="*/ 110 h 168"/>
                  <a:gd name="T80" fmla="*/ 154 w 168"/>
                  <a:gd name="T81" fmla="*/ 96 h 168"/>
                  <a:gd name="T82" fmla="*/ 84 w 168"/>
                  <a:gd name="T83" fmla="*/ 148 h 168"/>
                  <a:gd name="T84" fmla="*/ 22 w 168"/>
                  <a:gd name="T85" fmla="*/ 86 h 168"/>
                  <a:gd name="T86" fmla="*/ 84 w 168"/>
                  <a:gd name="T87" fmla="*/ 24 h 168"/>
                  <a:gd name="T88" fmla="*/ 146 w 168"/>
                  <a:gd name="T89" fmla="*/ 86 h 168"/>
                  <a:gd name="T90" fmla="*/ 84 w 168"/>
                  <a:gd name="T91" fmla="*/ 148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68" h="168">
                    <a:moveTo>
                      <a:pt x="154" y="96"/>
                    </a:moveTo>
                    <a:cubicBezTo>
                      <a:pt x="168" y="84"/>
                      <a:pt x="168" y="84"/>
                      <a:pt x="168" y="84"/>
                    </a:cubicBezTo>
                    <a:cubicBezTo>
                      <a:pt x="154" y="73"/>
                      <a:pt x="154" y="73"/>
                      <a:pt x="154" y="73"/>
                    </a:cubicBezTo>
                    <a:cubicBezTo>
                      <a:pt x="163" y="58"/>
                      <a:pt x="163" y="58"/>
                      <a:pt x="163" y="58"/>
                    </a:cubicBezTo>
                    <a:cubicBezTo>
                      <a:pt x="147" y="52"/>
                      <a:pt x="147" y="52"/>
                      <a:pt x="147" y="52"/>
                    </a:cubicBezTo>
                    <a:cubicBezTo>
                      <a:pt x="152" y="35"/>
                      <a:pt x="152" y="35"/>
                      <a:pt x="152" y="35"/>
                    </a:cubicBezTo>
                    <a:cubicBezTo>
                      <a:pt x="134" y="34"/>
                      <a:pt x="134" y="34"/>
                      <a:pt x="134" y="34"/>
                    </a:cubicBezTo>
                    <a:cubicBezTo>
                      <a:pt x="133" y="16"/>
                      <a:pt x="133" y="16"/>
                      <a:pt x="133" y="16"/>
                    </a:cubicBezTo>
                    <a:cubicBezTo>
                      <a:pt x="116" y="21"/>
                      <a:pt x="116" y="21"/>
                      <a:pt x="116" y="21"/>
                    </a:cubicBezTo>
                    <a:cubicBezTo>
                      <a:pt x="110" y="4"/>
                      <a:pt x="110" y="4"/>
                      <a:pt x="110" y="4"/>
                    </a:cubicBezTo>
                    <a:cubicBezTo>
                      <a:pt x="95" y="14"/>
                      <a:pt x="95" y="14"/>
                      <a:pt x="95" y="14"/>
                    </a:cubicBezTo>
                    <a:cubicBezTo>
                      <a:pt x="84" y="0"/>
                      <a:pt x="84" y="0"/>
                      <a:pt x="84" y="0"/>
                    </a:cubicBezTo>
                    <a:cubicBezTo>
                      <a:pt x="72" y="14"/>
                      <a:pt x="72" y="14"/>
                      <a:pt x="72" y="14"/>
                    </a:cubicBezTo>
                    <a:cubicBezTo>
                      <a:pt x="58" y="4"/>
                      <a:pt x="58" y="4"/>
                      <a:pt x="58" y="4"/>
                    </a:cubicBezTo>
                    <a:cubicBezTo>
                      <a:pt x="51" y="21"/>
                      <a:pt x="51" y="21"/>
                      <a:pt x="51" y="21"/>
                    </a:cubicBezTo>
                    <a:cubicBezTo>
                      <a:pt x="34" y="16"/>
                      <a:pt x="34" y="16"/>
                      <a:pt x="34" y="16"/>
                    </a:cubicBezTo>
                    <a:cubicBezTo>
                      <a:pt x="33" y="34"/>
                      <a:pt x="33" y="34"/>
                      <a:pt x="33" y="34"/>
                    </a:cubicBezTo>
                    <a:cubicBezTo>
                      <a:pt x="16" y="35"/>
                      <a:pt x="16" y="35"/>
                      <a:pt x="16" y="35"/>
                    </a:cubicBezTo>
                    <a:cubicBezTo>
                      <a:pt x="20" y="52"/>
                      <a:pt x="20" y="52"/>
                      <a:pt x="20" y="52"/>
                    </a:cubicBezTo>
                    <a:cubicBezTo>
                      <a:pt x="4" y="58"/>
                      <a:pt x="4" y="58"/>
                      <a:pt x="4" y="58"/>
                    </a:cubicBezTo>
                    <a:cubicBezTo>
                      <a:pt x="13" y="73"/>
                      <a:pt x="13" y="73"/>
                      <a:pt x="13" y="73"/>
                    </a:cubicBezTo>
                    <a:cubicBezTo>
                      <a:pt x="0" y="84"/>
                      <a:pt x="0" y="84"/>
                      <a:pt x="0" y="84"/>
                    </a:cubicBezTo>
                    <a:cubicBezTo>
                      <a:pt x="13" y="96"/>
                      <a:pt x="13" y="96"/>
                      <a:pt x="13" y="96"/>
                    </a:cubicBezTo>
                    <a:cubicBezTo>
                      <a:pt x="4" y="110"/>
                      <a:pt x="4" y="110"/>
                      <a:pt x="4" y="110"/>
                    </a:cubicBezTo>
                    <a:cubicBezTo>
                      <a:pt x="20" y="117"/>
                      <a:pt x="20" y="117"/>
                      <a:pt x="20" y="117"/>
                    </a:cubicBezTo>
                    <a:cubicBezTo>
                      <a:pt x="16" y="134"/>
                      <a:pt x="16" y="134"/>
                      <a:pt x="16" y="134"/>
                    </a:cubicBezTo>
                    <a:cubicBezTo>
                      <a:pt x="33" y="135"/>
                      <a:pt x="33" y="135"/>
                      <a:pt x="33" y="135"/>
                    </a:cubicBezTo>
                    <a:cubicBezTo>
                      <a:pt x="34" y="152"/>
                      <a:pt x="34" y="152"/>
                      <a:pt x="34" y="152"/>
                    </a:cubicBezTo>
                    <a:cubicBezTo>
                      <a:pt x="51" y="148"/>
                      <a:pt x="51" y="148"/>
                      <a:pt x="51" y="148"/>
                    </a:cubicBezTo>
                    <a:cubicBezTo>
                      <a:pt x="58" y="164"/>
                      <a:pt x="58" y="164"/>
                      <a:pt x="58" y="164"/>
                    </a:cubicBezTo>
                    <a:cubicBezTo>
                      <a:pt x="72" y="155"/>
                      <a:pt x="72" y="155"/>
                      <a:pt x="72" y="155"/>
                    </a:cubicBezTo>
                    <a:cubicBezTo>
                      <a:pt x="84" y="168"/>
                      <a:pt x="84" y="168"/>
                      <a:pt x="84" y="168"/>
                    </a:cubicBezTo>
                    <a:cubicBezTo>
                      <a:pt x="95" y="155"/>
                      <a:pt x="95" y="155"/>
                      <a:pt x="95" y="155"/>
                    </a:cubicBezTo>
                    <a:cubicBezTo>
                      <a:pt x="110" y="164"/>
                      <a:pt x="110" y="164"/>
                      <a:pt x="110" y="164"/>
                    </a:cubicBezTo>
                    <a:cubicBezTo>
                      <a:pt x="116" y="148"/>
                      <a:pt x="116" y="148"/>
                      <a:pt x="116" y="148"/>
                    </a:cubicBezTo>
                    <a:cubicBezTo>
                      <a:pt x="133" y="152"/>
                      <a:pt x="133" y="152"/>
                      <a:pt x="133" y="152"/>
                    </a:cubicBezTo>
                    <a:cubicBezTo>
                      <a:pt x="134" y="135"/>
                      <a:pt x="134" y="135"/>
                      <a:pt x="134" y="135"/>
                    </a:cubicBezTo>
                    <a:cubicBezTo>
                      <a:pt x="152" y="134"/>
                      <a:pt x="152" y="134"/>
                      <a:pt x="152" y="134"/>
                    </a:cubicBezTo>
                    <a:cubicBezTo>
                      <a:pt x="147" y="117"/>
                      <a:pt x="147" y="117"/>
                      <a:pt x="147" y="117"/>
                    </a:cubicBezTo>
                    <a:cubicBezTo>
                      <a:pt x="163" y="110"/>
                      <a:pt x="163" y="110"/>
                      <a:pt x="163" y="110"/>
                    </a:cubicBezTo>
                    <a:lnTo>
                      <a:pt x="154" y="96"/>
                    </a:lnTo>
                    <a:close/>
                    <a:moveTo>
                      <a:pt x="84" y="148"/>
                    </a:moveTo>
                    <a:cubicBezTo>
                      <a:pt x="50" y="148"/>
                      <a:pt x="22" y="120"/>
                      <a:pt x="22" y="86"/>
                    </a:cubicBezTo>
                    <a:cubicBezTo>
                      <a:pt x="22" y="51"/>
                      <a:pt x="50" y="24"/>
                      <a:pt x="84" y="24"/>
                    </a:cubicBezTo>
                    <a:cubicBezTo>
                      <a:pt x="118" y="24"/>
                      <a:pt x="146" y="51"/>
                      <a:pt x="146" y="86"/>
                    </a:cubicBezTo>
                    <a:cubicBezTo>
                      <a:pt x="146" y="120"/>
                      <a:pt x="118" y="148"/>
                      <a:pt x="84" y="148"/>
                    </a:cubicBez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86" name="Freeform 27"/>
              <p:cNvSpPr>
                <a:spLocks/>
              </p:cNvSpPr>
              <p:nvPr/>
            </p:nvSpPr>
            <p:spPr bwMode="auto">
              <a:xfrm>
                <a:off x="5640356" y="3892580"/>
                <a:ext cx="957576" cy="537586"/>
              </a:xfrm>
              <a:custGeom>
                <a:avLst/>
                <a:gdLst>
                  <a:gd name="T0" fmla="*/ 627 w 627"/>
                  <a:gd name="T1" fmla="*/ 0 h 352"/>
                  <a:gd name="T2" fmla="*/ 119 w 627"/>
                  <a:gd name="T3" fmla="*/ 0 h 352"/>
                  <a:gd name="T4" fmla="*/ 119 w 627"/>
                  <a:gd name="T5" fmla="*/ 259 h 352"/>
                  <a:gd name="T6" fmla="*/ 72 w 627"/>
                  <a:gd name="T7" fmla="*/ 241 h 352"/>
                  <a:gd name="T8" fmla="*/ 72 w 627"/>
                  <a:gd name="T9" fmla="*/ 0 h 352"/>
                  <a:gd name="T10" fmla="*/ 45 w 627"/>
                  <a:gd name="T11" fmla="*/ 0 h 352"/>
                  <a:gd name="T12" fmla="*/ 45 w 627"/>
                  <a:gd name="T13" fmla="*/ 232 h 352"/>
                  <a:gd name="T14" fmla="*/ 21 w 627"/>
                  <a:gd name="T15" fmla="*/ 223 h 352"/>
                  <a:gd name="T16" fmla="*/ 21 w 627"/>
                  <a:gd name="T17" fmla="*/ 0 h 352"/>
                  <a:gd name="T18" fmla="*/ 0 w 627"/>
                  <a:gd name="T19" fmla="*/ 0 h 352"/>
                  <a:gd name="T20" fmla="*/ 0 w 627"/>
                  <a:gd name="T21" fmla="*/ 215 h 352"/>
                  <a:gd name="T22" fmla="*/ 373 w 627"/>
                  <a:gd name="T23" fmla="*/ 352 h 352"/>
                  <a:gd name="T24" fmla="*/ 627 w 627"/>
                  <a:gd name="T25" fmla="*/ 259 h 352"/>
                  <a:gd name="T26" fmla="*/ 627 w 627"/>
                  <a:gd name="T27" fmla="*/ 0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27" h="352">
                    <a:moveTo>
                      <a:pt x="627" y="0"/>
                    </a:moveTo>
                    <a:lnTo>
                      <a:pt x="119" y="0"/>
                    </a:lnTo>
                    <a:lnTo>
                      <a:pt x="119" y="259"/>
                    </a:lnTo>
                    <a:lnTo>
                      <a:pt x="72" y="241"/>
                    </a:lnTo>
                    <a:lnTo>
                      <a:pt x="72" y="0"/>
                    </a:lnTo>
                    <a:lnTo>
                      <a:pt x="45" y="0"/>
                    </a:lnTo>
                    <a:lnTo>
                      <a:pt x="45" y="232"/>
                    </a:lnTo>
                    <a:lnTo>
                      <a:pt x="21" y="223"/>
                    </a:lnTo>
                    <a:lnTo>
                      <a:pt x="21" y="0"/>
                    </a:lnTo>
                    <a:lnTo>
                      <a:pt x="0" y="0"/>
                    </a:lnTo>
                    <a:lnTo>
                      <a:pt x="0" y="215"/>
                    </a:lnTo>
                    <a:lnTo>
                      <a:pt x="373" y="352"/>
                    </a:lnTo>
                    <a:lnTo>
                      <a:pt x="627" y="259"/>
                    </a:lnTo>
                    <a:lnTo>
                      <a:pt x="627" y="0"/>
                    </a:ln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87" name="Freeform 28"/>
              <p:cNvSpPr>
                <a:spLocks/>
              </p:cNvSpPr>
              <p:nvPr/>
            </p:nvSpPr>
            <p:spPr bwMode="auto">
              <a:xfrm>
                <a:off x="6643748" y="3892580"/>
                <a:ext cx="135924" cy="377227"/>
              </a:xfrm>
              <a:custGeom>
                <a:avLst/>
                <a:gdLst>
                  <a:gd name="T0" fmla="*/ 65 w 89"/>
                  <a:gd name="T1" fmla="*/ 0 h 247"/>
                  <a:gd name="T2" fmla="*/ 65 w 89"/>
                  <a:gd name="T3" fmla="*/ 223 h 247"/>
                  <a:gd name="T4" fmla="*/ 41 w 89"/>
                  <a:gd name="T5" fmla="*/ 232 h 247"/>
                  <a:gd name="T6" fmla="*/ 41 w 89"/>
                  <a:gd name="T7" fmla="*/ 0 h 247"/>
                  <a:gd name="T8" fmla="*/ 14 w 89"/>
                  <a:gd name="T9" fmla="*/ 0 h 247"/>
                  <a:gd name="T10" fmla="*/ 14 w 89"/>
                  <a:gd name="T11" fmla="*/ 241 h 247"/>
                  <a:gd name="T12" fmla="*/ 0 w 89"/>
                  <a:gd name="T13" fmla="*/ 247 h 247"/>
                  <a:gd name="T14" fmla="*/ 89 w 89"/>
                  <a:gd name="T15" fmla="*/ 215 h 247"/>
                  <a:gd name="T16" fmla="*/ 89 w 89"/>
                  <a:gd name="T17" fmla="*/ 0 h 247"/>
                  <a:gd name="T18" fmla="*/ 65 w 89"/>
                  <a:gd name="T19" fmla="*/ 0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9" h="247">
                    <a:moveTo>
                      <a:pt x="65" y="0"/>
                    </a:moveTo>
                    <a:lnTo>
                      <a:pt x="65" y="223"/>
                    </a:lnTo>
                    <a:lnTo>
                      <a:pt x="41" y="232"/>
                    </a:lnTo>
                    <a:lnTo>
                      <a:pt x="41" y="0"/>
                    </a:lnTo>
                    <a:lnTo>
                      <a:pt x="14" y="0"/>
                    </a:lnTo>
                    <a:lnTo>
                      <a:pt x="14" y="241"/>
                    </a:lnTo>
                    <a:lnTo>
                      <a:pt x="0" y="247"/>
                    </a:lnTo>
                    <a:lnTo>
                      <a:pt x="89" y="215"/>
                    </a:lnTo>
                    <a:lnTo>
                      <a:pt x="89" y="0"/>
                    </a:lnTo>
                    <a:lnTo>
                      <a:pt x="65" y="0"/>
                    </a:ln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grpSp>
        <p:sp>
          <p:nvSpPr>
            <p:cNvPr id="82" name="TextBox 81"/>
            <p:cNvSpPr txBox="1"/>
            <p:nvPr/>
          </p:nvSpPr>
          <p:spPr>
            <a:xfrm>
              <a:off x="9254733" y="4736233"/>
              <a:ext cx="1102048" cy="529786"/>
            </a:xfrm>
            <a:prstGeom prst="rect">
              <a:avLst/>
            </a:prstGeom>
            <a:noFill/>
          </p:spPr>
          <p:txBody>
            <a:bodyPr wrap="none" rtlCol="0">
              <a:spAutoFit/>
            </a:bodyPr>
            <a:lstStyle/>
            <a:p>
              <a:pPr algn="ctr"/>
              <a:r>
                <a:rPr lang="en-US" sz="2040" b="1">
                  <a:solidFill>
                    <a:schemeClr val="bg1"/>
                  </a:solidFill>
                  <a:ea typeface="Segoe UI Black" panose="020B0A02040204020203" pitchFamily="34" charset="0"/>
                  <a:cs typeface="Segoe UI Black" panose="020B0A02040204020203" pitchFamily="34" charset="0"/>
                </a:rPr>
                <a:t>99</a:t>
              </a:r>
              <a:r>
                <a:rPr lang="en-US" sz="1224" b="1">
                  <a:solidFill>
                    <a:schemeClr val="bg1"/>
                  </a:solidFill>
                  <a:ea typeface="Segoe UI Black" panose="020B0A02040204020203" pitchFamily="34" charset="0"/>
                  <a:cs typeface="Segoe UI Black" panose="020B0A02040204020203" pitchFamily="34" charset="0"/>
                </a:rPr>
                <a:t>.99%</a:t>
              </a:r>
            </a:p>
          </p:txBody>
        </p:sp>
        <p:sp>
          <p:nvSpPr>
            <p:cNvPr id="83" name="TextBox 82"/>
            <p:cNvSpPr txBox="1"/>
            <p:nvPr/>
          </p:nvSpPr>
          <p:spPr>
            <a:xfrm>
              <a:off x="9367018" y="3413915"/>
              <a:ext cx="877473" cy="611645"/>
            </a:xfrm>
            <a:prstGeom prst="rect">
              <a:avLst/>
            </a:prstGeom>
            <a:noFill/>
          </p:spPr>
          <p:txBody>
            <a:bodyPr wrap="square" rtlCol="0">
              <a:spAutoFit/>
            </a:bodyPr>
            <a:lstStyle/>
            <a:p>
              <a:pPr algn="ctr"/>
              <a:r>
                <a:rPr lang="en-US" sz="2448" b="1">
                  <a:solidFill>
                    <a:schemeClr val="bg1"/>
                  </a:solidFill>
                  <a:ea typeface="Segoe UI Black" panose="020B0A02040204020203" pitchFamily="34" charset="0"/>
                  <a:cs typeface="Segoe UI Black" panose="020B0A02040204020203" pitchFamily="34" charset="0"/>
                </a:rPr>
                <a:t>HA</a:t>
              </a:r>
            </a:p>
          </p:txBody>
        </p:sp>
      </p:grpSp>
      <p:grpSp>
        <p:nvGrpSpPr>
          <p:cNvPr id="4" name="Group 3"/>
          <p:cNvGrpSpPr/>
          <p:nvPr/>
        </p:nvGrpSpPr>
        <p:grpSpPr>
          <a:xfrm>
            <a:off x="8804667" y="3252560"/>
            <a:ext cx="1490374" cy="1985246"/>
            <a:chOff x="8299583" y="3071107"/>
            <a:chExt cx="1461284" cy="1946496"/>
          </a:xfrm>
        </p:grpSpPr>
        <p:sp>
          <p:nvSpPr>
            <p:cNvPr id="78" name="Oval 77"/>
            <p:cNvSpPr/>
            <p:nvPr/>
          </p:nvSpPr>
          <p:spPr>
            <a:xfrm>
              <a:off x="8459160" y="3745568"/>
              <a:ext cx="1155237" cy="115523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grpSp>
          <p:nvGrpSpPr>
            <p:cNvPr id="57" name="Group 56"/>
            <p:cNvGrpSpPr/>
            <p:nvPr/>
          </p:nvGrpSpPr>
          <p:grpSpPr>
            <a:xfrm>
              <a:off x="8299583" y="3071107"/>
              <a:ext cx="1461284" cy="1946496"/>
              <a:chOff x="5640356" y="3892580"/>
              <a:chExt cx="1139316" cy="1517620"/>
            </a:xfrm>
            <a:solidFill>
              <a:schemeClr val="accent4"/>
            </a:solidFill>
          </p:grpSpPr>
          <p:sp>
            <p:nvSpPr>
              <p:cNvPr id="74" name="Oval 25"/>
              <p:cNvSpPr>
                <a:spLocks noChangeArrowheads="1"/>
              </p:cNvSpPr>
              <p:nvPr/>
            </p:nvSpPr>
            <p:spPr bwMode="auto">
              <a:xfrm>
                <a:off x="5883437" y="4534521"/>
                <a:ext cx="662316" cy="664537"/>
              </a:xfrm>
              <a:prstGeom prst="ellipse">
                <a:avLst/>
              </a:pr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75" name="Freeform 26"/>
              <p:cNvSpPr>
                <a:spLocks noEditPoints="1"/>
              </p:cNvSpPr>
              <p:nvPr/>
            </p:nvSpPr>
            <p:spPr bwMode="auto">
              <a:xfrm>
                <a:off x="5656740" y="4296712"/>
                <a:ext cx="1115712" cy="1113488"/>
              </a:xfrm>
              <a:custGeom>
                <a:avLst/>
                <a:gdLst>
                  <a:gd name="T0" fmla="*/ 154 w 168"/>
                  <a:gd name="T1" fmla="*/ 96 h 168"/>
                  <a:gd name="T2" fmla="*/ 168 w 168"/>
                  <a:gd name="T3" fmla="*/ 84 h 168"/>
                  <a:gd name="T4" fmla="*/ 154 w 168"/>
                  <a:gd name="T5" fmla="*/ 73 h 168"/>
                  <a:gd name="T6" fmla="*/ 163 w 168"/>
                  <a:gd name="T7" fmla="*/ 58 h 168"/>
                  <a:gd name="T8" fmla="*/ 147 w 168"/>
                  <a:gd name="T9" fmla="*/ 52 h 168"/>
                  <a:gd name="T10" fmla="*/ 152 w 168"/>
                  <a:gd name="T11" fmla="*/ 35 h 168"/>
                  <a:gd name="T12" fmla="*/ 134 w 168"/>
                  <a:gd name="T13" fmla="*/ 34 h 168"/>
                  <a:gd name="T14" fmla="*/ 133 w 168"/>
                  <a:gd name="T15" fmla="*/ 16 h 168"/>
                  <a:gd name="T16" fmla="*/ 116 w 168"/>
                  <a:gd name="T17" fmla="*/ 21 h 168"/>
                  <a:gd name="T18" fmla="*/ 110 w 168"/>
                  <a:gd name="T19" fmla="*/ 4 h 168"/>
                  <a:gd name="T20" fmla="*/ 95 w 168"/>
                  <a:gd name="T21" fmla="*/ 14 h 168"/>
                  <a:gd name="T22" fmla="*/ 84 w 168"/>
                  <a:gd name="T23" fmla="*/ 0 h 168"/>
                  <a:gd name="T24" fmla="*/ 72 w 168"/>
                  <a:gd name="T25" fmla="*/ 14 h 168"/>
                  <a:gd name="T26" fmla="*/ 58 w 168"/>
                  <a:gd name="T27" fmla="*/ 4 h 168"/>
                  <a:gd name="T28" fmla="*/ 51 w 168"/>
                  <a:gd name="T29" fmla="*/ 21 h 168"/>
                  <a:gd name="T30" fmla="*/ 34 w 168"/>
                  <a:gd name="T31" fmla="*/ 16 h 168"/>
                  <a:gd name="T32" fmla="*/ 33 w 168"/>
                  <a:gd name="T33" fmla="*/ 34 h 168"/>
                  <a:gd name="T34" fmla="*/ 16 w 168"/>
                  <a:gd name="T35" fmla="*/ 35 h 168"/>
                  <a:gd name="T36" fmla="*/ 20 w 168"/>
                  <a:gd name="T37" fmla="*/ 52 h 168"/>
                  <a:gd name="T38" fmla="*/ 4 w 168"/>
                  <a:gd name="T39" fmla="*/ 58 h 168"/>
                  <a:gd name="T40" fmla="*/ 13 w 168"/>
                  <a:gd name="T41" fmla="*/ 73 h 168"/>
                  <a:gd name="T42" fmla="*/ 0 w 168"/>
                  <a:gd name="T43" fmla="*/ 84 h 168"/>
                  <a:gd name="T44" fmla="*/ 13 w 168"/>
                  <a:gd name="T45" fmla="*/ 96 h 168"/>
                  <a:gd name="T46" fmla="*/ 4 w 168"/>
                  <a:gd name="T47" fmla="*/ 110 h 168"/>
                  <a:gd name="T48" fmla="*/ 20 w 168"/>
                  <a:gd name="T49" fmla="*/ 117 h 168"/>
                  <a:gd name="T50" fmla="*/ 16 w 168"/>
                  <a:gd name="T51" fmla="*/ 134 h 168"/>
                  <a:gd name="T52" fmla="*/ 33 w 168"/>
                  <a:gd name="T53" fmla="*/ 135 h 168"/>
                  <a:gd name="T54" fmla="*/ 34 w 168"/>
                  <a:gd name="T55" fmla="*/ 152 h 168"/>
                  <a:gd name="T56" fmla="*/ 51 w 168"/>
                  <a:gd name="T57" fmla="*/ 148 h 168"/>
                  <a:gd name="T58" fmla="*/ 58 w 168"/>
                  <a:gd name="T59" fmla="*/ 164 h 168"/>
                  <a:gd name="T60" fmla="*/ 72 w 168"/>
                  <a:gd name="T61" fmla="*/ 155 h 168"/>
                  <a:gd name="T62" fmla="*/ 84 w 168"/>
                  <a:gd name="T63" fmla="*/ 168 h 168"/>
                  <a:gd name="T64" fmla="*/ 95 w 168"/>
                  <a:gd name="T65" fmla="*/ 155 h 168"/>
                  <a:gd name="T66" fmla="*/ 110 w 168"/>
                  <a:gd name="T67" fmla="*/ 164 h 168"/>
                  <a:gd name="T68" fmla="*/ 116 w 168"/>
                  <a:gd name="T69" fmla="*/ 148 h 168"/>
                  <a:gd name="T70" fmla="*/ 133 w 168"/>
                  <a:gd name="T71" fmla="*/ 152 h 168"/>
                  <a:gd name="T72" fmla="*/ 134 w 168"/>
                  <a:gd name="T73" fmla="*/ 135 h 168"/>
                  <a:gd name="T74" fmla="*/ 152 w 168"/>
                  <a:gd name="T75" fmla="*/ 134 h 168"/>
                  <a:gd name="T76" fmla="*/ 147 w 168"/>
                  <a:gd name="T77" fmla="*/ 117 h 168"/>
                  <a:gd name="T78" fmla="*/ 163 w 168"/>
                  <a:gd name="T79" fmla="*/ 110 h 168"/>
                  <a:gd name="T80" fmla="*/ 154 w 168"/>
                  <a:gd name="T81" fmla="*/ 96 h 168"/>
                  <a:gd name="T82" fmla="*/ 84 w 168"/>
                  <a:gd name="T83" fmla="*/ 148 h 168"/>
                  <a:gd name="T84" fmla="*/ 22 w 168"/>
                  <a:gd name="T85" fmla="*/ 86 h 168"/>
                  <a:gd name="T86" fmla="*/ 84 w 168"/>
                  <a:gd name="T87" fmla="*/ 24 h 168"/>
                  <a:gd name="T88" fmla="*/ 146 w 168"/>
                  <a:gd name="T89" fmla="*/ 86 h 168"/>
                  <a:gd name="T90" fmla="*/ 84 w 168"/>
                  <a:gd name="T91" fmla="*/ 148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68" h="168">
                    <a:moveTo>
                      <a:pt x="154" y="96"/>
                    </a:moveTo>
                    <a:cubicBezTo>
                      <a:pt x="168" y="84"/>
                      <a:pt x="168" y="84"/>
                      <a:pt x="168" y="84"/>
                    </a:cubicBezTo>
                    <a:cubicBezTo>
                      <a:pt x="154" y="73"/>
                      <a:pt x="154" y="73"/>
                      <a:pt x="154" y="73"/>
                    </a:cubicBezTo>
                    <a:cubicBezTo>
                      <a:pt x="163" y="58"/>
                      <a:pt x="163" y="58"/>
                      <a:pt x="163" y="58"/>
                    </a:cubicBezTo>
                    <a:cubicBezTo>
                      <a:pt x="147" y="52"/>
                      <a:pt x="147" y="52"/>
                      <a:pt x="147" y="52"/>
                    </a:cubicBezTo>
                    <a:cubicBezTo>
                      <a:pt x="152" y="35"/>
                      <a:pt x="152" y="35"/>
                      <a:pt x="152" y="35"/>
                    </a:cubicBezTo>
                    <a:cubicBezTo>
                      <a:pt x="134" y="34"/>
                      <a:pt x="134" y="34"/>
                      <a:pt x="134" y="34"/>
                    </a:cubicBezTo>
                    <a:cubicBezTo>
                      <a:pt x="133" y="16"/>
                      <a:pt x="133" y="16"/>
                      <a:pt x="133" y="16"/>
                    </a:cubicBezTo>
                    <a:cubicBezTo>
                      <a:pt x="116" y="21"/>
                      <a:pt x="116" y="21"/>
                      <a:pt x="116" y="21"/>
                    </a:cubicBezTo>
                    <a:cubicBezTo>
                      <a:pt x="110" y="4"/>
                      <a:pt x="110" y="4"/>
                      <a:pt x="110" y="4"/>
                    </a:cubicBezTo>
                    <a:cubicBezTo>
                      <a:pt x="95" y="14"/>
                      <a:pt x="95" y="14"/>
                      <a:pt x="95" y="14"/>
                    </a:cubicBezTo>
                    <a:cubicBezTo>
                      <a:pt x="84" y="0"/>
                      <a:pt x="84" y="0"/>
                      <a:pt x="84" y="0"/>
                    </a:cubicBezTo>
                    <a:cubicBezTo>
                      <a:pt x="72" y="14"/>
                      <a:pt x="72" y="14"/>
                      <a:pt x="72" y="14"/>
                    </a:cubicBezTo>
                    <a:cubicBezTo>
                      <a:pt x="58" y="4"/>
                      <a:pt x="58" y="4"/>
                      <a:pt x="58" y="4"/>
                    </a:cubicBezTo>
                    <a:cubicBezTo>
                      <a:pt x="51" y="21"/>
                      <a:pt x="51" y="21"/>
                      <a:pt x="51" y="21"/>
                    </a:cubicBezTo>
                    <a:cubicBezTo>
                      <a:pt x="34" y="16"/>
                      <a:pt x="34" y="16"/>
                      <a:pt x="34" y="16"/>
                    </a:cubicBezTo>
                    <a:cubicBezTo>
                      <a:pt x="33" y="34"/>
                      <a:pt x="33" y="34"/>
                      <a:pt x="33" y="34"/>
                    </a:cubicBezTo>
                    <a:cubicBezTo>
                      <a:pt x="16" y="35"/>
                      <a:pt x="16" y="35"/>
                      <a:pt x="16" y="35"/>
                    </a:cubicBezTo>
                    <a:cubicBezTo>
                      <a:pt x="20" y="52"/>
                      <a:pt x="20" y="52"/>
                      <a:pt x="20" y="52"/>
                    </a:cubicBezTo>
                    <a:cubicBezTo>
                      <a:pt x="4" y="58"/>
                      <a:pt x="4" y="58"/>
                      <a:pt x="4" y="58"/>
                    </a:cubicBezTo>
                    <a:cubicBezTo>
                      <a:pt x="13" y="73"/>
                      <a:pt x="13" y="73"/>
                      <a:pt x="13" y="73"/>
                    </a:cubicBezTo>
                    <a:cubicBezTo>
                      <a:pt x="0" y="84"/>
                      <a:pt x="0" y="84"/>
                      <a:pt x="0" y="84"/>
                    </a:cubicBezTo>
                    <a:cubicBezTo>
                      <a:pt x="13" y="96"/>
                      <a:pt x="13" y="96"/>
                      <a:pt x="13" y="96"/>
                    </a:cubicBezTo>
                    <a:cubicBezTo>
                      <a:pt x="4" y="110"/>
                      <a:pt x="4" y="110"/>
                      <a:pt x="4" y="110"/>
                    </a:cubicBezTo>
                    <a:cubicBezTo>
                      <a:pt x="20" y="117"/>
                      <a:pt x="20" y="117"/>
                      <a:pt x="20" y="117"/>
                    </a:cubicBezTo>
                    <a:cubicBezTo>
                      <a:pt x="16" y="134"/>
                      <a:pt x="16" y="134"/>
                      <a:pt x="16" y="134"/>
                    </a:cubicBezTo>
                    <a:cubicBezTo>
                      <a:pt x="33" y="135"/>
                      <a:pt x="33" y="135"/>
                      <a:pt x="33" y="135"/>
                    </a:cubicBezTo>
                    <a:cubicBezTo>
                      <a:pt x="34" y="152"/>
                      <a:pt x="34" y="152"/>
                      <a:pt x="34" y="152"/>
                    </a:cubicBezTo>
                    <a:cubicBezTo>
                      <a:pt x="51" y="148"/>
                      <a:pt x="51" y="148"/>
                      <a:pt x="51" y="148"/>
                    </a:cubicBezTo>
                    <a:cubicBezTo>
                      <a:pt x="58" y="164"/>
                      <a:pt x="58" y="164"/>
                      <a:pt x="58" y="164"/>
                    </a:cubicBezTo>
                    <a:cubicBezTo>
                      <a:pt x="72" y="155"/>
                      <a:pt x="72" y="155"/>
                      <a:pt x="72" y="155"/>
                    </a:cubicBezTo>
                    <a:cubicBezTo>
                      <a:pt x="84" y="168"/>
                      <a:pt x="84" y="168"/>
                      <a:pt x="84" y="168"/>
                    </a:cubicBezTo>
                    <a:cubicBezTo>
                      <a:pt x="95" y="155"/>
                      <a:pt x="95" y="155"/>
                      <a:pt x="95" y="155"/>
                    </a:cubicBezTo>
                    <a:cubicBezTo>
                      <a:pt x="110" y="164"/>
                      <a:pt x="110" y="164"/>
                      <a:pt x="110" y="164"/>
                    </a:cubicBezTo>
                    <a:cubicBezTo>
                      <a:pt x="116" y="148"/>
                      <a:pt x="116" y="148"/>
                      <a:pt x="116" y="148"/>
                    </a:cubicBezTo>
                    <a:cubicBezTo>
                      <a:pt x="133" y="152"/>
                      <a:pt x="133" y="152"/>
                      <a:pt x="133" y="152"/>
                    </a:cubicBezTo>
                    <a:cubicBezTo>
                      <a:pt x="134" y="135"/>
                      <a:pt x="134" y="135"/>
                      <a:pt x="134" y="135"/>
                    </a:cubicBezTo>
                    <a:cubicBezTo>
                      <a:pt x="152" y="134"/>
                      <a:pt x="152" y="134"/>
                      <a:pt x="152" y="134"/>
                    </a:cubicBezTo>
                    <a:cubicBezTo>
                      <a:pt x="147" y="117"/>
                      <a:pt x="147" y="117"/>
                      <a:pt x="147" y="117"/>
                    </a:cubicBezTo>
                    <a:cubicBezTo>
                      <a:pt x="163" y="110"/>
                      <a:pt x="163" y="110"/>
                      <a:pt x="163" y="110"/>
                    </a:cubicBezTo>
                    <a:lnTo>
                      <a:pt x="154" y="96"/>
                    </a:lnTo>
                    <a:close/>
                    <a:moveTo>
                      <a:pt x="84" y="148"/>
                    </a:moveTo>
                    <a:cubicBezTo>
                      <a:pt x="50" y="148"/>
                      <a:pt x="22" y="120"/>
                      <a:pt x="22" y="86"/>
                    </a:cubicBezTo>
                    <a:cubicBezTo>
                      <a:pt x="22" y="51"/>
                      <a:pt x="50" y="24"/>
                      <a:pt x="84" y="24"/>
                    </a:cubicBezTo>
                    <a:cubicBezTo>
                      <a:pt x="118" y="24"/>
                      <a:pt x="146" y="51"/>
                      <a:pt x="146" y="86"/>
                    </a:cubicBezTo>
                    <a:cubicBezTo>
                      <a:pt x="146" y="120"/>
                      <a:pt x="118" y="148"/>
                      <a:pt x="84" y="148"/>
                    </a:cubicBez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76" name="Freeform 27"/>
              <p:cNvSpPr>
                <a:spLocks/>
              </p:cNvSpPr>
              <p:nvPr/>
            </p:nvSpPr>
            <p:spPr bwMode="auto">
              <a:xfrm>
                <a:off x="5640356" y="3892580"/>
                <a:ext cx="957576" cy="537586"/>
              </a:xfrm>
              <a:custGeom>
                <a:avLst/>
                <a:gdLst>
                  <a:gd name="T0" fmla="*/ 627 w 627"/>
                  <a:gd name="T1" fmla="*/ 0 h 352"/>
                  <a:gd name="T2" fmla="*/ 119 w 627"/>
                  <a:gd name="T3" fmla="*/ 0 h 352"/>
                  <a:gd name="T4" fmla="*/ 119 w 627"/>
                  <a:gd name="T5" fmla="*/ 259 h 352"/>
                  <a:gd name="T6" fmla="*/ 72 w 627"/>
                  <a:gd name="T7" fmla="*/ 241 h 352"/>
                  <a:gd name="T8" fmla="*/ 72 w 627"/>
                  <a:gd name="T9" fmla="*/ 0 h 352"/>
                  <a:gd name="T10" fmla="*/ 45 w 627"/>
                  <a:gd name="T11" fmla="*/ 0 h 352"/>
                  <a:gd name="T12" fmla="*/ 45 w 627"/>
                  <a:gd name="T13" fmla="*/ 232 h 352"/>
                  <a:gd name="T14" fmla="*/ 21 w 627"/>
                  <a:gd name="T15" fmla="*/ 223 h 352"/>
                  <a:gd name="T16" fmla="*/ 21 w 627"/>
                  <a:gd name="T17" fmla="*/ 0 h 352"/>
                  <a:gd name="T18" fmla="*/ 0 w 627"/>
                  <a:gd name="T19" fmla="*/ 0 h 352"/>
                  <a:gd name="T20" fmla="*/ 0 w 627"/>
                  <a:gd name="T21" fmla="*/ 215 h 352"/>
                  <a:gd name="T22" fmla="*/ 373 w 627"/>
                  <a:gd name="T23" fmla="*/ 352 h 352"/>
                  <a:gd name="T24" fmla="*/ 627 w 627"/>
                  <a:gd name="T25" fmla="*/ 259 h 352"/>
                  <a:gd name="T26" fmla="*/ 627 w 627"/>
                  <a:gd name="T27" fmla="*/ 0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27" h="352">
                    <a:moveTo>
                      <a:pt x="627" y="0"/>
                    </a:moveTo>
                    <a:lnTo>
                      <a:pt x="119" y="0"/>
                    </a:lnTo>
                    <a:lnTo>
                      <a:pt x="119" y="259"/>
                    </a:lnTo>
                    <a:lnTo>
                      <a:pt x="72" y="241"/>
                    </a:lnTo>
                    <a:lnTo>
                      <a:pt x="72" y="0"/>
                    </a:lnTo>
                    <a:lnTo>
                      <a:pt x="45" y="0"/>
                    </a:lnTo>
                    <a:lnTo>
                      <a:pt x="45" y="232"/>
                    </a:lnTo>
                    <a:lnTo>
                      <a:pt x="21" y="223"/>
                    </a:lnTo>
                    <a:lnTo>
                      <a:pt x="21" y="0"/>
                    </a:lnTo>
                    <a:lnTo>
                      <a:pt x="0" y="0"/>
                    </a:lnTo>
                    <a:lnTo>
                      <a:pt x="0" y="215"/>
                    </a:lnTo>
                    <a:lnTo>
                      <a:pt x="373" y="352"/>
                    </a:lnTo>
                    <a:lnTo>
                      <a:pt x="627" y="259"/>
                    </a:lnTo>
                    <a:lnTo>
                      <a:pt x="627" y="0"/>
                    </a:ln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77" name="Freeform 28"/>
              <p:cNvSpPr>
                <a:spLocks/>
              </p:cNvSpPr>
              <p:nvPr/>
            </p:nvSpPr>
            <p:spPr bwMode="auto">
              <a:xfrm>
                <a:off x="6643748" y="3892580"/>
                <a:ext cx="135924" cy="377227"/>
              </a:xfrm>
              <a:custGeom>
                <a:avLst/>
                <a:gdLst>
                  <a:gd name="T0" fmla="*/ 65 w 89"/>
                  <a:gd name="T1" fmla="*/ 0 h 247"/>
                  <a:gd name="T2" fmla="*/ 65 w 89"/>
                  <a:gd name="T3" fmla="*/ 223 h 247"/>
                  <a:gd name="T4" fmla="*/ 41 w 89"/>
                  <a:gd name="T5" fmla="*/ 232 h 247"/>
                  <a:gd name="T6" fmla="*/ 41 w 89"/>
                  <a:gd name="T7" fmla="*/ 0 h 247"/>
                  <a:gd name="T8" fmla="*/ 14 w 89"/>
                  <a:gd name="T9" fmla="*/ 0 h 247"/>
                  <a:gd name="T10" fmla="*/ 14 w 89"/>
                  <a:gd name="T11" fmla="*/ 241 h 247"/>
                  <a:gd name="T12" fmla="*/ 0 w 89"/>
                  <a:gd name="T13" fmla="*/ 247 h 247"/>
                  <a:gd name="T14" fmla="*/ 89 w 89"/>
                  <a:gd name="T15" fmla="*/ 215 h 247"/>
                  <a:gd name="T16" fmla="*/ 89 w 89"/>
                  <a:gd name="T17" fmla="*/ 0 h 247"/>
                  <a:gd name="T18" fmla="*/ 65 w 89"/>
                  <a:gd name="T19" fmla="*/ 0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9" h="247">
                    <a:moveTo>
                      <a:pt x="65" y="0"/>
                    </a:moveTo>
                    <a:lnTo>
                      <a:pt x="65" y="223"/>
                    </a:lnTo>
                    <a:lnTo>
                      <a:pt x="41" y="232"/>
                    </a:lnTo>
                    <a:lnTo>
                      <a:pt x="41" y="0"/>
                    </a:lnTo>
                    <a:lnTo>
                      <a:pt x="14" y="0"/>
                    </a:lnTo>
                    <a:lnTo>
                      <a:pt x="14" y="241"/>
                    </a:lnTo>
                    <a:lnTo>
                      <a:pt x="0" y="247"/>
                    </a:lnTo>
                    <a:lnTo>
                      <a:pt x="89" y="215"/>
                    </a:lnTo>
                    <a:lnTo>
                      <a:pt x="89" y="0"/>
                    </a:lnTo>
                    <a:lnTo>
                      <a:pt x="65" y="0"/>
                    </a:ln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grpSp>
        <p:sp>
          <p:nvSpPr>
            <p:cNvPr id="62" name="TextBox 61"/>
            <p:cNvSpPr txBox="1"/>
            <p:nvPr/>
          </p:nvSpPr>
          <p:spPr>
            <a:xfrm>
              <a:off x="8501661" y="3208545"/>
              <a:ext cx="1068883" cy="280718"/>
            </a:xfrm>
            <a:prstGeom prst="rect">
              <a:avLst/>
            </a:prstGeom>
            <a:noFill/>
          </p:spPr>
          <p:txBody>
            <a:bodyPr wrap="none" rtlCol="0">
              <a:spAutoFit/>
            </a:bodyPr>
            <a:lstStyle/>
            <a:p>
              <a:pPr algn="ctr"/>
              <a:r>
                <a:rPr lang="en-US" sz="1224" b="1">
                  <a:solidFill>
                    <a:schemeClr val="bg1"/>
                  </a:solidFill>
                  <a:ea typeface="Segoe UI Black" panose="020B0A02040204020203" pitchFamily="34" charset="0"/>
                  <a:cs typeface="Segoe UI Black" panose="020B0A02040204020203" pitchFamily="34" charset="0"/>
                </a:rPr>
                <a:t>Throughput</a:t>
              </a:r>
              <a:endParaRPr lang="en-US" sz="612" b="1">
                <a:solidFill>
                  <a:schemeClr val="bg1"/>
                </a:solidFill>
              </a:endParaRPr>
            </a:p>
          </p:txBody>
        </p:sp>
        <p:sp>
          <p:nvSpPr>
            <p:cNvPr id="63" name="TextBox 62"/>
            <p:cNvSpPr txBox="1"/>
            <p:nvPr/>
          </p:nvSpPr>
          <p:spPr>
            <a:xfrm>
              <a:off x="8544430" y="4189821"/>
              <a:ext cx="983338" cy="265009"/>
            </a:xfrm>
            <a:prstGeom prst="rect">
              <a:avLst/>
            </a:prstGeom>
            <a:noFill/>
          </p:spPr>
          <p:txBody>
            <a:bodyPr wrap="square" rtlCol="0">
              <a:spAutoFit/>
            </a:bodyPr>
            <a:lstStyle/>
            <a:p>
              <a:pPr algn="ctr"/>
              <a:r>
                <a:rPr lang="en-US" sz="1122" b="1">
                  <a:solidFill>
                    <a:schemeClr val="bg1"/>
                  </a:solidFill>
                  <a:ea typeface="Segoe UI Black" panose="020B0A02040204020203" pitchFamily="34" charset="0"/>
                  <a:cs typeface="Segoe UI Black" panose="020B0A02040204020203" pitchFamily="34" charset="0"/>
                </a:rPr>
                <a:t>Guaranteed</a:t>
              </a:r>
            </a:p>
          </p:txBody>
        </p:sp>
      </p:grpSp>
      <p:grpSp>
        <p:nvGrpSpPr>
          <p:cNvPr id="2" name="Group 1"/>
          <p:cNvGrpSpPr/>
          <p:nvPr/>
        </p:nvGrpSpPr>
        <p:grpSpPr>
          <a:xfrm>
            <a:off x="10615234" y="4105491"/>
            <a:ext cx="1490374" cy="1985246"/>
            <a:chOff x="9884176" y="3552718"/>
            <a:chExt cx="1461284" cy="1946496"/>
          </a:xfrm>
        </p:grpSpPr>
        <p:sp>
          <p:nvSpPr>
            <p:cNvPr id="72" name="Oval 71"/>
            <p:cNvSpPr/>
            <p:nvPr/>
          </p:nvSpPr>
          <p:spPr>
            <a:xfrm>
              <a:off x="10041595" y="4220503"/>
              <a:ext cx="1155237" cy="1155237"/>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grpSp>
          <p:nvGrpSpPr>
            <p:cNvPr id="65" name="Group 64"/>
            <p:cNvGrpSpPr/>
            <p:nvPr/>
          </p:nvGrpSpPr>
          <p:grpSpPr>
            <a:xfrm>
              <a:off x="9884176" y="3552718"/>
              <a:ext cx="1461284" cy="1946496"/>
              <a:chOff x="5640356" y="3892580"/>
              <a:chExt cx="1139316" cy="1517620"/>
            </a:xfrm>
            <a:solidFill>
              <a:schemeClr val="accent3"/>
            </a:solidFill>
          </p:grpSpPr>
          <p:sp>
            <p:nvSpPr>
              <p:cNvPr id="68" name="Oval 25"/>
              <p:cNvSpPr>
                <a:spLocks noChangeArrowheads="1"/>
              </p:cNvSpPr>
              <p:nvPr/>
            </p:nvSpPr>
            <p:spPr bwMode="auto">
              <a:xfrm>
                <a:off x="5883437" y="4534521"/>
                <a:ext cx="662316" cy="66453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69" name="Freeform 26"/>
              <p:cNvSpPr>
                <a:spLocks noEditPoints="1"/>
              </p:cNvSpPr>
              <p:nvPr/>
            </p:nvSpPr>
            <p:spPr bwMode="auto">
              <a:xfrm>
                <a:off x="5656740" y="4296712"/>
                <a:ext cx="1115712" cy="1113488"/>
              </a:xfrm>
              <a:custGeom>
                <a:avLst/>
                <a:gdLst>
                  <a:gd name="T0" fmla="*/ 154 w 168"/>
                  <a:gd name="T1" fmla="*/ 96 h 168"/>
                  <a:gd name="T2" fmla="*/ 168 w 168"/>
                  <a:gd name="T3" fmla="*/ 84 h 168"/>
                  <a:gd name="T4" fmla="*/ 154 w 168"/>
                  <a:gd name="T5" fmla="*/ 73 h 168"/>
                  <a:gd name="T6" fmla="*/ 163 w 168"/>
                  <a:gd name="T7" fmla="*/ 58 h 168"/>
                  <a:gd name="T8" fmla="*/ 147 w 168"/>
                  <a:gd name="T9" fmla="*/ 52 h 168"/>
                  <a:gd name="T10" fmla="*/ 152 w 168"/>
                  <a:gd name="T11" fmla="*/ 35 h 168"/>
                  <a:gd name="T12" fmla="*/ 134 w 168"/>
                  <a:gd name="T13" fmla="*/ 34 h 168"/>
                  <a:gd name="T14" fmla="*/ 133 w 168"/>
                  <a:gd name="T15" fmla="*/ 16 h 168"/>
                  <a:gd name="T16" fmla="*/ 116 w 168"/>
                  <a:gd name="T17" fmla="*/ 21 h 168"/>
                  <a:gd name="T18" fmla="*/ 110 w 168"/>
                  <a:gd name="T19" fmla="*/ 4 h 168"/>
                  <a:gd name="T20" fmla="*/ 95 w 168"/>
                  <a:gd name="T21" fmla="*/ 14 h 168"/>
                  <a:gd name="T22" fmla="*/ 84 w 168"/>
                  <a:gd name="T23" fmla="*/ 0 h 168"/>
                  <a:gd name="T24" fmla="*/ 72 w 168"/>
                  <a:gd name="T25" fmla="*/ 14 h 168"/>
                  <a:gd name="T26" fmla="*/ 58 w 168"/>
                  <a:gd name="T27" fmla="*/ 4 h 168"/>
                  <a:gd name="T28" fmla="*/ 51 w 168"/>
                  <a:gd name="T29" fmla="*/ 21 h 168"/>
                  <a:gd name="T30" fmla="*/ 34 w 168"/>
                  <a:gd name="T31" fmla="*/ 16 h 168"/>
                  <a:gd name="T32" fmla="*/ 33 w 168"/>
                  <a:gd name="T33" fmla="*/ 34 h 168"/>
                  <a:gd name="T34" fmla="*/ 16 w 168"/>
                  <a:gd name="T35" fmla="*/ 35 h 168"/>
                  <a:gd name="T36" fmla="*/ 20 w 168"/>
                  <a:gd name="T37" fmla="*/ 52 h 168"/>
                  <a:gd name="T38" fmla="*/ 4 w 168"/>
                  <a:gd name="T39" fmla="*/ 58 h 168"/>
                  <a:gd name="T40" fmla="*/ 13 w 168"/>
                  <a:gd name="T41" fmla="*/ 73 h 168"/>
                  <a:gd name="T42" fmla="*/ 0 w 168"/>
                  <a:gd name="T43" fmla="*/ 84 h 168"/>
                  <a:gd name="T44" fmla="*/ 13 w 168"/>
                  <a:gd name="T45" fmla="*/ 96 h 168"/>
                  <a:gd name="T46" fmla="*/ 4 w 168"/>
                  <a:gd name="T47" fmla="*/ 110 h 168"/>
                  <a:gd name="T48" fmla="*/ 20 w 168"/>
                  <a:gd name="T49" fmla="*/ 117 h 168"/>
                  <a:gd name="T50" fmla="*/ 16 w 168"/>
                  <a:gd name="T51" fmla="*/ 134 h 168"/>
                  <a:gd name="T52" fmla="*/ 33 w 168"/>
                  <a:gd name="T53" fmla="*/ 135 h 168"/>
                  <a:gd name="T54" fmla="*/ 34 w 168"/>
                  <a:gd name="T55" fmla="*/ 152 h 168"/>
                  <a:gd name="T56" fmla="*/ 51 w 168"/>
                  <a:gd name="T57" fmla="*/ 148 h 168"/>
                  <a:gd name="T58" fmla="*/ 58 w 168"/>
                  <a:gd name="T59" fmla="*/ 164 h 168"/>
                  <a:gd name="T60" fmla="*/ 72 w 168"/>
                  <a:gd name="T61" fmla="*/ 155 h 168"/>
                  <a:gd name="T62" fmla="*/ 84 w 168"/>
                  <a:gd name="T63" fmla="*/ 168 h 168"/>
                  <a:gd name="T64" fmla="*/ 95 w 168"/>
                  <a:gd name="T65" fmla="*/ 155 h 168"/>
                  <a:gd name="T66" fmla="*/ 110 w 168"/>
                  <a:gd name="T67" fmla="*/ 164 h 168"/>
                  <a:gd name="T68" fmla="*/ 116 w 168"/>
                  <a:gd name="T69" fmla="*/ 148 h 168"/>
                  <a:gd name="T70" fmla="*/ 133 w 168"/>
                  <a:gd name="T71" fmla="*/ 152 h 168"/>
                  <a:gd name="T72" fmla="*/ 134 w 168"/>
                  <a:gd name="T73" fmla="*/ 135 h 168"/>
                  <a:gd name="T74" fmla="*/ 152 w 168"/>
                  <a:gd name="T75" fmla="*/ 134 h 168"/>
                  <a:gd name="T76" fmla="*/ 147 w 168"/>
                  <a:gd name="T77" fmla="*/ 117 h 168"/>
                  <a:gd name="T78" fmla="*/ 163 w 168"/>
                  <a:gd name="T79" fmla="*/ 110 h 168"/>
                  <a:gd name="T80" fmla="*/ 154 w 168"/>
                  <a:gd name="T81" fmla="*/ 96 h 168"/>
                  <a:gd name="T82" fmla="*/ 84 w 168"/>
                  <a:gd name="T83" fmla="*/ 148 h 168"/>
                  <a:gd name="T84" fmla="*/ 22 w 168"/>
                  <a:gd name="T85" fmla="*/ 86 h 168"/>
                  <a:gd name="T86" fmla="*/ 84 w 168"/>
                  <a:gd name="T87" fmla="*/ 24 h 168"/>
                  <a:gd name="T88" fmla="*/ 146 w 168"/>
                  <a:gd name="T89" fmla="*/ 86 h 168"/>
                  <a:gd name="T90" fmla="*/ 84 w 168"/>
                  <a:gd name="T91" fmla="*/ 148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68" h="168">
                    <a:moveTo>
                      <a:pt x="154" y="96"/>
                    </a:moveTo>
                    <a:cubicBezTo>
                      <a:pt x="168" y="84"/>
                      <a:pt x="168" y="84"/>
                      <a:pt x="168" y="84"/>
                    </a:cubicBezTo>
                    <a:cubicBezTo>
                      <a:pt x="154" y="73"/>
                      <a:pt x="154" y="73"/>
                      <a:pt x="154" y="73"/>
                    </a:cubicBezTo>
                    <a:cubicBezTo>
                      <a:pt x="163" y="58"/>
                      <a:pt x="163" y="58"/>
                      <a:pt x="163" y="58"/>
                    </a:cubicBezTo>
                    <a:cubicBezTo>
                      <a:pt x="147" y="52"/>
                      <a:pt x="147" y="52"/>
                      <a:pt x="147" y="52"/>
                    </a:cubicBezTo>
                    <a:cubicBezTo>
                      <a:pt x="152" y="35"/>
                      <a:pt x="152" y="35"/>
                      <a:pt x="152" y="35"/>
                    </a:cubicBezTo>
                    <a:cubicBezTo>
                      <a:pt x="134" y="34"/>
                      <a:pt x="134" y="34"/>
                      <a:pt x="134" y="34"/>
                    </a:cubicBezTo>
                    <a:cubicBezTo>
                      <a:pt x="133" y="16"/>
                      <a:pt x="133" y="16"/>
                      <a:pt x="133" y="16"/>
                    </a:cubicBezTo>
                    <a:cubicBezTo>
                      <a:pt x="116" y="21"/>
                      <a:pt x="116" y="21"/>
                      <a:pt x="116" y="21"/>
                    </a:cubicBezTo>
                    <a:cubicBezTo>
                      <a:pt x="110" y="4"/>
                      <a:pt x="110" y="4"/>
                      <a:pt x="110" y="4"/>
                    </a:cubicBezTo>
                    <a:cubicBezTo>
                      <a:pt x="95" y="14"/>
                      <a:pt x="95" y="14"/>
                      <a:pt x="95" y="14"/>
                    </a:cubicBezTo>
                    <a:cubicBezTo>
                      <a:pt x="84" y="0"/>
                      <a:pt x="84" y="0"/>
                      <a:pt x="84" y="0"/>
                    </a:cubicBezTo>
                    <a:cubicBezTo>
                      <a:pt x="72" y="14"/>
                      <a:pt x="72" y="14"/>
                      <a:pt x="72" y="14"/>
                    </a:cubicBezTo>
                    <a:cubicBezTo>
                      <a:pt x="58" y="4"/>
                      <a:pt x="58" y="4"/>
                      <a:pt x="58" y="4"/>
                    </a:cubicBezTo>
                    <a:cubicBezTo>
                      <a:pt x="51" y="21"/>
                      <a:pt x="51" y="21"/>
                      <a:pt x="51" y="21"/>
                    </a:cubicBezTo>
                    <a:cubicBezTo>
                      <a:pt x="34" y="16"/>
                      <a:pt x="34" y="16"/>
                      <a:pt x="34" y="16"/>
                    </a:cubicBezTo>
                    <a:cubicBezTo>
                      <a:pt x="33" y="34"/>
                      <a:pt x="33" y="34"/>
                      <a:pt x="33" y="34"/>
                    </a:cubicBezTo>
                    <a:cubicBezTo>
                      <a:pt x="16" y="35"/>
                      <a:pt x="16" y="35"/>
                      <a:pt x="16" y="35"/>
                    </a:cubicBezTo>
                    <a:cubicBezTo>
                      <a:pt x="20" y="52"/>
                      <a:pt x="20" y="52"/>
                      <a:pt x="20" y="52"/>
                    </a:cubicBezTo>
                    <a:cubicBezTo>
                      <a:pt x="4" y="58"/>
                      <a:pt x="4" y="58"/>
                      <a:pt x="4" y="58"/>
                    </a:cubicBezTo>
                    <a:cubicBezTo>
                      <a:pt x="13" y="73"/>
                      <a:pt x="13" y="73"/>
                      <a:pt x="13" y="73"/>
                    </a:cubicBezTo>
                    <a:cubicBezTo>
                      <a:pt x="0" y="84"/>
                      <a:pt x="0" y="84"/>
                      <a:pt x="0" y="84"/>
                    </a:cubicBezTo>
                    <a:cubicBezTo>
                      <a:pt x="13" y="96"/>
                      <a:pt x="13" y="96"/>
                      <a:pt x="13" y="96"/>
                    </a:cubicBezTo>
                    <a:cubicBezTo>
                      <a:pt x="4" y="110"/>
                      <a:pt x="4" y="110"/>
                      <a:pt x="4" y="110"/>
                    </a:cubicBezTo>
                    <a:cubicBezTo>
                      <a:pt x="20" y="117"/>
                      <a:pt x="20" y="117"/>
                      <a:pt x="20" y="117"/>
                    </a:cubicBezTo>
                    <a:cubicBezTo>
                      <a:pt x="16" y="134"/>
                      <a:pt x="16" y="134"/>
                      <a:pt x="16" y="134"/>
                    </a:cubicBezTo>
                    <a:cubicBezTo>
                      <a:pt x="33" y="135"/>
                      <a:pt x="33" y="135"/>
                      <a:pt x="33" y="135"/>
                    </a:cubicBezTo>
                    <a:cubicBezTo>
                      <a:pt x="34" y="152"/>
                      <a:pt x="34" y="152"/>
                      <a:pt x="34" y="152"/>
                    </a:cubicBezTo>
                    <a:cubicBezTo>
                      <a:pt x="51" y="148"/>
                      <a:pt x="51" y="148"/>
                      <a:pt x="51" y="148"/>
                    </a:cubicBezTo>
                    <a:cubicBezTo>
                      <a:pt x="58" y="164"/>
                      <a:pt x="58" y="164"/>
                      <a:pt x="58" y="164"/>
                    </a:cubicBezTo>
                    <a:cubicBezTo>
                      <a:pt x="72" y="155"/>
                      <a:pt x="72" y="155"/>
                      <a:pt x="72" y="155"/>
                    </a:cubicBezTo>
                    <a:cubicBezTo>
                      <a:pt x="84" y="168"/>
                      <a:pt x="84" y="168"/>
                      <a:pt x="84" y="168"/>
                    </a:cubicBezTo>
                    <a:cubicBezTo>
                      <a:pt x="95" y="155"/>
                      <a:pt x="95" y="155"/>
                      <a:pt x="95" y="155"/>
                    </a:cubicBezTo>
                    <a:cubicBezTo>
                      <a:pt x="110" y="164"/>
                      <a:pt x="110" y="164"/>
                      <a:pt x="110" y="164"/>
                    </a:cubicBezTo>
                    <a:cubicBezTo>
                      <a:pt x="116" y="148"/>
                      <a:pt x="116" y="148"/>
                      <a:pt x="116" y="148"/>
                    </a:cubicBezTo>
                    <a:cubicBezTo>
                      <a:pt x="133" y="152"/>
                      <a:pt x="133" y="152"/>
                      <a:pt x="133" y="152"/>
                    </a:cubicBezTo>
                    <a:cubicBezTo>
                      <a:pt x="134" y="135"/>
                      <a:pt x="134" y="135"/>
                      <a:pt x="134" y="135"/>
                    </a:cubicBezTo>
                    <a:cubicBezTo>
                      <a:pt x="152" y="134"/>
                      <a:pt x="152" y="134"/>
                      <a:pt x="152" y="134"/>
                    </a:cubicBezTo>
                    <a:cubicBezTo>
                      <a:pt x="147" y="117"/>
                      <a:pt x="147" y="117"/>
                      <a:pt x="147" y="117"/>
                    </a:cubicBezTo>
                    <a:cubicBezTo>
                      <a:pt x="163" y="110"/>
                      <a:pt x="163" y="110"/>
                      <a:pt x="163" y="110"/>
                    </a:cubicBezTo>
                    <a:lnTo>
                      <a:pt x="154" y="96"/>
                    </a:lnTo>
                    <a:close/>
                    <a:moveTo>
                      <a:pt x="84" y="148"/>
                    </a:moveTo>
                    <a:cubicBezTo>
                      <a:pt x="50" y="148"/>
                      <a:pt x="22" y="120"/>
                      <a:pt x="22" y="86"/>
                    </a:cubicBezTo>
                    <a:cubicBezTo>
                      <a:pt x="22" y="51"/>
                      <a:pt x="50" y="24"/>
                      <a:pt x="84" y="24"/>
                    </a:cubicBezTo>
                    <a:cubicBezTo>
                      <a:pt x="118" y="24"/>
                      <a:pt x="146" y="51"/>
                      <a:pt x="146" y="86"/>
                    </a:cubicBezTo>
                    <a:cubicBezTo>
                      <a:pt x="146" y="120"/>
                      <a:pt x="118" y="148"/>
                      <a:pt x="84" y="1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70" name="Freeform 27"/>
              <p:cNvSpPr>
                <a:spLocks/>
              </p:cNvSpPr>
              <p:nvPr/>
            </p:nvSpPr>
            <p:spPr bwMode="auto">
              <a:xfrm>
                <a:off x="5640356" y="3892580"/>
                <a:ext cx="957576" cy="537586"/>
              </a:xfrm>
              <a:custGeom>
                <a:avLst/>
                <a:gdLst>
                  <a:gd name="T0" fmla="*/ 627 w 627"/>
                  <a:gd name="T1" fmla="*/ 0 h 352"/>
                  <a:gd name="T2" fmla="*/ 119 w 627"/>
                  <a:gd name="T3" fmla="*/ 0 h 352"/>
                  <a:gd name="T4" fmla="*/ 119 w 627"/>
                  <a:gd name="T5" fmla="*/ 259 h 352"/>
                  <a:gd name="T6" fmla="*/ 72 w 627"/>
                  <a:gd name="T7" fmla="*/ 241 h 352"/>
                  <a:gd name="T8" fmla="*/ 72 w 627"/>
                  <a:gd name="T9" fmla="*/ 0 h 352"/>
                  <a:gd name="T10" fmla="*/ 45 w 627"/>
                  <a:gd name="T11" fmla="*/ 0 h 352"/>
                  <a:gd name="T12" fmla="*/ 45 w 627"/>
                  <a:gd name="T13" fmla="*/ 232 h 352"/>
                  <a:gd name="T14" fmla="*/ 21 w 627"/>
                  <a:gd name="T15" fmla="*/ 223 h 352"/>
                  <a:gd name="T16" fmla="*/ 21 w 627"/>
                  <a:gd name="T17" fmla="*/ 0 h 352"/>
                  <a:gd name="T18" fmla="*/ 0 w 627"/>
                  <a:gd name="T19" fmla="*/ 0 h 352"/>
                  <a:gd name="T20" fmla="*/ 0 w 627"/>
                  <a:gd name="T21" fmla="*/ 215 h 352"/>
                  <a:gd name="T22" fmla="*/ 373 w 627"/>
                  <a:gd name="T23" fmla="*/ 352 h 352"/>
                  <a:gd name="T24" fmla="*/ 627 w 627"/>
                  <a:gd name="T25" fmla="*/ 259 h 352"/>
                  <a:gd name="T26" fmla="*/ 627 w 627"/>
                  <a:gd name="T27" fmla="*/ 0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27" h="352">
                    <a:moveTo>
                      <a:pt x="627" y="0"/>
                    </a:moveTo>
                    <a:lnTo>
                      <a:pt x="119" y="0"/>
                    </a:lnTo>
                    <a:lnTo>
                      <a:pt x="119" y="259"/>
                    </a:lnTo>
                    <a:lnTo>
                      <a:pt x="72" y="241"/>
                    </a:lnTo>
                    <a:lnTo>
                      <a:pt x="72" y="0"/>
                    </a:lnTo>
                    <a:lnTo>
                      <a:pt x="45" y="0"/>
                    </a:lnTo>
                    <a:lnTo>
                      <a:pt x="45" y="232"/>
                    </a:lnTo>
                    <a:lnTo>
                      <a:pt x="21" y="223"/>
                    </a:lnTo>
                    <a:lnTo>
                      <a:pt x="21" y="0"/>
                    </a:lnTo>
                    <a:lnTo>
                      <a:pt x="0" y="0"/>
                    </a:lnTo>
                    <a:lnTo>
                      <a:pt x="0" y="215"/>
                    </a:lnTo>
                    <a:lnTo>
                      <a:pt x="373" y="352"/>
                    </a:lnTo>
                    <a:lnTo>
                      <a:pt x="627" y="259"/>
                    </a:lnTo>
                    <a:lnTo>
                      <a:pt x="62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71" name="Freeform 28"/>
              <p:cNvSpPr>
                <a:spLocks/>
              </p:cNvSpPr>
              <p:nvPr/>
            </p:nvSpPr>
            <p:spPr bwMode="auto">
              <a:xfrm>
                <a:off x="6643748" y="3892580"/>
                <a:ext cx="135924" cy="377227"/>
              </a:xfrm>
              <a:custGeom>
                <a:avLst/>
                <a:gdLst>
                  <a:gd name="T0" fmla="*/ 65 w 89"/>
                  <a:gd name="T1" fmla="*/ 0 h 247"/>
                  <a:gd name="T2" fmla="*/ 65 w 89"/>
                  <a:gd name="T3" fmla="*/ 223 h 247"/>
                  <a:gd name="T4" fmla="*/ 41 w 89"/>
                  <a:gd name="T5" fmla="*/ 232 h 247"/>
                  <a:gd name="T6" fmla="*/ 41 w 89"/>
                  <a:gd name="T7" fmla="*/ 0 h 247"/>
                  <a:gd name="T8" fmla="*/ 14 w 89"/>
                  <a:gd name="T9" fmla="*/ 0 h 247"/>
                  <a:gd name="T10" fmla="*/ 14 w 89"/>
                  <a:gd name="T11" fmla="*/ 241 h 247"/>
                  <a:gd name="T12" fmla="*/ 0 w 89"/>
                  <a:gd name="T13" fmla="*/ 247 h 247"/>
                  <a:gd name="T14" fmla="*/ 89 w 89"/>
                  <a:gd name="T15" fmla="*/ 215 h 247"/>
                  <a:gd name="T16" fmla="*/ 89 w 89"/>
                  <a:gd name="T17" fmla="*/ 0 h 247"/>
                  <a:gd name="T18" fmla="*/ 65 w 89"/>
                  <a:gd name="T19" fmla="*/ 0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9" h="247">
                    <a:moveTo>
                      <a:pt x="65" y="0"/>
                    </a:moveTo>
                    <a:lnTo>
                      <a:pt x="65" y="223"/>
                    </a:lnTo>
                    <a:lnTo>
                      <a:pt x="41" y="232"/>
                    </a:lnTo>
                    <a:lnTo>
                      <a:pt x="41" y="0"/>
                    </a:lnTo>
                    <a:lnTo>
                      <a:pt x="14" y="0"/>
                    </a:lnTo>
                    <a:lnTo>
                      <a:pt x="14" y="241"/>
                    </a:lnTo>
                    <a:lnTo>
                      <a:pt x="0" y="247"/>
                    </a:lnTo>
                    <a:lnTo>
                      <a:pt x="89" y="215"/>
                    </a:lnTo>
                    <a:lnTo>
                      <a:pt x="89" y="0"/>
                    </a:lnTo>
                    <a:lnTo>
                      <a:pt x="6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grpSp>
        <p:sp>
          <p:nvSpPr>
            <p:cNvPr id="66" name="TextBox 65"/>
            <p:cNvSpPr txBox="1"/>
            <p:nvPr/>
          </p:nvSpPr>
          <p:spPr>
            <a:xfrm>
              <a:off x="10092666" y="3688873"/>
              <a:ext cx="1056059" cy="280718"/>
            </a:xfrm>
            <a:prstGeom prst="rect">
              <a:avLst/>
            </a:prstGeom>
            <a:noFill/>
          </p:spPr>
          <p:txBody>
            <a:bodyPr wrap="none" rtlCol="0">
              <a:spAutoFit/>
            </a:bodyPr>
            <a:lstStyle/>
            <a:p>
              <a:pPr algn="ctr"/>
              <a:r>
                <a:rPr lang="en-US" sz="1224" b="1">
                  <a:solidFill>
                    <a:schemeClr val="bg1"/>
                  </a:solidFill>
                  <a:ea typeface="Segoe UI Black" panose="020B0A02040204020203" pitchFamily="34" charset="0"/>
                  <a:cs typeface="Segoe UI Black" panose="020B0A02040204020203" pitchFamily="34" charset="0"/>
                </a:rPr>
                <a:t>Consistency</a:t>
              </a:r>
            </a:p>
          </p:txBody>
        </p:sp>
        <p:sp>
          <p:nvSpPr>
            <p:cNvPr id="67" name="TextBox 66"/>
            <p:cNvSpPr txBox="1"/>
            <p:nvPr/>
          </p:nvSpPr>
          <p:spPr>
            <a:xfrm>
              <a:off x="10129021" y="4671432"/>
              <a:ext cx="983340" cy="265009"/>
            </a:xfrm>
            <a:prstGeom prst="rect">
              <a:avLst/>
            </a:prstGeom>
            <a:noFill/>
          </p:spPr>
          <p:txBody>
            <a:bodyPr wrap="square" rtlCol="0">
              <a:spAutoFit/>
            </a:bodyPr>
            <a:lstStyle/>
            <a:p>
              <a:pPr algn="ctr"/>
              <a:r>
                <a:rPr lang="en-US" sz="1122" b="1">
                  <a:solidFill>
                    <a:schemeClr val="bg1"/>
                  </a:solidFill>
                  <a:ea typeface="Segoe UI Black" panose="020B0A02040204020203" pitchFamily="34" charset="0"/>
                  <a:cs typeface="Segoe UI Black" panose="020B0A02040204020203" pitchFamily="34" charset="0"/>
                </a:rPr>
                <a:t>Guaranteed</a:t>
              </a:r>
            </a:p>
          </p:txBody>
        </p:sp>
      </p:grpSp>
      <p:sp>
        <p:nvSpPr>
          <p:cNvPr id="100" name="Content Placeholder 2"/>
          <p:cNvSpPr txBox="1">
            <a:spLocks/>
          </p:cNvSpPr>
          <p:nvPr/>
        </p:nvSpPr>
        <p:spPr>
          <a:xfrm>
            <a:off x="446893" y="6129924"/>
            <a:ext cx="2948387" cy="382308"/>
          </a:xfrm>
          <a:prstGeom prst="rect">
            <a:avLst/>
          </a:prstGeom>
        </p:spPr>
        <p:txBody>
          <a:bodyPr vert="horz" wrap="square" lIns="93260" tIns="46630" rIns="93260" bIns="4663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40" b="1">
                <a:solidFill>
                  <a:schemeClr val="bg1"/>
                </a:solidFill>
                <a:latin typeface="Segoe UI" charset="0"/>
                <a:ea typeface="Segoe UI" charset="0"/>
                <a:cs typeface="Segoe UI" charset="0"/>
              </a:rPr>
              <a:t>Enterprise-level SLAs</a:t>
            </a:r>
          </a:p>
        </p:txBody>
      </p:sp>
      <p:grpSp>
        <p:nvGrpSpPr>
          <p:cNvPr id="101" name="Group 100"/>
          <p:cNvGrpSpPr/>
          <p:nvPr/>
        </p:nvGrpSpPr>
        <p:grpSpPr>
          <a:xfrm>
            <a:off x="-3919" y="6157348"/>
            <a:ext cx="450812" cy="305337"/>
            <a:chOff x="6082249" y="5559189"/>
            <a:chExt cx="564210" cy="382141"/>
          </a:xfrm>
          <a:solidFill>
            <a:schemeClr val="accent2"/>
          </a:solidFill>
        </p:grpSpPr>
        <p:sp>
          <p:nvSpPr>
            <p:cNvPr id="102" name="Isosceles Triangle 22"/>
            <p:cNvSpPr/>
            <p:nvPr/>
          </p:nvSpPr>
          <p:spPr bwMode="auto">
            <a:xfrm rot="5400000">
              <a:off x="6359855" y="5654725"/>
              <a:ext cx="382140" cy="191069"/>
            </a:xfrm>
            <a:prstGeom prst="triangle">
              <a:avLst>
                <a:gd name="adj" fmla="val 49896"/>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err="1">
                <a:gradFill>
                  <a:gsLst>
                    <a:gs pos="0">
                      <a:srgbClr val="FFFFFF"/>
                    </a:gs>
                    <a:gs pos="100000">
                      <a:srgbClr val="FFFFFF"/>
                    </a:gs>
                  </a:gsLst>
                  <a:lin ang="5400000" scaled="0"/>
                </a:gradFill>
                <a:ea typeface="Segoe UI" pitchFamily="34" charset="0"/>
                <a:cs typeface="Segoe UI" pitchFamily="34" charset="0"/>
              </a:endParaRPr>
            </a:p>
          </p:txBody>
        </p:sp>
        <p:sp>
          <p:nvSpPr>
            <p:cNvPr id="103" name="Rectangle 102"/>
            <p:cNvSpPr/>
            <p:nvPr/>
          </p:nvSpPr>
          <p:spPr bwMode="auto">
            <a:xfrm>
              <a:off x="6082249" y="5559189"/>
              <a:ext cx="373140" cy="382141"/>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5" name="Group 4"/>
          <p:cNvGrpSpPr/>
          <p:nvPr/>
        </p:nvGrpSpPr>
        <p:grpSpPr>
          <a:xfrm>
            <a:off x="5185733" y="3252560"/>
            <a:ext cx="1490374" cy="1985246"/>
            <a:chOff x="5084427" y="3189074"/>
            <a:chExt cx="1461284" cy="1946496"/>
          </a:xfrm>
        </p:grpSpPr>
        <p:sp>
          <p:nvSpPr>
            <p:cNvPr id="79" name="Oval 78"/>
            <p:cNvSpPr/>
            <p:nvPr/>
          </p:nvSpPr>
          <p:spPr>
            <a:xfrm>
              <a:off x="5244004" y="3863535"/>
              <a:ext cx="1155237" cy="115523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grpSp>
          <p:nvGrpSpPr>
            <p:cNvPr id="80" name="Group 79"/>
            <p:cNvGrpSpPr/>
            <p:nvPr/>
          </p:nvGrpSpPr>
          <p:grpSpPr>
            <a:xfrm>
              <a:off x="5084427" y="3189074"/>
              <a:ext cx="1461284" cy="1946496"/>
              <a:chOff x="5640350" y="3892576"/>
              <a:chExt cx="1139322" cy="1517620"/>
            </a:xfrm>
            <a:solidFill>
              <a:srgbClr val="BAD80A"/>
            </a:solidFill>
          </p:grpSpPr>
          <p:sp>
            <p:nvSpPr>
              <p:cNvPr id="99" name="Oval 25"/>
              <p:cNvSpPr>
                <a:spLocks noChangeArrowheads="1"/>
              </p:cNvSpPr>
              <p:nvPr/>
            </p:nvSpPr>
            <p:spPr bwMode="auto">
              <a:xfrm>
                <a:off x="5883431" y="4534518"/>
                <a:ext cx="662315" cy="664537"/>
              </a:xfrm>
              <a:prstGeom prst="ellipse">
                <a:avLst/>
              </a:pr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04" name="Freeform 26"/>
              <p:cNvSpPr>
                <a:spLocks noEditPoints="1"/>
              </p:cNvSpPr>
              <p:nvPr/>
            </p:nvSpPr>
            <p:spPr bwMode="auto">
              <a:xfrm>
                <a:off x="5656735" y="4296709"/>
                <a:ext cx="1115711" cy="1113487"/>
              </a:xfrm>
              <a:custGeom>
                <a:avLst/>
                <a:gdLst>
                  <a:gd name="T0" fmla="*/ 154 w 168"/>
                  <a:gd name="T1" fmla="*/ 96 h 168"/>
                  <a:gd name="T2" fmla="*/ 168 w 168"/>
                  <a:gd name="T3" fmla="*/ 84 h 168"/>
                  <a:gd name="T4" fmla="*/ 154 w 168"/>
                  <a:gd name="T5" fmla="*/ 73 h 168"/>
                  <a:gd name="T6" fmla="*/ 163 w 168"/>
                  <a:gd name="T7" fmla="*/ 58 h 168"/>
                  <a:gd name="T8" fmla="*/ 147 w 168"/>
                  <a:gd name="T9" fmla="*/ 52 h 168"/>
                  <a:gd name="T10" fmla="*/ 152 w 168"/>
                  <a:gd name="T11" fmla="*/ 35 h 168"/>
                  <a:gd name="T12" fmla="*/ 134 w 168"/>
                  <a:gd name="T13" fmla="*/ 34 h 168"/>
                  <a:gd name="T14" fmla="*/ 133 w 168"/>
                  <a:gd name="T15" fmla="*/ 16 h 168"/>
                  <a:gd name="T16" fmla="*/ 116 w 168"/>
                  <a:gd name="T17" fmla="*/ 21 h 168"/>
                  <a:gd name="T18" fmla="*/ 110 w 168"/>
                  <a:gd name="T19" fmla="*/ 4 h 168"/>
                  <a:gd name="T20" fmla="*/ 95 w 168"/>
                  <a:gd name="T21" fmla="*/ 14 h 168"/>
                  <a:gd name="T22" fmla="*/ 84 w 168"/>
                  <a:gd name="T23" fmla="*/ 0 h 168"/>
                  <a:gd name="T24" fmla="*/ 72 w 168"/>
                  <a:gd name="T25" fmla="*/ 14 h 168"/>
                  <a:gd name="T26" fmla="*/ 58 w 168"/>
                  <a:gd name="T27" fmla="*/ 4 h 168"/>
                  <a:gd name="T28" fmla="*/ 51 w 168"/>
                  <a:gd name="T29" fmla="*/ 21 h 168"/>
                  <a:gd name="T30" fmla="*/ 34 w 168"/>
                  <a:gd name="T31" fmla="*/ 16 h 168"/>
                  <a:gd name="T32" fmla="*/ 33 w 168"/>
                  <a:gd name="T33" fmla="*/ 34 h 168"/>
                  <a:gd name="T34" fmla="*/ 16 w 168"/>
                  <a:gd name="T35" fmla="*/ 35 h 168"/>
                  <a:gd name="T36" fmla="*/ 20 w 168"/>
                  <a:gd name="T37" fmla="*/ 52 h 168"/>
                  <a:gd name="T38" fmla="*/ 4 w 168"/>
                  <a:gd name="T39" fmla="*/ 58 h 168"/>
                  <a:gd name="T40" fmla="*/ 13 w 168"/>
                  <a:gd name="T41" fmla="*/ 73 h 168"/>
                  <a:gd name="T42" fmla="*/ 0 w 168"/>
                  <a:gd name="T43" fmla="*/ 84 h 168"/>
                  <a:gd name="T44" fmla="*/ 13 w 168"/>
                  <a:gd name="T45" fmla="*/ 96 h 168"/>
                  <a:gd name="T46" fmla="*/ 4 w 168"/>
                  <a:gd name="T47" fmla="*/ 110 h 168"/>
                  <a:gd name="T48" fmla="*/ 20 w 168"/>
                  <a:gd name="T49" fmla="*/ 117 h 168"/>
                  <a:gd name="T50" fmla="*/ 16 w 168"/>
                  <a:gd name="T51" fmla="*/ 134 h 168"/>
                  <a:gd name="T52" fmla="*/ 33 w 168"/>
                  <a:gd name="T53" fmla="*/ 135 h 168"/>
                  <a:gd name="T54" fmla="*/ 34 w 168"/>
                  <a:gd name="T55" fmla="*/ 152 h 168"/>
                  <a:gd name="T56" fmla="*/ 51 w 168"/>
                  <a:gd name="T57" fmla="*/ 148 h 168"/>
                  <a:gd name="T58" fmla="*/ 58 w 168"/>
                  <a:gd name="T59" fmla="*/ 164 h 168"/>
                  <a:gd name="T60" fmla="*/ 72 w 168"/>
                  <a:gd name="T61" fmla="*/ 155 h 168"/>
                  <a:gd name="T62" fmla="*/ 84 w 168"/>
                  <a:gd name="T63" fmla="*/ 168 h 168"/>
                  <a:gd name="T64" fmla="*/ 95 w 168"/>
                  <a:gd name="T65" fmla="*/ 155 h 168"/>
                  <a:gd name="T66" fmla="*/ 110 w 168"/>
                  <a:gd name="T67" fmla="*/ 164 h 168"/>
                  <a:gd name="T68" fmla="*/ 116 w 168"/>
                  <a:gd name="T69" fmla="*/ 148 h 168"/>
                  <a:gd name="T70" fmla="*/ 133 w 168"/>
                  <a:gd name="T71" fmla="*/ 152 h 168"/>
                  <a:gd name="T72" fmla="*/ 134 w 168"/>
                  <a:gd name="T73" fmla="*/ 135 h 168"/>
                  <a:gd name="T74" fmla="*/ 152 w 168"/>
                  <a:gd name="T75" fmla="*/ 134 h 168"/>
                  <a:gd name="T76" fmla="*/ 147 w 168"/>
                  <a:gd name="T77" fmla="*/ 117 h 168"/>
                  <a:gd name="T78" fmla="*/ 163 w 168"/>
                  <a:gd name="T79" fmla="*/ 110 h 168"/>
                  <a:gd name="T80" fmla="*/ 154 w 168"/>
                  <a:gd name="T81" fmla="*/ 96 h 168"/>
                  <a:gd name="T82" fmla="*/ 84 w 168"/>
                  <a:gd name="T83" fmla="*/ 148 h 168"/>
                  <a:gd name="T84" fmla="*/ 22 w 168"/>
                  <a:gd name="T85" fmla="*/ 86 h 168"/>
                  <a:gd name="T86" fmla="*/ 84 w 168"/>
                  <a:gd name="T87" fmla="*/ 24 h 168"/>
                  <a:gd name="T88" fmla="*/ 146 w 168"/>
                  <a:gd name="T89" fmla="*/ 86 h 168"/>
                  <a:gd name="T90" fmla="*/ 84 w 168"/>
                  <a:gd name="T91" fmla="*/ 148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68" h="168">
                    <a:moveTo>
                      <a:pt x="154" y="96"/>
                    </a:moveTo>
                    <a:cubicBezTo>
                      <a:pt x="168" y="84"/>
                      <a:pt x="168" y="84"/>
                      <a:pt x="168" y="84"/>
                    </a:cubicBezTo>
                    <a:cubicBezTo>
                      <a:pt x="154" y="73"/>
                      <a:pt x="154" y="73"/>
                      <a:pt x="154" y="73"/>
                    </a:cubicBezTo>
                    <a:cubicBezTo>
                      <a:pt x="163" y="58"/>
                      <a:pt x="163" y="58"/>
                      <a:pt x="163" y="58"/>
                    </a:cubicBezTo>
                    <a:cubicBezTo>
                      <a:pt x="147" y="52"/>
                      <a:pt x="147" y="52"/>
                      <a:pt x="147" y="52"/>
                    </a:cubicBezTo>
                    <a:cubicBezTo>
                      <a:pt x="152" y="35"/>
                      <a:pt x="152" y="35"/>
                      <a:pt x="152" y="35"/>
                    </a:cubicBezTo>
                    <a:cubicBezTo>
                      <a:pt x="134" y="34"/>
                      <a:pt x="134" y="34"/>
                      <a:pt x="134" y="34"/>
                    </a:cubicBezTo>
                    <a:cubicBezTo>
                      <a:pt x="133" y="16"/>
                      <a:pt x="133" y="16"/>
                      <a:pt x="133" y="16"/>
                    </a:cubicBezTo>
                    <a:cubicBezTo>
                      <a:pt x="116" y="21"/>
                      <a:pt x="116" y="21"/>
                      <a:pt x="116" y="21"/>
                    </a:cubicBezTo>
                    <a:cubicBezTo>
                      <a:pt x="110" y="4"/>
                      <a:pt x="110" y="4"/>
                      <a:pt x="110" y="4"/>
                    </a:cubicBezTo>
                    <a:cubicBezTo>
                      <a:pt x="95" y="14"/>
                      <a:pt x="95" y="14"/>
                      <a:pt x="95" y="14"/>
                    </a:cubicBezTo>
                    <a:cubicBezTo>
                      <a:pt x="84" y="0"/>
                      <a:pt x="84" y="0"/>
                      <a:pt x="84" y="0"/>
                    </a:cubicBezTo>
                    <a:cubicBezTo>
                      <a:pt x="72" y="14"/>
                      <a:pt x="72" y="14"/>
                      <a:pt x="72" y="14"/>
                    </a:cubicBezTo>
                    <a:cubicBezTo>
                      <a:pt x="58" y="4"/>
                      <a:pt x="58" y="4"/>
                      <a:pt x="58" y="4"/>
                    </a:cubicBezTo>
                    <a:cubicBezTo>
                      <a:pt x="51" y="21"/>
                      <a:pt x="51" y="21"/>
                      <a:pt x="51" y="21"/>
                    </a:cubicBezTo>
                    <a:cubicBezTo>
                      <a:pt x="34" y="16"/>
                      <a:pt x="34" y="16"/>
                      <a:pt x="34" y="16"/>
                    </a:cubicBezTo>
                    <a:cubicBezTo>
                      <a:pt x="33" y="34"/>
                      <a:pt x="33" y="34"/>
                      <a:pt x="33" y="34"/>
                    </a:cubicBezTo>
                    <a:cubicBezTo>
                      <a:pt x="16" y="35"/>
                      <a:pt x="16" y="35"/>
                      <a:pt x="16" y="35"/>
                    </a:cubicBezTo>
                    <a:cubicBezTo>
                      <a:pt x="20" y="52"/>
                      <a:pt x="20" y="52"/>
                      <a:pt x="20" y="52"/>
                    </a:cubicBezTo>
                    <a:cubicBezTo>
                      <a:pt x="4" y="58"/>
                      <a:pt x="4" y="58"/>
                      <a:pt x="4" y="58"/>
                    </a:cubicBezTo>
                    <a:cubicBezTo>
                      <a:pt x="13" y="73"/>
                      <a:pt x="13" y="73"/>
                      <a:pt x="13" y="73"/>
                    </a:cubicBezTo>
                    <a:cubicBezTo>
                      <a:pt x="0" y="84"/>
                      <a:pt x="0" y="84"/>
                      <a:pt x="0" y="84"/>
                    </a:cubicBezTo>
                    <a:cubicBezTo>
                      <a:pt x="13" y="96"/>
                      <a:pt x="13" y="96"/>
                      <a:pt x="13" y="96"/>
                    </a:cubicBezTo>
                    <a:cubicBezTo>
                      <a:pt x="4" y="110"/>
                      <a:pt x="4" y="110"/>
                      <a:pt x="4" y="110"/>
                    </a:cubicBezTo>
                    <a:cubicBezTo>
                      <a:pt x="20" y="117"/>
                      <a:pt x="20" y="117"/>
                      <a:pt x="20" y="117"/>
                    </a:cubicBezTo>
                    <a:cubicBezTo>
                      <a:pt x="16" y="134"/>
                      <a:pt x="16" y="134"/>
                      <a:pt x="16" y="134"/>
                    </a:cubicBezTo>
                    <a:cubicBezTo>
                      <a:pt x="33" y="135"/>
                      <a:pt x="33" y="135"/>
                      <a:pt x="33" y="135"/>
                    </a:cubicBezTo>
                    <a:cubicBezTo>
                      <a:pt x="34" y="152"/>
                      <a:pt x="34" y="152"/>
                      <a:pt x="34" y="152"/>
                    </a:cubicBezTo>
                    <a:cubicBezTo>
                      <a:pt x="51" y="148"/>
                      <a:pt x="51" y="148"/>
                      <a:pt x="51" y="148"/>
                    </a:cubicBezTo>
                    <a:cubicBezTo>
                      <a:pt x="58" y="164"/>
                      <a:pt x="58" y="164"/>
                      <a:pt x="58" y="164"/>
                    </a:cubicBezTo>
                    <a:cubicBezTo>
                      <a:pt x="72" y="155"/>
                      <a:pt x="72" y="155"/>
                      <a:pt x="72" y="155"/>
                    </a:cubicBezTo>
                    <a:cubicBezTo>
                      <a:pt x="84" y="168"/>
                      <a:pt x="84" y="168"/>
                      <a:pt x="84" y="168"/>
                    </a:cubicBezTo>
                    <a:cubicBezTo>
                      <a:pt x="95" y="155"/>
                      <a:pt x="95" y="155"/>
                      <a:pt x="95" y="155"/>
                    </a:cubicBezTo>
                    <a:cubicBezTo>
                      <a:pt x="110" y="164"/>
                      <a:pt x="110" y="164"/>
                      <a:pt x="110" y="164"/>
                    </a:cubicBezTo>
                    <a:cubicBezTo>
                      <a:pt x="116" y="148"/>
                      <a:pt x="116" y="148"/>
                      <a:pt x="116" y="148"/>
                    </a:cubicBezTo>
                    <a:cubicBezTo>
                      <a:pt x="133" y="152"/>
                      <a:pt x="133" y="152"/>
                      <a:pt x="133" y="152"/>
                    </a:cubicBezTo>
                    <a:cubicBezTo>
                      <a:pt x="134" y="135"/>
                      <a:pt x="134" y="135"/>
                      <a:pt x="134" y="135"/>
                    </a:cubicBezTo>
                    <a:cubicBezTo>
                      <a:pt x="152" y="134"/>
                      <a:pt x="152" y="134"/>
                      <a:pt x="152" y="134"/>
                    </a:cubicBezTo>
                    <a:cubicBezTo>
                      <a:pt x="147" y="117"/>
                      <a:pt x="147" y="117"/>
                      <a:pt x="147" y="117"/>
                    </a:cubicBezTo>
                    <a:cubicBezTo>
                      <a:pt x="163" y="110"/>
                      <a:pt x="163" y="110"/>
                      <a:pt x="163" y="110"/>
                    </a:cubicBezTo>
                    <a:lnTo>
                      <a:pt x="154" y="96"/>
                    </a:lnTo>
                    <a:close/>
                    <a:moveTo>
                      <a:pt x="84" y="148"/>
                    </a:moveTo>
                    <a:cubicBezTo>
                      <a:pt x="50" y="148"/>
                      <a:pt x="22" y="120"/>
                      <a:pt x="22" y="86"/>
                    </a:cubicBezTo>
                    <a:cubicBezTo>
                      <a:pt x="22" y="51"/>
                      <a:pt x="50" y="24"/>
                      <a:pt x="84" y="24"/>
                    </a:cubicBezTo>
                    <a:cubicBezTo>
                      <a:pt x="118" y="24"/>
                      <a:pt x="146" y="51"/>
                      <a:pt x="146" y="86"/>
                    </a:cubicBezTo>
                    <a:cubicBezTo>
                      <a:pt x="146" y="120"/>
                      <a:pt x="118" y="148"/>
                      <a:pt x="84" y="148"/>
                    </a:cubicBez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05" name="Freeform 27"/>
              <p:cNvSpPr>
                <a:spLocks/>
              </p:cNvSpPr>
              <p:nvPr/>
            </p:nvSpPr>
            <p:spPr bwMode="auto">
              <a:xfrm>
                <a:off x="5640350" y="3892576"/>
                <a:ext cx="957575" cy="537586"/>
              </a:xfrm>
              <a:custGeom>
                <a:avLst/>
                <a:gdLst>
                  <a:gd name="T0" fmla="*/ 627 w 627"/>
                  <a:gd name="T1" fmla="*/ 0 h 352"/>
                  <a:gd name="T2" fmla="*/ 119 w 627"/>
                  <a:gd name="T3" fmla="*/ 0 h 352"/>
                  <a:gd name="T4" fmla="*/ 119 w 627"/>
                  <a:gd name="T5" fmla="*/ 259 h 352"/>
                  <a:gd name="T6" fmla="*/ 72 w 627"/>
                  <a:gd name="T7" fmla="*/ 241 h 352"/>
                  <a:gd name="T8" fmla="*/ 72 w 627"/>
                  <a:gd name="T9" fmla="*/ 0 h 352"/>
                  <a:gd name="T10" fmla="*/ 45 w 627"/>
                  <a:gd name="T11" fmla="*/ 0 h 352"/>
                  <a:gd name="T12" fmla="*/ 45 w 627"/>
                  <a:gd name="T13" fmla="*/ 232 h 352"/>
                  <a:gd name="T14" fmla="*/ 21 w 627"/>
                  <a:gd name="T15" fmla="*/ 223 h 352"/>
                  <a:gd name="T16" fmla="*/ 21 w 627"/>
                  <a:gd name="T17" fmla="*/ 0 h 352"/>
                  <a:gd name="T18" fmla="*/ 0 w 627"/>
                  <a:gd name="T19" fmla="*/ 0 h 352"/>
                  <a:gd name="T20" fmla="*/ 0 w 627"/>
                  <a:gd name="T21" fmla="*/ 215 h 352"/>
                  <a:gd name="T22" fmla="*/ 373 w 627"/>
                  <a:gd name="T23" fmla="*/ 352 h 352"/>
                  <a:gd name="T24" fmla="*/ 627 w 627"/>
                  <a:gd name="T25" fmla="*/ 259 h 352"/>
                  <a:gd name="T26" fmla="*/ 627 w 627"/>
                  <a:gd name="T27" fmla="*/ 0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27" h="352">
                    <a:moveTo>
                      <a:pt x="627" y="0"/>
                    </a:moveTo>
                    <a:lnTo>
                      <a:pt x="119" y="0"/>
                    </a:lnTo>
                    <a:lnTo>
                      <a:pt x="119" y="259"/>
                    </a:lnTo>
                    <a:lnTo>
                      <a:pt x="72" y="241"/>
                    </a:lnTo>
                    <a:lnTo>
                      <a:pt x="72" y="0"/>
                    </a:lnTo>
                    <a:lnTo>
                      <a:pt x="45" y="0"/>
                    </a:lnTo>
                    <a:lnTo>
                      <a:pt x="45" y="232"/>
                    </a:lnTo>
                    <a:lnTo>
                      <a:pt x="21" y="223"/>
                    </a:lnTo>
                    <a:lnTo>
                      <a:pt x="21" y="0"/>
                    </a:lnTo>
                    <a:lnTo>
                      <a:pt x="0" y="0"/>
                    </a:lnTo>
                    <a:lnTo>
                      <a:pt x="0" y="215"/>
                    </a:lnTo>
                    <a:lnTo>
                      <a:pt x="373" y="352"/>
                    </a:lnTo>
                    <a:lnTo>
                      <a:pt x="627" y="259"/>
                    </a:lnTo>
                    <a:lnTo>
                      <a:pt x="627" y="0"/>
                    </a:ln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06" name="Freeform 28"/>
              <p:cNvSpPr>
                <a:spLocks/>
              </p:cNvSpPr>
              <p:nvPr/>
            </p:nvSpPr>
            <p:spPr bwMode="auto">
              <a:xfrm>
                <a:off x="6643748" y="3892580"/>
                <a:ext cx="135924" cy="377227"/>
              </a:xfrm>
              <a:custGeom>
                <a:avLst/>
                <a:gdLst>
                  <a:gd name="T0" fmla="*/ 65 w 89"/>
                  <a:gd name="T1" fmla="*/ 0 h 247"/>
                  <a:gd name="T2" fmla="*/ 65 w 89"/>
                  <a:gd name="T3" fmla="*/ 223 h 247"/>
                  <a:gd name="T4" fmla="*/ 41 w 89"/>
                  <a:gd name="T5" fmla="*/ 232 h 247"/>
                  <a:gd name="T6" fmla="*/ 41 w 89"/>
                  <a:gd name="T7" fmla="*/ 0 h 247"/>
                  <a:gd name="T8" fmla="*/ 14 w 89"/>
                  <a:gd name="T9" fmla="*/ 0 h 247"/>
                  <a:gd name="T10" fmla="*/ 14 w 89"/>
                  <a:gd name="T11" fmla="*/ 241 h 247"/>
                  <a:gd name="T12" fmla="*/ 0 w 89"/>
                  <a:gd name="T13" fmla="*/ 247 h 247"/>
                  <a:gd name="T14" fmla="*/ 89 w 89"/>
                  <a:gd name="T15" fmla="*/ 215 h 247"/>
                  <a:gd name="T16" fmla="*/ 89 w 89"/>
                  <a:gd name="T17" fmla="*/ 0 h 247"/>
                  <a:gd name="T18" fmla="*/ 65 w 89"/>
                  <a:gd name="T19" fmla="*/ 0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9" h="247">
                    <a:moveTo>
                      <a:pt x="65" y="0"/>
                    </a:moveTo>
                    <a:lnTo>
                      <a:pt x="65" y="223"/>
                    </a:lnTo>
                    <a:lnTo>
                      <a:pt x="41" y="232"/>
                    </a:lnTo>
                    <a:lnTo>
                      <a:pt x="41" y="0"/>
                    </a:lnTo>
                    <a:lnTo>
                      <a:pt x="14" y="0"/>
                    </a:lnTo>
                    <a:lnTo>
                      <a:pt x="14" y="241"/>
                    </a:lnTo>
                    <a:lnTo>
                      <a:pt x="0" y="247"/>
                    </a:lnTo>
                    <a:lnTo>
                      <a:pt x="89" y="215"/>
                    </a:lnTo>
                    <a:lnTo>
                      <a:pt x="89" y="0"/>
                    </a:lnTo>
                    <a:lnTo>
                      <a:pt x="65" y="0"/>
                    </a:ln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grpSp>
        <p:sp>
          <p:nvSpPr>
            <p:cNvPr id="89" name="TextBox 88"/>
            <p:cNvSpPr txBox="1"/>
            <p:nvPr/>
          </p:nvSpPr>
          <p:spPr>
            <a:xfrm>
              <a:off x="5328042" y="4188176"/>
              <a:ext cx="934871" cy="346570"/>
            </a:xfrm>
            <a:prstGeom prst="rect">
              <a:avLst/>
            </a:prstGeom>
            <a:noFill/>
          </p:spPr>
          <p:txBody>
            <a:bodyPr wrap="none" rtlCol="0">
              <a:spAutoFit/>
            </a:bodyPr>
            <a:lstStyle/>
            <a:p>
              <a:pPr algn="ctr">
                <a:lnSpc>
                  <a:spcPct val="90000"/>
                </a:lnSpc>
              </a:pPr>
              <a:r>
                <a:rPr lang="en-US" sz="1836" b="1" spc="-10">
                  <a:solidFill>
                    <a:schemeClr val="bg1"/>
                  </a:solidFill>
                  <a:ea typeface="Segoe UI Black" panose="020B0A02040204020203" pitchFamily="34" charset="0"/>
                  <a:cs typeface="Segoe UI Black" panose="020B0A02040204020203" pitchFamily="34" charset="0"/>
                </a:rPr>
                <a:t>&lt;10ms</a:t>
              </a:r>
              <a:endParaRPr lang="en-US" sz="1020" b="1" spc="-10">
                <a:solidFill>
                  <a:schemeClr val="bg1"/>
                </a:solidFill>
                <a:ea typeface="Segoe UI Black" panose="020B0A02040204020203" pitchFamily="34" charset="0"/>
                <a:cs typeface="Segoe UI Black" panose="020B0A02040204020203" pitchFamily="34" charset="0"/>
              </a:endParaRPr>
            </a:p>
          </p:txBody>
        </p:sp>
        <p:sp>
          <p:nvSpPr>
            <p:cNvPr id="90" name="TextBox 89"/>
            <p:cNvSpPr txBox="1"/>
            <p:nvPr/>
          </p:nvSpPr>
          <p:spPr>
            <a:xfrm>
              <a:off x="5329274" y="3271164"/>
              <a:ext cx="983338" cy="343492"/>
            </a:xfrm>
            <a:prstGeom prst="rect">
              <a:avLst/>
            </a:prstGeom>
            <a:noFill/>
          </p:spPr>
          <p:txBody>
            <a:bodyPr wrap="square" rtlCol="0">
              <a:spAutoFit/>
            </a:bodyPr>
            <a:lstStyle/>
            <a:p>
              <a:pPr algn="ctr"/>
              <a:r>
                <a:rPr lang="en-US" sz="1632" b="1">
                  <a:solidFill>
                    <a:schemeClr val="bg1"/>
                  </a:solidFill>
                  <a:ea typeface="Segoe UI Black" panose="020B0A02040204020203" pitchFamily="34" charset="0"/>
                  <a:cs typeface="Segoe UI Black" panose="020B0A02040204020203" pitchFamily="34" charset="0"/>
                </a:rPr>
                <a:t>Latency</a:t>
              </a:r>
            </a:p>
          </p:txBody>
        </p:sp>
        <p:sp>
          <p:nvSpPr>
            <p:cNvPr id="107" name="TextBox 106"/>
            <p:cNvSpPr txBox="1"/>
            <p:nvPr/>
          </p:nvSpPr>
          <p:spPr>
            <a:xfrm>
              <a:off x="5493766" y="4479909"/>
              <a:ext cx="654346" cy="307777"/>
            </a:xfrm>
            <a:prstGeom prst="rect">
              <a:avLst/>
            </a:prstGeom>
            <a:noFill/>
          </p:spPr>
          <p:txBody>
            <a:bodyPr wrap="none" rtlCol="0">
              <a:spAutoFit/>
            </a:bodyPr>
            <a:lstStyle/>
            <a:p>
              <a:pPr algn="ctr">
                <a:lnSpc>
                  <a:spcPct val="80000"/>
                </a:lnSpc>
              </a:pPr>
              <a:r>
                <a:rPr lang="en-US" sz="918" b="1">
                  <a:solidFill>
                    <a:schemeClr val="bg1"/>
                  </a:solidFill>
                  <a:ea typeface="Segoe UI Black" panose="020B0A02040204020203" pitchFamily="34" charset="0"/>
                  <a:cs typeface="Segoe UI Black" panose="020B0A02040204020203" pitchFamily="34" charset="0"/>
                </a:rPr>
                <a:t>99</a:t>
              </a:r>
              <a:r>
                <a:rPr lang="en-US" sz="918" b="1" baseline="30000">
                  <a:solidFill>
                    <a:schemeClr val="bg1"/>
                  </a:solidFill>
                  <a:ea typeface="Segoe UI Black" panose="020B0A02040204020203" pitchFamily="34" charset="0"/>
                  <a:cs typeface="Segoe UI Black" panose="020B0A02040204020203" pitchFamily="34" charset="0"/>
                </a:rPr>
                <a:t>th</a:t>
              </a:r>
              <a:br>
                <a:rPr lang="en-US" sz="918" b="1" baseline="60000">
                  <a:solidFill>
                    <a:schemeClr val="bg1"/>
                  </a:solidFill>
                  <a:ea typeface="Segoe UI Black" panose="020B0A02040204020203" pitchFamily="34" charset="0"/>
                  <a:cs typeface="Segoe UI Black" panose="020B0A02040204020203" pitchFamily="34" charset="0"/>
                </a:rPr>
              </a:br>
              <a:r>
                <a:rPr lang="en-US" sz="816" b="1" spc="-10">
                  <a:solidFill>
                    <a:schemeClr val="bg1"/>
                  </a:solidFill>
                </a:rPr>
                <a:t>percentile</a:t>
              </a:r>
              <a:endParaRPr lang="en-US" sz="969" b="1" spc="-10">
                <a:solidFill>
                  <a:schemeClr val="bg1"/>
                </a:solidFill>
              </a:endParaRPr>
            </a:p>
          </p:txBody>
        </p:sp>
      </p:grpSp>
    </p:spTree>
    <p:extLst>
      <p:ext uri="{BB962C8B-B14F-4D97-AF65-F5344CB8AC3E}">
        <p14:creationId xmlns:p14="http://schemas.microsoft.com/office/powerpoint/2010/main" val="33387142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00">
                                            <p:txEl>
                                              <p:pRg st="0" end="0"/>
                                            </p:txEl>
                                          </p:spTgt>
                                        </p:tgtEl>
                                        <p:attrNameLst>
                                          <p:attrName>style.visibility</p:attrName>
                                        </p:attrNameLst>
                                      </p:cBhvr>
                                      <p:to>
                                        <p:strVal val="visible"/>
                                      </p:to>
                                    </p:set>
                                    <p:animEffect transition="in" filter="fade">
                                      <p:cBhvr>
                                        <p:cTn id="7" dur="500"/>
                                        <p:tgtEl>
                                          <p:spTgt spid="100">
                                            <p:txEl>
                                              <p:pRg st="0" end="0"/>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101"/>
                                        </p:tgtEl>
                                        <p:attrNameLst>
                                          <p:attrName>style.visibility</p:attrName>
                                        </p:attrNameLst>
                                      </p:cBhvr>
                                      <p:to>
                                        <p:strVal val="visible"/>
                                      </p:to>
                                    </p:set>
                                    <p:animEffect transition="in" filter="fade">
                                      <p:cBhvr>
                                        <p:cTn id="10" dur="500"/>
                                        <p:tgtEl>
                                          <p:spTgt spid="10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0" grpId="0" build="p"/>
    </p:bldLst>
  </p:timing>
</p:sld>
</file>

<file path=ppt/slides/slide51.xml><?xml version="1.0" encoding="utf-8"?>
<p:sld xmlns:a="http://schemas.openxmlformats.org/drawingml/2006/main" xmlns:r="http://schemas.openxmlformats.org/officeDocument/2006/relationships" xmlns:p="http://schemas.openxmlformats.org/presentationml/2006/main">
  <p:cSld>
    <p:bg>
      <p:bgPr>
        <a:solidFill>
          <a:srgbClr val="6F6F6F"/>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zure Search</a:t>
            </a:r>
          </a:p>
        </p:txBody>
      </p:sp>
      <p:sp>
        <p:nvSpPr>
          <p:cNvPr id="3" name="Rectangle 2">
            <a:extLst>
              <a:ext uri="{FF2B5EF4-FFF2-40B4-BE49-F238E27FC236}">
                <a16:creationId xmlns:a16="http://schemas.microsoft.com/office/drawing/2014/main" id="{C7EACB95-EF29-49DF-A16C-8C94640A172C}"/>
              </a:ext>
            </a:extLst>
          </p:cNvPr>
          <p:cNvSpPr/>
          <p:nvPr/>
        </p:nvSpPr>
        <p:spPr>
          <a:xfrm>
            <a:off x="366168" y="6227735"/>
            <a:ext cx="2315442" cy="369332"/>
          </a:xfrm>
          <a:prstGeom prst="rect">
            <a:avLst/>
          </a:prstGeom>
        </p:spPr>
        <p:txBody>
          <a:bodyPr wrap="none">
            <a:spAutoFit/>
          </a:bodyPr>
          <a:lstStyle/>
          <a:p>
            <a:r>
              <a:rPr lang="en-US" dirty="0"/>
              <a:t>aka.ms/Azure/Search</a:t>
            </a:r>
          </a:p>
        </p:txBody>
      </p:sp>
    </p:spTree>
    <p:extLst>
      <p:ext uri="{BB962C8B-B14F-4D97-AF65-F5344CB8AC3E}">
        <p14:creationId xmlns:p14="http://schemas.microsoft.com/office/powerpoint/2010/main" val="141211396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extBox 476"/>
          <p:cNvSpPr txBox="1"/>
          <p:nvPr/>
        </p:nvSpPr>
        <p:spPr>
          <a:xfrm>
            <a:off x="4049739" y="3217157"/>
            <a:ext cx="3520382" cy="672988"/>
          </a:xfrm>
          <a:prstGeom prst="rect">
            <a:avLst/>
          </a:prstGeom>
          <a:solidFill>
            <a:schemeClr val="accent1"/>
          </a:solidFill>
        </p:spPr>
        <p:txBody>
          <a:bodyPr wrap="square" lIns="186472" tIns="186472" rIns="186472" bIns="186472" rtlCol="0" anchor="ctr">
            <a:noAutofit/>
          </a:bodyPr>
          <a:lstStyle>
            <a:defPPr>
              <a:defRPr lang="en-US"/>
            </a:defPPr>
            <a:lvl1pPr defTabSz="913949">
              <a:lnSpc>
                <a:spcPct val="90000"/>
              </a:lnSpc>
              <a:spcBef>
                <a:spcPts val="600"/>
              </a:spcBef>
              <a:defRPr sz="2000" kern="0">
                <a:solidFill>
                  <a:srgbClr val="DC3C00"/>
                </a:solidFill>
                <a:latin typeface="Segoe UI" panose="020B0502040204020203" pitchFamily="34" charset="0"/>
                <a:cs typeface="Segoe UI" panose="020B0502040204020203" pitchFamily="34" charset="0"/>
              </a:defRPr>
            </a:lvl1pPr>
          </a:lstStyle>
          <a:p>
            <a:r>
              <a:rPr lang="en-US" sz="1836" dirty="0">
                <a:gradFill>
                  <a:gsLst>
                    <a:gs pos="0">
                      <a:srgbClr val="FFFFFF"/>
                    </a:gs>
                    <a:gs pos="100000">
                      <a:srgbClr val="FFFFFF"/>
                    </a:gs>
                  </a:gsLst>
                  <a:lin ang="5400000" scaled="1"/>
                </a:gradFill>
                <a:latin typeface="Segoe UI Light"/>
              </a:rPr>
              <a:t>Reduce friction and complexity</a:t>
            </a:r>
          </a:p>
        </p:txBody>
      </p:sp>
      <p:sp>
        <p:nvSpPr>
          <p:cNvPr id="16" name="TextBox 15"/>
          <p:cNvSpPr txBox="1"/>
          <p:nvPr/>
        </p:nvSpPr>
        <p:spPr>
          <a:xfrm>
            <a:off x="4049738" y="3991209"/>
            <a:ext cx="3520382" cy="1535748"/>
          </a:xfrm>
          <a:prstGeom prst="rect">
            <a:avLst/>
          </a:prstGeom>
          <a:solidFill>
            <a:schemeClr val="tx1">
              <a:lumMod val="20000"/>
              <a:lumOff val="80000"/>
            </a:schemeClr>
          </a:solidFill>
        </p:spPr>
        <p:txBody>
          <a:bodyPr wrap="square" lIns="93236" tIns="93236" rIns="93236" bIns="93236" rtlCol="0" anchor="t" anchorCtr="0">
            <a:noAutofit/>
          </a:bodyPr>
          <a:lstStyle>
            <a:defPPr>
              <a:defRPr lang="en-US"/>
            </a:defPPr>
            <a:lvl1pPr defTabSz="913949">
              <a:lnSpc>
                <a:spcPct val="125000"/>
              </a:lnSpc>
              <a:spcAft>
                <a:spcPts val="1000"/>
              </a:spcAft>
              <a:defRPr sz="1200" kern="0">
                <a:solidFill>
                  <a:srgbClr val="505050"/>
                </a:solidFill>
              </a:defRPr>
            </a:lvl1pPr>
          </a:lstStyle>
          <a:p>
            <a:pPr marL="93260">
              <a:lnSpc>
                <a:spcPct val="100000"/>
              </a:lnSpc>
            </a:pPr>
            <a:r>
              <a:rPr lang="en-US" sz="1428" dirty="0">
                <a:solidFill>
                  <a:srgbClr val="494949"/>
                </a:solidFill>
              </a:rPr>
              <a:t>Simplify search-index management</a:t>
            </a:r>
          </a:p>
          <a:p>
            <a:pPr marL="93260">
              <a:lnSpc>
                <a:spcPct val="100000"/>
              </a:lnSpc>
            </a:pPr>
            <a:r>
              <a:rPr lang="en-US" sz="1428" dirty="0">
                <a:solidFill>
                  <a:srgbClr val="494949"/>
                </a:solidFill>
              </a:rPr>
              <a:t>Set up and scale out easily</a:t>
            </a:r>
          </a:p>
          <a:p>
            <a:pPr marL="93260">
              <a:lnSpc>
                <a:spcPct val="100000"/>
              </a:lnSpc>
            </a:pPr>
            <a:r>
              <a:rPr lang="en-US" sz="1428" dirty="0">
                <a:solidFill>
                  <a:srgbClr val="494949"/>
                </a:solidFill>
              </a:rPr>
              <a:t>Integrate data seamlessly</a:t>
            </a:r>
          </a:p>
        </p:txBody>
      </p:sp>
      <p:sp>
        <p:nvSpPr>
          <p:cNvPr id="2" name="Title 1"/>
          <p:cNvSpPr>
            <a:spLocks noGrp="1"/>
          </p:cNvSpPr>
          <p:nvPr>
            <p:ph type="title"/>
          </p:nvPr>
        </p:nvSpPr>
        <p:spPr/>
        <p:txBody>
          <a:bodyPr/>
          <a:lstStyle/>
          <a:p>
            <a:r>
              <a:rPr lang="en-US" dirty="0"/>
              <a:t>Azure Search overview</a:t>
            </a:r>
          </a:p>
        </p:txBody>
      </p:sp>
      <p:sp>
        <p:nvSpPr>
          <p:cNvPr id="12" name="Rectangle 11"/>
          <p:cNvSpPr/>
          <p:nvPr/>
        </p:nvSpPr>
        <p:spPr>
          <a:xfrm>
            <a:off x="358283" y="1473513"/>
            <a:ext cx="11543832" cy="1531850"/>
          </a:xfrm>
          <a:prstGeom prst="rect">
            <a:avLst/>
          </a:prstGeom>
        </p:spPr>
        <p:txBody>
          <a:bodyPr wrap="square">
            <a:spAutoFit/>
          </a:bodyPr>
          <a:lstStyle/>
          <a:p>
            <a:pPr>
              <a:spcAft>
                <a:spcPts val="1224"/>
              </a:spcAft>
            </a:pPr>
            <a:r>
              <a:rPr lang="en-US" sz="2040" dirty="0">
                <a:solidFill>
                  <a:srgbClr val="494949"/>
                </a:solidFill>
                <a:latin typeface="Segoe UI Light"/>
                <a:ea typeface="Calibri" panose="020F0502020204030204" pitchFamily="34" charset="0"/>
                <a:cs typeface="Calibri" panose="020F0502020204030204" pitchFamily="34" charset="0"/>
              </a:rPr>
              <a:t>Embed a sophisticated search experience in web and mobile applications </a:t>
            </a:r>
            <a:r>
              <a:rPr lang="en-US" sz="2040" dirty="0">
                <a:solidFill>
                  <a:srgbClr val="494949"/>
                </a:solidFill>
                <a:ea typeface="Calibri" panose="020F0502020204030204" pitchFamily="34" charset="0"/>
                <a:cs typeface="Calibri" panose="020F0502020204030204" pitchFamily="34" charset="0"/>
              </a:rPr>
              <a:t>without worrying </a:t>
            </a:r>
            <a:r>
              <a:rPr lang="en-US" sz="2040" dirty="0">
                <a:solidFill>
                  <a:srgbClr val="494949"/>
                </a:solidFill>
                <a:latin typeface="Segoe UI Light"/>
                <a:ea typeface="Calibri" panose="020F0502020204030204" pitchFamily="34" charset="0"/>
                <a:cs typeface="Calibri" panose="020F0502020204030204" pitchFamily="34" charset="0"/>
              </a:rPr>
              <a:t>about the complexities of full-text search and without deploying, maintaining, or managing any infrastructure.</a:t>
            </a:r>
            <a:endParaRPr lang="en-US" sz="2040" dirty="0">
              <a:solidFill>
                <a:srgbClr val="494949"/>
              </a:solidFill>
              <a:latin typeface="Segoe UI Light"/>
            </a:endParaRPr>
          </a:p>
          <a:p>
            <a:pPr>
              <a:spcAft>
                <a:spcPts val="1224"/>
              </a:spcAft>
            </a:pPr>
            <a:r>
              <a:rPr lang="en-US" sz="2040" dirty="0">
                <a:solidFill>
                  <a:srgbClr val="494949"/>
                </a:solidFill>
                <a:latin typeface="Segoe UI Light"/>
              </a:rPr>
              <a:t>Perfect for </a:t>
            </a:r>
            <a:r>
              <a:rPr lang="en-US" sz="2040" dirty="0">
                <a:solidFill>
                  <a:srgbClr val="494949"/>
                </a:solidFill>
                <a:ea typeface="Calibri" panose="020F0502020204030204" pitchFamily="34" charset="0"/>
                <a:cs typeface="Calibri" panose="020F0502020204030204" pitchFamily="34" charset="0"/>
              </a:rPr>
              <a:t>enterprise cloud developers, cloud-software vendors, </a:t>
            </a:r>
            <a:r>
              <a:rPr lang="en-US" sz="2040" dirty="0">
                <a:solidFill>
                  <a:srgbClr val="494949"/>
                </a:solidFill>
                <a:latin typeface="Segoe UI Light"/>
              </a:rPr>
              <a:t>or</a:t>
            </a:r>
            <a:r>
              <a:rPr lang="en-US" sz="2040" dirty="0">
                <a:solidFill>
                  <a:srgbClr val="494949"/>
                </a:solidFill>
                <a:latin typeface="Segoe UI Light"/>
                <a:ea typeface="Calibri" panose="020F0502020204030204" pitchFamily="34" charset="0"/>
                <a:cs typeface="Calibri" panose="020F0502020204030204" pitchFamily="34" charset="0"/>
              </a:rPr>
              <a:t> </a:t>
            </a:r>
            <a:r>
              <a:rPr lang="en-US" sz="2040" dirty="0">
                <a:solidFill>
                  <a:srgbClr val="494949"/>
                </a:solidFill>
                <a:ea typeface="Calibri" panose="020F0502020204030204" pitchFamily="34" charset="0"/>
                <a:cs typeface="Calibri" panose="020F0502020204030204" pitchFamily="34" charset="0"/>
              </a:rPr>
              <a:t>cloud architects </a:t>
            </a:r>
            <a:r>
              <a:rPr lang="en-US" sz="2040" dirty="0">
                <a:solidFill>
                  <a:srgbClr val="494949"/>
                </a:solidFill>
                <a:latin typeface="Segoe UI Light"/>
              </a:rPr>
              <a:t>who need a fully-managed search solution.</a:t>
            </a:r>
          </a:p>
        </p:txBody>
      </p:sp>
      <p:sp>
        <p:nvSpPr>
          <p:cNvPr id="14" name="TextBox 13"/>
          <p:cNvSpPr txBox="1"/>
          <p:nvPr/>
        </p:nvSpPr>
        <p:spPr>
          <a:xfrm>
            <a:off x="427032" y="3991209"/>
            <a:ext cx="3300356" cy="1535747"/>
          </a:xfrm>
          <a:prstGeom prst="rect">
            <a:avLst/>
          </a:prstGeom>
          <a:solidFill>
            <a:schemeClr val="tx1">
              <a:lumMod val="20000"/>
              <a:lumOff val="80000"/>
            </a:schemeClr>
          </a:solidFill>
        </p:spPr>
        <p:txBody>
          <a:bodyPr wrap="square" lIns="93236" tIns="93236" rIns="93236" bIns="93236" rtlCol="0" anchor="t" anchorCtr="0">
            <a:noAutofit/>
          </a:bodyPr>
          <a:lstStyle>
            <a:defPPr>
              <a:defRPr lang="en-US"/>
            </a:defPPr>
            <a:lvl1pPr defTabSz="913949">
              <a:lnSpc>
                <a:spcPct val="125000"/>
              </a:lnSpc>
              <a:spcAft>
                <a:spcPts val="1000"/>
              </a:spcAft>
              <a:defRPr sz="1200" kern="0">
                <a:solidFill>
                  <a:srgbClr val="505050"/>
                </a:solidFill>
              </a:defRPr>
            </a:lvl1pPr>
          </a:lstStyle>
          <a:p>
            <a:pPr marL="93260">
              <a:lnSpc>
                <a:spcPct val="100000"/>
              </a:lnSpc>
            </a:pPr>
            <a:r>
              <a:rPr lang="en-US" sz="1428" dirty="0">
                <a:solidFill>
                  <a:srgbClr val="494949"/>
                </a:solidFill>
              </a:rPr>
              <a:t>Powerful, guaranteed performance</a:t>
            </a:r>
          </a:p>
          <a:p>
            <a:pPr marL="93260">
              <a:lnSpc>
                <a:spcPct val="100000"/>
              </a:lnSpc>
            </a:pPr>
            <a:r>
              <a:rPr lang="en-US" sz="1428" dirty="0">
                <a:solidFill>
                  <a:srgbClr val="494949"/>
                </a:solidFill>
              </a:rPr>
              <a:t>Sophisticated search</a:t>
            </a:r>
          </a:p>
          <a:p>
            <a:pPr marL="93260">
              <a:lnSpc>
                <a:spcPct val="100000"/>
              </a:lnSpc>
            </a:pPr>
            <a:r>
              <a:rPr lang="en-US" sz="1428" dirty="0">
                <a:solidFill>
                  <a:srgbClr val="494949"/>
                </a:solidFill>
              </a:rPr>
              <a:t>Connects business goals to the application</a:t>
            </a:r>
          </a:p>
        </p:txBody>
      </p:sp>
      <p:sp>
        <p:nvSpPr>
          <p:cNvPr id="15" name="TextBox 14"/>
          <p:cNvSpPr txBox="1"/>
          <p:nvPr/>
        </p:nvSpPr>
        <p:spPr>
          <a:xfrm>
            <a:off x="7892471" y="3999283"/>
            <a:ext cx="3300359" cy="1527673"/>
          </a:xfrm>
          <a:prstGeom prst="rect">
            <a:avLst/>
          </a:prstGeom>
          <a:solidFill>
            <a:schemeClr val="tx1">
              <a:lumMod val="20000"/>
              <a:lumOff val="80000"/>
            </a:schemeClr>
          </a:solidFill>
        </p:spPr>
        <p:txBody>
          <a:bodyPr wrap="square" lIns="93236" tIns="93236" rIns="93236" bIns="93236" rtlCol="0" anchor="t" anchorCtr="0">
            <a:noAutofit/>
          </a:bodyPr>
          <a:lstStyle>
            <a:defPPr>
              <a:defRPr lang="en-US"/>
            </a:defPPr>
            <a:lvl1pPr defTabSz="913949">
              <a:lnSpc>
                <a:spcPct val="90000"/>
              </a:lnSpc>
              <a:spcAft>
                <a:spcPts val="1000"/>
              </a:spcAft>
              <a:defRPr sz="1400" kern="0">
                <a:solidFill>
                  <a:srgbClr val="505050"/>
                </a:solidFill>
              </a:defRPr>
            </a:lvl1pPr>
          </a:lstStyle>
          <a:p>
            <a:pPr marL="93260">
              <a:lnSpc>
                <a:spcPct val="100000"/>
              </a:lnSpc>
            </a:pPr>
            <a:r>
              <a:rPr lang="en-US" sz="1428" dirty="0">
                <a:solidFill>
                  <a:srgbClr val="494949"/>
                </a:solidFill>
              </a:rPr>
              <a:t>Fast time to market</a:t>
            </a:r>
          </a:p>
          <a:p>
            <a:pPr marL="93260">
              <a:lnSpc>
                <a:spcPct val="100000"/>
              </a:lnSpc>
            </a:pPr>
            <a:r>
              <a:rPr lang="en-US" sz="1428" dirty="0">
                <a:solidFill>
                  <a:srgbClr val="494949"/>
                </a:solidFill>
              </a:rPr>
              <a:t>Backed by Microsoft Azure</a:t>
            </a:r>
          </a:p>
        </p:txBody>
      </p:sp>
      <p:sp>
        <p:nvSpPr>
          <p:cNvPr id="17" name="TextBox 475"/>
          <p:cNvSpPr txBox="1"/>
          <p:nvPr/>
        </p:nvSpPr>
        <p:spPr>
          <a:xfrm>
            <a:off x="427030" y="3217157"/>
            <a:ext cx="3300354" cy="672986"/>
          </a:xfrm>
          <a:prstGeom prst="rect">
            <a:avLst/>
          </a:prstGeom>
          <a:solidFill>
            <a:schemeClr val="accent1"/>
          </a:solidFill>
          <a:ln>
            <a:noFill/>
          </a:ln>
        </p:spPr>
        <p:txBody>
          <a:bodyPr wrap="square" lIns="186472" tIns="186472" rIns="186472" bIns="186472" rtlCol="0" anchor="ctr">
            <a:noAutofit/>
          </a:bodyPr>
          <a:lstStyle/>
          <a:p>
            <a:pPr defTabSz="931857">
              <a:lnSpc>
                <a:spcPct val="90000"/>
              </a:lnSpc>
              <a:spcBef>
                <a:spcPts val="612"/>
              </a:spcBef>
              <a:defRPr/>
            </a:pPr>
            <a:r>
              <a:rPr lang="en-US" sz="1836" kern="0" dirty="0">
                <a:gradFill>
                  <a:gsLst>
                    <a:gs pos="0">
                      <a:srgbClr val="FFFFFF"/>
                    </a:gs>
                    <a:gs pos="100000">
                      <a:srgbClr val="FFFFFF"/>
                    </a:gs>
                  </a:gsLst>
                  <a:lin ang="5400000" scaled="1"/>
                </a:gradFill>
                <a:latin typeface="Segoe UI Light"/>
                <a:cs typeface="Segoe UI" panose="020B0502040204020203" pitchFamily="34" charset="0"/>
              </a:rPr>
              <a:t>Build a sophisticated search experience</a:t>
            </a:r>
          </a:p>
        </p:txBody>
      </p:sp>
      <p:pic>
        <p:nvPicPr>
          <p:cNvPr id="25" name="Picture 75"/>
          <p:cNvPicPr>
            <a:picLocks noChangeAspect="1"/>
          </p:cNvPicPr>
          <p:nvPr/>
        </p:nvPicPr>
        <p:blipFill rotWithShape="1">
          <a:blip r:embed="rId3" cstate="print">
            <a:extLst>
              <a:ext uri="{28A0092B-C50C-407E-A947-70E740481C1C}">
                <a14:useLocalDpi xmlns:a14="http://schemas.microsoft.com/office/drawing/2010/main" val="0"/>
              </a:ext>
            </a:extLst>
          </a:blip>
          <a:srcRect t="29644"/>
          <a:stretch/>
        </p:blipFill>
        <p:spPr bwMode="auto">
          <a:xfrm>
            <a:off x="9867792" y="4463174"/>
            <a:ext cx="2589466" cy="21887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8" name="TextBox 477"/>
          <p:cNvSpPr txBox="1"/>
          <p:nvPr/>
        </p:nvSpPr>
        <p:spPr>
          <a:xfrm>
            <a:off x="7892470" y="3222711"/>
            <a:ext cx="3300358" cy="666982"/>
          </a:xfrm>
          <a:prstGeom prst="rect">
            <a:avLst/>
          </a:prstGeom>
          <a:solidFill>
            <a:schemeClr val="accent1"/>
          </a:solidFill>
        </p:spPr>
        <p:txBody>
          <a:bodyPr wrap="square" lIns="186472" tIns="186472" rIns="186472" bIns="186472" rtlCol="0" anchor="ctr">
            <a:noAutofit/>
          </a:bodyPr>
          <a:lstStyle>
            <a:defPPr>
              <a:defRPr lang="en-US"/>
            </a:defPPr>
            <a:lvl1pPr defTabSz="913949">
              <a:lnSpc>
                <a:spcPct val="90000"/>
              </a:lnSpc>
              <a:spcBef>
                <a:spcPts val="600"/>
              </a:spcBef>
              <a:defRPr sz="2000" kern="0">
                <a:solidFill>
                  <a:srgbClr val="DC3C00"/>
                </a:solidFill>
                <a:latin typeface="Segoe UI" panose="020B0502040204020203" pitchFamily="34" charset="0"/>
                <a:cs typeface="Segoe UI" panose="020B0502040204020203" pitchFamily="34" charset="0"/>
              </a:defRPr>
            </a:lvl1pPr>
          </a:lstStyle>
          <a:p>
            <a:r>
              <a:rPr lang="en-US" sz="1836" dirty="0">
                <a:gradFill>
                  <a:gsLst>
                    <a:gs pos="0">
                      <a:srgbClr val="FFFFFF"/>
                    </a:gs>
                    <a:gs pos="100000">
                      <a:srgbClr val="FFFFFF"/>
                    </a:gs>
                  </a:gsLst>
                  <a:lin ang="5400000" scaled="1"/>
                </a:gradFill>
                <a:latin typeface="Segoe UI Light"/>
              </a:rPr>
              <a:t>Differentiate your application</a:t>
            </a:r>
          </a:p>
        </p:txBody>
      </p:sp>
    </p:spTree>
    <p:extLst>
      <p:ext uri="{BB962C8B-B14F-4D97-AF65-F5344CB8AC3E}">
        <p14:creationId xmlns:p14="http://schemas.microsoft.com/office/powerpoint/2010/main" val="317730416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Segoe UI Light" panose="020B0502040204020203" pitchFamily="34" charset="0"/>
                <a:cs typeface="Segoe UI Light" panose="020B0502040204020203" pitchFamily="34" charset="0"/>
              </a:rPr>
              <a:t>Capabilities summary</a:t>
            </a:r>
            <a:endParaRPr lang="en-US" dirty="0"/>
          </a:p>
        </p:txBody>
      </p:sp>
      <p:sp>
        <p:nvSpPr>
          <p:cNvPr id="19" name="Content Placeholder 2"/>
          <p:cNvSpPr txBox="1">
            <a:spLocks/>
          </p:cNvSpPr>
          <p:nvPr/>
        </p:nvSpPr>
        <p:spPr>
          <a:xfrm>
            <a:off x="437586" y="1362266"/>
            <a:ext cx="10724938" cy="4846416"/>
          </a:xfrm>
          <a:prstGeom prst="rect">
            <a:avLst/>
          </a:prstGeom>
        </p:spPr>
        <p:txBody>
          <a:bodyPr>
            <a:no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solidFill>
                  <a:schemeClr val="tx1"/>
                </a:soli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solidFill>
                  <a:schemeClr val="tx1"/>
                </a:soli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solidFill>
                  <a:schemeClr val="tx1"/>
                </a:soli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solidFill>
                  <a:schemeClr val="tx1"/>
                </a:soli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solidFill>
                  <a:schemeClr val="tx1"/>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indent="0">
              <a:spcBef>
                <a:spcPts val="1836"/>
              </a:spcBef>
              <a:buNone/>
            </a:pPr>
            <a:r>
              <a:rPr lang="en-US" sz="2040" dirty="0">
                <a:solidFill>
                  <a:srgbClr val="494949"/>
                </a:solidFill>
                <a:cs typeface="Segoe UI Light" panose="020B0502040204020203" pitchFamily="34" charset="0"/>
              </a:rPr>
              <a:t>Simple HTTP/JSON API for managing and using the entire service</a:t>
            </a:r>
          </a:p>
          <a:p>
            <a:pPr marL="0" indent="0">
              <a:spcBef>
                <a:spcPts val="1836"/>
              </a:spcBef>
              <a:buNone/>
            </a:pPr>
            <a:r>
              <a:rPr lang="en-US" sz="2040" dirty="0">
                <a:solidFill>
                  <a:srgbClr val="494949"/>
                </a:solidFill>
                <a:cs typeface="Segoe UI Light" panose="020B0502040204020203" pitchFamily="34" charset="0"/>
              </a:rPr>
              <a:t>Core search functionality</a:t>
            </a:r>
          </a:p>
          <a:p>
            <a:pPr>
              <a:lnSpc>
                <a:spcPct val="100000"/>
              </a:lnSpc>
              <a:spcBef>
                <a:spcPts val="0"/>
              </a:spcBef>
              <a:buFont typeface="Arial"/>
              <a:buChar char="•"/>
            </a:pPr>
            <a:r>
              <a:rPr lang="en-US" sz="1632" dirty="0">
                <a:solidFill>
                  <a:srgbClr val="494949"/>
                </a:solidFill>
                <a:cs typeface="Segoe UI Light" panose="020B0502040204020203" pitchFamily="34" charset="0"/>
              </a:rPr>
              <a:t>Keyword search with user-friendly operators (such as +, -, *, and “”)</a:t>
            </a:r>
          </a:p>
          <a:p>
            <a:pPr>
              <a:lnSpc>
                <a:spcPct val="100000"/>
              </a:lnSpc>
              <a:spcBef>
                <a:spcPts val="0"/>
              </a:spcBef>
              <a:buFont typeface="Arial"/>
              <a:buChar char="•"/>
            </a:pPr>
            <a:r>
              <a:rPr lang="en-US" sz="1632" dirty="0">
                <a:solidFill>
                  <a:srgbClr val="494949"/>
                </a:solidFill>
                <a:cs typeface="Segoe UI Light" panose="020B0502040204020203" pitchFamily="34" charset="0"/>
              </a:rPr>
              <a:t>Phonetic, Synonym and regex search</a:t>
            </a:r>
          </a:p>
          <a:p>
            <a:pPr>
              <a:lnSpc>
                <a:spcPct val="100000"/>
              </a:lnSpc>
              <a:spcBef>
                <a:spcPts val="0"/>
              </a:spcBef>
              <a:buFont typeface="Arial"/>
              <a:buChar char="•"/>
            </a:pPr>
            <a:r>
              <a:rPr lang="en-US" sz="1632" dirty="0">
                <a:solidFill>
                  <a:srgbClr val="494949"/>
                </a:solidFill>
                <a:cs typeface="Segoe UI Light" panose="020B0502040204020203" pitchFamily="34" charset="0"/>
              </a:rPr>
              <a:t>Hit highlighting</a:t>
            </a:r>
          </a:p>
          <a:p>
            <a:pPr>
              <a:lnSpc>
                <a:spcPct val="100000"/>
              </a:lnSpc>
              <a:spcBef>
                <a:spcPts val="0"/>
              </a:spcBef>
              <a:buFont typeface="Arial"/>
              <a:buChar char="•"/>
            </a:pPr>
            <a:r>
              <a:rPr lang="en-US" sz="1632" dirty="0">
                <a:solidFill>
                  <a:srgbClr val="494949"/>
                </a:solidFill>
                <a:cs typeface="Segoe UI Light" panose="020B0502040204020203" pitchFamily="34" charset="0"/>
              </a:rPr>
              <a:t>Faceting &amp; Filtering</a:t>
            </a:r>
          </a:p>
          <a:p>
            <a:pPr>
              <a:lnSpc>
                <a:spcPct val="100000"/>
              </a:lnSpc>
              <a:spcBef>
                <a:spcPts val="0"/>
              </a:spcBef>
              <a:buFont typeface="Arial"/>
              <a:buChar char="•"/>
            </a:pPr>
            <a:r>
              <a:rPr lang="en-US" sz="1632" dirty="0">
                <a:solidFill>
                  <a:srgbClr val="494949"/>
                </a:solidFill>
                <a:cs typeface="Segoe UI Light" panose="020B0502040204020203" pitchFamily="34" charset="0"/>
              </a:rPr>
              <a:t>Suggestions (auto-complete), including infix matching and fuzzy matching</a:t>
            </a:r>
          </a:p>
          <a:p>
            <a:pPr>
              <a:lnSpc>
                <a:spcPct val="100000"/>
              </a:lnSpc>
              <a:spcBef>
                <a:spcPts val="0"/>
              </a:spcBef>
              <a:buFont typeface="Arial"/>
              <a:buChar char="•"/>
            </a:pPr>
            <a:r>
              <a:rPr lang="en-US" sz="1632" dirty="0">
                <a:solidFill>
                  <a:srgbClr val="494949"/>
                </a:solidFill>
                <a:cs typeface="Segoe UI Light" panose="020B0502040204020203" pitchFamily="34" charset="0"/>
              </a:rPr>
              <a:t>Rich structured queries (filter, select, and sort) that combine with search</a:t>
            </a:r>
          </a:p>
          <a:p>
            <a:pPr marL="0" indent="0">
              <a:spcBef>
                <a:spcPts val="1836"/>
              </a:spcBef>
              <a:buNone/>
            </a:pPr>
            <a:r>
              <a:rPr lang="en-US" sz="2040" dirty="0">
                <a:solidFill>
                  <a:srgbClr val="494949"/>
                </a:solidFill>
                <a:cs typeface="Segoe UI Light" panose="020B0502040204020203" pitchFamily="34" charset="0"/>
              </a:rPr>
              <a:t>Integration with external data sources</a:t>
            </a:r>
          </a:p>
          <a:p>
            <a:pPr marL="0" indent="0">
              <a:spcBef>
                <a:spcPts val="1836"/>
              </a:spcBef>
              <a:buNone/>
            </a:pPr>
            <a:r>
              <a:rPr lang="en-US" sz="2040" dirty="0">
                <a:solidFill>
                  <a:srgbClr val="494949"/>
                </a:solidFill>
                <a:cs typeface="Segoe UI Light" panose="020B0502040204020203" pitchFamily="34" charset="0"/>
              </a:rPr>
              <a:t>Broad language support with rich linguistics</a:t>
            </a:r>
          </a:p>
          <a:p>
            <a:pPr marL="0" indent="0">
              <a:spcBef>
                <a:spcPts val="1836"/>
              </a:spcBef>
              <a:buNone/>
            </a:pPr>
            <a:r>
              <a:rPr lang="en-US" sz="2040" dirty="0">
                <a:solidFill>
                  <a:srgbClr val="494949"/>
                </a:solidFill>
                <a:cs typeface="Segoe UI Light" panose="020B0502040204020203" pitchFamily="34" charset="0"/>
              </a:rPr>
              <a:t>Scoring profiles to model search-result relevance</a:t>
            </a:r>
          </a:p>
          <a:p>
            <a:pPr marL="0" indent="0">
              <a:spcBef>
                <a:spcPts val="1836"/>
              </a:spcBef>
              <a:buNone/>
            </a:pPr>
            <a:r>
              <a:rPr lang="en-US" sz="2040" dirty="0">
                <a:solidFill>
                  <a:srgbClr val="494949"/>
                </a:solidFill>
                <a:cs typeface="Segoe UI Light" panose="020B0502040204020203" pitchFamily="34" charset="0"/>
              </a:rPr>
              <a:t>Geo-spatial support integrated into filtering, sorting, and ranking</a:t>
            </a:r>
          </a:p>
          <a:p>
            <a:pPr marL="0" indent="0">
              <a:spcBef>
                <a:spcPts val="1836"/>
              </a:spcBef>
              <a:buNone/>
            </a:pPr>
            <a:r>
              <a:rPr lang="en-US" sz="2040" dirty="0">
                <a:solidFill>
                  <a:srgbClr val="494949"/>
                </a:solidFill>
                <a:cs typeface="Segoe UI Light" panose="020B0502040204020203" pitchFamily="34" charset="0"/>
              </a:rPr>
              <a:t>Elastic scale and high availability</a:t>
            </a:r>
          </a:p>
        </p:txBody>
      </p:sp>
      <p:pic>
        <p:nvPicPr>
          <p:cNvPr id="5" name="Picture 75"/>
          <p:cNvPicPr>
            <a:picLocks noChangeAspect="1"/>
          </p:cNvPicPr>
          <p:nvPr/>
        </p:nvPicPr>
        <p:blipFill rotWithShape="1">
          <a:blip r:embed="rId3" cstate="print">
            <a:extLst>
              <a:ext uri="{28A0092B-C50C-407E-A947-70E740481C1C}">
                <a14:useLocalDpi xmlns:a14="http://schemas.microsoft.com/office/drawing/2010/main" val="0"/>
              </a:ext>
            </a:extLst>
          </a:blip>
          <a:srcRect t="29644"/>
          <a:stretch/>
        </p:blipFill>
        <p:spPr bwMode="auto">
          <a:xfrm>
            <a:off x="9867792" y="4463174"/>
            <a:ext cx="2589466" cy="21887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extLst>
      <p:ext uri="{BB962C8B-B14F-4D97-AF65-F5344CB8AC3E}">
        <p14:creationId xmlns:p14="http://schemas.microsoft.com/office/powerpoint/2010/main" val="415070211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4.xml><?xml version="1.0" encoding="utf-8"?>
<p:sld xmlns:a="http://schemas.openxmlformats.org/drawingml/2006/main" xmlns:r="http://schemas.openxmlformats.org/officeDocument/2006/relationships" xmlns:p="http://schemas.openxmlformats.org/presentationml/2006/main">
  <p:cSld>
    <p:bg>
      <p:bgPr>
        <a:solidFill>
          <a:srgbClr val="6F6F6F"/>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HDInsight</a:t>
            </a:r>
          </a:p>
        </p:txBody>
      </p:sp>
      <p:sp>
        <p:nvSpPr>
          <p:cNvPr id="3" name="Rectangle 2">
            <a:extLst>
              <a:ext uri="{FF2B5EF4-FFF2-40B4-BE49-F238E27FC236}">
                <a16:creationId xmlns:a16="http://schemas.microsoft.com/office/drawing/2014/main" id="{DE219E97-2342-4807-BC89-5F05DC7DCA9E}"/>
              </a:ext>
            </a:extLst>
          </p:cNvPr>
          <p:cNvSpPr/>
          <p:nvPr/>
        </p:nvSpPr>
        <p:spPr>
          <a:xfrm>
            <a:off x="147203" y="6282443"/>
            <a:ext cx="2655086" cy="369332"/>
          </a:xfrm>
          <a:prstGeom prst="rect">
            <a:avLst/>
          </a:prstGeom>
        </p:spPr>
        <p:txBody>
          <a:bodyPr wrap="none">
            <a:spAutoFit/>
          </a:bodyPr>
          <a:lstStyle/>
          <a:p>
            <a:r>
              <a:rPr lang="en-US" dirty="0"/>
              <a:t>aka.ms/Azure/HDInsight</a:t>
            </a:r>
          </a:p>
        </p:txBody>
      </p:sp>
    </p:spTree>
    <p:extLst>
      <p:ext uri="{BB962C8B-B14F-4D97-AF65-F5344CB8AC3E}">
        <p14:creationId xmlns:p14="http://schemas.microsoft.com/office/powerpoint/2010/main" val="40314669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bwMode="auto">
          <a:xfrm>
            <a:off x="883" y="446"/>
            <a:ext cx="5486115" cy="645780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8" tIns="46624" rIns="93248" bIns="46624" numCol="1" spcCol="0" rtlCol="0" fromWordArt="0" anchor="ctr" anchorCtr="0" forceAA="0" compatLnSpc="1">
            <a:prstTxWarp prst="textNoShape">
              <a:avLst/>
            </a:prstTxWarp>
            <a:noAutofit/>
          </a:bodyPr>
          <a:lstStyle/>
          <a:p>
            <a:pPr algn="ctr" defTabSz="950933" fontAlgn="base">
              <a:spcBef>
                <a:spcPct val="0"/>
              </a:spcBef>
              <a:spcAft>
                <a:spcPct val="0"/>
              </a:spcAft>
            </a:pPr>
            <a:endParaRPr lang="en-US" sz="2448">
              <a:solidFill>
                <a:srgbClr val="FFFFFF"/>
              </a:solidFill>
              <a:latin typeface="Segoe UI"/>
              <a:ea typeface="Segoe UI" pitchFamily="34" charset="0"/>
              <a:cs typeface="Segoe UI" pitchFamily="34" charset="0"/>
            </a:endParaRPr>
          </a:p>
        </p:txBody>
      </p:sp>
      <p:cxnSp>
        <p:nvCxnSpPr>
          <p:cNvPr id="9" name="Straight Connector 8"/>
          <p:cNvCxnSpPr/>
          <p:nvPr/>
        </p:nvCxnSpPr>
        <p:spPr>
          <a:xfrm flipH="1">
            <a:off x="882" y="6457729"/>
            <a:ext cx="5486116" cy="0"/>
          </a:xfrm>
          <a:prstGeom prst="line">
            <a:avLst/>
          </a:prstGeom>
          <a:ln w="12700">
            <a:solidFill>
              <a:srgbClr val="00BCF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 name="TextBox 2"/>
          <p:cNvSpPr txBox="1"/>
          <p:nvPr/>
        </p:nvSpPr>
        <p:spPr>
          <a:xfrm>
            <a:off x="450053" y="522397"/>
            <a:ext cx="5008744" cy="3187611"/>
          </a:xfrm>
          <a:prstGeom prst="rect">
            <a:avLst/>
          </a:prstGeom>
          <a:noFill/>
        </p:spPr>
        <p:txBody>
          <a:bodyPr wrap="square" lIns="186497" tIns="149198" rIns="186497" bIns="149198" rtlCol="0">
            <a:spAutoFit/>
          </a:bodyPr>
          <a:lstStyle/>
          <a:p>
            <a:pPr defTabSz="931770" fontAlgn="base">
              <a:lnSpc>
                <a:spcPct val="90000"/>
              </a:lnSpc>
              <a:spcBef>
                <a:spcPct val="0"/>
              </a:spcBef>
              <a:spcAft>
                <a:spcPts val="612"/>
              </a:spcAft>
              <a:defRPr/>
            </a:pPr>
            <a:r>
              <a:rPr lang="en-US" sz="4488" kern="0" dirty="0">
                <a:solidFill>
                  <a:srgbClr val="FFFFFF"/>
                </a:solidFill>
                <a:latin typeface="Segoe UI Light"/>
                <a:ea typeface="Segoe UI" pitchFamily="34" charset="0"/>
                <a:cs typeface="Segoe UI" pitchFamily="34" charset="0"/>
              </a:rPr>
              <a:t>Azure </a:t>
            </a:r>
            <a:br>
              <a:rPr lang="en-US" sz="4488" kern="0" dirty="0">
                <a:solidFill>
                  <a:srgbClr val="FFFFFF"/>
                </a:solidFill>
                <a:latin typeface="Segoe UI Light"/>
                <a:ea typeface="Segoe UI" pitchFamily="34" charset="0"/>
                <a:cs typeface="Segoe UI" pitchFamily="34" charset="0"/>
              </a:rPr>
            </a:br>
            <a:r>
              <a:rPr lang="en-US" sz="4488" kern="0" dirty="0">
                <a:solidFill>
                  <a:srgbClr val="FFFFFF"/>
                </a:solidFill>
                <a:latin typeface="Segoe UI Light"/>
                <a:ea typeface="Segoe UI" pitchFamily="34" charset="0"/>
                <a:cs typeface="Segoe UI" pitchFamily="34" charset="0"/>
              </a:rPr>
              <a:t>HDInsight</a:t>
            </a:r>
          </a:p>
          <a:p>
            <a:pPr defTabSz="931770" fontAlgn="base">
              <a:lnSpc>
                <a:spcPct val="90000"/>
              </a:lnSpc>
              <a:spcBef>
                <a:spcPts val="1224"/>
              </a:spcBef>
              <a:spcAft>
                <a:spcPts val="612"/>
              </a:spcAft>
              <a:defRPr/>
            </a:pPr>
            <a:r>
              <a:rPr lang="en-US" sz="3264" kern="0" dirty="0">
                <a:solidFill>
                  <a:srgbClr val="FFFFFF"/>
                </a:solidFill>
                <a:latin typeface="Segoe UI Light"/>
                <a:ea typeface="Segoe UI" pitchFamily="34" charset="0"/>
                <a:cs typeface="Segoe UI" pitchFamily="34" charset="0"/>
              </a:rPr>
              <a:t>A Cloud Spark and Hadoop service for the Enterprise</a:t>
            </a:r>
          </a:p>
        </p:txBody>
      </p:sp>
      <p:sp>
        <p:nvSpPr>
          <p:cNvPr id="4" name="TextBox 3"/>
          <p:cNvSpPr txBox="1"/>
          <p:nvPr/>
        </p:nvSpPr>
        <p:spPr>
          <a:xfrm>
            <a:off x="5794647" y="677635"/>
            <a:ext cx="6342228" cy="5171099"/>
          </a:xfrm>
          <a:prstGeom prst="rect">
            <a:avLst/>
          </a:prstGeom>
          <a:noFill/>
        </p:spPr>
        <p:txBody>
          <a:bodyPr wrap="square" lIns="186497" tIns="149198" rIns="186497" bIns="149198" rtlCol="0">
            <a:spAutoFit/>
          </a:bodyPr>
          <a:lstStyle/>
          <a:p>
            <a:pPr defTabSz="932470" fontAlgn="base">
              <a:spcBef>
                <a:spcPct val="0"/>
              </a:spcBef>
              <a:spcAft>
                <a:spcPts val="1836"/>
              </a:spcAft>
              <a:defRPr/>
            </a:pPr>
            <a:r>
              <a:rPr lang="en-US" sz="2448" dirty="0">
                <a:solidFill>
                  <a:srgbClr val="0078D7"/>
                </a:solidFill>
                <a:latin typeface="Segoe UI Semibold" panose="020B0702040204020203" pitchFamily="34" charset="0"/>
                <a:ea typeface="MS PGothic" charset="0"/>
                <a:cs typeface="Segoe UI Semibold" panose="020B0702040204020203" pitchFamily="34" charset="0"/>
              </a:rPr>
              <a:t>Reliable</a:t>
            </a:r>
            <a:r>
              <a:rPr lang="en-US" sz="2448" dirty="0">
                <a:solidFill>
                  <a:srgbClr val="505050"/>
                </a:solidFill>
                <a:latin typeface="Segoe UI" charset="0"/>
                <a:ea typeface="MS PGothic" charset="0"/>
                <a:cs typeface="Segoe UI" panose="020B0502040204020203" pitchFamily="34" charset="0"/>
              </a:rPr>
              <a:t> with an </a:t>
            </a:r>
            <a:r>
              <a:rPr lang="en-US" sz="2448" dirty="0">
                <a:solidFill>
                  <a:srgbClr val="0078D7"/>
                </a:solidFill>
                <a:latin typeface="Segoe UI Semibold" panose="020B0702040204020203" pitchFamily="34" charset="0"/>
                <a:ea typeface="MS PGothic" charset="0"/>
                <a:cs typeface="Segoe UI Semibold" panose="020B0702040204020203" pitchFamily="34" charset="0"/>
              </a:rPr>
              <a:t>industry leading SLA</a:t>
            </a:r>
          </a:p>
          <a:p>
            <a:pPr defTabSz="932470" fontAlgn="base">
              <a:spcBef>
                <a:spcPct val="0"/>
              </a:spcBef>
              <a:spcAft>
                <a:spcPts val="1836"/>
              </a:spcAft>
              <a:defRPr/>
            </a:pPr>
            <a:r>
              <a:rPr lang="en-US" sz="2448" dirty="0">
                <a:solidFill>
                  <a:srgbClr val="0078D7"/>
                </a:solidFill>
                <a:latin typeface="Segoe UI Semibold" panose="020B0702040204020203" pitchFamily="34" charset="0"/>
                <a:ea typeface="MS PGothic" charset="0"/>
                <a:cs typeface="Segoe UI Semibold" panose="020B0702040204020203" pitchFamily="34" charset="0"/>
              </a:rPr>
              <a:t>Enterprise-grade security </a:t>
            </a:r>
            <a:r>
              <a:rPr lang="en-US" sz="2448" dirty="0">
                <a:solidFill>
                  <a:srgbClr val="505050"/>
                </a:solidFill>
                <a:latin typeface="Segoe UI" charset="0"/>
                <a:ea typeface="MS PGothic" charset="0"/>
                <a:cs typeface="Segoe UI" panose="020B0502040204020203" pitchFamily="34" charset="0"/>
              </a:rPr>
              <a:t>and </a:t>
            </a:r>
            <a:r>
              <a:rPr lang="en-US" sz="2448" dirty="0">
                <a:solidFill>
                  <a:srgbClr val="0078D7"/>
                </a:solidFill>
                <a:latin typeface="Segoe UI Semibold" panose="020B0702040204020203" pitchFamily="34" charset="0"/>
                <a:ea typeface="MS PGothic" charset="0"/>
                <a:cs typeface="Segoe UI Semibold" panose="020B0702040204020203" pitchFamily="34" charset="0"/>
              </a:rPr>
              <a:t>monitoring</a:t>
            </a:r>
          </a:p>
          <a:p>
            <a:pPr defTabSz="932470" fontAlgn="base">
              <a:spcBef>
                <a:spcPct val="0"/>
              </a:spcBef>
              <a:spcAft>
                <a:spcPts val="1836"/>
              </a:spcAft>
              <a:defRPr/>
            </a:pPr>
            <a:r>
              <a:rPr lang="en-US" sz="2448" dirty="0">
                <a:solidFill>
                  <a:srgbClr val="0078D7"/>
                </a:solidFill>
                <a:latin typeface="Segoe UI Semibold" panose="020B0702040204020203" pitchFamily="34" charset="0"/>
                <a:ea typeface="MS PGothic" charset="0"/>
                <a:cs typeface="Segoe UI Semibold" panose="020B0702040204020203" pitchFamily="34" charset="0"/>
              </a:rPr>
              <a:t>Productive platform </a:t>
            </a:r>
            <a:r>
              <a:rPr lang="en-US" sz="2448" dirty="0">
                <a:solidFill>
                  <a:srgbClr val="505050"/>
                </a:solidFill>
                <a:latin typeface="Segoe UI" charset="0"/>
                <a:ea typeface="MS PGothic" charset="0"/>
                <a:cs typeface="Segoe UI" panose="020B0502040204020203" pitchFamily="34" charset="0"/>
              </a:rPr>
              <a:t>for </a:t>
            </a:r>
            <a:r>
              <a:rPr lang="en-US" sz="2448" dirty="0">
                <a:solidFill>
                  <a:srgbClr val="0078D7"/>
                </a:solidFill>
                <a:latin typeface="Segoe UI Semibold" panose="020B0702040204020203" pitchFamily="34" charset="0"/>
                <a:ea typeface="MS PGothic" charset="0"/>
                <a:cs typeface="Segoe UI Semibold" panose="020B0702040204020203" pitchFamily="34" charset="0"/>
              </a:rPr>
              <a:t>developers</a:t>
            </a:r>
            <a:r>
              <a:rPr lang="en-US" sz="2448" dirty="0">
                <a:solidFill>
                  <a:srgbClr val="505050"/>
                </a:solidFill>
                <a:latin typeface="Segoe UI" charset="0"/>
                <a:ea typeface="MS PGothic" charset="0"/>
                <a:cs typeface="Segoe UI" panose="020B0502040204020203" pitchFamily="34" charset="0"/>
              </a:rPr>
              <a:t> and </a:t>
            </a:r>
            <a:r>
              <a:rPr lang="en-US" sz="2448" dirty="0">
                <a:solidFill>
                  <a:srgbClr val="0078D7"/>
                </a:solidFill>
                <a:latin typeface="Segoe UI Semibold" panose="020B0702040204020203" pitchFamily="34" charset="0"/>
                <a:ea typeface="MS PGothic" charset="0"/>
                <a:cs typeface="Segoe UI Semibold" panose="020B0702040204020203" pitchFamily="34" charset="0"/>
              </a:rPr>
              <a:t>scientists</a:t>
            </a:r>
          </a:p>
          <a:p>
            <a:pPr defTabSz="932470" fontAlgn="base">
              <a:spcBef>
                <a:spcPct val="0"/>
              </a:spcBef>
              <a:spcAft>
                <a:spcPts val="1836"/>
              </a:spcAft>
              <a:defRPr/>
            </a:pPr>
            <a:r>
              <a:rPr lang="en-US" sz="2448" dirty="0">
                <a:solidFill>
                  <a:srgbClr val="0078D7"/>
                </a:solidFill>
                <a:latin typeface="Segoe UI Semibold" panose="020B0702040204020203" pitchFamily="34" charset="0"/>
                <a:ea typeface="MS PGothic" charset="0"/>
                <a:cs typeface="Segoe UI Semibold" panose="020B0702040204020203" pitchFamily="34" charset="0"/>
              </a:rPr>
              <a:t>Cost effective </a:t>
            </a:r>
            <a:r>
              <a:rPr lang="en-US" sz="2448" dirty="0">
                <a:solidFill>
                  <a:srgbClr val="505050"/>
                </a:solidFill>
                <a:latin typeface="Segoe UI" charset="0"/>
                <a:ea typeface="MS PGothic" charset="0"/>
                <a:cs typeface="Segoe UI" panose="020B0502040204020203" pitchFamily="34" charset="0"/>
              </a:rPr>
              <a:t>cloud scale</a:t>
            </a:r>
          </a:p>
          <a:p>
            <a:pPr defTabSz="932470" fontAlgn="base">
              <a:spcBef>
                <a:spcPct val="0"/>
              </a:spcBef>
              <a:spcAft>
                <a:spcPts val="1836"/>
              </a:spcAft>
              <a:defRPr/>
            </a:pPr>
            <a:r>
              <a:rPr lang="en-US" sz="2448" dirty="0">
                <a:solidFill>
                  <a:srgbClr val="0078D7"/>
                </a:solidFill>
                <a:latin typeface="Segoe UI Semibold" panose="020B0702040204020203" pitchFamily="34" charset="0"/>
                <a:ea typeface="MS PGothic" charset="0"/>
                <a:cs typeface="Segoe UI Semibold" panose="020B0702040204020203" pitchFamily="34" charset="0"/>
              </a:rPr>
              <a:t>Integration</a:t>
            </a:r>
            <a:r>
              <a:rPr lang="en-US" sz="2448" dirty="0">
                <a:solidFill>
                  <a:srgbClr val="505050"/>
                </a:solidFill>
                <a:latin typeface="Segoe UI" charset="0"/>
                <a:ea typeface="MS PGothic" charset="0"/>
                <a:cs typeface="Segoe UI" panose="020B0502040204020203" pitchFamily="34" charset="0"/>
              </a:rPr>
              <a:t> with leading </a:t>
            </a:r>
            <a:r>
              <a:rPr lang="en-US" sz="2448" dirty="0">
                <a:solidFill>
                  <a:srgbClr val="0078D7"/>
                </a:solidFill>
                <a:latin typeface="Segoe UI Semibold" panose="020B0702040204020203" pitchFamily="34" charset="0"/>
                <a:ea typeface="MS PGothic" charset="0"/>
                <a:cs typeface="Segoe UI Semibold" panose="020B0702040204020203" pitchFamily="34" charset="0"/>
              </a:rPr>
              <a:t>ISV applications</a:t>
            </a:r>
          </a:p>
          <a:p>
            <a:pPr defTabSz="932470" fontAlgn="base">
              <a:spcBef>
                <a:spcPct val="0"/>
              </a:spcBef>
              <a:spcAft>
                <a:spcPts val="1836"/>
              </a:spcAft>
              <a:defRPr/>
            </a:pPr>
            <a:r>
              <a:rPr lang="en-US" sz="2448" dirty="0">
                <a:solidFill>
                  <a:srgbClr val="0078D7"/>
                </a:solidFill>
                <a:latin typeface="Segoe UI Semibold" panose="020B0702040204020203" pitchFamily="34" charset="0"/>
                <a:ea typeface="MS PGothic" charset="0"/>
                <a:cs typeface="Segoe UI Semibold" panose="020B0702040204020203" pitchFamily="34" charset="0"/>
              </a:rPr>
              <a:t>Easy</a:t>
            </a:r>
            <a:r>
              <a:rPr lang="en-US" sz="2448" dirty="0">
                <a:solidFill>
                  <a:srgbClr val="505050"/>
                </a:solidFill>
                <a:latin typeface="Segoe UI" charset="0"/>
                <a:ea typeface="MS PGothic" charset="0"/>
                <a:cs typeface="Segoe UI" panose="020B0502040204020203" pitchFamily="34" charset="0"/>
              </a:rPr>
              <a:t> for administrators to </a:t>
            </a:r>
            <a:r>
              <a:rPr lang="en-US" sz="2448" dirty="0">
                <a:solidFill>
                  <a:srgbClr val="0078D7"/>
                </a:solidFill>
                <a:latin typeface="Segoe UI Semibold" panose="020B0702040204020203" pitchFamily="34" charset="0"/>
                <a:ea typeface="MS PGothic" charset="0"/>
                <a:cs typeface="Segoe UI Semibold" panose="020B0702040204020203" pitchFamily="34" charset="0"/>
              </a:rPr>
              <a:t>manage</a:t>
            </a:r>
          </a:p>
          <a:p>
            <a:pPr defTabSz="932470" fontAlgn="base">
              <a:spcBef>
                <a:spcPct val="0"/>
              </a:spcBef>
              <a:spcAft>
                <a:spcPts val="1836"/>
              </a:spcAft>
              <a:defRPr/>
            </a:pPr>
            <a:r>
              <a:rPr lang="en-US" sz="2448" dirty="0">
                <a:solidFill>
                  <a:srgbClr val="0078D7"/>
                </a:solidFill>
                <a:latin typeface="Segoe UI Semibold" panose="020B0702040204020203" pitchFamily="34" charset="0"/>
                <a:ea typeface="MS PGothic" charset="0"/>
                <a:cs typeface="Segoe UI Semibold" panose="020B0702040204020203" pitchFamily="34" charset="0"/>
              </a:rPr>
              <a:t>63% lower TCO </a:t>
            </a:r>
            <a:r>
              <a:rPr lang="en-US" sz="2448" dirty="0">
                <a:solidFill>
                  <a:srgbClr val="505050"/>
                </a:solidFill>
                <a:latin typeface="Segoe UI Light"/>
                <a:ea typeface="MS PGothic" charset="0"/>
                <a:cs typeface="Segoe UI" panose="020B0502040204020203" pitchFamily="34" charset="0"/>
              </a:rPr>
              <a:t>than deploy your own Hadoop on-premises*</a:t>
            </a:r>
          </a:p>
        </p:txBody>
      </p:sp>
      <p:sp>
        <p:nvSpPr>
          <p:cNvPr id="11" name="TextBox 10"/>
          <p:cNvSpPr txBox="1"/>
          <p:nvPr/>
        </p:nvSpPr>
        <p:spPr>
          <a:xfrm>
            <a:off x="5578235" y="6076124"/>
            <a:ext cx="6975210" cy="434424"/>
          </a:xfrm>
          <a:prstGeom prst="rect">
            <a:avLst/>
          </a:prstGeom>
          <a:noFill/>
        </p:spPr>
        <p:txBody>
          <a:bodyPr wrap="square" lIns="190210" tIns="152169" rIns="190210" bIns="152169" rtlCol="0">
            <a:spAutoFit/>
          </a:bodyPr>
          <a:lstStyle/>
          <a:p>
            <a:pPr defTabSz="931770" fontAlgn="base">
              <a:lnSpc>
                <a:spcPct val="90000"/>
              </a:lnSpc>
              <a:spcBef>
                <a:spcPct val="0"/>
              </a:spcBef>
              <a:spcAft>
                <a:spcPts val="624"/>
              </a:spcAft>
            </a:pPr>
            <a:r>
              <a:rPr lang="en-US" sz="918" dirty="0">
                <a:solidFill>
                  <a:srgbClr val="505050"/>
                </a:solidFill>
                <a:latin typeface="Segoe UI Light"/>
                <a:ea typeface="MS PGothic" charset="0"/>
              </a:rPr>
              <a:t>*IDC study “The Business Value and TCO Advantage of Apache Hadoop in the Cloud with Microsoft Azure HDInsight”</a:t>
            </a:r>
          </a:p>
        </p:txBody>
      </p:sp>
      <p:sp>
        <p:nvSpPr>
          <p:cNvPr id="8" name="Freeform 7"/>
          <p:cNvSpPr/>
          <p:nvPr/>
        </p:nvSpPr>
        <p:spPr>
          <a:xfrm>
            <a:off x="3479647" y="4866309"/>
            <a:ext cx="1530510" cy="1098959"/>
          </a:xfrm>
          <a:custGeom>
            <a:avLst/>
            <a:gdLst>
              <a:gd name="connsiteX0" fmla="*/ 3620186 w 5996789"/>
              <a:gd name="connsiteY0" fmla="*/ 3312946 h 4305921"/>
              <a:gd name="connsiteX1" fmla="*/ 3776214 w 5996789"/>
              <a:gd name="connsiteY1" fmla="*/ 3646776 h 4305921"/>
              <a:gd name="connsiteX2" fmla="*/ 3756257 w 5996789"/>
              <a:gd name="connsiteY2" fmla="*/ 3915289 h 4305921"/>
              <a:gd name="connsiteX3" fmla="*/ 3816129 w 5996789"/>
              <a:gd name="connsiteY3" fmla="*/ 4107603 h 4305921"/>
              <a:gd name="connsiteX4" fmla="*/ 3482300 w 5996789"/>
              <a:gd name="connsiteY4" fmla="*/ 4180175 h 4305921"/>
              <a:gd name="connsiteX5" fmla="*/ 3148472 w 5996789"/>
              <a:gd name="connsiteY5" fmla="*/ 4111232 h 4305921"/>
              <a:gd name="connsiteX6" fmla="*/ 3620186 w 5996789"/>
              <a:gd name="connsiteY6" fmla="*/ 3312946 h 4305921"/>
              <a:gd name="connsiteX7" fmla="*/ 365356 w 5996789"/>
              <a:gd name="connsiteY7" fmla="*/ 2979119 h 4305921"/>
              <a:gd name="connsiteX8" fmla="*/ 706442 w 5996789"/>
              <a:gd name="connsiteY8" fmla="*/ 3683062 h 4305921"/>
              <a:gd name="connsiteX9" fmla="*/ 525013 w 5996789"/>
              <a:gd name="connsiteY9" fmla="*/ 3830018 h 4305921"/>
              <a:gd name="connsiteX10" fmla="*/ 87771 w 5996789"/>
              <a:gd name="connsiteY10" fmla="*/ 3390962 h 4305921"/>
              <a:gd name="connsiteX11" fmla="*/ 365356 w 5996789"/>
              <a:gd name="connsiteY11" fmla="*/ 2979119 h 4305921"/>
              <a:gd name="connsiteX12" fmla="*/ 4139073 w 5996789"/>
              <a:gd name="connsiteY12" fmla="*/ 1036923 h 4305921"/>
              <a:gd name="connsiteX13" fmla="*/ 3651029 w 5996789"/>
              <a:gd name="connsiteY13" fmla="*/ 1406131 h 4305921"/>
              <a:gd name="connsiteX14" fmla="*/ 3748999 w 5996789"/>
              <a:gd name="connsiteY14" fmla="*/ 1323583 h 4305921"/>
              <a:gd name="connsiteX15" fmla="*/ 3907276 w 5996789"/>
              <a:gd name="connsiteY15" fmla="*/ 1465171 h 4305921"/>
              <a:gd name="connsiteX16" fmla="*/ 3805244 w 5996789"/>
              <a:gd name="connsiteY16" fmla="*/ 1620218 h 4305921"/>
              <a:gd name="connsiteX17" fmla="*/ 4338644 w 5996789"/>
              <a:gd name="connsiteY17" fmla="*/ 1230145 h 4305921"/>
              <a:gd name="connsiteX18" fmla="*/ 4198682 w 5996789"/>
              <a:gd name="connsiteY18" fmla="*/ 1265252 h 4305921"/>
              <a:gd name="connsiteX19" fmla="*/ 4057883 w 5996789"/>
              <a:gd name="connsiteY19" fmla="*/ 1094980 h 4305921"/>
              <a:gd name="connsiteX20" fmla="*/ 4139073 w 5996789"/>
              <a:gd name="connsiteY20" fmla="*/ 1036923 h 4305921"/>
              <a:gd name="connsiteX21" fmla="*/ 3598662 w 5996789"/>
              <a:gd name="connsiteY21" fmla="*/ 703111 h 4305921"/>
              <a:gd name="connsiteX22" fmla="*/ 3426057 w 5996789"/>
              <a:gd name="connsiteY22" fmla="*/ 1114030 h 4305921"/>
              <a:gd name="connsiteX23" fmla="*/ 3810686 w 5996789"/>
              <a:gd name="connsiteY23" fmla="*/ 729401 h 4305921"/>
              <a:gd name="connsiteX24" fmla="*/ 3645133 w 5996789"/>
              <a:gd name="connsiteY24" fmla="*/ 703859 h 4305921"/>
              <a:gd name="connsiteX25" fmla="*/ 3598662 w 5996789"/>
              <a:gd name="connsiteY25" fmla="*/ 703111 h 4305921"/>
              <a:gd name="connsiteX26" fmla="*/ 5685617 w 5996789"/>
              <a:gd name="connsiteY26" fmla="*/ 254049 h 4305921"/>
              <a:gd name="connsiteX27" fmla="*/ 5497832 w 5996789"/>
              <a:gd name="connsiteY27" fmla="*/ 442881 h 4305921"/>
              <a:gd name="connsiteX28" fmla="*/ 5271218 w 5996789"/>
              <a:gd name="connsiteY28" fmla="*/ 577718 h 4305921"/>
              <a:gd name="connsiteX29" fmla="*/ 5518876 w 5996789"/>
              <a:gd name="connsiteY29" fmla="*/ 537204 h 4305921"/>
              <a:gd name="connsiteX30" fmla="*/ 5685617 w 5996789"/>
              <a:gd name="connsiteY30" fmla="*/ 254049 h 4305921"/>
              <a:gd name="connsiteX31" fmla="*/ 3607485 w 5996789"/>
              <a:gd name="connsiteY31" fmla="*/ 63 h 4305921"/>
              <a:gd name="connsiteX32" fmla="*/ 4469272 w 5996789"/>
              <a:gd name="connsiteY32" fmla="*/ 528019 h 4305921"/>
              <a:gd name="connsiteX33" fmla="*/ 4312109 w 5996789"/>
              <a:gd name="connsiteY33" fmla="*/ 576495 h 4305921"/>
              <a:gd name="connsiteX34" fmla="*/ 4311926 w 5996789"/>
              <a:gd name="connsiteY34" fmla="*/ 576976 h 4305921"/>
              <a:gd name="connsiteX35" fmla="*/ 4334277 w 5996789"/>
              <a:gd name="connsiteY35" fmla="*/ 578166 h 4305921"/>
              <a:gd name="connsiteX36" fmla="*/ 4576315 w 5996789"/>
              <a:gd name="connsiteY36" fmla="*/ 607845 h 4305921"/>
              <a:gd name="connsiteX37" fmla="*/ 4808543 w 5996789"/>
              <a:gd name="connsiteY37" fmla="*/ 903574 h 4305921"/>
              <a:gd name="connsiteX38" fmla="*/ 4579944 w 5996789"/>
              <a:gd name="connsiteY38" fmla="*/ 956188 h 4305921"/>
              <a:gd name="connsiteX39" fmla="*/ 4532643 w 5996789"/>
              <a:gd name="connsiteY39" fmla="*/ 970068 h 4305921"/>
              <a:gd name="connsiteX40" fmla="*/ 4501091 w 5996789"/>
              <a:gd name="connsiteY40" fmla="*/ 981396 h 4305921"/>
              <a:gd name="connsiteX41" fmla="*/ 4539462 w 5996789"/>
              <a:gd name="connsiteY41" fmla="*/ 981135 h 4305921"/>
              <a:gd name="connsiteX42" fmla="*/ 4677915 w 5996789"/>
              <a:gd name="connsiteY42" fmla="*/ 1045089 h 4305921"/>
              <a:gd name="connsiteX43" fmla="*/ 4608972 w 5996789"/>
              <a:gd name="connsiteY43" fmla="*/ 1202932 h 4305921"/>
              <a:gd name="connsiteX44" fmla="*/ 4848457 w 5996789"/>
              <a:gd name="connsiteY44" fmla="*/ 1204746 h 4305921"/>
              <a:gd name="connsiteX45" fmla="*/ 4821243 w 5996789"/>
              <a:gd name="connsiteY45" fmla="*/ 1417018 h 4305921"/>
              <a:gd name="connsiteX46" fmla="*/ 5077057 w 5996789"/>
              <a:gd name="connsiteY46" fmla="*/ 1368032 h 4305921"/>
              <a:gd name="connsiteX47" fmla="*/ 5011488 w 5996789"/>
              <a:gd name="connsiteY47" fmla="*/ 1756176 h 4305921"/>
              <a:gd name="connsiteX48" fmla="*/ 5005149 w 5996789"/>
              <a:gd name="connsiteY48" fmla="*/ 1768400 h 4305921"/>
              <a:gd name="connsiteX49" fmla="*/ 5035260 w 5996789"/>
              <a:gd name="connsiteY49" fmla="*/ 1744642 h 4305921"/>
              <a:gd name="connsiteX50" fmla="*/ 5207688 w 5996789"/>
              <a:gd name="connsiteY50" fmla="*/ 508059 h 4305921"/>
              <a:gd name="connsiteX51" fmla="*/ 5483459 w 5996789"/>
              <a:gd name="connsiteY51" fmla="*/ 368360 h 4305921"/>
              <a:gd name="connsiteX52" fmla="*/ 5672145 w 5996789"/>
              <a:gd name="connsiteY52" fmla="*/ 150645 h 4305921"/>
              <a:gd name="connsiteX53" fmla="*/ 5430845 w 5996789"/>
              <a:gd name="connsiteY53" fmla="*/ 2532803 h 4305921"/>
              <a:gd name="connsiteX54" fmla="*/ 3971108 w 5996789"/>
              <a:gd name="connsiteY54" fmla="*/ 2163716 h 4305921"/>
              <a:gd name="connsiteX55" fmla="*/ 3935466 w 5996789"/>
              <a:gd name="connsiteY55" fmla="*/ 2124873 h 4305921"/>
              <a:gd name="connsiteX56" fmla="*/ 3916664 w 5996789"/>
              <a:gd name="connsiteY56" fmla="*/ 2222014 h 4305921"/>
              <a:gd name="connsiteX57" fmla="*/ 4481972 w 5996789"/>
              <a:gd name="connsiteY57" fmla="*/ 2672504 h 4305921"/>
              <a:gd name="connsiteX58" fmla="*/ 4549100 w 5996789"/>
              <a:gd name="connsiteY58" fmla="*/ 2677947 h 4305921"/>
              <a:gd name="connsiteX59" fmla="*/ 4122743 w 5996789"/>
              <a:gd name="connsiteY59" fmla="*/ 3051690 h 4305921"/>
              <a:gd name="connsiteX60" fmla="*/ 3689129 w 5996789"/>
              <a:gd name="connsiteY60" fmla="*/ 2757776 h 4305921"/>
              <a:gd name="connsiteX61" fmla="*/ 3299285 w 5996789"/>
              <a:gd name="connsiteY61" fmla="*/ 2541933 h 4305921"/>
              <a:gd name="connsiteX62" fmla="*/ 3246026 w 5996789"/>
              <a:gd name="connsiteY62" fmla="*/ 2508407 h 4305921"/>
              <a:gd name="connsiteX63" fmla="*/ 3249973 w 5996789"/>
              <a:gd name="connsiteY63" fmla="*/ 2518743 h 4305921"/>
              <a:gd name="connsiteX64" fmla="*/ 3592971 w 5996789"/>
              <a:gd name="connsiteY64" fmla="*/ 2890218 h 4305921"/>
              <a:gd name="connsiteX65" fmla="*/ 3204714 w 5996789"/>
              <a:gd name="connsiteY65" fmla="*/ 3741118 h 4305921"/>
              <a:gd name="connsiteX66" fmla="*/ 2491699 w 5996789"/>
              <a:gd name="connsiteY66" fmla="*/ 4305361 h 4305921"/>
              <a:gd name="connsiteX67" fmla="*/ 2107071 w 5996789"/>
              <a:gd name="connsiteY67" fmla="*/ 3839089 h 4305921"/>
              <a:gd name="connsiteX68" fmla="*/ 2453599 w 5996789"/>
              <a:gd name="connsiteY68" fmla="*/ 3581461 h 4305921"/>
              <a:gd name="connsiteX69" fmla="*/ 2435456 w 5996789"/>
              <a:gd name="connsiteY69" fmla="*/ 3302061 h 4305921"/>
              <a:gd name="connsiteX70" fmla="*/ 1634637 w 5996789"/>
              <a:gd name="connsiteY70" fmla="*/ 3346858 h 4305921"/>
              <a:gd name="connsiteX71" fmla="*/ 1602322 w 5996789"/>
              <a:gd name="connsiteY71" fmla="*/ 3309232 h 4305921"/>
              <a:gd name="connsiteX72" fmla="*/ 1606556 w 5996789"/>
              <a:gd name="connsiteY72" fmla="*/ 3424752 h 4305921"/>
              <a:gd name="connsiteX73" fmla="*/ 1600886 w 5996789"/>
              <a:gd name="connsiteY73" fmla="*/ 3732046 h 4305921"/>
              <a:gd name="connsiteX74" fmla="*/ 1466629 w 5996789"/>
              <a:gd name="connsiteY74" fmla="*/ 4020518 h 4305921"/>
              <a:gd name="connsiteX75" fmla="*/ 1443043 w 5996789"/>
              <a:gd name="connsiteY75" fmla="*/ 4241861 h 4305921"/>
              <a:gd name="connsiteX76" fmla="*/ 748172 w 5996789"/>
              <a:gd name="connsiteY76" fmla="*/ 4107603 h 4305921"/>
              <a:gd name="connsiteX77" fmla="*/ 815300 w 5996789"/>
              <a:gd name="connsiteY77" fmla="*/ 3877189 h 4305921"/>
              <a:gd name="connsiteX78" fmla="*/ 843790 w 5996789"/>
              <a:gd name="connsiteY78" fmla="*/ 3603771 h 4305921"/>
              <a:gd name="connsiteX79" fmla="*/ 844480 w 5996789"/>
              <a:gd name="connsiteY79" fmla="*/ 3586118 h 4305921"/>
              <a:gd name="connsiteX80" fmla="*/ 824913 w 5996789"/>
              <a:gd name="connsiteY80" fmla="*/ 3548501 h 4305921"/>
              <a:gd name="connsiteX81" fmla="*/ 454256 w 5996789"/>
              <a:gd name="connsiteY81" fmla="*/ 2111888 h 4305921"/>
              <a:gd name="connsiteX82" fmla="*/ 56504 w 5996789"/>
              <a:gd name="connsiteY82" fmla="*/ 1830221 h 4305921"/>
              <a:gd name="connsiteX83" fmla="*/ 54019 w 5996789"/>
              <a:gd name="connsiteY83" fmla="*/ 1806341 h 4305921"/>
              <a:gd name="connsiteX84" fmla="*/ 37275 w 5996789"/>
              <a:gd name="connsiteY84" fmla="*/ 1798303 h 4305921"/>
              <a:gd name="connsiteX85" fmla="*/ 243799 w 5996789"/>
              <a:gd name="connsiteY85" fmla="*/ 1386174 h 4305921"/>
              <a:gd name="connsiteX86" fmla="*/ 163929 w 5996789"/>
              <a:gd name="connsiteY86" fmla="*/ 1788332 h 4305921"/>
              <a:gd name="connsiteX87" fmla="*/ 142519 w 5996789"/>
              <a:gd name="connsiteY87" fmla="*/ 1800347 h 4305921"/>
              <a:gd name="connsiteX88" fmla="*/ 215750 w 5996789"/>
              <a:gd name="connsiteY88" fmla="*/ 1866280 h 4305921"/>
              <a:gd name="connsiteX89" fmla="*/ 1833113 w 5996789"/>
              <a:gd name="connsiteY89" fmla="*/ 909016 h 4305921"/>
              <a:gd name="connsiteX90" fmla="*/ 1221699 w 5996789"/>
              <a:gd name="connsiteY90" fmla="*/ 1841560 h 4305921"/>
              <a:gd name="connsiteX91" fmla="*/ 1566414 w 5996789"/>
              <a:gd name="connsiteY91" fmla="*/ 2387660 h 4305921"/>
              <a:gd name="connsiteX92" fmla="*/ 1443596 w 5996789"/>
              <a:gd name="connsiteY92" fmla="*/ 2565531 h 4305921"/>
              <a:gd name="connsiteX93" fmla="*/ 1408805 w 5996789"/>
              <a:gd name="connsiteY93" fmla="*/ 2623667 h 4305921"/>
              <a:gd name="connsiteX94" fmla="*/ 1418054 w 5996789"/>
              <a:gd name="connsiteY94" fmla="*/ 2635650 h 4305921"/>
              <a:gd name="connsiteX95" fmla="*/ 1869399 w 5996789"/>
              <a:gd name="connsiteY95" fmla="*/ 2993632 h 4305921"/>
              <a:gd name="connsiteX96" fmla="*/ 2661931 w 5996789"/>
              <a:gd name="connsiteY96" fmla="*/ 2671568 h 4305921"/>
              <a:gd name="connsiteX97" fmla="*/ 2673961 w 5996789"/>
              <a:gd name="connsiteY97" fmla="*/ 2670522 h 4305921"/>
              <a:gd name="connsiteX98" fmla="*/ 2693882 w 5996789"/>
              <a:gd name="connsiteY98" fmla="*/ 2665877 h 4305921"/>
              <a:gd name="connsiteX99" fmla="*/ 2830675 w 5996789"/>
              <a:gd name="connsiteY99" fmla="*/ 2670514 h 4305921"/>
              <a:gd name="connsiteX100" fmla="*/ 2846154 w 5996789"/>
              <a:gd name="connsiteY100" fmla="*/ 2674100 h 4305921"/>
              <a:gd name="connsiteX101" fmla="*/ 2901383 w 5996789"/>
              <a:gd name="connsiteY101" fmla="*/ 2682721 h 4305921"/>
              <a:gd name="connsiteX102" fmla="*/ 2955302 w 5996789"/>
              <a:gd name="connsiteY102" fmla="*/ 2696508 h 4305921"/>
              <a:gd name="connsiteX103" fmla="*/ 2997886 w 5996789"/>
              <a:gd name="connsiteY103" fmla="*/ 2703485 h 4305921"/>
              <a:gd name="connsiteX104" fmla="*/ 2983232 w 5996789"/>
              <a:gd name="connsiteY104" fmla="*/ 1129662 h 4305921"/>
              <a:gd name="connsiteX105" fmla="*/ 2857209 w 5996789"/>
              <a:gd name="connsiteY105" fmla="*/ 2524708 h 4305921"/>
              <a:gd name="connsiteX106" fmla="*/ 2505517 w 5996789"/>
              <a:gd name="connsiteY106" fmla="*/ 2559877 h 4305921"/>
              <a:gd name="connsiteX107" fmla="*/ 1956905 w 5996789"/>
              <a:gd name="connsiteY107" fmla="*/ 2831462 h 4305921"/>
              <a:gd name="connsiteX108" fmla="*/ 1635078 w 5996789"/>
              <a:gd name="connsiteY108" fmla="*/ 2641939 h 4305921"/>
              <a:gd name="connsiteX109" fmla="*/ 1977978 w 5996789"/>
              <a:gd name="connsiteY109" fmla="*/ 1932693 h 4305921"/>
              <a:gd name="connsiteX110" fmla="*/ 1684901 w 5996789"/>
              <a:gd name="connsiteY110" fmla="*/ 2266800 h 4305921"/>
              <a:gd name="connsiteX111" fmla="*/ 1402431 w 5996789"/>
              <a:gd name="connsiteY111" fmla="*/ 1820068 h 4305921"/>
              <a:gd name="connsiteX112" fmla="*/ 2341394 w 5996789"/>
              <a:gd name="connsiteY112" fmla="*/ 602123 h 4305921"/>
              <a:gd name="connsiteX113" fmla="*/ 2838365 w 5996789"/>
              <a:gd name="connsiteY113" fmla="*/ 498745 h 4305921"/>
              <a:gd name="connsiteX114" fmla="*/ 2887056 w 5996789"/>
              <a:gd name="connsiteY114" fmla="*/ 485499 h 4305921"/>
              <a:gd name="connsiteX115" fmla="*/ 2875393 w 5996789"/>
              <a:gd name="connsiteY115" fmla="*/ 483824 h 4305921"/>
              <a:gd name="connsiteX116" fmla="*/ 2587857 w 5996789"/>
              <a:gd name="connsiteY116" fmla="*/ 477219 h 4305921"/>
              <a:gd name="connsiteX117" fmla="*/ 3607485 w 5996789"/>
              <a:gd name="connsiteY117" fmla="*/ 63 h 43059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Lst>
            <a:rect l="l" t="t" r="r" b="b"/>
            <a:pathLst>
              <a:path w="5996789" h="4305921">
                <a:moveTo>
                  <a:pt x="3620186" y="3312946"/>
                </a:moveTo>
                <a:cubicBezTo>
                  <a:pt x="3686709" y="3387937"/>
                  <a:pt x="3753536" y="3546386"/>
                  <a:pt x="3776214" y="3646776"/>
                </a:cubicBezTo>
                <a:cubicBezTo>
                  <a:pt x="3798892" y="3747166"/>
                  <a:pt x="3740533" y="3840299"/>
                  <a:pt x="3756257" y="3915289"/>
                </a:cubicBezTo>
                <a:cubicBezTo>
                  <a:pt x="3787099" y="3983627"/>
                  <a:pt x="3836087" y="4037451"/>
                  <a:pt x="3816129" y="4107603"/>
                </a:cubicBezTo>
                <a:cubicBezTo>
                  <a:pt x="3786497" y="4209505"/>
                  <a:pt x="3593576" y="4179570"/>
                  <a:pt x="3482300" y="4180175"/>
                </a:cubicBezTo>
                <a:cubicBezTo>
                  <a:pt x="3371024" y="4180780"/>
                  <a:pt x="3120653" y="4260608"/>
                  <a:pt x="3148472" y="4111232"/>
                </a:cubicBezTo>
                <a:cubicBezTo>
                  <a:pt x="3423638" y="3906823"/>
                  <a:pt x="3528262" y="3677012"/>
                  <a:pt x="3620186" y="3312946"/>
                </a:cubicBezTo>
                <a:close/>
                <a:moveTo>
                  <a:pt x="365356" y="2979119"/>
                </a:moveTo>
                <a:cubicBezTo>
                  <a:pt x="473608" y="3331695"/>
                  <a:pt x="541947" y="3450228"/>
                  <a:pt x="706442" y="3683062"/>
                </a:cubicBezTo>
                <a:cubicBezTo>
                  <a:pt x="655037" y="3770753"/>
                  <a:pt x="643546" y="3833041"/>
                  <a:pt x="525013" y="3830018"/>
                </a:cubicBezTo>
                <a:cubicBezTo>
                  <a:pt x="381683" y="3816715"/>
                  <a:pt x="93213" y="3498609"/>
                  <a:pt x="87771" y="3390962"/>
                </a:cubicBezTo>
                <a:cubicBezTo>
                  <a:pt x="87769" y="3304481"/>
                  <a:pt x="267385" y="3091000"/>
                  <a:pt x="365356" y="2979119"/>
                </a:cubicBezTo>
                <a:close/>
                <a:moveTo>
                  <a:pt x="4139073" y="1036923"/>
                </a:moveTo>
                <a:cubicBezTo>
                  <a:pt x="3934664" y="1099819"/>
                  <a:pt x="3797380" y="1118266"/>
                  <a:pt x="3651029" y="1406131"/>
                </a:cubicBezTo>
                <a:cubicBezTo>
                  <a:pt x="3734335" y="1321918"/>
                  <a:pt x="3743481" y="1326606"/>
                  <a:pt x="3748999" y="1323583"/>
                </a:cubicBezTo>
                <a:cubicBezTo>
                  <a:pt x="3790873" y="1427021"/>
                  <a:pt x="3816418" y="1434302"/>
                  <a:pt x="3907276" y="1465171"/>
                </a:cubicBezTo>
                <a:cubicBezTo>
                  <a:pt x="3906901" y="1466512"/>
                  <a:pt x="3860126" y="1512268"/>
                  <a:pt x="3805244" y="1620218"/>
                </a:cubicBezTo>
                <a:cubicBezTo>
                  <a:pt x="3978809" y="1428509"/>
                  <a:pt x="4099763" y="1325697"/>
                  <a:pt x="4338644" y="1230145"/>
                </a:cubicBezTo>
                <a:cubicBezTo>
                  <a:pt x="4233417" y="1239897"/>
                  <a:pt x="4203027" y="1264420"/>
                  <a:pt x="4198682" y="1265252"/>
                </a:cubicBezTo>
                <a:cubicBezTo>
                  <a:pt x="4182588" y="1154672"/>
                  <a:pt x="4150175" y="1125735"/>
                  <a:pt x="4057883" y="1094980"/>
                </a:cubicBezTo>
                <a:cubicBezTo>
                  <a:pt x="4080185" y="1062019"/>
                  <a:pt x="4138315" y="1040402"/>
                  <a:pt x="4139073" y="1036923"/>
                </a:cubicBezTo>
                <a:close/>
                <a:moveTo>
                  <a:pt x="3598662" y="703111"/>
                </a:moveTo>
                <a:cubicBezTo>
                  <a:pt x="3498934" y="711015"/>
                  <a:pt x="3457807" y="794149"/>
                  <a:pt x="3426057" y="1114030"/>
                </a:cubicBezTo>
                <a:cubicBezTo>
                  <a:pt x="3521610" y="891478"/>
                  <a:pt x="3584505" y="765083"/>
                  <a:pt x="3810686" y="729401"/>
                </a:cubicBezTo>
                <a:cubicBezTo>
                  <a:pt x="3744163" y="719271"/>
                  <a:pt x="3689885" y="707781"/>
                  <a:pt x="3645133" y="703859"/>
                </a:cubicBezTo>
                <a:cubicBezTo>
                  <a:pt x="3628351" y="702389"/>
                  <a:pt x="3612908" y="701982"/>
                  <a:pt x="3598662" y="703111"/>
                </a:cubicBezTo>
                <a:close/>
                <a:moveTo>
                  <a:pt x="5685617" y="254049"/>
                </a:moveTo>
                <a:cubicBezTo>
                  <a:pt x="5662652" y="233993"/>
                  <a:pt x="5566898" y="388936"/>
                  <a:pt x="5497832" y="442881"/>
                </a:cubicBezTo>
                <a:cubicBezTo>
                  <a:pt x="5428765" y="496826"/>
                  <a:pt x="5271791" y="542948"/>
                  <a:pt x="5271218" y="577718"/>
                </a:cubicBezTo>
                <a:cubicBezTo>
                  <a:pt x="5270644" y="612489"/>
                  <a:pt x="5418513" y="621084"/>
                  <a:pt x="5518876" y="537204"/>
                </a:cubicBezTo>
                <a:cubicBezTo>
                  <a:pt x="5619239" y="453324"/>
                  <a:pt x="5718107" y="295877"/>
                  <a:pt x="5685617" y="254049"/>
                </a:cubicBezTo>
                <a:close/>
                <a:moveTo>
                  <a:pt x="3607485" y="63"/>
                </a:moveTo>
                <a:cubicBezTo>
                  <a:pt x="3892933" y="-4170"/>
                  <a:pt x="4223738" y="203867"/>
                  <a:pt x="4469272" y="528019"/>
                </a:cubicBezTo>
                <a:cubicBezTo>
                  <a:pt x="4410761" y="533462"/>
                  <a:pt x="4334901" y="545028"/>
                  <a:pt x="4312109" y="576495"/>
                </a:cubicBezTo>
                <a:lnTo>
                  <a:pt x="4311926" y="576976"/>
                </a:lnTo>
                <a:lnTo>
                  <a:pt x="4334277" y="578166"/>
                </a:lnTo>
                <a:cubicBezTo>
                  <a:pt x="4430264" y="584487"/>
                  <a:pt x="4535946" y="595145"/>
                  <a:pt x="4576315" y="607845"/>
                </a:cubicBezTo>
                <a:cubicBezTo>
                  <a:pt x="4651910" y="624778"/>
                  <a:pt x="4821848" y="835841"/>
                  <a:pt x="4808543" y="903574"/>
                </a:cubicBezTo>
                <a:cubicBezTo>
                  <a:pt x="4807938" y="965562"/>
                  <a:pt x="4688801" y="931393"/>
                  <a:pt x="4579944" y="956188"/>
                </a:cubicBezTo>
                <a:cubicBezTo>
                  <a:pt x="4566337" y="959287"/>
                  <a:pt x="4550335" y="964116"/>
                  <a:pt x="4532643" y="970068"/>
                </a:cubicBezTo>
                <a:lnTo>
                  <a:pt x="4501091" y="981396"/>
                </a:lnTo>
                <a:lnTo>
                  <a:pt x="4539462" y="981135"/>
                </a:lnTo>
                <a:cubicBezTo>
                  <a:pt x="4594798" y="976939"/>
                  <a:pt x="4622580" y="970703"/>
                  <a:pt x="4677915" y="1045089"/>
                </a:cubicBezTo>
                <a:cubicBezTo>
                  <a:pt x="4718434" y="1164831"/>
                  <a:pt x="4691825" y="1141247"/>
                  <a:pt x="4608972" y="1202932"/>
                </a:cubicBezTo>
                <a:cubicBezTo>
                  <a:pt x="4739600" y="1169066"/>
                  <a:pt x="4777701" y="1156970"/>
                  <a:pt x="4848457" y="1204746"/>
                </a:cubicBezTo>
                <a:cubicBezTo>
                  <a:pt x="4937357" y="1346260"/>
                  <a:pt x="4873857" y="1357147"/>
                  <a:pt x="4821243" y="1417018"/>
                </a:cubicBezTo>
                <a:cubicBezTo>
                  <a:pt x="4902885" y="1348075"/>
                  <a:pt x="4970015" y="1282761"/>
                  <a:pt x="5077057" y="1368032"/>
                </a:cubicBezTo>
                <a:cubicBezTo>
                  <a:pt x="5168225" y="1439243"/>
                  <a:pt x="5087943" y="1608425"/>
                  <a:pt x="5011488" y="1756176"/>
                </a:cubicBezTo>
                <a:lnTo>
                  <a:pt x="5005149" y="1768400"/>
                </a:lnTo>
                <a:lnTo>
                  <a:pt x="5035260" y="1744642"/>
                </a:lnTo>
                <a:cubicBezTo>
                  <a:pt x="5438762" y="1362546"/>
                  <a:pt x="5121509" y="633925"/>
                  <a:pt x="5207688" y="508059"/>
                </a:cubicBezTo>
                <a:cubicBezTo>
                  <a:pt x="5251230" y="440931"/>
                  <a:pt x="5321988" y="453632"/>
                  <a:pt x="5483459" y="368360"/>
                </a:cubicBezTo>
                <a:cubicBezTo>
                  <a:pt x="5536074" y="337517"/>
                  <a:pt x="5592014" y="130991"/>
                  <a:pt x="5672145" y="150645"/>
                </a:cubicBezTo>
                <a:cubicBezTo>
                  <a:pt x="6022604" y="236603"/>
                  <a:pt x="6267836" y="2016941"/>
                  <a:pt x="5430845" y="2532803"/>
                </a:cubicBezTo>
                <a:cubicBezTo>
                  <a:pt x="5125252" y="2699491"/>
                  <a:pt x="4586848" y="2791232"/>
                  <a:pt x="3971108" y="2163716"/>
                </a:cubicBezTo>
                <a:lnTo>
                  <a:pt x="3935466" y="2124873"/>
                </a:lnTo>
                <a:lnTo>
                  <a:pt x="3916664" y="2222014"/>
                </a:lnTo>
                <a:cubicBezTo>
                  <a:pt x="3847574" y="2718004"/>
                  <a:pt x="4173544" y="3189576"/>
                  <a:pt x="4481972" y="2672504"/>
                </a:cubicBezTo>
                <a:lnTo>
                  <a:pt x="4549100" y="2677947"/>
                </a:lnTo>
                <a:cubicBezTo>
                  <a:pt x="4476529" y="2891427"/>
                  <a:pt x="4329572" y="3086766"/>
                  <a:pt x="4122743" y="3051690"/>
                </a:cubicBezTo>
                <a:cubicBezTo>
                  <a:pt x="3880234" y="3020847"/>
                  <a:pt x="3777424" y="2859375"/>
                  <a:pt x="3689129" y="2757776"/>
                </a:cubicBezTo>
                <a:cubicBezTo>
                  <a:pt x="3569387" y="2729201"/>
                  <a:pt x="3433315" y="2631230"/>
                  <a:pt x="3299285" y="2541933"/>
                </a:cubicBezTo>
                <a:lnTo>
                  <a:pt x="3246026" y="2508407"/>
                </a:lnTo>
                <a:lnTo>
                  <a:pt x="3249973" y="2518743"/>
                </a:lnTo>
                <a:cubicBezTo>
                  <a:pt x="3337818" y="2713257"/>
                  <a:pt x="3488792" y="2837897"/>
                  <a:pt x="3592971" y="2890218"/>
                </a:cubicBezTo>
                <a:cubicBezTo>
                  <a:pt x="3490766" y="3257308"/>
                  <a:pt x="3264539" y="3686442"/>
                  <a:pt x="3204714" y="3741118"/>
                </a:cubicBezTo>
                <a:cubicBezTo>
                  <a:pt x="2818271" y="4094300"/>
                  <a:pt x="2606000" y="4318665"/>
                  <a:pt x="2491699" y="4305361"/>
                </a:cubicBezTo>
                <a:cubicBezTo>
                  <a:pt x="2334462" y="4291451"/>
                  <a:pt x="2088323" y="3903799"/>
                  <a:pt x="2107071" y="3839089"/>
                </a:cubicBezTo>
                <a:cubicBezTo>
                  <a:pt x="2169966" y="3684271"/>
                  <a:pt x="2401590" y="3665523"/>
                  <a:pt x="2453599" y="3581461"/>
                </a:cubicBezTo>
                <a:cubicBezTo>
                  <a:pt x="2471742" y="3448414"/>
                  <a:pt x="2437270" y="3407894"/>
                  <a:pt x="2435456" y="3302061"/>
                </a:cubicBezTo>
                <a:cubicBezTo>
                  <a:pt x="2286761" y="3631733"/>
                  <a:pt x="1843583" y="3559964"/>
                  <a:pt x="1634637" y="3346858"/>
                </a:cubicBezTo>
                <a:lnTo>
                  <a:pt x="1602322" y="3309232"/>
                </a:lnTo>
                <a:lnTo>
                  <a:pt x="1606556" y="3424752"/>
                </a:lnTo>
                <a:cubicBezTo>
                  <a:pt x="1610109" y="3534138"/>
                  <a:pt x="1611167" y="3639216"/>
                  <a:pt x="1600886" y="3732046"/>
                </a:cubicBezTo>
                <a:cubicBezTo>
                  <a:pt x="1585163" y="3848765"/>
                  <a:pt x="1478724" y="3938270"/>
                  <a:pt x="1466629" y="4020518"/>
                </a:cubicBezTo>
                <a:cubicBezTo>
                  <a:pt x="1458767" y="4094299"/>
                  <a:pt x="1470863" y="4197109"/>
                  <a:pt x="1443043" y="4241861"/>
                </a:cubicBezTo>
                <a:cubicBezTo>
                  <a:pt x="1347491" y="4371280"/>
                  <a:pt x="754824" y="4208599"/>
                  <a:pt x="748172" y="4107603"/>
                </a:cubicBezTo>
                <a:cubicBezTo>
                  <a:pt x="737891" y="3945527"/>
                  <a:pt x="792924" y="3953994"/>
                  <a:pt x="815300" y="3877189"/>
                </a:cubicBezTo>
                <a:cubicBezTo>
                  <a:pt x="823011" y="3779671"/>
                  <a:pt x="837866" y="3707668"/>
                  <a:pt x="843790" y="3603771"/>
                </a:cubicBezTo>
                <a:lnTo>
                  <a:pt x="844480" y="3586118"/>
                </a:lnTo>
                <a:lnTo>
                  <a:pt x="824913" y="3548501"/>
                </a:lnTo>
                <a:cubicBezTo>
                  <a:pt x="628087" y="3208189"/>
                  <a:pt x="316142" y="2844784"/>
                  <a:pt x="454256" y="2111888"/>
                </a:cubicBezTo>
                <a:cubicBezTo>
                  <a:pt x="133129" y="2189449"/>
                  <a:pt x="77340" y="2000650"/>
                  <a:pt x="56504" y="1830221"/>
                </a:cubicBezTo>
                <a:lnTo>
                  <a:pt x="54019" y="1806341"/>
                </a:lnTo>
                <a:lnTo>
                  <a:pt x="37275" y="1798303"/>
                </a:lnTo>
                <a:cubicBezTo>
                  <a:pt x="-57562" y="1715448"/>
                  <a:pt x="34778" y="1477191"/>
                  <a:pt x="243799" y="1386174"/>
                </a:cubicBezTo>
                <a:cubicBezTo>
                  <a:pt x="140083" y="1575616"/>
                  <a:pt x="293344" y="1701161"/>
                  <a:pt x="163929" y="1788332"/>
                </a:cubicBezTo>
                <a:lnTo>
                  <a:pt x="142519" y="1800347"/>
                </a:lnTo>
                <a:lnTo>
                  <a:pt x="215750" y="1866280"/>
                </a:lnTo>
                <a:cubicBezTo>
                  <a:pt x="566884" y="2113467"/>
                  <a:pt x="563114" y="1091049"/>
                  <a:pt x="1833113" y="909016"/>
                </a:cubicBezTo>
                <a:cubicBezTo>
                  <a:pt x="1355351" y="1394035"/>
                  <a:pt x="1316647" y="1570626"/>
                  <a:pt x="1221699" y="1841560"/>
                </a:cubicBezTo>
                <a:cubicBezTo>
                  <a:pt x="1280360" y="2103421"/>
                  <a:pt x="1487795" y="2176598"/>
                  <a:pt x="1566414" y="2387660"/>
                </a:cubicBezTo>
                <a:cubicBezTo>
                  <a:pt x="1521435" y="2448439"/>
                  <a:pt x="1480765" y="2507630"/>
                  <a:pt x="1443596" y="2565531"/>
                </a:cubicBezTo>
                <a:lnTo>
                  <a:pt x="1408805" y="2623667"/>
                </a:lnTo>
                <a:lnTo>
                  <a:pt x="1418054" y="2635650"/>
                </a:lnTo>
                <a:cubicBezTo>
                  <a:pt x="1537943" y="2781370"/>
                  <a:pt x="1741869" y="2968762"/>
                  <a:pt x="1869399" y="2993632"/>
                </a:cubicBezTo>
                <a:cubicBezTo>
                  <a:pt x="2297118" y="2948274"/>
                  <a:pt x="2395202" y="2713098"/>
                  <a:pt x="2661931" y="2671568"/>
                </a:cubicBezTo>
                <a:lnTo>
                  <a:pt x="2673961" y="2670522"/>
                </a:lnTo>
                <a:lnTo>
                  <a:pt x="2693882" y="2665877"/>
                </a:lnTo>
                <a:cubicBezTo>
                  <a:pt x="2744901" y="2657855"/>
                  <a:pt x="2788873" y="2662271"/>
                  <a:pt x="2830675" y="2670514"/>
                </a:cubicBezTo>
                <a:lnTo>
                  <a:pt x="2846154" y="2674100"/>
                </a:lnTo>
                <a:lnTo>
                  <a:pt x="2901383" y="2682721"/>
                </a:lnTo>
                <a:lnTo>
                  <a:pt x="2955302" y="2696508"/>
                </a:lnTo>
                <a:lnTo>
                  <a:pt x="2997886" y="2703485"/>
                </a:lnTo>
                <a:cubicBezTo>
                  <a:pt x="3265144" y="1718049"/>
                  <a:pt x="2888331" y="1717770"/>
                  <a:pt x="2983232" y="1129662"/>
                </a:cubicBezTo>
                <a:cubicBezTo>
                  <a:pt x="2716253" y="1857748"/>
                  <a:pt x="3104232" y="1854679"/>
                  <a:pt x="2857209" y="2524708"/>
                </a:cubicBezTo>
                <a:cubicBezTo>
                  <a:pt x="2739978" y="2536431"/>
                  <a:pt x="2686248" y="2484654"/>
                  <a:pt x="2505517" y="2559877"/>
                </a:cubicBezTo>
                <a:cubicBezTo>
                  <a:pt x="2322646" y="2650405"/>
                  <a:pt x="2147033" y="2806248"/>
                  <a:pt x="1956905" y="2831462"/>
                </a:cubicBezTo>
                <a:cubicBezTo>
                  <a:pt x="1778872" y="2833603"/>
                  <a:pt x="1720583" y="2766799"/>
                  <a:pt x="1635078" y="2641939"/>
                </a:cubicBezTo>
                <a:lnTo>
                  <a:pt x="1977978" y="1932693"/>
                </a:lnTo>
                <a:lnTo>
                  <a:pt x="1684901" y="2266800"/>
                </a:lnTo>
                <a:cubicBezTo>
                  <a:pt x="1501240" y="1883847"/>
                  <a:pt x="1485607" y="2037501"/>
                  <a:pt x="1402431" y="1820068"/>
                </a:cubicBezTo>
                <a:cubicBezTo>
                  <a:pt x="1434809" y="1410458"/>
                  <a:pt x="2220116" y="686976"/>
                  <a:pt x="2341394" y="602123"/>
                </a:cubicBezTo>
                <a:cubicBezTo>
                  <a:pt x="2399399" y="551690"/>
                  <a:pt x="2579641" y="560985"/>
                  <a:pt x="2838365" y="498745"/>
                </a:cubicBezTo>
                <a:lnTo>
                  <a:pt x="2887056" y="485499"/>
                </a:lnTo>
                <a:lnTo>
                  <a:pt x="2875393" y="483824"/>
                </a:lnTo>
                <a:cubicBezTo>
                  <a:pt x="2805647" y="476425"/>
                  <a:pt x="2712740" y="475858"/>
                  <a:pt x="2587857" y="477219"/>
                </a:cubicBezTo>
                <a:cubicBezTo>
                  <a:pt x="2832181" y="98638"/>
                  <a:pt x="3263375" y="10344"/>
                  <a:pt x="3607485" y="63"/>
                </a:cubicBezTo>
                <a:close/>
              </a:path>
            </a:pathLst>
          </a:custGeom>
          <a:solidFill>
            <a:srgbClr val="66AE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1770" fontAlgn="base">
              <a:spcBef>
                <a:spcPct val="0"/>
              </a:spcBef>
              <a:spcAft>
                <a:spcPct val="0"/>
              </a:spcAft>
            </a:pPr>
            <a:endParaRPr lang="en-US" sz="2448">
              <a:solidFill>
                <a:srgbClr val="FFFFFF"/>
              </a:solidFill>
              <a:latin typeface="Segoe UI"/>
            </a:endParaRPr>
          </a:p>
        </p:txBody>
      </p:sp>
    </p:spTree>
    <p:extLst>
      <p:ext uri="{BB962C8B-B14F-4D97-AF65-F5344CB8AC3E}">
        <p14:creationId xmlns:p14="http://schemas.microsoft.com/office/powerpoint/2010/main" val="2134834681"/>
      </p:ext>
    </p:extLst>
  </p:cSld>
  <p:clrMapOvr>
    <a:masterClrMapping/>
  </p:clrMapOvr>
  <p:transition>
    <p:fade/>
  </p:transition>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HDInsight – What is it?</a:t>
            </a:r>
          </a:p>
        </p:txBody>
      </p:sp>
      <p:sp>
        <p:nvSpPr>
          <p:cNvPr id="3" name="Slide Number Placeholder 2"/>
          <p:cNvSpPr>
            <a:spLocks noGrp="1"/>
          </p:cNvSpPr>
          <p:nvPr>
            <p:ph type="sldNum" sz="quarter" idx="11"/>
          </p:nvPr>
        </p:nvSpPr>
        <p:spPr/>
        <p:txBody>
          <a:bodyPr/>
          <a:lstStyle/>
          <a:p>
            <a:pPr>
              <a:defRPr/>
            </a:pPr>
            <a:fld id="{F8A0AC42-AA1D-4944-8D96-660DE70C7E1B}" type="slidenum">
              <a:rPr lang="en-US">
                <a:latin typeface="Segoe UI"/>
              </a:rPr>
              <a:pPr>
                <a:defRPr/>
              </a:pPr>
              <a:t>56</a:t>
            </a:fld>
            <a:endParaRPr lang="en-US" dirty="0">
              <a:latin typeface="Segoe UI"/>
            </a:endParaRPr>
          </a:p>
        </p:txBody>
      </p:sp>
      <p:sp>
        <p:nvSpPr>
          <p:cNvPr id="4" name="TextBox 3"/>
          <p:cNvSpPr txBox="1"/>
          <p:nvPr/>
        </p:nvSpPr>
        <p:spPr>
          <a:xfrm>
            <a:off x="513749" y="1354165"/>
            <a:ext cx="11404283" cy="540841"/>
          </a:xfrm>
          <a:prstGeom prst="rect">
            <a:avLst/>
          </a:prstGeom>
          <a:solidFill>
            <a:srgbClr val="1673C3"/>
          </a:solidFill>
        </p:spPr>
        <p:txBody>
          <a:bodyPr wrap="none" lIns="186497" tIns="149198" rIns="186497" bIns="149198" rtlCol="0">
            <a:noAutofit/>
          </a:bodyPr>
          <a:lstStyle/>
          <a:p>
            <a:pPr algn="ctr" defTabSz="932504">
              <a:lnSpc>
                <a:spcPct val="90000"/>
              </a:lnSpc>
              <a:spcAft>
                <a:spcPts val="612"/>
              </a:spcAft>
            </a:pPr>
            <a:r>
              <a:rPr lang="en-US" sz="2040" dirty="0">
                <a:solidFill>
                  <a:srgbClr val="FFFFFF"/>
                </a:solidFill>
                <a:latin typeface="Segoe UI Semibold" panose="020B0702040204020203" pitchFamily="34" charset="0"/>
                <a:ea typeface="MS PGothic" charset="0"/>
                <a:cs typeface="Segoe UI Semibold" panose="020B0702040204020203" pitchFamily="34" charset="0"/>
              </a:rPr>
              <a:t>A standard Apache Hadoop distribution offered as a managed service on Microsoft Azure</a:t>
            </a:r>
          </a:p>
        </p:txBody>
      </p:sp>
      <p:sp>
        <p:nvSpPr>
          <p:cNvPr id="5" name="TextBox 4"/>
          <p:cNvSpPr txBox="1"/>
          <p:nvPr/>
        </p:nvSpPr>
        <p:spPr>
          <a:xfrm>
            <a:off x="469121" y="1942389"/>
            <a:ext cx="7283390" cy="4383664"/>
          </a:xfrm>
          <a:prstGeom prst="rect">
            <a:avLst/>
          </a:prstGeom>
          <a:noFill/>
        </p:spPr>
        <p:txBody>
          <a:bodyPr wrap="square" lIns="186497" tIns="149198" rIns="186497" bIns="149198" rtlCol="0">
            <a:noAutofit/>
          </a:bodyPr>
          <a:lstStyle/>
          <a:p>
            <a:pPr marL="291407" indent="-291407" defTabSz="932504">
              <a:lnSpc>
                <a:spcPts val="2652"/>
              </a:lnSpc>
              <a:spcBef>
                <a:spcPts val="306"/>
              </a:spcBef>
              <a:spcAft>
                <a:spcPts val="306"/>
              </a:spcAft>
              <a:buClr>
                <a:srgbClr val="68217A"/>
              </a:buClr>
              <a:buSzPct val="75000"/>
              <a:buFont typeface="Wingdings" panose="05000000000000000000" pitchFamily="2" charset="2"/>
              <a:buChar char="v"/>
            </a:pPr>
            <a:r>
              <a:rPr lang="en-US" sz="2040" dirty="0">
                <a:solidFill>
                  <a:srgbClr val="000000">
                    <a:lumMod val="65000"/>
                    <a:lumOff val="35000"/>
                  </a:srgbClr>
                </a:solidFill>
                <a:latin typeface="Segoe UI"/>
                <a:ea typeface="MS PGothic" charset="0"/>
              </a:rPr>
              <a:t>Based on the Hortonworks Data Platform (HDP)</a:t>
            </a:r>
          </a:p>
          <a:p>
            <a:pPr marL="291407" indent="-291407" defTabSz="932504">
              <a:lnSpc>
                <a:spcPts val="2652"/>
              </a:lnSpc>
              <a:spcBef>
                <a:spcPts val="306"/>
              </a:spcBef>
              <a:spcAft>
                <a:spcPts val="306"/>
              </a:spcAft>
              <a:buClr>
                <a:srgbClr val="68217A"/>
              </a:buClr>
              <a:buSzPct val="75000"/>
              <a:buFont typeface="Wingdings" panose="05000000000000000000" pitchFamily="2" charset="2"/>
              <a:buChar char="v"/>
            </a:pPr>
            <a:r>
              <a:rPr lang="en-US" sz="2040" dirty="0">
                <a:solidFill>
                  <a:srgbClr val="000000">
                    <a:lumMod val="65000"/>
                    <a:lumOff val="35000"/>
                  </a:srgbClr>
                </a:solidFill>
                <a:latin typeface="Segoe UI"/>
                <a:ea typeface="MS PGothic" charset="0"/>
              </a:rPr>
              <a:t>Provisioned as clusters on Azure. Clusters can run on Windows or Linux Servers.</a:t>
            </a:r>
          </a:p>
          <a:p>
            <a:pPr marL="291407" indent="-291407" defTabSz="932504">
              <a:lnSpc>
                <a:spcPts val="2652"/>
              </a:lnSpc>
              <a:spcBef>
                <a:spcPts val="306"/>
              </a:spcBef>
              <a:spcAft>
                <a:spcPts val="306"/>
              </a:spcAft>
              <a:buClr>
                <a:srgbClr val="68217A"/>
              </a:buClr>
              <a:buSzPct val="75000"/>
              <a:buFont typeface="Wingdings" panose="05000000000000000000" pitchFamily="2" charset="2"/>
              <a:buChar char="v"/>
            </a:pPr>
            <a:r>
              <a:rPr lang="en-US" sz="2040" dirty="0">
                <a:solidFill>
                  <a:srgbClr val="000000">
                    <a:lumMod val="65000"/>
                    <a:lumOff val="35000"/>
                  </a:srgbClr>
                </a:solidFill>
                <a:latin typeface="Segoe UI"/>
                <a:ea typeface="MS PGothic" charset="0"/>
              </a:rPr>
              <a:t>Offers a capacity-on-demand, pay-as-you-go pricing model</a:t>
            </a:r>
          </a:p>
          <a:p>
            <a:pPr marL="291407" indent="-291407" defTabSz="932504">
              <a:lnSpc>
                <a:spcPts val="2652"/>
              </a:lnSpc>
              <a:spcBef>
                <a:spcPts val="306"/>
              </a:spcBef>
              <a:buClr>
                <a:srgbClr val="68217A"/>
              </a:buClr>
              <a:buSzPct val="75000"/>
              <a:buFont typeface="Wingdings" panose="05000000000000000000" pitchFamily="2" charset="2"/>
              <a:buChar char="v"/>
            </a:pPr>
            <a:r>
              <a:rPr lang="en-US" sz="2040" dirty="0">
                <a:solidFill>
                  <a:srgbClr val="000000">
                    <a:lumMod val="65000"/>
                    <a:lumOff val="35000"/>
                  </a:srgbClr>
                </a:solidFill>
                <a:latin typeface="Segoe UI"/>
                <a:ea typeface="MS PGothic" charset="0"/>
              </a:rPr>
              <a:t>Integrates with:</a:t>
            </a:r>
          </a:p>
          <a:p>
            <a:pPr marL="652753" lvl="1" indent="-349689" defTabSz="932504">
              <a:lnSpc>
                <a:spcPts val="2550"/>
              </a:lnSpc>
              <a:spcBef>
                <a:spcPts val="306"/>
              </a:spcBef>
              <a:buClr>
                <a:srgbClr val="68217A"/>
              </a:buClr>
              <a:buSzPct val="75000"/>
              <a:buFont typeface="Wingdings" panose="05000000000000000000" pitchFamily="2" charset="2"/>
              <a:buChar char="§"/>
            </a:pPr>
            <a:r>
              <a:rPr lang="en-US" sz="1836" dirty="0">
                <a:solidFill>
                  <a:srgbClr val="000000">
                    <a:lumMod val="65000"/>
                    <a:lumOff val="35000"/>
                  </a:srgbClr>
                </a:solidFill>
                <a:latin typeface="Segoe UI"/>
                <a:ea typeface="MS PGothic" charset="0"/>
              </a:rPr>
              <a:t>Azure Blob Storage and Azure Data Lake Store for the Hadoop File System (HDFS) </a:t>
            </a:r>
          </a:p>
          <a:p>
            <a:pPr marL="652753" lvl="1" indent="-349689" defTabSz="932504">
              <a:lnSpc>
                <a:spcPts val="2550"/>
              </a:lnSpc>
              <a:spcBef>
                <a:spcPts val="306"/>
              </a:spcBef>
              <a:buClr>
                <a:srgbClr val="68217A"/>
              </a:buClr>
              <a:buSzPct val="75000"/>
              <a:buFont typeface="Wingdings" panose="05000000000000000000" pitchFamily="2" charset="2"/>
              <a:buChar char="§"/>
            </a:pPr>
            <a:r>
              <a:rPr lang="en-US" sz="1836" dirty="0">
                <a:solidFill>
                  <a:srgbClr val="000000">
                    <a:lumMod val="65000"/>
                    <a:lumOff val="35000"/>
                  </a:srgbClr>
                </a:solidFill>
                <a:latin typeface="Segoe UI"/>
                <a:ea typeface="MS PGothic" charset="0"/>
              </a:rPr>
              <a:t>Azure Portal for management and administration</a:t>
            </a:r>
          </a:p>
          <a:p>
            <a:pPr marL="652753" lvl="1" indent="-349689" defTabSz="932504">
              <a:lnSpc>
                <a:spcPts val="2550"/>
              </a:lnSpc>
              <a:spcBef>
                <a:spcPts val="306"/>
              </a:spcBef>
              <a:buClr>
                <a:srgbClr val="68217A"/>
              </a:buClr>
              <a:buSzPct val="75000"/>
              <a:buFont typeface="Wingdings" panose="05000000000000000000" pitchFamily="2" charset="2"/>
              <a:buChar char="§"/>
            </a:pPr>
            <a:r>
              <a:rPr lang="en-US" sz="1836" dirty="0">
                <a:solidFill>
                  <a:srgbClr val="000000">
                    <a:lumMod val="65000"/>
                    <a:lumOff val="35000"/>
                  </a:srgbClr>
                </a:solidFill>
                <a:latin typeface="Segoe UI"/>
                <a:ea typeface="MS PGothic" charset="0"/>
              </a:rPr>
              <a:t>Visual Studio for application development tooling</a:t>
            </a:r>
          </a:p>
          <a:p>
            <a:pPr marL="291407" indent="-291407" defTabSz="932504">
              <a:lnSpc>
                <a:spcPct val="90000"/>
              </a:lnSpc>
              <a:spcAft>
                <a:spcPts val="612"/>
              </a:spcAft>
              <a:buClr>
                <a:srgbClr val="68217A"/>
              </a:buClr>
              <a:buSzPct val="75000"/>
              <a:buFont typeface="Wingdings" panose="05000000000000000000" pitchFamily="2" charset="2"/>
              <a:buChar char="v"/>
            </a:pPr>
            <a:endParaRPr lang="en-US" sz="1836" dirty="0">
              <a:solidFill>
                <a:srgbClr val="000000">
                  <a:lumMod val="85000"/>
                  <a:lumOff val="15000"/>
                </a:srgbClr>
              </a:solidFill>
              <a:latin typeface="Segoe UI"/>
              <a:ea typeface="MS PGothic" charset="0"/>
            </a:endParaRPr>
          </a:p>
        </p:txBody>
      </p:sp>
      <p:pic>
        <p:nvPicPr>
          <p:cNvPr id="6" name="Picture 2" descr="https://svn.apache.org/repos/asf/tez/site/images/ApacheTezIcon.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9475664" y="2929518"/>
            <a:ext cx="903329" cy="903329"/>
          </a:xfrm>
          <a:prstGeom prst="rect">
            <a:avLst/>
          </a:prstGeom>
          <a:noFill/>
          <a:extLst>
            <a:ext uri="{909E8E84-426E-40DD-AFC4-6F175D3DCCD1}">
              <a14:hiddenFill xmlns:a14="http://schemas.microsoft.com/office/drawing/2010/main">
                <a:solidFill>
                  <a:srgbClr val="FFFFFF"/>
                </a:solidFill>
              </a14:hiddenFill>
            </a:ext>
          </a:extLst>
        </p:spPr>
      </p:pic>
      <p:sp>
        <p:nvSpPr>
          <p:cNvPr id="7" name="Freeform 6"/>
          <p:cNvSpPr>
            <a:spLocks/>
          </p:cNvSpPr>
          <p:nvPr/>
        </p:nvSpPr>
        <p:spPr bwMode="auto">
          <a:xfrm>
            <a:off x="8108224" y="2957027"/>
            <a:ext cx="683821" cy="550739"/>
          </a:xfrm>
          <a:custGeom>
            <a:avLst/>
            <a:gdLst>
              <a:gd name="connsiteX0" fmla="*/ 3283994 w 3907177"/>
              <a:gd name="connsiteY0" fmla="*/ 2199606 h 3033282"/>
              <a:gd name="connsiteX1" fmla="*/ 3216771 w 3907177"/>
              <a:gd name="connsiteY1" fmla="*/ 2237508 h 3033282"/>
              <a:gd name="connsiteX2" fmla="*/ 3176070 w 3907177"/>
              <a:gd name="connsiteY2" fmla="*/ 2287254 h 3033282"/>
              <a:gd name="connsiteX3" fmla="*/ 3157902 w 3907177"/>
              <a:gd name="connsiteY3" fmla="*/ 2304911 h 3033282"/>
              <a:gd name="connsiteX4" fmla="*/ 3148728 w 3907177"/>
              <a:gd name="connsiteY4" fmla="*/ 2311436 h 3033282"/>
              <a:gd name="connsiteX5" fmla="*/ 3136944 w 3907177"/>
              <a:gd name="connsiteY5" fmla="*/ 2319628 h 3033282"/>
              <a:gd name="connsiteX6" fmla="*/ 3154439 w 3907177"/>
              <a:gd name="connsiteY6" fmla="*/ 2308277 h 3033282"/>
              <a:gd name="connsiteX7" fmla="*/ 3157902 w 3907177"/>
              <a:gd name="connsiteY7" fmla="*/ 2304911 h 3033282"/>
              <a:gd name="connsiteX8" fmla="*/ 3176070 w 3907177"/>
              <a:gd name="connsiteY8" fmla="*/ 2291992 h 3033282"/>
              <a:gd name="connsiteX9" fmla="*/ 3229375 w 3907177"/>
              <a:gd name="connsiteY9" fmla="*/ 2250142 h 3033282"/>
              <a:gd name="connsiteX10" fmla="*/ 3317605 w 3907177"/>
              <a:gd name="connsiteY10" fmla="*/ 2231191 h 3033282"/>
              <a:gd name="connsiteX11" fmla="*/ 3378755 w 3907177"/>
              <a:gd name="connsiteY11" fmla="*/ 2245404 h 3033282"/>
              <a:gd name="connsiteX12" fmla="*/ 3382808 w 3907177"/>
              <a:gd name="connsiteY12" fmla="*/ 2247161 h 3033282"/>
              <a:gd name="connsiteX13" fmla="*/ 3351550 w 3907177"/>
              <a:gd name="connsiteY13" fmla="*/ 2248260 h 3033282"/>
              <a:gd name="connsiteX14" fmla="*/ 3315694 w 3907177"/>
              <a:gd name="connsiteY14" fmla="*/ 2268558 h 3033282"/>
              <a:gd name="connsiteX15" fmla="*/ 3248262 w 3907177"/>
              <a:gd name="connsiteY15" fmla="*/ 2369622 h 3033282"/>
              <a:gd name="connsiteX16" fmla="*/ 3195581 w 3907177"/>
              <a:gd name="connsiteY16" fmla="*/ 2443314 h 3033282"/>
              <a:gd name="connsiteX17" fmla="*/ 3288300 w 3907177"/>
              <a:gd name="connsiteY17" fmla="*/ 2346462 h 3033282"/>
              <a:gd name="connsiteX18" fmla="*/ 3334660 w 3907177"/>
              <a:gd name="connsiteY18" fmla="*/ 2295930 h 3033282"/>
              <a:gd name="connsiteX19" fmla="*/ 3404199 w 3907177"/>
              <a:gd name="connsiteY19" fmla="*/ 2281191 h 3033282"/>
              <a:gd name="connsiteX20" fmla="*/ 3442129 w 3907177"/>
              <a:gd name="connsiteY20" fmla="*/ 2291719 h 3033282"/>
              <a:gd name="connsiteX21" fmla="*/ 3448451 w 3907177"/>
              <a:gd name="connsiteY21" fmla="*/ 2258031 h 3033282"/>
              <a:gd name="connsiteX22" fmla="*/ 3432746 w 3907177"/>
              <a:gd name="connsiteY22" fmla="*/ 2253458 h 3033282"/>
              <a:gd name="connsiteX23" fmla="*/ 3399309 w 3907177"/>
              <a:gd name="connsiteY23" fmla="*/ 2247403 h 3033282"/>
              <a:gd name="connsiteX24" fmla="*/ 3406885 w 3907177"/>
              <a:gd name="connsiteY24" fmla="*/ 2246720 h 3033282"/>
              <a:gd name="connsiteX25" fmla="*/ 3422640 w 3907177"/>
              <a:gd name="connsiteY25" fmla="*/ 2231191 h 3033282"/>
              <a:gd name="connsiteX26" fmla="*/ 3370122 w 3907177"/>
              <a:gd name="connsiteY26" fmla="*/ 2208029 h 3033282"/>
              <a:gd name="connsiteX27" fmla="*/ 3283994 w 3907177"/>
              <a:gd name="connsiteY27" fmla="*/ 2199606 h 3033282"/>
              <a:gd name="connsiteX28" fmla="*/ 3868985 w 3907177"/>
              <a:gd name="connsiteY28" fmla="*/ 2136388 h 3033282"/>
              <a:gd name="connsiteX29" fmla="*/ 3734396 w 3907177"/>
              <a:gd name="connsiteY29" fmla="*/ 2199444 h 3033282"/>
              <a:gd name="connsiteX30" fmla="*/ 3559852 w 3907177"/>
              <a:gd name="connsiteY30" fmla="*/ 2182629 h 3033282"/>
              <a:gd name="connsiteX31" fmla="*/ 3641867 w 3907177"/>
              <a:gd name="connsiteY31" fmla="*/ 2241481 h 3033282"/>
              <a:gd name="connsiteX32" fmla="*/ 3702852 w 3907177"/>
              <a:gd name="connsiteY32" fmla="*/ 2239379 h 3033282"/>
              <a:gd name="connsiteX33" fmla="*/ 3831132 w 3907177"/>
              <a:gd name="connsiteY33" fmla="*/ 2178425 h 3033282"/>
              <a:gd name="connsiteX34" fmla="*/ 3868985 w 3907177"/>
              <a:gd name="connsiteY34" fmla="*/ 2136388 h 3033282"/>
              <a:gd name="connsiteX35" fmla="*/ 3385344 w 3907177"/>
              <a:gd name="connsiteY35" fmla="*/ 2089937 h 3033282"/>
              <a:gd name="connsiteX36" fmla="*/ 3403807 w 3907177"/>
              <a:gd name="connsiteY36" fmla="*/ 2092045 h 3033282"/>
              <a:gd name="connsiteX37" fmla="*/ 3420687 w 3907177"/>
              <a:gd name="connsiteY37" fmla="*/ 2119439 h 3033282"/>
              <a:gd name="connsiteX38" fmla="*/ 3410137 w 3907177"/>
              <a:gd name="connsiteY38" fmla="*/ 2151048 h 3033282"/>
              <a:gd name="connsiteX39" fmla="*/ 3380596 w 3907177"/>
              <a:gd name="connsiteY39" fmla="*/ 2144726 h 3033282"/>
              <a:gd name="connsiteX40" fmla="*/ 3353166 w 3907177"/>
              <a:gd name="connsiteY40" fmla="*/ 2146834 h 3033282"/>
              <a:gd name="connsiteX41" fmla="*/ 3353166 w 3907177"/>
              <a:gd name="connsiteY41" fmla="*/ 2113117 h 3033282"/>
              <a:gd name="connsiteX42" fmla="*/ 3370046 w 3907177"/>
              <a:gd name="connsiteY42" fmla="*/ 2094152 h 3033282"/>
              <a:gd name="connsiteX43" fmla="*/ 3385344 w 3907177"/>
              <a:gd name="connsiteY43" fmla="*/ 2089937 h 3033282"/>
              <a:gd name="connsiteX44" fmla="*/ 2921466 w 3907177"/>
              <a:gd name="connsiteY44" fmla="*/ 1940074 h 3033282"/>
              <a:gd name="connsiteX45" fmla="*/ 2876044 w 3907177"/>
              <a:gd name="connsiteY45" fmla="*/ 1945069 h 3033282"/>
              <a:gd name="connsiteX46" fmla="*/ 2796228 w 3907177"/>
              <a:gd name="connsiteY46" fmla="*/ 1980818 h 3033282"/>
              <a:gd name="connsiteX47" fmla="*/ 2716411 w 3907177"/>
              <a:gd name="connsiteY47" fmla="*/ 2018670 h 3033282"/>
              <a:gd name="connsiteX48" fmla="*/ 2773123 w 3907177"/>
              <a:gd name="connsiteY48" fmla="*/ 2014464 h 3033282"/>
              <a:gd name="connsiteX49" fmla="*/ 2813031 w 3907177"/>
              <a:gd name="connsiteY49" fmla="*/ 2008155 h 3033282"/>
              <a:gd name="connsiteX50" fmla="*/ 2810931 w 3907177"/>
              <a:gd name="connsiteY50" fmla="*/ 2075448 h 3033282"/>
              <a:gd name="connsiteX51" fmla="*/ 2825634 w 3907177"/>
              <a:gd name="connsiteY51" fmla="*/ 2117505 h 3033282"/>
              <a:gd name="connsiteX52" fmla="*/ 2817232 w 3907177"/>
              <a:gd name="connsiteY52" fmla="*/ 2123814 h 3033282"/>
              <a:gd name="connsiteX53" fmla="*/ 2773123 w 3907177"/>
              <a:gd name="connsiteY53" fmla="*/ 2157460 h 3033282"/>
              <a:gd name="connsiteX54" fmla="*/ 2848738 w 3907177"/>
              <a:gd name="connsiteY54" fmla="*/ 2125917 h 3033282"/>
              <a:gd name="connsiteX55" fmla="*/ 2941157 w 3907177"/>
              <a:gd name="connsiteY55" fmla="*/ 2104888 h 3033282"/>
              <a:gd name="connsiteX56" fmla="*/ 3111292 w 3907177"/>
              <a:gd name="connsiteY56" fmla="*/ 2106991 h 3033282"/>
              <a:gd name="connsiteX57" fmla="*/ 3056681 w 3907177"/>
              <a:gd name="connsiteY57" fmla="*/ 2085962 h 3033282"/>
              <a:gd name="connsiteX58" fmla="*/ 3016773 w 3907177"/>
              <a:gd name="connsiteY58" fmla="*/ 2081756 h 3033282"/>
              <a:gd name="connsiteX59" fmla="*/ 3023074 w 3907177"/>
              <a:gd name="connsiteY59" fmla="*/ 2027081 h 3033282"/>
              <a:gd name="connsiteX60" fmla="*/ 2995769 w 3907177"/>
              <a:gd name="connsiteY60" fmla="*/ 1970303 h 3033282"/>
              <a:gd name="connsiteX61" fmla="*/ 3018873 w 3907177"/>
              <a:gd name="connsiteY61" fmla="*/ 1966098 h 3033282"/>
              <a:gd name="connsiteX62" fmla="*/ 3065083 w 3907177"/>
              <a:gd name="connsiteY62" fmla="*/ 1957686 h 3033282"/>
              <a:gd name="connsiteX63" fmla="*/ 2968463 w 3907177"/>
              <a:gd name="connsiteY63" fmla="*/ 1942966 h 3033282"/>
              <a:gd name="connsiteX64" fmla="*/ 2921466 w 3907177"/>
              <a:gd name="connsiteY64" fmla="*/ 1940074 h 3033282"/>
              <a:gd name="connsiteX65" fmla="*/ 2882143 w 3907177"/>
              <a:gd name="connsiteY65" fmla="*/ 1689578 h 3033282"/>
              <a:gd name="connsiteX66" fmla="*/ 2779009 w 3907177"/>
              <a:gd name="connsiteY66" fmla="*/ 1700880 h 3033282"/>
              <a:gd name="connsiteX67" fmla="*/ 2720075 w 3907177"/>
              <a:gd name="connsiteY67" fmla="*/ 1810222 h 3033282"/>
              <a:gd name="connsiteX68" fmla="*/ 2806371 w 3907177"/>
              <a:gd name="connsiteY68" fmla="*/ 1730318 h 3033282"/>
              <a:gd name="connsiteX69" fmla="*/ 2953705 w 3907177"/>
              <a:gd name="connsiteY69" fmla="*/ 1692469 h 3033282"/>
              <a:gd name="connsiteX70" fmla="*/ 2882143 w 3907177"/>
              <a:gd name="connsiteY70" fmla="*/ 1689578 h 3033282"/>
              <a:gd name="connsiteX71" fmla="*/ 2751741 w 3907177"/>
              <a:gd name="connsiteY71" fmla="*/ 1152523 h 3033282"/>
              <a:gd name="connsiteX72" fmla="*/ 2752273 w 3907177"/>
              <a:gd name="connsiteY72" fmla="*/ 1154187 h 3033282"/>
              <a:gd name="connsiteX73" fmla="*/ 2764036 w 3907177"/>
              <a:gd name="connsiteY73" fmla="*/ 1192874 h 3033282"/>
              <a:gd name="connsiteX74" fmla="*/ 2787833 w 3907177"/>
              <a:gd name="connsiteY74" fmla="*/ 1274009 h 3033282"/>
              <a:gd name="connsiteX75" fmla="*/ 2819472 w 3907177"/>
              <a:gd name="connsiteY75" fmla="*/ 1283014 h 3033282"/>
              <a:gd name="connsiteX76" fmla="*/ 2820261 w 3907177"/>
              <a:gd name="connsiteY76" fmla="*/ 1283258 h 3033282"/>
              <a:gd name="connsiteX77" fmla="*/ 2825890 w 3907177"/>
              <a:gd name="connsiteY77" fmla="*/ 1283302 h 3033282"/>
              <a:gd name="connsiteX78" fmla="*/ 2903747 w 3907177"/>
              <a:gd name="connsiteY78" fmla="*/ 1291542 h 3033282"/>
              <a:gd name="connsiteX79" fmla="*/ 2899550 w 3907177"/>
              <a:gd name="connsiteY79" fmla="*/ 1288295 h 3033282"/>
              <a:gd name="connsiteX80" fmla="*/ 2806596 w 3907177"/>
              <a:gd name="connsiteY80" fmla="*/ 1216396 h 3033282"/>
              <a:gd name="connsiteX81" fmla="*/ 2775061 w 3907177"/>
              <a:gd name="connsiteY81" fmla="*/ 1179930 h 3033282"/>
              <a:gd name="connsiteX82" fmla="*/ 1695768 w 3907177"/>
              <a:gd name="connsiteY82" fmla="*/ 862876 h 3033282"/>
              <a:gd name="connsiteX83" fmla="*/ 2078780 w 3907177"/>
              <a:gd name="connsiteY83" fmla="*/ 919680 h 3033282"/>
              <a:gd name="connsiteX84" fmla="*/ 2177689 w 3907177"/>
              <a:gd name="connsiteY84" fmla="*/ 938615 h 3033282"/>
              <a:gd name="connsiteX85" fmla="*/ 2274495 w 3907177"/>
              <a:gd name="connsiteY85" fmla="*/ 997523 h 3033282"/>
              <a:gd name="connsiteX86" fmla="*/ 2192421 w 3907177"/>
              <a:gd name="connsiteY86" fmla="*/ 984900 h 3033282"/>
              <a:gd name="connsiteX87" fmla="*/ 2082989 w 3907177"/>
              <a:gd name="connsiteY87" fmla="*/ 1031185 h 3033282"/>
              <a:gd name="connsiteX88" fmla="*/ 2013542 w 3907177"/>
              <a:gd name="connsiteY88" fmla="*/ 1064846 h 3033282"/>
              <a:gd name="connsiteX89" fmla="*/ 2177689 w 3907177"/>
              <a:gd name="connsiteY89" fmla="*/ 1060639 h 3033282"/>
              <a:gd name="connsiteX90" fmla="*/ 2320793 w 3907177"/>
              <a:gd name="connsiteY90" fmla="*/ 1102716 h 3033282"/>
              <a:gd name="connsiteX91" fmla="*/ 2402867 w 3907177"/>
              <a:gd name="connsiteY91" fmla="*/ 1193182 h 3033282"/>
              <a:gd name="connsiteX92" fmla="*/ 2477977 w 3907177"/>
              <a:gd name="connsiteY92" fmla="*/ 1304520 h 3033282"/>
              <a:gd name="connsiteX93" fmla="*/ 2495231 w 3907177"/>
              <a:gd name="connsiteY93" fmla="*/ 1302276 h 3033282"/>
              <a:gd name="connsiteX94" fmla="*/ 2479203 w 3907177"/>
              <a:gd name="connsiteY94" fmla="*/ 1263722 h 3033282"/>
              <a:gd name="connsiteX95" fmla="*/ 2352360 w 3907177"/>
              <a:gd name="connsiteY95" fmla="*/ 974380 h 3033282"/>
              <a:gd name="connsiteX96" fmla="*/ 2194525 w 3907177"/>
              <a:gd name="connsiteY96" fmla="*/ 875499 h 3033282"/>
              <a:gd name="connsiteX97" fmla="*/ 1695768 w 3907177"/>
              <a:gd name="connsiteY97" fmla="*/ 862876 h 3033282"/>
              <a:gd name="connsiteX98" fmla="*/ 2884074 w 3907177"/>
              <a:gd name="connsiteY98" fmla="*/ 435929 h 3033282"/>
              <a:gd name="connsiteX99" fmla="*/ 2987291 w 3907177"/>
              <a:gd name="connsiteY99" fmla="*/ 631716 h 3033282"/>
              <a:gd name="connsiteX100" fmla="*/ 3130531 w 3907177"/>
              <a:gd name="connsiteY100" fmla="*/ 1008552 h 3033282"/>
              <a:gd name="connsiteX101" fmla="*/ 3063124 w 3907177"/>
              <a:gd name="connsiteY101" fmla="*/ 682241 h 3033282"/>
              <a:gd name="connsiteX102" fmla="*/ 2970440 w 3907177"/>
              <a:gd name="connsiteY102" fmla="*/ 520138 h 3033282"/>
              <a:gd name="connsiteX103" fmla="*/ 2884074 w 3907177"/>
              <a:gd name="connsiteY103" fmla="*/ 435929 h 3033282"/>
              <a:gd name="connsiteX104" fmla="*/ 990408 w 3907177"/>
              <a:gd name="connsiteY104" fmla="*/ 698 h 3033282"/>
              <a:gd name="connsiteX105" fmla="*/ 1039550 w 3907177"/>
              <a:gd name="connsiteY105" fmla="*/ 863 h 3033282"/>
              <a:gd name="connsiteX106" fmla="*/ 1348803 w 3907177"/>
              <a:gd name="connsiteY106" fmla="*/ 72387 h 3033282"/>
              <a:gd name="connsiteX107" fmla="*/ 1737998 w 3907177"/>
              <a:gd name="connsiteY107" fmla="*/ 232264 h 3033282"/>
              <a:gd name="connsiteX108" fmla="*/ 2005176 w 3907177"/>
              <a:gd name="connsiteY108" fmla="*/ 371104 h 3033282"/>
              <a:gd name="connsiteX109" fmla="*/ 2203455 w 3907177"/>
              <a:gd name="connsiteY109" fmla="*/ 477601 h 3033282"/>
              <a:gd name="connsiteX110" fmla="*/ 2296994 w 3907177"/>
              <a:gd name="connsiteY110" fmla="*/ 530121 h 3033282"/>
              <a:gd name="connsiteX111" fmla="*/ 2323986 w 3907177"/>
              <a:gd name="connsiteY111" fmla="*/ 546882 h 3033282"/>
              <a:gd name="connsiteX112" fmla="*/ 2357160 w 3907177"/>
              <a:gd name="connsiteY112" fmla="*/ 567482 h 3033282"/>
              <a:gd name="connsiteX113" fmla="*/ 2404890 w 3907177"/>
              <a:gd name="connsiteY113" fmla="*/ 598298 h 3033282"/>
              <a:gd name="connsiteX114" fmla="*/ 2415440 w 3907177"/>
              <a:gd name="connsiteY114" fmla="*/ 605928 h 3033282"/>
              <a:gd name="connsiteX115" fmla="*/ 2362991 w 3907177"/>
              <a:gd name="connsiteY115" fmla="*/ 493093 h 3033282"/>
              <a:gd name="connsiteX116" fmla="*/ 2329266 w 3907177"/>
              <a:gd name="connsiteY116" fmla="*/ 483333 h 3033282"/>
              <a:gd name="connsiteX117" fmla="*/ 2307060 w 3907177"/>
              <a:gd name="connsiteY117" fmla="*/ 476906 h 3033282"/>
              <a:gd name="connsiteX118" fmla="*/ 2313198 w 3907177"/>
              <a:gd name="connsiteY118" fmla="*/ 470584 h 3033282"/>
              <a:gd name="connsiteX119" fmla="*/ 2460566 w 3907177"/>
              <a:gd name="connsiteY119" fmla="*/ 333037 h 3033282"/>
              <a:gd name="connsiteX120" fmla="*/ 2482676 w 3907177"/>
              <a:gd name="connsiteY120" fmla="*/ 317005 h 3033282"/>
              <a:gd name="connsiteX121" fmla="*/ 2522361 w 3907177"/>
              <a:gd name="connsiteY121" fmla="*/ 296868 h 3033282"/>
              <a:gd name="connsiteX122" fmla="*/ 2554579 w 3907177"/>
              <a:gd name="connsiteY122" fmla="*/ 283748 h 3033282"/>
              <a:gd name="connsiteX123" fmla="*/ 2694384 w 3907177"/>
              <a:gd name="connsiteY123" fmla="*/ 254812 h 3033282"/>
              <a:gd name="connsiteX124" fmla="*/ 2798186 w 3907177"/>
              <a:gd name="connsiteY124" fmla="*/ 277829 h 3033282"/>
              <a:gd name="connsiteX125" fmla="*/ 2857052 w 3907177"/>
              <a:gd name="connsiteY125" fmla="*/ 260994 h 3033282"/>
              <a:gd name="connsiteX126" fmla="*/ 2861191 w 3907177"/>
              <a:gd name="connsiteY126" fmla="*/ 261705 h 3033282"/>
              <a:gd name="connsiteX127" fmla="*/ 2866568 w 3907177"/>
              <a:gd name="connsiteY127" fmla="*/ 262766 h 3033282"/>
              <a:gd name="connsiteX128" fmla="*/ 2867847 w 3907177"/>
              <a:gd name="connsiteY128" fmla="*/ 263215 h 3033282"/>
              <a:gd name="connsiteX129" fmla="*/ 2874182 w 3907177"/>
              <a:gd name="connsiteY129" fmla="*/ 265939 h 3033282"/>
              <a:gd name="connsiteX130" fmla="*/ 2878772 w 3907177"/>
              <a:gd name="connsiteY130" fmla="*/ 265783 h 3033282"/>
              <a:gd name="connsiteX131" fmla="*/ 2879970 w 3907177"/>
              <a:gd name="connsiteY131" fmla="*/ 265863 h 3033282"/>
              <a:gd name="connsiteX132" fmla="*/ 2909084 w 3907177"/>
              <a:gd name="connsiteY132" fmla="*/ 273357 h 3033282"/>
              <a:gd name="connsiteX133" fmla="*/ 2989498 w 3907177"/>
              <a:gd name="connsiteY133" fmla="*/ 315709 h 3033282"/>
              <a:gd name="connsiteX134" fmla="*/ 3365815 w 3907177"/>
              <a:gd name="connsiteY134" fmla="*/ 925987 h 3033282"/>
              <a:gd name="connsiteX135" fmla="*/ 3233368 w 3907177"/>
              <a:gd name="connsiteY135" fmla="*/ 1376331 h 3033282"/>
              <a:gd name="connsiteX136" fmla="*/ 3239761 w 3907177"/>
              <a:gd name="connsiteY136" fmla="*/ 1410216 h 3033282"/>
              <a:gd name="connsiteX137" fmla="*/ 3243622 w 3907177"/>
              <a:gd name="connsiteY137" fmla="*/ 1426604 h 3033282"/>
              <a:gd name="connsiteX138" fmla="*/ 3302854 w 3907177"/>
              <a:gd name="connsiteY138" fmla="*/ 1472111 h 3033282"/>
              <a:gd name="connsiteX139" fmla="*/ 3442037 w 3907177"/>
              <a:gd name="connsiteY139" fmla="*/ 1705090 h 3033282"/>
              <a:gd name="connsiteX140" fmla="*/ 3433973 w 3907177"/>
              <a:gd name="connsiteY140" fmla="*/ 1732860 h 3033282"/>
              <a:gd name="connsiteX141" fmla="*/ 3404867 w 3907177"/>
              <a:gd name="connsiteY141" fmla="*/ 1673697 h 3033282"/>
              <a:gd name="connsiteX142" fmla="*/ 3388345 w 3907177"/>
              <a:gd name="connsiteY142" fmla="*/ 1639131 h 3033282"/>
              <a:gd name="connsiteX143" fmla="*/ 3377441 w 3907177"/>
              <a:gd name="connsiteY143" fmla="*/ 1616053 h 3033282"/>
              <a:gd name="connsiteX144" fmla="*/ 3359581 w 3907177"/>
              <a:gd name="connsiteY144" fmla="*/ 1565598 h 3033282"/>
              <a:gd name="connsiteX145" fmla="*/ 3361687 w 3907177"/>
              <a:gd name="connsiteY145" fmla="*/ 1582431 h 3033282"/>
              <a:gd name="connsiteX146" fmla="*/ 3374588 w 3907177"/>
              <a:gd name="connsiteY146" fmla="*/ 1610015 h 3033282"/>
              <a:gd name="connsiteX147" fmla="*/ 3377441 w 3907177"/>
              <a:gd name="connsiteY147" fmla="*/ 1616053 h 3033282"/>
              <a:gd name="connsiteX148" fmla="*/ 3442901 w 3907177"/>
              <a:gd name="connsiteY148" fmla="*/ 1800978 h 3033282"/>
              <a:gd name="connsiteX149" fmla="*/ 3440408 w 3907177"/>
              <a:gd name="connsiteY149" fmla="*/ 1796829 h 3033282"/>
              <a:gd name="connsiteX150" fmla="*/ 3433154 w 3907177"/>
              <a:gd name="connsiteY150" fmla="*/ 1784752 h 3033282"/>
              <a:gd name="connsiteX151" fmla="*/ 3397602 w 3907177"/>
              <a:gd name="connsiteY151" fmla="*/ 1761774 h 3033282"/>
              <a:gd name="connsiteX152" fmla="*/ 3349501 w 3907177"/>
              <a:gd name="connsiteY152" fmla="*/ 1755507 h 3033282"/>
              <a:gd name="connsiteX153" fmla="*/ 3395510 w 3907177"/>
              <a:gd name="connsiteY153" fmla="*/ 1772218 h 3033282"/>
              <a:gd name="connsiteX154" fmla="*/ 3439918 w 3907177"/>
              <a:gd name="connsiteY154" fmla="*/ 1800713 h 3033282"/>
              <a:gd name="connsiteX155" fmla="*/ 3444055 w 3907177"/>
              <a:gd name="connsiteY155" fmla="*/ 1804238 h 3033282"/>
              <a:gd name="connsiteX156" fmla="*/ 3555468 w 3907177"/>
              <a:gd name="connsiteY156" fmla="*/ 2118980 h 3033282"/>
              <a:gd name="connsiteX157" fmla="*/ 3553362 w 3907177"/>
              <a:gd name="connsiteY157" fmla="*/ 2091890 h 3033282"/>
              <a:gd name="connsiteX158" fmla="*/ 3553487 w 3907177"/>
              <a:gd name="connsiteY158" fmla="*/ 2080908 h 3033282"/>
              <a:gd name="connsiteX159" fmla="*/ 3554536 w 3907177"/>
              <a:gd name="connsiteY159" fmla="*/ 2083695 h 3033282"/>
              <a:gd name="connsiteX160" fmla="*/ 3570142 w 3907177"/>
              <a:gd name="connsiteY160" fmla="*/ 2125146 h 3033282"/>
              <a:gd name="connsiteX161" fmla="*/ 3570375 w 3907177"/>
              <a:gd name="connsiteY161" fmla="*/ 2125765 h 3033282"/>
              <a:gd name="connsiteX162" fmla="*/ 3570326 w 3907177"/>
              <a:gd name="connsiteY162" fmla="*/ 2125774 h 3033282"/>
              <a:gd name="connsiteX163" fmla="*/ 3524755 w 3907177"/>
              <a:gd name="connsiteY163" fmla="*/ 2128437 h 3033282"/>
              <a:gd name="connsiteX164" fmla="*/ 3520991 w 3907177"/>
              <a:gd name="connsiteY164" fmla="*/ 2130652 h 3033282"/>
              <a:gd name="connsiteX165" fmla="*/ 3519898 w 3907177"/>
              <a:gd name="connsiteY165" fmla="*/ 2125754 h 3033282"/>
              <a:gd name="connsiteX166" fmla="*/ 3513061 w 3907177"/>
              <a:gd name="connsiteY166" fmla="*/ 2102599 h 3033282"/>
              <a:gd name="connsiteX167" fmla="*/ 3485716 w 3907177"/>
              <a:gd name="connsiteY167" fmla="*/ 2058392 h 3033282"/>
              <a:gd name="connsiteX168" fmla="*/ 3422611 w 3907177"/>
              <a:gd name="connsiteY168" fmla="*/ 2039446 h 3033282"/>
              <a:gd name="connsiteX169" fmla="*/ 3384747 w 3907177"/>
              <a:gd name="connsiteY169" fmla="*/ 2043657 h 3033282"/>
              <a:gd name="connsiteX170" fmla="*/ 3334263 w 3907177"/>
              <a:gd name="connsiteY170" fmla="*/ 2031026 h 3033282"/>
              <a:gd name="connsiteX171" fmla="*/ 3378437 w 3907177"/>
              <a:gd name="connsiteY171" fmla="*/ 2058392 h 3033282"/>
              <a:gd name="connsiteX172" fmla="*/ 3357402 w 3907177"/>
              <a:gd name="connsiteY172" fmla="*/ 2092073 h 3033282"/>
              <a:gd name="connsiteX173" fmla="*/ 3351091 w 3907177"/>
              <a:gd name="connsiteY173" fmla="*/ 2140490 h 3033282"/>
              <a:gd name="connsiteX174" fmla="*/ 3317435 w 3907177"/>
              <a:gd name="connsiteY174" fmla="*/ 2140490 h 3033282"/>
              <a:gd name="connsiteX175" fmla="*/ 3359505 w 3907177"/>
              <a:gd name="connsiteY175" fmla="*/ 2155225 h 3033282"/>
              <a:gd name="connsiteX176" fmla="*/ 3416300 w 3907177"/>
              <a:gd name="connsiteY176" fmla="*/ 2180486 h 3033282"/>
              <a:gd name="connsiteX177" fmla="*/ 3468953 w 3907177"/>
              <a:gd name="connsiteY177" fmla="*/ 2204760 h 3033282"/>
              <a:gd name="connsiteX178" fmla="*/ 3471183 w 3907177"/>
              <a:gd name="connsiteY178" fmla="*/ 2205864 h 3033282"/>
              <a:gd name="connsiteX179" fmla="*/ 3465112 w 3907177"/>
              <a:gd name="connsiteY179" fmla="*/ 2222558 h 3033282"/>
              <a:gd name="connsiteX180" fmla="*/ 3404088 w 3907177"/>
              <a:gd name="connsiteY180" fmla="*/ 2397188 h 3033282"/>
              <a:gd name="connsiteX181" fmla="*/ 3303083 w 3907177"/>
              <a:gd name="connsiteY181" fmla="*/ 2544467 h 3033282"/>
              <a:gd name="connsiteX182" fmla="*/ 3395671 w 3907177"/>
              <a:gd name="connsiteY182" fmla="*/ 2456100 h 3033282"/>
              <a:gd name="connsiteX183" fmla="*/ 3450382 w 3907177"/>
              <a:gd name="connsiteY183" fmla="*/ 2386668 h 3033282"/>
              <a:gd name="connsiteX184" fmla="*/ 3526136 w 3907177"/>
              <a:gd name="connsiteY184" fmla="*/ 2184686 h 3033282"/>
              <a:gd name="connsiteX185" fmla="*/ 3618725 w 3907177"/>
              <a:gd name="connsiteY185" fmla="*/ 2163646 h 3033282"/>
              <a:gd name="connsiteX186" fmla="*/ 3751294 w 3907177"/>
              <a:gd name="connsiteY186" fmla="*/ 2136294 h 3033282"/>
              <a:gd name="connsiteX187" fmla="*/ 3799430 w 3907177"/>
              <a:gd name="connsiteY187" fmla="*/ 2104735 h 3033282"/>
              <a:gd name="connsiteX188" fmla="*/ 3810437 w 3907177"/>
              <a:gd name="connsiteY188" fmla="*/ 2099831 h 3033282"/>
              <a:gd name="connsiteX189" fmla="*/ 3824461 w 3907177"/>
              <a:gd name="connsiteY189" fmla="*/ 2097367 h 3033282"/>
              <a:gd name="connsiteX190" fmla="*/ 3829342 w 3907177"/>
              <a:gd name="connsiteY190" fmla="*/ 2096510 h 3033282"/>
              <a:gd name="connsiteX191" fmla="*/ 3845987 w 3907177"/>
              <a:gd name="connsiteY191" fmla="*/ 2098423 h 3033282"/>
              <a:gd name="connsiteX192" fmla="*/ 3904907 w 3907177"/>
              <a:gd name="connsiteY192" fmla="*/ 2180478 h 3033282"/>
              <a:gd name="connsiteX193" fmla="*/ 3885968 w 3907177"/>
              <a:gd name="connsiteY193" fmla="*/ 2315133 h 3033282"/>
              <a:gd name="connsiteX194" fmla="*/ 3884225 w 3907177"/>
              <a:gd name="connsiteY194" fmla="*/ 2328571 h 3033282"/>
              <a:gd name="connsiteX195" fmla="*/ 3881324 w 3907177"/>
              <a:gd name="connsiteY195" fmla="*/ 2344937 h 3033282"/>
              <a:gd name="connsiteX196" fmla="*/ 3878738 w 3907177"/>
              <a:gd name="connsiteY196" fmla="*/ 2354578 h 3033282"/>
              <a:gd name="connsiteX197" fmla="*/ 3857107 w 3907177"/>
              <a:gd name="connsiteY197" fmla="*/ 2435219 h 3033282"/>
              <a:gd name="connsiteX198" fmla="*/ 3839183 w 3907177"/>
              <a:gd name="connsiteY198" fmla="*/ 2502042 h 3033282"/>
              <a:gd name="connsiteX199" fmla="*/ 3806236 w 3907177"/>
              <a:gd name="connsiteY199" fmla="*/ 2584501 h 3033282"/>
              <a:gd name="connsiteX200" fmla="*/ 3612412 w 3907177"/>
              <a:gd name="connsiteY200" fmla="*/ 2876897 h 3033282"/>
              <a:gd name="connsiteX201" fmla="*/ 3004275 w 3907177"/>
              <a:gd name="connsiteY201" fmla="*/ 2912665 h 3033282"/>
              <a:gd name="connsiteX202" fmla="*/ 2812785 w 3907177"/>
              <a:gd name="connsiteY202" fmla="*/ 2759074 h 3033282"/>
              <a:gd name="connsiteX203" fmla="*/ 2726510 w 3907177"/>
              <a:gd name="connsiteY203" fmla="*/ 2651771 h 3033282"/>
              <a:gd name="connsiteX204" fmla="*/ 2722301 w 3907177"/>
              <a:gd name="connsiteY204" fmla="*/ 2655979 h 3033282"/>
              <a:gd name="connsiteX205" fmla="*/ 2686529 w 3907177"/>
              <a:gd name="connsiteY205" fmla="*/ 2750658 h 3033282"/>
              <a:gd name="connsiteX206" fmla="*/ 2646547 w 3907177"/>
              <a:gd name="connsiteY206" fmla="*/ 2799050 h 3033282"/>
              <a:gd name="connsiteX207" fmla="*/ 2593940 w 3907177"/>
              <a:gd name="connsiteY207" fmla="*/ 2887417 h 3033282"/>
              <a:gd name="connsiteX208" fmla="*/ 2606566 w 3907177"/>
              <a:gd name="connsiteY208" fmla="*/ 2963160 h 3033282"/>
              <a:gd name="connsiteX209" fmla="*/ 2724406 w 3907177"/>
              <a:gd name="connsiteY209" fmla="*/ 3001032 h 3033282"/>
              <a:gd name="connsiteX210" fmla="*/ 2614983 w 3907177"/>
              <a:gd name="connsiteY210" fmla="*/ 2916873 h 3033282"/>
              <a:gd name="connsiteX211" fmla="*/ 2636026 w 3907177"/>
              <a:gd name="connsiteY211" fmla="*/ 2931601 h 3033282"/>
              <a:gd name="connsiteX212" fmla="*/ 2741240 w 3907177"/>
              <a:gd name="connsiteY212" fmla="*/ 2975784 h 3033282"/>
              <a:gd name="connsiteX213" fmla="*/ 2823307 w 3907177"/>
              <a:gd name="connsiteY213" fmla="*/ 2935809 h 3033282"/>
              <a:gd name="connsiteX214" fmla="*/ 2869601 w 3907177"/>
              <a:gd name="connsiteY214" fmla="*/ 2874793 h 3033282"/>
              <a:gd name="connsiteX215" fmla="*/ 2909582 w 3907177"/>
              <a:gd name="connsiteY215" fmla="*/ 2914769 h 3033282"/>
              <a:gd name="connsiteX216" fmla="*/ 2804368 w 3907177"/>
              <a:gd name="connsiteY216" fmla="*/ 3009448 h 3033282"/>
              <a:gd name="connsiteX217" fmla="*/ 2631817 w 3907177"/>
              <a:gd name="connsiteY217" fmla="*/ 3019968 h 3033282"/>
              <a:gd name="connsiteX218" fmla="*/ 2592812 w 3907177"/>
              <a:gd name="connsiteY218" fmla="*/ 2997729 h 3033282"/>
              <a:gd name="connsiteX219" fmla="*/ 2571463 w 3907177"/>
              <a:gd name="connsiteY219" fmla="*/ 2978979 h 3033282"/>
              <a:gd name="connsiteX220" fmla="*/ 2569646 w 3907177"/>
              <a:gd name="connsiteY220" fmla="*/ 2977384 h 3033282"/>
              <a:gd name="connsiteX221" fmla="*/ 2550477 w 3907177"/>
              <a:gd name="connsiteY221" fmla="*/ 2953365 h 3033282"/>
              <a:gd name="connsiteX222" fmla="*/ 2543509 w 3907177"/>
              <a:gd name="connsiteY222" fmla="*/ 2942341 h 3033282"/>
              <a:gd name="connsiteX223" fmla="*/ 2527951 w 3907177"/>
              <a:gd name="connsiteY223" fmla="*/ 2910199 h 3033282"/>
              <a:gd name="connsiteX224" fmla="*/ 2522395 w 3907177"/>
              <a:gd name="connsiteY224" fmla="*/ 2893729 h 3033282"/>
              <a:gd name="connsiteX225" fmla="*/ 2457162 w 3907177"/>
              <a:gd name="connsiteY225" fmla="*/ 2748554 h 3033282"/>
              <a:gd name="connsiteX226" fmla="*/ 2362469 w 3907177"/>
              <a:gd name="connsiteY226" fmla="*/ 2651771 h 3033282"/>
              <a:gd name="connsiteX227" fmla="*/ 2340024 w 3907177"/>
              <a:gd name="connsiteY227" fmla="*/ 2621933 h 3033282"/>
              <a:gd name="connsiteX228" fmla="*/ 2338457 w 3907177"/>
              <a:gd name="connsiteY228" fmla="*/ 2619477 h 3033282"/>
              <a:gd name="connsiteX229" fmla="*/ 2304048 w 3907177"/>
              <a:gd name="connsiteY229" fmla="*/ 2565541 h 3033282"/>
              <a:gd name="connsiteX230" fmla="*/ 2335655 w 3907177"/>
              <a:gd name="connsiteY230" fmla="*/ 2318674 h 3033282"/>
              <a:gd name="connsiteX231" fmla="*/ 2366996 w 3907177"/>
              <a:gd name="connsiteY231" fmla="*/ 2274192 h 3033282"/>
              <a:gd name="connsiteX232" fmla="*/ 2347572 w 3907177"/>
              <a:gd name="connsiteY232" fmla="*/ 2275513 h 3033282"/>
              <a:gd name="connsiteX233" fmla="*/ 2320522 w 3907177"/>
              <a:gd name="connsiteY233" fmla="*/ 2269084 h 3033282"/>
              <a:gd name="connsiteX234" fmla="*/ 2038565 w 3907177"/>
              <a:gd name="connsiteY234" fmla="*/ 2062847 h 3033282"/>
              <a:gd name="connsiteX235" fmla="*/ 2043892 w 3907177"/>
              <a:gd name="connsiteY235" fmla="*/ 1618938 h 3033282"/>
              <a:gd name="connsiteX236" fmla="*/ 2058099 w 3907177"/>
              <a:gd name="connsiteY236" fmla="*/ 1557525 h 3033282"/>
              <a:gd name="connsiteX237" fmla="*/ 2055755 w 3907177"/>
              <a:gd name="connsiteY237" fmla="*/ 1558228 h 3033282"/>
              <a:gd name="connsiteX238" fmla="*/ 2050316 w 3907177"/>
              <a:gd name="connsiteY238" fmla="*/ 1559430 h 3033282"/>
              <a:gd name="connsiteX239" fmla="*/ 1525518 w 3907177"/>
              <a:gd name="connsiteY239" fmla="*/ 1690090 h 3033282"/>
              <a:gd name="connsiteX240" fmla="*/ 946985 w 3907177"/>
              <a:gd name="connsiteY240" fmla="*/ 1875211 h 3033282"/>
              <a:gd name="connsiteX241" fmla="*/ 559893 w 3907177"/>
              <a:gd name="connsiteY241" fmla="*/ 1858382 h 3033282"/>
              <a:gd name="connsiteX242" fmla="*/ 412630 w 3907177"/>
              <a:gd name="connsiteY242" fmla="*/ 1498659 h 3033282"/>
              <a:gd name="connsiteX243" fmla="*/ 46576 w 3907177"/>
              <a:gd name="connsiteY243" fmla="*/ 1063204 h 3033282"/>
              <a:gd name="connsiteX244" fmla="*/ 36057 w 3907177"/>
              <a:gd name="connsiteY244" fmla="*/ 665615 h 3033282"/>
              <a:gd name="connsiteX245" fmla="*/ 191735 w 3907177"/>
              <a:gd name="connsiteY245" fmla="*/ 459457 h 3033282"/>
              <a:gd name="connsiteX246" fmla="*/ 374762 w 3907177"/>
              <a:gd name="connsiteY246" fmla="*/ 465768 h 3033282"/>
              <a:gd name="connsiteX247" fmla="*/ 677704 w 3907177"/>
              <a:gd name="connsiteY247" fmla="*/ 528878 h 3033282"/>
              <a:gd name="connsiteX248" fmla="*/ 1090040 w 3907177"/>
              <a:gd name="connsiteY248" fmla="*/ 713999 h 3033282"/>
              <a:gd name="connsiteX249" fmla="*/ 736609 w 3907177"/>
              <a:gd name="connsiteY249" fmla="*/ 514152 h 3033282"/>
              <a:gd name="connsiteX250" fmla="*/ 503092 w 3907177"/>
              <a:gd name="connsiteY250" fmla="*/ 423695 h 3033282"/>
              <a:gd name="connsiteX251" fmla="*/ 700845 w 3907177"/>
              <a:gd name="connsiteY251" fmla="*/ 246989 h 3033282"/>
              <a:gd name="connsiteX252" fmla="*/ 867042 w 3907177"/>
              <a:gd name="connsiteY252" fmla="*/ 47143 h 3033282"/>
              <a:gd name="connsiteX253" fmla="*/ 990408 w 3907177"/>
              <a:gd name="connsiteY253" fmla="*/ 698 h 30332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Lst>
            <a:rect l="l" t="t" r="r" b="b"/>
            <a:pathLst>
              <a:path w="3907177" h="3033282">
                <a:moveTo>
                  <a:pt x="3283994" y="2199606"/>
                </a:moveTo>
                <a:cubicBezTo>
                  <a:pt x="3260886" y="2199606"/>
                  <a:pt x="3239879" y="2208029"/>
                  <a:pt x="3216771" y="2237508"/>
                </a:cubicBezTo>
                <a:cubicBezTo>
                  <a:pt x="3206268" y="2252247"/>
                  <a:pt x="3191038" y="2271198"/>
                  <a:pt x="3176070" y="2287254"/>
                </a:cubicBezTo>
                <a:lnTo>
                  <a:pt x="3157902" y="2304911"/>
                </a:lnTo>
                <a:lnTo>
                  <a:pt x="3148728" y="2311436"/>
                </a:lnTo>
                <a:cubicBezTo>
                  <a:pt x="3141540" y="2316470"/>
                  <a:pt x="3136944" y="2319628"/>
                  <a:pt x="3136944" y="2319628"/>
                </a:cubicBezTo>
                <a:cubicBezTo>
                  <a:pt x="3141671" y="2318049"/>
                  <a:pt x="3147710" y="2313969"/>
                  <a:pt x="3154439" y="2308277"/>
                </a:cubicBezTo>
                <a:lnTo>
                  <a:pt x="3157902" y="2304911"/>
                </a:lnTo>
                <a:lnTo>
                  <a:pt x="3176070" y="2291992"/>
                </a:lnTo>
                <a:cubicBezTo>
                  <a:pt x="3196815" y="2276989"/>
                  <a:pt x="3219922" y="2259617"/>
                  <a:pt x="3229375" y="2250142"/>
                </a:cubicBezTo>
                <a:cubicBezTo>
                  <a:pt x="3248282" y="2231191"/>
                  <a:pt x="3283994" y="2231191"/>
                  <a:pt x="3317605" y="2231191"/>
                </a:cubicBezTo>
                <a:cubicBezTo>
                  <a:pt x="3341238" y="2231191"/>
                  <a:pt x="3367234" y="2240666"/>
                  <a:pt x="3378755" y="2245404"/>
                </a:cubicBezTo>
                <a:lnTo>
                  <a:pt x="3382808" y="2247161"/>
                </a:lnTo>
                <a:lnTo>
                  <a:pt x="3351550" y="2248260"/>
                </a:lnTo>
                <a:cubicBezTo>
                  <a:pt x="3337425" y="2251320"/>
                  <a:pt x="3324650" y="2257505"/>
                  <a:pt x="3315694" y="2268558"/>
                </a:cubicBezTo>
                <a:cubicBezTo>
                  <a:pt x="3281978" y="2310668"/>
                  <a:pt x="3267228" y="2335934"/>
                  <a:pt x="3248262" y="2369622"/>
                </a:cubicBezTo>
                <a:cubicBezTo>
                  <a:pt x="3229297" y="2403310"/>
                  <a:pt x="3195581" y="2443314"/>
                  <a:pt x="3195581" y="2443314"/>
                </a:cubicBezTo>
                <a:cubicBezTo>
                  <a:pt x="3195581" y="2443314"/>
                  <a:pt x="3273549" y="2363305"/>
                  <a:pt x="3288300" y="2346462"/>
                </a:cubicBezTo>
                <a:cubicBezTo>
                  <a:pt x="3303051" y="2327512"/>
                  <a:pt x="3309372" y="2312774"/>
                  <a:pt x="3334660" y="2295930"/>
                </a:cubicBezTo>
                <a:cubicBezTo>
                  <a:pt x="3357839" y="2279086"/>
                  <a:pt x="3381019" y="2279086"/>
                  <a:pt x="3404199" y="2281191"/>
                </a:cubicBezTo>
                <a:cubicBezTo>
                  <a:pt x="3427378" y="2283297"/>
                  <a:pt x="3442129" y="2291719"/>
                  <a:pt x="3442129" y="2291719"/>
                </a:cubicBezTo>
                <a:lnTo>
                  <a:pt x="3448451" y="2258031"/>
                </a:lnTo>
                <a:cubicBezTo>
                  <a:pt x="3448451" y="2258031"/>
                  <a:pt x="3442393" y="2255926"/>
                  <a:pt x="3432746" y="2253458"/>
                </a:cubicBezTo>
                <a:lnTo>
                  <a:pt x="3399309" y="2247403"/>
                </a:lnTo>
                <a:lnTo>
                  <a:pt x="3406885" y="2246720"/>
                </a:lnTo>
                <a:cubicBezTo>
                  <a:pt x="3417388" y="2244878"/>
                  <a:pt x="3426842" y="2240666"/>
                  <a:pt x="3422640" y="2231191"/>
                </a:cubicBezTo>
                <a:cubicBezTo>
                  <a:pt x="3412137" y="2214346"/>
                  <a:pt x="3391130" y="2216451"/>
                  <a:pt x="3370122" y="2208029"/>
                </a:cubicBezTo>
                <a:cubicBezTo>
                  <a:pt x="3349115" y="2201712"/>
                  <a:pt x="3309202" y="2199606"/>
                  <a:pt x="3283994" y="2199606"/>
                </a:cubicBezTo>
                <a:close/>
                <a:moveTo>
                  <a:pt x="3868985" y="2136388"/>
                </a:moveTo>
                <a:cubicBezTo>
                  <a:pt x="3868985" y="2136388"/>
                  <a:pt x="3778558" y="2193138"/>
                  <a:pt x="3734396" y="2199444"/>
                </a:cubicBezTo>
                <a:cubicBezTo>
                  <a:pt x="3690235" y="2205750"/>
                  <a:pt x="3646073" y="2235176"/>
                  <a:pt x="3559852" y="2182629"/>
                </a:cubicBezTo>
                <a:cubicBezTo>
                  <a:pt x="3555646" y="2180527"/>
                  <a:pt x="3604014" y="2239379"/>
                  <a:pt x="3641867" y="2241481"/>
                </a:cubicBezTo>
                <a:cubicBezTo>
                  <a:pt x="3681823" y="2243583"/>
                  <a:pt x="3702852" y="2239379"/>
                  <a:pt x="3702852" y="2239379"/>
                </a:cubicBezTo>
                <a:cubicBezTo>
                  <a:pt x="3784867" y="2228870"/>
                  <a:pt x="3820617" y="2188935"/>
                  <a:pt x="3831132" y="2178425"/>
                </a:cubicBezTo>
                <a:cubicBezTo>
                  <a:pt x="3843750" y="2170018"/>
                  <a:pt x="3868985" y="2136388"/>
                  <a:pt x="3868985" y="2136388"/>
                </a:cubicBezTo>
                <a:close/>
                <a:moveTo>
                  <a:pt x="3385344" y="2089937"/>
                </a:moveTo>
                <a:cubicBezTo>
                  <a:pt x="3391674" y="2089411"/>
                  <a:pt x="3398532" y="2089937"/>
                  <a:pt x="3403807" y="2092045"/>
                </a:cubicBezTo>
                <a:cubicBezTo>
                  <a:pt x="3412247" y="2096259"/>
                  <a:pt x="3418577" y="2104688"/>
                  <a:pt x="3420687" y="2119439"/>
                </a:cubicBezTo>
                <a:cubicBezTo>
                  <a:pt x="3422797" y="2132083"/>
                  <a:pt x="3410137" y="2151048"/>
                  <a:pt x="3410137" y="2151048"/>
                </a:cubicBezTo>
                <a:cubicBezTo>
                  <a:pt x="3410137" y="2151048"/>
                  <a:pt x="3389037" y="2144726"/>
                  <a:pt x="3380596" y="2144726"/>
                </a:cubicBezTo>
                <a:cubicBezTo>
                  <a:pt x="3374266" y="2142619"/>
                  <a:pt x="3353166" y="2146834"/>
                  <a:pt x="3353166" y="2146834"/>
                </a:cubicBezTo>
                <a:lnTo>
                  <a:pt x="3353166" y="2113117"/>
                </a:lnTo>
                <a:cubicBezTo>
                  <a:pt x="3353166" y="2113117"/>
                  <a:pt x="3365826" y="2096259"/>
                  <a:pt x="3370046" y="2094152"/>
                </a:cubicBezTo>
                <a:cubicBezTo>
                  <a:pt x="3373211" y="2092045"/>
                  <a:pt x="3379014" y="2090464"/>
                  <a:pt x="3385344" y="2089937"/>
                </a:cubicBezTo>
                <a:close/>
                <a:moveTo>
                  <a:pt x="2921466" y="1940074"/>
                </a:moveTo>
                <a:cubicBezTo>
                  <a:pt x="2903875" y="1940863"/>
                  <a:pt x="2886546" y="1942966"/>
                  <a:pt x="2876044" y="1945069"/>
                </a:cubicBezTo>
                <a:cubicBezTo>
                  <a:pt x="2857140" y="1951377"/>
                  <a:pt x="2819332" y="1968200"/>
                  <a:pt x="2796228" y="1980818"/>
                </a:cubicBezTo>
                <a:cubicBezTo>
                  <a:pt x="2773123" y="1995538"/>
                  <a:pt x="2716411" y="2018670"/>
                  <a:pt x="2716411" y="2018670"/>
                </a:cubicBezTo>
                <a:cubicBezTo>
                  <a:pt x="2716411" y="2018670"/>
                  <a:pt x="2756319" y="2016567"/>
                  <a:pt x="2773123" y="2014464"/>
                </a:cubicBezTo>
                <a:cubicBezTo>
                  <a:pt x="2789926" y="2014464"/>
                  <a:pt x="2813031" y="2008155"/>
                  <a:pt x="2813031" y="2008155"/>
                </a:cubicBezTo>
                <a:cubicBezTo>
                  <a:pt x="2813031" y="2008155"/>
                  <a:pt x="2802529" y="2046007"/>
                  <a:pt x="2810931" y="2075448"/>
                </a:cubicBezTo>
                <a:cubicBezTo>
                  <a:pt x="2817232" y="2102785"/>
                  <a:pt x="2825634" y="2117505"/>
                  <a:pt x="2825634" y="2117505"/>
                </a:cubicBezTo>
                <a:cubicBezTo>
                  <a:pt x="2825634" y="2117505"/>
                  <a:pt x="2825634" y="2119608"/>
                  <a:pt x="2817232" y="2123814"/>
                </a:cubicBezTo>
                <a:cubicBezTo>
                  <a:pt x="2810931" y="2125917"/>
                  <a:pt x="2773123" y="2157460"/>
                  <a:pt x="2773123" y="2157460"/>
                </a:cubicBezTo>
                <a:cubicBezTo>
                  <a:pt x="2773123" y="2157460"/>
                  <a:pt x="2831935" y="2132226"/>
                  <a:pt x="2848738" y="2125917"/>
                </a:cubicBezTo>
                <a:cubicBezTo>
                  <a:pt x="2865542" y="2121711"/>
                  <a:pt x="2901249" y="2113300"/>
                  <a:pt x="2941157" y="2104888"/>
                </a:cubicBezTo>
                <a:cubicBezTo>
                  <a:pt x="2981066" y="2096476"/>
                  <a:pt x="3111292" y="2106991"/>
                  <a:pt x="3111292" y="2106991"/>
                </a:cubicBezTo>
                <a:cubicBezTo>
                  <a:pt x="3111292" y="2106991"/>
                  <a:pt x="3073484" y="2092271"/>
                  <a:pt x="3056681" y="2085962"/>
                </a:cubicBezTo>
                <a:cubicBezTo>
                  <a:pt x="3039878" y="2081756"/>
                  <a:pt x="3016773" y="2081756"/>
                  <a:pt x="3016773" y="2081756"/>
                </a:cubicBezTo>
                <a:cubicBezTo>
                  <a:pt x="3016773" y="2081756"/>
                  <a:pt x="3029375" y="2052316"/>
                  <a:pt x="3023074" y="2027081"/>
                </a:cubicBezTo>
                <a:cubicBezTo>
                  <a:pt x="3016773" y="1999744"/>
                  <a:pt x="2995769" y="1970303"/>
                  <a:pt x="2995769" y="1970303"/>
                </a:cubicBezTo>
                <a:cubicBezTo>
                  <a:pt x="2995769" y="1970303"/>
                  <a:pt x="3002070" y="1966098"/>
                  <a:pt x="3018873" y="1966098"/>
                </a:cubicBezTo>
                <a:cubicBezTo>
                  <a:pt x="3035677" y="1963995"/>
                  <a:pt x="3065083" y="1957686"/>
                  <a:pt x="3065083" y="1957686"/>
                </a:cubicBezTo>
                <a:cubicBezTo>
                  <a:pt x="3065083" y="1957686"/>
                  <a:pt x="2991568" y="1949274"/>
                  <a:pt x="2968463" y="1942966"/>
                </a:cubicBezTo>
                <a:cubicBezTo>
                  <a:pt x="2956910" y="1939811"/>
                  <a:pt x="2939057" y="1939286"/>
                  <a:pt x="2921466" y="1940074"/>
                </a:cubicBezTo>
                <a:close/>
                <a:moveTo>
                  <a:pt x="2882143" y="1689578"/>
                </a:moveTo>
                <a:cubicBezTo>
                  <a:pt x="2843731" y="1689315"/>
                  <a:pt x="2800057" y="1691418"/>
                  <a:pt x="2779009" y="1700880"/>
                </a:cubicBezTo>
                <a:cubicBezTo>
                  <a:pt x="2736913" y="1717702"/>
                  <a:pt x="2720075" y="1810222"/>
                  <a:pt x="2720075" y="1810222"/>
                </a:cubicBezTo>
                <a:cubicBezTo>
                  <a:pt x="2720075" y="1810222"/>
                  <a:pt x="2760066" y="1759756"/>
                  <a:pt x="2806371" y="1730318"/>
                </a:cubicBezTo>
                <a:cubicBezTo>
                  <a:pt x="2852676" y="1698777"/>
                  <a:pt x="2953705" y="1692469"/>
                  <a:pt x="2953705" y="1692469"/>
                </a:cubicBezTo>
                <a:cubicBezTo>
                  <a:pt x="2953705" y="1692469"/>
                  <a:pt x="2920555" y="1689840"/>
                  <a:pt x="2882143" y="1689578"/>
                </a:cubicBezTo>
                <a:close/>
                <a:moveTo>
                  <a:pt x="2751741" y="1152523"/>
                </a:moveTo>
                <a:lnTo>
                  <a:pt x="2752273" y="1154187"/>
                </a:lnTo>
                <a:lnTo>
                  <a:pt x="2764036" y="1192874"/>
                </a:lnTo>
                <a:lnTo>
                  <a:pt x="2787833" y="1274009"/>
                </a:lnTo>
                <a:lnTo>
                  <a:pt x="2819472" y="1283014"/>
                </a:lnTo>
                <a:lnTo>
                  <a:pt x="2820261" y="1283258"/>
                </a:lnTo>
                <a:lnTo>
                  <a:pt x="2825890" y="1283302"/>
                </a:lnTo>
                <a:lnTo>
                  <a:pt x="2903747" y="1291542"/>
                </a:lnTo>
                <a:lnTo>
                  <a:pt x="2899550" y="1288295"/>
                </a:lnTo>
                <a:cubicBezTo>
                  <a:pt x="2806596" y="1216396"/>
                  <a:pt x="2806596" y="1216396"/>
                  <a:pt x="2806596" y="1216396"/>
                </a:cubicBezTo>
                <a:cubicBezTo>
                  <a:pt x="2806596" y="1216396"/>
                  <a:pt x="2794376" y="1202454"/>
                  <a:pt x="2775061" y="1179930"/>
                </a:cubicBezTo>
                <a:close/>
                <a:moveTo>
                  <a:pt x="1695768" y="862876"/>
                </a:moveTo>
                <a:cubicBezTo>
                  <a:pt x="2078780" y="919680"/>
                  <a:pt x="2078780" y="919680"/>
                  <a:pt x="2078780" y="919680"/>
                </a:cubicBezTo>
                <a:cubicBezTo>
                  <a:pt x="2078780" y="919680"/>
                  <a:pt x="2137705" y="923888"/>
                  <a:pt x="2177689" y="938615"/>
                </a:cubicBezTo>
                <a:cubicBezTo>
                  <a:pt x="2217674" y="951238"/>
                  <a:pt x="2274495" y="997523"/>
                  <a:pt x="2274495" y="997523"/>
                </a:cubicBezTo>
                <a:cubicBezTo>
                  <a:pt x="2274495" y="997523"/>
                  <a:pt x="2226092" y="984900"/>
                  <a:pt x="2192421" y="984900"/>
                </a:cubicBezTo>
                <a:cubicBezTo>
                  <a:pt x="2160854" y="987004"/>
                  <a:pt x="2101929" y="1026977"/>
                  <a:pt x="2082989" y="1031185"/>
                </a:cubicBezTo>
                <a:cubicBezTo>
                  <a:pt x="2061944" y="1035392"/>
                  <a:pt x="2013542" y="1064846"/>
                  <a:pt x="2013542" y="1064846"/>
                </a:cubicBezTo>
                <a:cubicBezTo>
                  <a:pt x="2013542" y="1064846"/>
                  <a:pt x="2118765" y="1039600"/>
                  <a:pt x="2177689" y="1060639"/>
                </a:cubicBezTo>
                <a:cubicBezTo>
                  <a:pt x="2234510" y="1081677"/>
                  <a:pt x="2276599" y="1062742"/>
                  <a:pt x="2320793" y="1102716"/>
                </a:cubicBezTo>
                <a:cubicBezTo>
                  <a:pt x="2362882" y="1142689"/>
                  <a:pt x="2402867" y="1193182"/>
                  <a:pt x="2402867" y="1193182"/>
                </a:cubicBezTo>
                <a:lnTo>
                  <a:pt x="2477977" y="1304520"/>
                </a:lnTo>
                <a:lnTo>
                  <a:pt x="2495231" y="1302276"/>
                </a:lnTo>
                <a:lnTo>
                  <a:pt x="2479203" y="1263722"/>
                </a:lnTo>
                <a:cubicBezTo>
                  <a:pt x="2435552" y="1159125"/>
                  <a:pt x="2373405" y="1012512"/>
                  <a:pt x="2352360" y="974380"/>
                </a:cubicBezTo>
                <a:cubicBezTo>
                  <a:pt x="2320793" y="913369"/>
                  <a:pt x="2238719" y="886019"/>
                  <a:pt x="2194525" y="875499"/>
                </a:cubicBezTo>
                <a:cubicBezTo>
                  <a:pt x="2150331" y="862876"/>
                  <a:pt x="1695768" y="862876"/>
                  <a:pt x="1695768" y="862876"/>
                </a:cubicBezTo>
                <a:close/>
                <a:moveTo>
                  <a:pt x="2884074" y="435929"/>
                </a:moveTo>
                <a:cubicBezTo>
                  <a:pt x="2884074" y="435929"/>
                  <a:pt x="2919884" y="555927"/>
                  <a:pt x="2987291" y="631716"/>
                </a:cubicBezTo>
                <a:cubicBezTo>
                  <a:pt x="3054698" y="705399"/>
                  <a:pt x="3130531" y="1008552"/>
                  <a:pt x="3130531" y="1008552"/>
                </a:cubicBezTo>
                <a:cubicBezTo>
                  <a:pt x="3130531" y="1008552"/>
                  <a:pt x="3115786" y="812766"/>
                  <a:pt x="3063124" y="682241"/>
                </a:cubicBezTo>
                <a:cubicBezTo>
                  <a:pt x="3063124" y="682241"/>
                  <a:pt x="2993611" y="549612"/>
                  <a:pt x="2970440" y="520138"/>
                </a:cubicBezTo>
                <a:cubicBezTo>
                  <a:pt x="2945162" y="490665"/>
                  <a:pt x="2884074" y="435929"/>
                  <a:pt x="2884074" y="435929"/>
                </a:cubicBezTo>
                <a:close/>
                <a:moveTo>
                  <a:pt x="990408" y="698"/>
                </a:moveTo>
                <a:cubicBezTo>
                  <a:pt x="1005101" y="-321"/>
                  <a:pt x="1021142" y="-189"/>
                  <a:pt x="1039550" y="863"/>
                </a:cubicBezTo>
                <a:cubicBezTo>
                  <a:pt x="1111078" y="5070"/>
                  <a:pt x="1258341" y="38728"/>
                  <a:pt x="1348803" y="72387"/>
                </a:cubicBezTo>
                <a:cubicBezTo>
                  <a:pt x="1439264" y="103941"/>
                  <a:pt x="1653848" y="181776"/>
                  <a:pt x="1737998" y="232264"/>
                </a:cubicBezTo>
                <a:cubicBezTo>
                  <a:pt x="1830564" y="284855"/>
                  <a:pt x="1914714" y="318513"/>
                  <a:pt x="2005176" y="371104"/>
                </a:cubicBezTo>
                <a:cubicBezTo>
                  <a:pt x="2051459" y="397400"/>
                  <a:pt x="2127194" y="436317"/>
                  <a:pt x="2203455" y="477601"/>
                </a:cubicBezTo>
                <a:lnTo>
                  <a:pt x="2296994" y="530121"/>
                </a:lnTo>
                <a:lnTo>
                  <a:pt x="2323986" y="546882"/>
                </a:lnTo>
                <a:lnTo>
                  <a:pt x="2357160" y="567482"/>
                </a:lnTo>
                <a:lnTo>
                  <a:pt x="2404890" y="598298"/>
                </a:lnTo>
                <a:lnTo>
                  <a:pt x="2415440" y="605928"/>
                </a:lnTo>
                <a:lnTo>
                  <a:pt x="2362991" y="493093"/>
                </a:lnTo>
                <a:cubicBezTo>
                  <a:pt x="2362991" y="493093"/>
                  <a:pt x="2362991" y="493093"/>
                  <a:pt x="2329266" y="483333"/>
                </a:cubicBezTo>
                <a:lnTo>
                  <a:pt x="2307060" y="476906"/>
                </a:lnTo>
                <a:lnTo>
                  <a:pt x="2313198" y="470584"/>
                </a:lnTo>
                <a:cubicBezTo>
                  <a:pt x="2335494" y="447752"/>
                  <a:pt x="2406858" y="375701"/>
                  <a:pt x="2460566" y="333037"/>
                </a:cubicBezTo>
                <a:lnTo>
                  <a:pt x="2482676" y="317005"/>
                </a:lnTo>
                <a:lnTo>
                  <a:pt x="2522361" y="296868"/>
                </a:lnTo>
                <a:lnTo>
                  <a:pt x="2554579" y="283748"/>
                </a:lnTo>
                <a:cubicBezTo>
                  <a:pt x="2588217" y="269017"/>
                  <a:pt x="2633417" y="251656"/>
                  <a:pt x="2694384" y="254812"/>
                </a:cubicBezTo>
                <a:cubicBezTo>
                  <a:pt x="2724868" y="256391"/>
                  <a:pt x="2759293" y="263098"/>
                  <a:pt x="2798186" y="277829"/>
                </a:cubicBezTo>
                <a:cubicBezTo>
                  <a:pt x="2951656" y="336753"/>
                  <a:pt x="2857052" y="260994"/>
                  <a:pt x="2857052" y="260994"/>
                </a:cubicBezTo>
                <a:cubicBezTo>
                  <a:pt x="2857052" y="260994"/>
                  <a:pt x="2858530" y="261224"/>
                  <a:pt x="2861191" y="261705"/>
                </a:cubicBezTo>
                <a:lnTo>
                  <a:pt x="2866568" y="262766"/>
                </a:lnTo>
                <a:lnTo>
                  <a:pt x="2867847" y="263215"/>
                </a:lnTo>
                <a:cubicBezTo>
                  <a:pt x="2872013" y="264887"/>
                  <a:pt x="2874182" y="265939"/>
                  <a:pt x="2874182" y="265939"/>
                </a:cubicBezTo>
                <a:cubicBezTo>
                  <a:pt x="2874182" y="265939"/>
                  <a:pt x="2875760" y="265775"/>
                  <a:pt x="2878772" y="265783"/>
                </a:cubicBezTo>
                <a:lnTo>
                  <a:pt x="2879970" y="265863"/>
                </a:lnTo>
                <a:lnTo>
                  <a:pt x="2909084" y="273357"/>
                </a:lnTo>
                <a:cubicBezTo>
                  <a:pt x="2937466" y="282038"/>
                  <a:pt x="2970577" y="295717"/>
                  <a:pt x="2989498" y="315709"/>
                </a:cubicBezTo>
                <a:cubicBezTo>
                  <a:pt x="3027340" y="357797"/>
                  <a:pt x="3391043" y="702920"/>
                  <a:pt x="3365815" y="925987"/>
                </a:cubicBezTo>
                <a:cubicBezTo>
                  <a:pt x="3351098" y="1060670"/>
                  <a:pt x="3227061" y="1315303"/>
                  <a:pt x="3233368" y="1376331"/>
                </a:cubicBezTo>
                <a:cubicBezTo>
                  <a:pt x="3234682" y="1385538"/>
                  <a:pt x="3236920" y="1397159"/>
                  <a:pt x="3239761" y="1410216"/>
                </a:cubicBezTo>
                <a:lnTo>
                  <a:pt x="3243622" y="1426604"/>
                </a:lnTo>
                <a:lnTo>
                  <a:pt x="3302854" y="1472111"/>
                </a:lnTo>
                <a:cubicBezTo>
                  <a:pt x="3370331" y="1532754"/>
                  <a:pt x="3422311" y="1609600"/>
                  <a:pt x="3442037" y="1705090"/>
                </a:cubicBezTo>
                <a:lnTo>
                  <a:pt x="3433973" y="1732860"/>
                </a:lnTo>
                <a:lnTo>
                  <a:pt x="3404867" y="1673697"/>
                </a:lnTo>
                <a:cubicBezTo>
                  <a:pt x="3399074" y="1661664"/>
                  <a:pt x="3393479" y="1649944"/>
                  <a:pt x="3388345" y="1639131"/>
                </a:cubicBezTo>
                <a:lnTo>
                  <a:pt x="3377441" y="1616053"/>
                </a:lnTo>
                <a:lnTo>
                  <a:pt x="3359581" y="1565598"/>
                </a:lnTo>
                <a:cubicBezTo>
                  <a:pt x="3359581" y="1565598"/>
                  <a:pt x="3359581" y="1565598"/>
                  <a:pt x="3361687" y="1582431"/>
                </a:cubicBezTo>
                <a:cubicBezTo>
                  <a:pt x="3361687" y="1582431"/>
                  <a:pt x="3366690" y="1593215"/>
                  <a:pt x="3374588" y="1610015"/>
                </a:cubicBezTo>
                <a:lnTo>
                  <a:pt x="3377441" y="1616053"/>
                </a:lnTo>
                <a:lnTo>
                  <a:pt x="3442901" y="1800978"/>
                </a:lnTo>
                <a:lnTo>
                  <a:pt x="3440408" y="1796829"/>
                </a:lnTo>
                <a:cubicBezTo>
                  <a:pt x="3438644" y="1793891"/>
                  <a:pt x="3436291" y="1789974"/>
                  <a:pt x="3433154" y="1784752"/>
                </a:cubicBezTo>
                <a:cubicBezTo>
                  <a:pt x="3433154" y="1784752"/>
                  <a:pt x="3414332" y="1768041"/>
                  <a:pt x="3397602" y="1761774"/>
                </a:cubicBezTo>
                <a:cubicBezTo>
                  <a:pt x="3380871" y="1753418"/>
                  <a:pt x="3349501" y="1755507"/>
                  <a:pt x="3349501" y="1755507"/>
                </a:cubicBezTo>
                <a:cubicBezTo>
                  <a:pt x="3349501" y="1755507"/>
                  <a:pt x="3380871" y="1768041"/>
                  <a:pt x="3395510" y="1772218"/>
                </a:cubicBezTo>
                <a:cubicBezTo>
                  <a:pt x="3406489" y="1773785"/>
                  <a:pt x="3429233" y="1791802"/>
                  <a:pt x="3439918" y="1800713"/>
                </a:cubicBezTo>
                <a:lnTo>
                  <a:pt x="3444055" y="1804238"/>
                </a:lnTo>
                <a:lnTo>
                  <a:pt x="3555468" y="2118980"/>
                </a:lnTo>
                <a:cubicBezTo>
                  <a:pt x="3555468" y="2118980"/>
                  <a:pt x="3553888" y="2108460"/>
                  <a:pt x="3553362" y="2091890"/>
                </a:cubicBezTo>
                <a:lnTo>
                  <a:pt x="3553487" y="2080908"/>
                </a:lnTo>
                <a:lnTo>
                  <a:pt x="3554536" y="2083695"/>
                </a:lnTo>
                <a:cubicBezTo>
                  <a:pt x="3566426" y="2115277"/>
                  <a:pt x="3569399" y="2123172"/>
                  <a:pt x="3570142" y="2125146"/>
                </a:cubicBezTo>
                <a:lnTo>
                  <a:pt x="3570375" y="2125765"/>
                </a:lnTo>
                <a:lnTo>
                  <a:pt x="3570326" y="2125774"/>
                </a:lnTo>
                <a:cubicBezTo>
                  <a:pt x="3545075" y="2130508"/>
                  <a:pt x="3536395" y="2124591"/>
                  <a:pt x="3524755" y="2128437"/>
                </a:cubicBezTo>
                <a:lnTo>
                  <a:pt x="3520991" y="2130652"/>
                </a:lnTo>
                <a:lnTo>
                  <a:pt x="3519898" y="2125754"/>
                </a:lnTo>
                <a:cubicBezTo>
                  <a:pt x="3517794" y="2116808"/>
                  <a:pt x="3515165" y="2106809"/>
                  <a:pt x="3513061" y="2102599"/>
                </a:cubicBezTo>
                <a:cubicBezTo>
                  <a:pt x="3510958" y="2096283"/>
                  <a:pt x="3498337" y="2064707"/>
                  <a:pt x="3485716" y="2058392"/>
                </a:cubicBezTo>
                <a:cubicBezTo>
                  <a:pt x="3475198" y="2052077"/>
                  <a:pt x="3435232" y="2037341"/>
                  <a:pt x="3422611" y="2039446"/>
                </a:cubicBezTo>
                <a:cubicBezTo>
                  <a:pt x="3409989" y="2039446"/>
                  <a:pt x="3397368" y="2045762"/>
                  <a:pt x="3384747" y="2043657"/>
                </a:cubicBezTo>
                <a:cubicBezTo>
                  <a:pt x="3372126" y="2041551"/>
                  <a:pt x="3334263" y="2031026"/>
                  <a:pt x="3334263" y="2031026"/>
                </a:cubicBezTo>
                <a:cubicBezTo>
                  <a:pt x="3378437" y="2058392"/>
                  <a:pt x="3378437" y="2058392"/>
                  <a:pt x="3378437" y="2058392"/>
                </a:cubicBezTo>
                <a:cubicBezTo>
                  <a:pt x="3378437" y="2058392"/>
                  <a:pt x="3359505" y="2079443"/>
                  <a:pt x="3357402" y="2092073"/>
                </a:cubicBezTo>
                <a:cubicBezTo>
                  <a:pt x="3348988" y="2111019"/>
                  <a:pt x="3351091" y="2140490"/>
                  <a:pt x="3351091" y="2140490"/>
                </a:cubicBezTo>
                <a:cubicBezTo>
                  <a:pt x="3317435" y="2140490"/>
                  <a:pt x="3317435" y="2140490"/>
                  <a:pt x="3317435" y="2140490"/>
                </a:cubicBezTo>
                <a:cubicBezTo>
                  <a:pt x="3317435" y="2140490"/>
                  <a:pt x="3348988" y="2148910"/>
                  <a:pt x="3359505" y="2155225"/>
                </a:cubicBezTo>
                <a:cubicBezTo>
                  <a:pt x="3370023" y="2161541"/>
                  <a:pt x="3395265" y="2172066"/>
                  <a:pt x="3416300" y="2180486"/>
                </a:cubicBezTo>
                <a:cubicBezTo>
                  <a:pt x="3432076" y="2186801"/>
                  <a:pt x="3457318" y="2199037"/>
                  <a:pt x="3468953" y="2204760"/>
                </a:cubicBezTo>
                <a:lnTo>
                  <a:pt x="3471183" y="2205864"/>
                </a:lnTo>
                <a:lnTo>
                  <a:pt x="3465112" y="2222558"/>
                </a:lnTo>
                <a:cubicBezTo>
                  <a:pt x="3458799" y="2247805"/>
                  <a:pt x="3418818" y="2359317"/>
                  <a:pt x="3404088" y="2397188"/>
                </a:cubicBezTo>
                <a:cubicBezTo>
                  <a:pt x="3389358" y="2435060"/>
                  <a:pt x="3303083" y="2544467"/>
                  <a:pt x="3303083" y="2544467"/>
                </a:cubicBezTo>
                <a:cubicBezTo>
                  <a:pt x="3303083" y="2544467"/>
                  <a:pt x="3383045" y="2468724"/>
                  <a:pt x="3395671" y="2456100"/>
                </a:cubicBezTo>
                <a:cubicBezTo>
                  <a:pt x="3410401" y="2443476"/>
                  <a:pt x="3429339" y="2411916"/>
                  <a:pt x="3450382" y="2386668"/>
                </a:cubicBezTo>
                <a:cubicBezTo>
                  <a:pt x="3469321" y="2363525"/>
                  <a:pt x="3515615" y="2209934"/>
                  <a:pt x="3526136" y="2184686"/>
                </a:cubicBezTo>
                <a:cubicBezTo>
                  <a:pt x="3538762" y="2157334"/>
                  <a:pt x="3574535" y="2159438"/>
                  <a:pt x="3618725" y="2163646"/>
                </a:cubicBezTo>
                <a:cubicBezTo>
                  <a:pt x="3665019" y="2167854"/>
                  <a:pt x="3707104" y="2155230"/>
                  <a:pt x="3751294" y="2136294"/>
                </a:cubicBezTo>
                <a:cubicBezTo>
                  <a:pt x="3772337" y="2126826"/>
                  <a:pt x="3786015" y="2113676"/>
                  <a:pt x="3799430" y="2104735"/>
                </a:cubicBezTo>
                <a:lnTo>
                  <a:pt x="3810437" y="2099831"/>
                </a:lnTo>
                <a:lnTo>
                  <a:pt x="3824461" y="2097367"/>
                </a:lnTo>
                <a:lnTo>
                  <a:pt x="3829342" y="2096510"/>
                </a:lnTo>
                <a:lnTo>
                  <a:pt x="3845987" y="2098423"/>
                </a:lnTo>
                <a:cubicBezTo>
                  <a:pt x="3885968" y="2111046"/>
                  <a:pt x="3894385" y="2134190"/>
                  <a:pt x="3904907" y="2180478"/>
                </a:cubicBezTo>
                <a:cubicBezTo>
                  <a:pt x="3915428" y="2226766"/>
                  <a:pt x="3885968" y="2315133"/>
                  <a:pt x="3885968" y="2315133"/>
                </a:cubicBezTo>
                <a:cubicBezTo>
                  <a:pt x="3885968" y="2315133"/>
                  <a:pt x="3885508" y="2319834"/>
                  <a:pt x="3884225" y="2328571"/>
                </a:cubicBezTo>
                <a:lnTo>
                  <a:pt x="3881324" y="2344937"/>
                </a:lnTo>
                <a:lnTo>
                  <a:pt x="3878738" y="2354578"/>
                </a:lnTo>
                <a:cubicBezTo>
                  <a:pt x="3870987" y="2383473"/>
                  <a:pt x="3863790" y="2410304"/>
                  <a:pt x="3857107" y="2435219"/>
                </a:cubicBezTo>
                <a:lnTo>
                  <a:pt x="3839183" y="2502042"/>
                </a:lnTo>
                <a:lnTo>
                  <a:pt x="3806236" y="2584501"/>
                </a:lnTo>
                <a:cubicBezTo>
                  <a:pt x="3765301" y="2675605"/>
                  <a:pt x="3703948" y="2779062"/>
                  <a:pt x="3612412" y="2876897"/>
                </a:cubicBezTo>
                <a:cubicBezTo>
                  <a:pt x="3370419" y="3137791"/>
                  <a:pt x="3046360" y="2935809"/>
                  <a:pt x="3004275" y="2912665"/>
                </a:cubicBezTo>
                <a:cubicBezTo>
                  <a:pt x="2962189" y="2889521"/>
                  <a:pt x="2852767" y="2792738"/>
                  <a:pt x="2812785" y="2759074"/>
                </a:cubicBezTo>
                <a:cubicBezTo>
                  <a:pt x="2770700" y="2725410"/>
                  <a:pt x="2726510" y="2651771"/>
                  <a:pt x="2726510" y="2651771"/>
                </a:cubicBezTo>
                <a:cubicBezTo>
                  <a:pt x="2726510" y="2651771"/>
                  <a:pt x="2724406" y="2649667"/>
                  <a:pt x="2722301" y="2655979"/>
                </a:cubicBezTo>
                <a:cubicBezTo>
                  <a:pt x="2720197" y="2662291"/>
                  <a:pt x="2699154" y="2727514"/>
                  <a:pt x="2686529" y="2750658"/>
                </a:cubicBezTo>
                <a:cubicBezTo>
                  <a:pt x="2676007" y="2771698"/>
                  <a:pt x="2661277" y="2782218"/>
                  <a:pt x="2646547" y="2799050"/>
                </a:cubicBezTo>
                <a:cubicBezTo>
                  <a:pt x="2633922" y="2817986"/>
                  <a:pt x="2612879" y="2845337"/>
                  <a:pt x="2593940" y="2887417"/>
                </a:cubicBezTo>
                <a:cubicBezTo>
                  <a:pt x="2575002" y="2929497"/>
                  <a:pt x="2606566" y="2963160"/>
                  <a:pt x="2606566" y="2963160"/>
                </a:cubicBezTo>
                <a:cubicBezTo>
                  <a:pt x="2627609" y="2988408"/>
                  <a:pt x="2697050" y="3005240"/>
                  <a:pt x="2724406" y="3001032"/>
                </a:cubicBezTo>
                <a:cubicBezTo>
                  <a:pt x="2654964" y="2986304"/>
                  <a:pt x="2614983" y="2916873"/>
                  <a:pt x="2614983" y="2916873"/>
                </a:cubicBezTo>
                <a:cubicBezTo>
                  <a:pt x="2614983" y="2916873"/>
                  <a:pt x="2614983" y="2916873"/>
                  <a:pt x="2636026" y="2931601"/>
                </a:cubicBezTo>
                <a:cubicBezTo>
                  <a:pt x="2654964" y="2946329"/>
                  <a:pt x="2688633" y="2969472"/>
                  <a:pt x="2741240" y="2975784"/>
                </a:cubicBezTo>
                <a:cubicBezTo>
                  <a:pt x="2793847" y="2982096"/>
                  <a:pt x="2823307" y="2935809"/>
                  <a:pt x="2823307" y="2935809"/>
                </a:cubicBezTo>
                <a:cubicBezTo>
                  <a:pt x="2823307" y="2935809"/>
                  <a:pt x="2823307" y="2935809"/>
                  <a:pt x="2869601" y="2874793"/>
                </a:cubicBezTo>
                <a:cubicBezTo>
                  <a:pt x="2869601" y="2874793"/>
                  <a:pt x="2869601" y="2874793"/>
                  <a:pt x="2909582" y="2914769"/>
                </a:cubicBezTo>
                <a:cubicBezTo>
                  <a:pt x="2909582" y="2914769"/>
                  <a:pt x="2838037" y="2988408"/>
                  <a:pt x="2804368" y="3009448"/>
                </a:cubicBezTo>
                <a:cubicBezTo>
                  <a:pt x="2770700" y="3030488"/>
                  <a:pt x="2715988" y="3045216"/>
                  <a:pt x="2631817" y="3019968"/>
                </a:cubicBezTo>
                <a:lnTo>
                  <a:pt x="2592812" y="2997729"/>
                </a:lnTo>
                <a:lnTo>
                  <a:pt x="2571463" y="2978979"/>
                </a:lnTo>
                <a:lnTo>
                  <a:pt x="2569646" y="2977384"/>
                </a:lnTo>
                <a:lnTo>
                  <a:pt x="2550477" y="2953365"/>
                </a:lnTo>
                <a:lnTo>
                  <a:pt x="2543509" y="2942341"/>
                </a:lnTo>
                <a:lnTo>
                  <a:pt x="2527951" y="2910199"/>
                </a:lnTo>
                <a:cubicBezTo>
                  <a:pt x="2524104" y="2900173"/>
                  <a:pt x="2522395" y="2893729"/>
                  <a:pt x="2522395" y="2893729"/>
                </a:cubicBezTo>
                <a:cubicBezTo>
                  <a:pt x="2522395" y="2893729"/>
                  <a:pt x="2522395" y="2893729"/>
                  <a:pt x="2457162" y="2748554"/>
                </a:cubicBezTo>
                <a:cubicBezTo>
                  <a:pt x="2457162" y="2748554"/>
                  <a:pt x="2396138" y="2689642"/>
                  <a:pt x="2362469" y="2651771"/>
                </a:cubicBezTo>
                <a:lnTo>
                  <a:pt x="2340024" y="2621933"/>
                </a:lnTo>
                <a:lnTo>
                  <a:pt x="2338457" y="2619477"/>
                </a:lnTo>
                <a:cubicBezTo>
                  <a:pt x="2304048" y="2565541"/>
                  <a:pt x="2304048" y="2565541"/>
                  <a:pt x="2304048" y="2565541"/>
                </a:cubicBezTo>
                <a:cubicBezTo>
                  <a:pt x="2304048" y="2565541"/>
                  <a:pt x="2271838" y="2433449"/>
                  <a:pt x="2335655" y="2318674"/>
                </a:cubicBezTo>
                <a:lnTo>
                  <a:pt x="2366996" y="2274192"/>
                </a:lnTo>
                <a:lnTo>
                  <a:pt x="2347572" y="2275513"/>
                </a:lnTo>
                <a:cubicBezTo>
                  <a:pt x="2338243" y="2274970"/>
                  <a:pt x="2329202" y="2273030"/>
                  <a:pt x="2320522" y="2269084"/>
                </a:cubicBezTo>
                <a:cubicBezTo>
                  <a:pt x="2253189" y="2237517"/>
                  <a:pt x="2057503" y="2182801"/>
                  <a:pt x="2038565" y="2062847"/>
                </a:cubicBezTo>
                <a:cubicBezTo>
                  <a:pt x="2024363" y="1972882"/>
                  <a:pt x="2014894" y="1779929"/>
                  <a:pt x="2043892" y="1618938"/>
                </a:cubicBezTo>
                <a:lnTo>
                  <a:pt x="2058099" y="1557525"/>
                </a:lnTo>
                <a:lnTo>
                  <a:pt x="2055755" y="1558228"/>
                </a:lnTo>
                <a:lnTo>
                  <a:pt x="2050316" y="1559430"/>
                </a:lnTo>
                <a:cubicBezTo>
                  <a:pt x="1969609" y="1577348"/>
                  <a:pt x="1639648" y="1651436"/>
                  <a:pt x="1525518" y="1690090"/>
                </a:cubicBezTo>
                <a:cubicBezTo>
                  <a:pt x="1395085" y="1734267"/>
                  <a:pt x="1087937" y="1875211"/>
                  <a:pt x="946985" y="1875211"/>
                </a:cubicBezTo>
                <a:cubicBezTo>
                  <a:pt x="751335" y="1873108"/>
                  <a:pt x="559893" y="1858382"/>
                  <a:pt x="559893" y="1858382"/>
                </a:cubicBezTo>
                <a:cubicBezTo>
                  <a:pt x="559893" y="1858382"/>
                  <a:pt x="488365" y="1593323"/>
                  <a:pt x="412630" y="1498659"/>
                </a:cubicBezTo>
                <a:cubicBezTo>
                  <a:pt x="334791" y="1403995"/>
                  <a:pt x="94962" y="1208355"/>
                  <a:pt x="46576" y="1063204"/>
                </a:cubicBezTo>
                <a:cubicBezTo>
                  <a:pt x="293" y="915949"/>
                  <a:pt x="-24952" y="798144"/>
                  <a:pt x="36057" y="665615"/>
                </a:cubicBezTo>
                <a:cubicBezTo>
                  <a:pt x="94962" y="535189"/>
                  <a:pt x="191735" y="459457"/>
                  <a:pt x="191735" y="459457"/>
                </a:cubicBezTo>
                <a:cubicBezTo>
                  <a:pt x="191735" y="459457"/>
                  <a:pt x="294819" y="455250"/>
                  <a:pt x="374762" y="465768"/>
                </a:cubicBezTo>
                <a:cubicBezTo>
                  <a:pt x="456809" y="476287"/>
                  <a:pt x="587242" y="499427"/>
                  <a:pt x="677704" y="528878"/>
                </a:cubicBezTo>
                <a:cubicBezTo>
                  <a:pt x="766061" y="558329"/>
                  <a:pt x="1090040" y="713999"/>
                  <a:pt x="1090040" y="713999"/>
                </a:cubicBezTo>
                <a:cubicBezTo>
                  <a:pt x="736609" y="514152"/>
                  <a:pt x="736609" y="514152"/>
                  <a:pt x="736609" y="514152"/>
                </a:cubicBezTo>
                <a:cubicBezTo>
                  <a:pt x="503092" y="423695"/>
                  <a:pt x="503092" y="423695"/>
                  <a:pt x="503092" y="423695"/>
                </a:cubicBezTo>
                <a:cubicBezTo>
                  <a:pt x="503092" y="423695"/>
                  <a:pt x="606176" y="362690"/>
                  <a:pt x="700845" y="246989"/>
                </a:cubicBezTo>
                <a:cubicBezTo>
                  <a:pt x="795514" y="131289"/>
                  <a:pt x="803929" y="89216"/>
                  <a:pt x="867042" y="47143"/>
                </a:cubicBezTo>
                <a:cubicBezTo>
                  <a:pt x="914377" y="17166"/>
                  <a:pt x="946327" y="3755"/>
                  <a:pt x="990408" y="698"/>
                </a:cubicBezTo>
                <a:close/>
              </a:path>
            </a:pathLst>
          </a:custGeom>
          <a:noFill/>
          <a:ln w="3175">
            <a:noFill/>
          </a:ln>
        </p:spPr>
        <p:txBody>
          <a:bodyPr vert="horz" wrap="square" lIns="91415" tIns="45707" rIns="91415" bIns="45707" numCol="1" anchor="t" anchorCtr="0" compatLnSpc="1">
            <a:prstTxWarp prst="textNoShape">
              <a:avLst/>
            </a:prstTxWarp>
            <a:noAutofit/>
          </a:bodyPr>
          <a:lstStyle/>
          <a:p>
            <a:pPr defTabSz="932470"/>
            <a:endParaRPr lang="en-IN">
              <a:solidFill>
                <a:srgbClr val="505050"/>
              </a:solidFill>
              <a:latin typeface="Segoe UI"/>
              <a:ea typeface="MS PGothic" charset="0"/>
            </a:endParaRPr>
          </a:p>
        </p:txBody>
      </p:sp>
      <p:grpSp>
        <p:nvGrpSpPr>
          <p:cNvPr id="12" name="Group 11"/>
          <p:cNvGrpSpPr/>
          <p:nvPr/>
        </p:nvGrpSpPr>
        <p:grpSpPr>
          <a:xfrm>
            <a:off x="9325319" y="4185321"/>
            <a:ext cx="1106810" cy="1106809"/>
            <a:chOff x="8618618" y="4718304"/>
            <a:chExt cx="1085345" cy="1085344"/>
          </a:xfrm>
        </p:grpSpPr>
        <p:sp>
          <p:nvSpPr>
            <p:cNvPr id="9" name="Oval 8"/>
            <p:cNvSpPr/>
            <p:nvPr/>
          </p:nvSpPr>
          <p:spPr bwMode="auto">
            <a:xfrm>
              <a:off x="8618618" y="4718304"/>
              <a:ext cx="1085345" cy="1085344"/>
            </a:xfrm>
            <a:prstGeom prst="ellips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5707" rIns="0" bIns="0" numCol="1" spcCol="0" rtlCol="0" fromWordArt="0" anchor="t" anchorCtr="0" forceAA="0" compatLnSpc="1">
              <a:prstTxWarp prst="textNoShape">
                <a:avLst/>
              </a:prstTxWarp>
              <a:noAutofit/>
            </a:bodyPr>
            <a:lstStyle/>
            <a:p>
              <a:pPr algn="ctr" defTabSz="932200" fontAlgn="base">
                <a:spcBef>
                  <a:spcPct val="0"/>
                </a:spcBef>
                <a:spcAft>
                  <a:spcPct val="0"/>
                </a:spcAft>
              </a:pPr>
              <a:r>
                <a:rPr lang="en-IN" sz="1199" dirty="0">
                  <a:solidFill>
                    <a:srgbClr val="FFFFFF"/>
                  </a:solidFill>
                  <a:latin typeface="Segoe UI Semibold" panose="020B0702040204020203" pitchFamily="34" charset="0"/>
                  <a:ea typeface="Segoe UI" pitchFamily="34" charset="0"/>
                  <a:cs typeface="Segoe UI Semibold" panose="020B0702040204020203" pitchFamily="34" charset="0"/>
                </a:rPr>
                <a:t>Hive</a:t>
              </a:r>
            </a:p>
          </p:txBody>
        </p:sp>
        <p:sp>
          <p:nvSpPr>
            <p:cNvPr id="10" name="Freeform 9"/>
            <p:cNvSpPr>
              <a:spLocks/>
            </p:cNvSpPr>
            <p:nvPr/>
          </p:nvSpPr>
          <p:spPr bwMode="auto">
            <a:xfrm>
              <a:off x="8967355" y="5403212"/>
              <a:ext cx="328975" cy="336856"/>
            </a:xfrm>
            <a:custGeom>
              <a:avLst/>
              <a:gdLst>
                <a:gd name="connsiteX0" fmla="*/ 1222186 w 2129049"/>
                <a:gd name="connsiteY0" fmla="*/ 1839320 h 2180047"/>
                <a:gd name="connsiteX1" fmla="*/ 1208400 w 2129049"/>
                <a:gd name="connsiteY1" fmla="*/ 1841119 h 2180047"/>
                <a:gd name="connsiteX2" fmla="*/ 1186099 w 2129049"/>
                <a:gd name="connsiteY2" fmla="*/ 1843640 h 2180047"/>
                <a:gd name="connsiteX3" fmla="*/ 1188379 w 2129049"/>
                <a:gd name="connsiteY3" fmla="*/ 1844841 h 2180047"/>
                <a:gd name="connsiteX4" fmla="*/ 1243194 w 2129049"/>
                <a:gd name="connsiteY4" fmla="*/ 1939957 h 2180047"/>
                <a:gd name="connsiteX5" fmla="*/ 1223702 w 2129049"/>
                <a:gd name="connsiteY5" fmla="*/ 1853174 h 2180047"/>
                <a:gd name="connsiteX6" fmla="*/ 1222569 w 2129049"/>
                <a:gd name="connsiteY6" fmla="*/ 1839342 h 2180047"/>
                <a:gd name="connsiteX7" fmla="*/ 441891 w 2129049"/>
                <a:gd name="connsiteY7" fmla="*/ 1746105 h 2180047"/>
                <a:gd name="connsiteX8" fmla="*/ 450977 w 2129049"/>
                <a:gd name="connsiteY8" fmla="*/ 1757606 h 2180047"/>
                <a:gd name="connsiteX9" fmla="*/ 707370 w 2129049"/>
                <a:gd name="connsiteY9" fmla="*/ 1976776 h 2180047"/>
                <a:gd name="connsiteX10" fmla="*/ 766453 w 2129049"/>
                <a:gd name="connsiteY10" fmla="*/ 2010648 h 2180047"/>
                <a:gd name="connsiteX11" fmla="*/ 831225 w 2129049"/>
                <a:gd name="connsiteY11" fmla="*/ 2015356 h 2180047"/>
                <a:gd name="connsiteX12" fmla="*/ 999836 w 2129049"/>
                <a:gd name="connsiteY12" fmla="*/ 2014732 h 2180047"/>
                <a:gd name="connsiteX13" fmla="*/ 1033552 w 2129049"/>
                <a:gd name="connsiteY13" fmla="*/ 2011934 h 2180047"/>
                <a:gd name="connsiteX14" fmla="*/ 1030508 w 2129049"/>
                <a:gd name="connsiteY14" fmla="*/ 1991231 h 2180047"/>
                <a:gd name="connsiteX15" fmla="*/ 1069280 w 2129049"/>
                <a:gd name="connsiteY15" fmla="*/ 1869985 h 2180047"/>
                <a:gd name="connsiteX16" fmla="*/ 1086998 w 2129049"/>
                <a:gd name="connsiteY16" fmla="*/ 1852207 h 2180047"/>
                <a:gd name="connsiteX17" fmla="*/ 1040249 w 2129049"/>
                <a:gd name="connsiteY17" fmla="*/ 1855089 h 2180047"/>
                <a:gd name="connsiteX18" fmla="*/ 700561 w 2129049"/>
                <a:gd name="connsiteY18" fmla="*/ 1833012 h 2180047"/>
                <a:gd name="connsiteX19" fmla="*/ 442094 w 2129049"/>
                <a:gd name="connsiteY19" fmla="*/ 1746192 h 2180047"/>
                <a:gd name="connsiteX20" fmla="*/ 1059954 w 2129049"/>
                <a:gd name="connsiteY20" fmla="*/ 1504433 h 2180047"/>
                <a:gd name="connsiteX21" fmla="*/ 1137935 w 2129049"/>
                <a:gd name="connsiteY21" fmla="*/ 1553560 h 2180047"/>
                <a:gd name="connsiteX22" fmla="*/ 1232714 w 2129049"/>
                <a:gd name="connsiteY22" fmla="*/ 1597039 h 2180047"/>
                <a:gd name="connsiteX23" fmla="*/ 1498003 w 2129049"/>
                <a:gd name="connsiteY23" fmla="*/ 1620193 h 2180047"/>
                <a:gd name="connsiteX24" fmla="*/ 1417995 w 2129049"/>
                <a:gd name="connsiteY24" fmla="*/ 1660186 h 2180047"/>
                <a:gd name="connsiteX25" fmla="*/ 1260085 w 2129049"/>
                <a:gd name="connsiteY25" fmla="*/ 1660186 h 2180047"/>
                <a:gd name="connsiteX26" fmla="*/ 1110597 w 2129049"/>
                <a:gd name="connsiteY26" fmla="*/ 1640189 h 2180047"/>
                <a:gd name="connsiteX27" fmla="*/ 1099046 w 2129049"/>
                <a:gd name="connsiteY27" fmla="*/ 1638682 h 2180047"/>
                <a:gd name="connsiteX28" fmla="*/ 251840 w 2129049"/>
                <a:gd name="connsiteY28" fmla="*/ 316333 h 2180047"/>
                <a:gd name="connsiteX29" fmla="*/ 246796 w 2129049"/>
                <a:gd name="connsiteY29" fmla="*/ 329846 h 2180047"/>
                <a:gd name="connsiteX30" fmla="*/ 161902 w 2129049"/>
                <a:gd name="connsiteY30" fmla="*/ 686152 h 2180047"/>
                <a:gd name="connsiteX31" fmla="*/ 163319 w 2129049"/>
                <a:gd name="connsiteY31" fmla="*/ 765157 h 2180047"/>
                <a:gd name="connsiteX32" fmla="*/ 168120 w 2129049"/>
                <a:gd name="connsiteY32" fmla="*/ 772124 h 2180047"/>
                <a:gd name="connsiteX33" fmla="*/ 462568 w 2129049"/>
                <a:gd name="connsiteY33" fmla="*/ 1054574 h 2180047"/>
                <a:gd name="connsiteX34" fmla="*/ 1083519 w 2129049"/>
                <a:gd name="connsiteY34" fmla="*/ 1296666 h 2180047"/>
                <a:gd name="connsiteX35" fmla="*/ 1112988 w 2129049"/>
                <a:gd name="connsiteY35" fmla="*/ 1212460 h 2180047"/>
                <a:gd name="connsiteX36" fmla="*/ 635171 w 2129049"/>
                <a:gd name="connsiteY36" fmla="*/ 913528 h 2180047"/>
                <a:gd name="connsiteX37" fmla="*/ 256327 w 2129049"/>
                <a:gd name="connsiteY37" fmla="*/ 344726 h 2180047"/>
                <a:gd name="connsiteX38" fmla="*/ 203697 w 2129049"/>
                <a:gd name="connsiteY38" fmla="*/ 216555 h 2180047"/>
                <a:gd name="connsiteX39" fmla="*/ 195507 w 2129049"/>
                <a:gd name="connsiteY39" fmla="*/ 224152 h 2180047"/>
                <a:gd name="connsiteX40" fmla="*/ 153435 w 2129049"/>
                <a:gd name="connsiteY40" fmla="*/ 280530 h 2180047"/>
                <a:gd name="connsiteX41" fmla="*/ 119142 w 2129049"/>
                <a:gd name="connsiteY41" fmla="*/ 338248 h 2180047"/>
                <a:gd name="connsiteX42" fmla="*/ 162420 w 2129049"/>
                <a:gd name="connsiteY42" fmla="*/ 270250 h 2180047"/>
                <a:gd name="connsiteX43" fmla="*/ 200473 w 2129049"/>
                <a:gd name="connsiteY43" fmla="*/ 220227 h 2180047"/>
                <a:gd name="connsiteX44" fmla="*/ 545326 w 2129049"/>
                <a:gd name="connsiteY44" fmla="*/ 37476 h 2180047"/>
                <a:gd name="connsiteX45" fmla="*/ 541800 w 2129049"/>
                <a:gd name="connsiteY45" fmla="*/ 40991 h 2180047"/>
                <a:gd name="connsiteX46" fmla="*/ 536701 w 2129049"/>
                <a:gd name="connsiteY46" fmla="*/ 46149 h 2180047"/>
                <a:gd name="connsiteX47" fmla="*/ 940947 w 2129049"/>
                <a:gd name="connsiteY47" fmla="*/ 939893 h 2180047"/>
                <a:gd name="connsiteX48" fmla="*/ 978333 w 2129049"/>
                <a:gd name="connsiteY48" fmla="*/ 993267 h 2180047"/>
                <a:gd name="connsiteX49" fmla="*/ 1095859 w 2129049"/>
                <a:gd name="connsiteY49" fmla="*/ 1039243 h 2180047"/>
                <a:gd name="connsiteX50" fmla="*/ 1131484 w 2129049"/>
                <a:gd name="connsiteY50" fmla="*/ 1124187 h 2180047"/>
                <a:gd name="connsiteX51" fmla="*/ 1146506 w 2129049"/>
                <a:gd name="connsiteY51" fmla="*/ 1133109 h 2180047"/>
                <a:gd name="connsiteX52" fmla="*/ 1148541 w 2129049"/>
                <a:gd name="connsiteY52" fmla="*/ 1133748 h 2180047"/>
                <a:gd name="connsiteX53" fmla="*/ 1141842 w 2129049"/>
                <a:gd name="connsiteY53" fmla="*/ 1144915 h 2180047"/>
                <a:gd name="connsiteX54" fmla="*/ 1141505 w 2129049"/>
                <a:gd name="connsiteY54" fmla="*/ 1145660 h 2180047"/>
                <a:gd name="connsiteX55" fmla="*/ 1187973 w 2129049"/>
                <a:gd name="connsiteY55" fmla="*/ 1232630 h 2180047"/>
                <a:gd name="connsiteX56" fmla="*/ 1289562 w 2129049"/>
                <a:gd name="connsiteY56" fmla="*/ 1373921 h 2180047"/>
                <a:gd name="connsiteX57" fmla="*/ 1531690 w 2129049"/>
                <a:gd name="connsiteY57" fmla="*/ 1481270 h 2180047"/>
                <a:gd name="connsiteX58" fmla="*/ 1426417 w 2129049"/>
                <a:gd name="connsiteY58" fmla="*/ 1496004 h 2180047"/>
                <a:gd name="connsiteX59" fmla="*/ 1194816 w 2129049"/>
                <a:gd name="connsiteY59" fmla="*/ 1399179 h 2180047"/>
                <a:gd name="connsiteX60" fmla="*/ 1145436 w 2129049"/>
                <a:gd name="connsiteY60" fmla="*/ 1340670 h 2180047"/>
                <a:gd name="connsiteX61" fmla="*/ 1091189 w 2129049"/>
                <a:gd name="connsiteY61" fmla="*/ 1275923 h 2180047"/>
                <a:gd name="connsiteX62" fmla="*/ 1064249 w 2129049"/>
                <a:gd name="connsiteY62" fmla="*/ 1369079 h 2180047"/>
                <a:gd name="connsiteX63" fmla="*/ 1046007 w 2129049"/>
                <a:gd name="connsiteY63" fmla="*/ 1483657 h 2180047"/>
                <a:gd name="connsiteX64" fmla="*/ 1046013 w 2129049"/>
                <a:gd name="connsiteY64" fmla="*/ 1495461 h 2180047"/>
                <a:gd name="connsiteX65" fmla="*/ 1012870 w 2129049"/>
                <a:gd name="connsiteY65" fmla="*/ 1487283 h 2180047"/>
                <a:gd name="connsiteX66" fmla="*/ 561761 w 2129049"/>
                <a:gd name="connsiteY66" fmla="*/ 1355377 h 2180047"/>
                <a:gd name="connsiteX67" fmla="*/ 245802 w 2129049"/>
                <a:gd name="connsiteY67" fmla="*/ 1165644 h 2180047"/>
                <a:gd name="connsiteX68" fmla="*/ 203985 w 2129049"/>
                <a:gd name="connsiteY68" fmla="*/ 1132152 h 2180047"/>
                <a:gd name="connsiteX69" fmla="*/ 234345 w 2129049"/>
                <a:gd name="connsiteY69" fmla="*/ 1297625 h 2180047"/>
                <a:gd name="connsiteX70" fmla="*/ 260418 w 2129049"/>
                <a:gd name="connsiteY70" fmla="*/ 1401636 h 2180047"/>
                <a:gd name="connsiteX71" fmla="*/ 276086 w 2129049"/>
                <a:gd name="connsiteY71" fmla="*/ 1451374 h 2180047"/>
                <a:gd name="connsiteX72" fmla="*/ 305709 w 2129049"/>
                <a:gd name="connsiteY72" fmla="*/ 1466895 h 2180047"/>
                <a:gd name="connsiteX73" fmla="*/ 561761 w 2129049"/>
                <a:gd name="connsiteY73" fmla="*/ 1572001 h 2180047"/>
                <a:gd name="connsiteX74" fmla="*/ 1106575 w 2129049"/>
                <a:gd name="connsiteY74" fmla="*/ 1664539 h 2180047"/>
                <a:gd name="connsiteX75" fmla="*/ 1106413 w 2129049"/>
                <a:gd name="connsiteY75" fmla="*/ 1663981 h 2180047"/>
                <a:gd name="connsiteX76" fmla="*/ 1109394 w 2129049"/>
                <a:gd name="connsiteY76" fmla="*/ 1669032 h 2180047"/>
                <a:gd name="connsiteX77" fmla="*/ 1145872 w 2129049"/>
                <a:gd name="connsiteY77" fmla="*/ 1724864 h 2180047"/>
                <a:gd name="connsiteX78" fmla="*/ 1151390 w 2129049"/>
                <a:gd name="connsiteY78" fmla="*/ 1728726 h 2180047"/>
                <a:gd name="connsiteX79" fmla="*/ 1244657 w 2129049"/>
                <a:gd name="connsiteY79" fmla="*/ 1793994 h 2180047"/>
                <a:gd name="connsiteX80" fmla="*/ 1255282 w 2129049"/>
                <a:gd name="connsiteY80" fmla="*/ 1801430 h 2180047"/>
                <a:gd name="connsiteX81" fmla="*/ 1259765 w 2129049"/>
                <a:gd name="connsiteY81" fmla="*/ 1803273 h 2180047"/>
                <a:gd name="connsiteX82" fmla="*/ 1262425 w 2129049"/>
                <a:gd name="connsiteY82" fmla="*/ 1805592 h 2180047"/>
                <a:gd name="connsiteX83" fmla="*/ 1274330 w 2129049"/>
                <a:gd name="connsiteY83" fmla="*/ 1811179 h 2180047"/>
                <a:gd name="connsiteX84" fmla="*/ 1470632 w 2129049"/>
                <a:gd name="connsiteY84" fmla="*/ 1851731 h 2180047"/>
                <a:gd name="connsiteX85" fmla="*/ 1337987 w 2129049"/>
                <a:gd name="connsiteY85" fmla="*/ 1879094 h 2180047"/>
                <a:gd name="connsiteX86" fmla="*/ 1331095 w 2129049"/>
                <a:gd name="connsiteY86" fmla="*/ 1878426 h 2180047"/>
                <a:gd name="connsiteX87" fmla="*/ 1337882 w 2129049"/>
                <a:gd name="connsiteY87" fmla="*/ 1887387 h 2180047"/>
                <a:gd name="connsiteX88" fmla="*/ 2129049 w 2129049"/>
                <a:gd name="connsiteY88" fmla="*/ 1929443 h 2180047"/>
                <a:gd name="connsiteX89" fmla="*/ 1413632 w 2129049"/>
                <a:gd name="connsiteY89" fmla="*/ 2169166 h 2180047"/>
                <a:gd name="connsiteX90" fmla="*/ 1301496 w 2129049"/>
                <a:gd name="connsiteY90" fmla="*/ 2177335 h 2180047"/>
                <a:gd name="connsiteX91" fmla="*/ 1281595 w 2129049"/>
                <a:gd name="connsiteY91" fmla="*/ 2175656 h 2180047"/>
                <a:gd name="connsiteX92" fmla="*/ 1272759 w 2129049"/>
                <a:gd name="connsiteY92" fmla="*/ 2177928 h 2180047"/>
                <a:gd name="connsiteX93" fmla="*/ 1063402 w 2129049"/>
                <a:gd name="connsiteY93" fmla="*/ 2155016 h 2180047"/>
                <a:gd name="connsiteX94" fmla="*/ 994039 w 2129049"/>
                <a:gd name="connsiteY94" fmla="*/ 2133739 h 2180047"/>
                <a:gd name="connsiteX95" fmla="*/ 954380 w 2129049"/>
                <a:gd name="connsiteY95" fmla="*/ 2125140 h 2180047"/>
                <a:gd name="connsiteX96" fmla="*/ 485181 w 2129049"/>
                <a:gd name="connsiteY96" fmla="*/ 1869194 h 2180047"/>
                <a:gd name="connsiteX97" fmla="*/ 424111 w 2129049"/>
                <a:gd name="connsiteY97" fmla="*/ 1817746 h 2180047"/>
                <a:gd name="connsiteX98" fmla="*/ 407264 w 2129049"/>
                <a:gd name="connsiteY98" fmla="*/ 1804650 h 2180047"/>
                <a:gd name="connsiteX99" fmla="*/ 400242 w 2129049"/>
                <a:gd name="connsiteY99" fmla="*/ 1797638 h 2180047"/>
                <a:gd name="connsiteX100" fmla="*/ 373060 w 2129049"/>
                <a:gd name="connsiteY100" fmla="*/ 1774739 h 2180047"/>
                <a:gd name="connsiteX101" fmla="*/ 178723 w 2129049"/>
                <a:gd name="connsiteY101" fmla="*/ 1546546 h 2180047"/>
                <a:gd name="connsiteX102" fmla="*/ 0 w 2129049"/>
                <a:gd name="connsiteY102" fmla="*/ 780817 h 2180047"/>
                <a:gd name="connsiteX103" fmla="*/ 75177 w 2129049"/>
                <a:gd name="connsiteY103" fmla="*/ 424975 h 2180047"/>
                <a:gd name="connsiteX104" fmla="*/ 118668 w 2129049"/>
                <a:gd name="connsiteY104" fmla="*/ 339046 h 2180047"/>
                <a:gd name="connsiteX105" fmla="*/ 116953 w 2129049"/>
                <a:gd name="connsiteY105" fmla="*/ 341932 h 2180047"/>
                <a:gd name="connsiteX106" fmla="*/ 93993 w 2129049"/>
                <a:gd name="connsiteY106" fmla="*/ 385485 h 2180047"/>
                <a:gd name="connsiteX107" fmla="*/ 93509 w 2129049"/>
                <a:gd name="connsiteY107" fmla="*/ 386464 h 2180047"/>
                <a:gd name="connsiteX108" fmla="*/ 95671 w 2129049"/>
                <a:gd name="connsiteY108" fmla="*/ 380966 h 2180047"/>
                <a:gd name="connsiteX109" fmla="*/ 182624 w 2129049"/>
                <a:gd name="connsiteY109" fmla="*/ 235436 h 2180047"/>
                <a:gd name="connsiteX110" fmla="*/ 478385 w 2129049"/>
                <a:gd name="connsiteY110" fmla="*/ 56179 h 2180047"/>
                <a:gd name="connsiteX111" fmla="*/ 999928 w 2129049"/>
                <a:gd name="connsiteY111" fmla="*/ 0 h 2180047"/>
                <a:gd name="connsiteX112" fmla="*/ 1676449 w 2129049"/>
                <a:gd name="connsiteY112" fmla="*/ 525838 h 2180047"/>
                <a:gd name="connsiteX113" fmla="*/ 1579666 w 2129049"/>
                <a:gd name="connsiteY113" fmla="*/ 999319 h 2180047"/>
                <a:gd name="connsiteX114" fmla="*/ 1467605 w 2129049"/>
                <a:gd name="connsiteY114" fmla="*/ 1154947 h 2180047"/>
                <a:gd name="connsiteX115" fmla="*/ 1464597 w 2129049"/>
                <a:gd name="connsiteY115" fmla="*/ 1153889 h 2180047"/>
                <a:gd name="connsiteX116" fmla="*/ 1452025 w 2129049"/>
                <a:gd name="connsiteY116" fmla="*/ 1125910 h 2180047"/>
                <a:gd name="connsiteX117" fmla="*/ 1421781 w 2129049"/>
                <a:gd name="connsiteY117" fmla="*/ 1058603 h 2180047"/>
                <a:gd name="connsiteX118" fmla="*/ 1327088 w 2129049"/>
                <a:gd name="connsiteY118" fmla="*/ 961820 h 2180047"/>
                <a:gd name="connsiteX119" fmla="*/ 1304643 w 2129049"/>
                <a:gd name="connsiteY119" fmla="*/ 931982 h 2180047"/>
                <a:gd name="connsiteX120" fmla="*/ 1303076 w 2129049"/>
                <a:gd name="connsiteY120" fmla="*/ 929526 h 2180047"/>
                <a:gd name="connsiteX121" fmla="*/ 1268667 w 2129049"/>
                <a:gd name="connsiteY121" fmla="*/ 875590 h 2180047"/>
                <a:gd name="connsiteX122" fmla="*/ 1300274 w 2129049"/>
                <a:gd name="connsiteY122" fmla="*/ 628723 h 2180047"/>
                <a:gd name="connsiteX123" fmla="*/ 1307563 w 2129049"/>
                <a:gd name="connsiteY123" fmla="*/ 618378 h 2180047"/>
                <a:gd name="connsiteX124" fmla="*/ 1298642 w 2129049"/>
                <a:gd name="connsiteY124" fmla="*/ 596988 h 2180047"/>
                <a:gd name="connsiteX125" fmla="*/ 1292154 w 2129049"/>
                <a:gd name="connsiteY125" fmla="*/ 580800 h 2180047"/>
                <a:gd name="connsiteX126" fmla="*/ 1285141 w 2129049"/>
                <a:gd name="connsiteY126" fmla="*/ 579133 h 2180047"/>
                <a:gd name="connsiteX127" fmla="*/ 1003184 w 2129049"/>
                <a:gd name="connsiteY127" fmla="*/ 372896 h 2180047"/>
                <a:gd name="connsiteX128" fmla="*/ 993448 w 2129049"/>
                <a:gd name="connsiteY128" fmla="*/ 53615 h 21800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Lst>
              <a:rect l="l" t="t" r="r" b="b"/>
              <a:pathLst>
                <a:path w="2129049" h="2180047">
                  <a:moveTo>
                    <a:pt x="1222186" y="1839320"/>
                  </a:moveTo>
                  <a:cubicBezTo>
                    <a:pt x="1222186" y="1839320"/>
                    <a:pt x="1217322" y="1840010"/>
                    <a:pt x="1208400" y="1841119"/>
                  </a:cubicBezTo>
                  <a:lnTo>
                    <a:pt x="1186099" y="1843640"/>
                  </a:lnTo>
                  <a:lnTo>
                    <a:pt x="1188379" y="1844841"/>
                  </a:lnTo>
                  <a:cubicBezTo>
                    <a:pt x="1208837" y="1862152"/>
                    <a:pt x="1227939" y="1892644"/>
                    <a:pt x="1243194" y="1939957"/>
                  </a:cubicBezTo>
                  <a:cubicBezTo>
                    <a:pt x="1232936" y="1903158"/>
                    <a:pt x="1226723" y="1874737"/>
                    <a:pt x="1223702" y="1853174"/>
                  </a:cubicBezTo>
                  <a:lnTo>
                    <a:pt x="1222569" y="1839342"/>
                  </a:lnTo>
                  <a:close/>
                  <a:moveTo>
                    <a:pt x="441891" y="1746105"/>
                  </a:moveTo>
                  <a:lnTo>
                    <a:pt x="450977" y="1757606"/>
                  </a:lnTo>
                  <a:cubicBezTo>
                    <a:pt x="523579" y="1840277"/>
                    <a:pt x="612111" y="1915885"/>
                    <a:pt x="707370" y="1976776"/>
                  </a:cubicBezTo>
                  <a:lnTo>
                    <a:pt x="766453" y="2010648"/>
                  </a:lnTo>
                  <a:lnTo>
                    <a:pt x="831225" y="2015356"/>
                  </a:lnTo>
                  <a:cubicBezTo>
                    <a:pt x="884464" y="2017808"/>
                    <a:pt x="942877" y="2017788"/>
                    <a:pt x="999836" y="2014732"/>
                  </a:cubicBezTo>
                  <a:lnTo>
                    <a:pt x="1033552" y="2011934"/>
                  </a:lnTo>
                  <a:lnTo>
                    <a:pt x="1030508" y="1991231"/>
                  </a:lnTo>
                  <a:cubicBezTo>
                    <a:pt x="1029673" y="1945751"/>
                    <a:pt x="1045399" y="1901238"/>
                    <a:pt x="1069280" y="1869985"/>
                  </a:cubicBezTo>
                  <a:lnTo>
                    <a:pt x="1086998" y="1852207"/>
                  </a:lnTo>
                  <a:lnTo>
                    <a:pt x="1040249" y="1855089"/>
                  </a:lnTo>
                  <a:cubicBezTo>
                    <a:pt x="936134" y="1859819"/>
                    <a:pt x="805728" y="1858242"/>
                    <a:pt x="700561" y="1833012"/>
                  </a:cubicBezTo>
                  <a:cubicBezTo>
                    <a:pt x="607620" y="1810016"/>
                    <a:pt x="515887" y="1776557"/>
                    <a:pt x="442094" y="1746192"/>
                  </a:cubicBezTo>
                  <a:close/>
                  <a:moveTo>
                    <a:pt x="1059954" y="1504433"/>
                  </a:moveTo>
                  <a:lnTo>
                    <a:pt x="1137935" y="1553560"/>
                  </a:lnTo>
                  <a:cubicBezTo>
                    <a:pt x="1171787" y="1572701"/>
                    <a:pt x="1204817" y="1588620"/>
                    <a:pt x="1232714" y="1597039"/>
                  </a:cubicBezTo>
                  <a:cubicBezTo>
                    <a:pt x="1361148" y="1634927"/>
                    <a:pt x="1457999" y="1643347"/>
                    <a:pt x="1498003" y="1620193"/>
                  </a:cubicBezTo>
                  <a:cubicBezTo>
                    <a:pt x="1498003" y="1620193"/>
                    <a:pt x="1462210" y="1649661"/>
                    <a:pt x="1417995" y="1660186"/>
                  </a:cubicBezTo>
                  <a:cubicBezTo>
                    <a:pt x="1373780" y="1668605"/>
                    <a:pt x="1319038" y="1668605"/>
                    <a:pt x="1260085" y="1660186"/>
                  </a:cubicBezTo>
                  <a:cubicBezTo>
                    <a:pt x="1230609" y="1655976"/>
                    <a:pt x="1166918" y="1647556"/>
                    <a:pt x="1110597" y="1640189"/>
                  </a:cubicBezTo>
                  <a:lnTo>
                    <a:pt x="1099046" y="1638682"/>
                  </a:lnTo>
                  <a:close/>
                  <a:moveTo>
                    <a:pt x="251840" y="316333"/>
                  </a:moveTo>
                  <a:lnTo>
                    <a:pt x="246796" y="329846"/>
                  </a:lnTo>
                  <a:cubicBezTo>
                    <a:pt x="205006" y="446862"/>
                    <a:pt x="162954" y="588333"/>
                    <a:pt x="161902" y="686152"/>
                  </a:cubicBezTo>
                  <a:lnTo>
                    <a:pt x="163319" y="765157"/>
                  </a:lnTo>
                  <a:lnTo>
                    <a:pt x="168120" y="772124"/>
                  </a:lnTo>
                  <a:cubicBezTo>
                    <a:pt x="237177" y="866056"/>
                    <a:pt x="334563" y="972605"/>
                    <a:pt x="462568" y="1054574"/>
                  </a:cubicBezTo>
                  <a:cubicBezTo>
                    <a:pt x="755152" y="1239827"/>
                    <a:pt x="1083519" y="1296666"/>
                    <a:pt x="1083519" y="1296666"/>
                  </a:cubicBezTo>
                  <a:cubicBezTo>
                    <a:pt x="1112988" y="1212460"/>
                    <a:pt x="1112988" y="1212460"/>
                    <a:pt x="1112988" y="1212460"/>
                  </a:cubicBezTo>
                  <a:cubicBezTo>
                    <a:pt x="1112988" y="1212460"/>
                    <a:pt x="1058260" y="1208250"/>
                    <a:pt x="635171" y="913528"/>
                  </a:cubicBezTo>
                  <a:cubicBezTo>
                    <a:pt x="372057" y="730643"/>
                    <a:pt x="286544" y="495129"/>
                    <a:pt x="256327" y="344726"/>
                  </a:cubicBezTo>
                  <a:close/>
                  <a:moveTo>
                    <a:pt x="203697" y="216555"/>
                  </a:moveTo>
                  <a:lnTo>
                    <a:pt x="195507" y="224152"/>
                  </a:lnTo>
                  <a:cubicBezTo>
                    <a:pt x="181433" y="239566"/>
                    <a:pt x="166968" y="259629"/>
                    <a:pt x="153435" y="280530"/>
                  </a:cubicBezTo>
                  <a:lnTo>
                    <a:pt x="119142" y="338248"/>
                  </a:lnTo>
                  <a:lnTo>
                    <a:pt x="162420" y="270250"/>
                  </a:lnTo>
                  <a:cubicBezTo>
                    <a:pt x="176342" y="250442"/>
                    <a:pt x="189335" y="233719"/>
                    <a:pt x="200473" y="220227"/>
                  </a:cubicBezTo>
                  <a:close/>
                  <a:moveTo>
                    <a:pt x="545326" y="37476"/>
                  </a:moveTo>
                  <a:lnTo>
                    <a:pt x="541800" y="40991"/>
                  </a:lnTo>
                  <a:cubicBezTo>
                    <a:pt x="538494" y="44318"/>
                    <a:pt x="536701" y="46149"/>
                    <a:pt x="536701" y="46149"/>
                  </a:cubicBezTo>
                  <a:cubicBezTo>
                    <a:pt x="536701" y="131636"/>
                    <a:pt x="760164" y="665826"/>
                    <a:pt x="940947" y="939893"/>
                  </a:cubicBezTo>
                  <a:lnTo>
                    <a:pt x="978333" y="993267"/>
                  </a:lnTo>
                  <a:lnTo>
                    <a:pt x="1095859" y="1039243"/>
                  </a:lnTo>
                  <a:lnTo>
                    <a:pt x="1131484" y="1124187"/>
                  </a:lnTo>
                  <a:lnTo>
                    <a:pt x="1146506" y="1133109"/>
                  </a:lnTo>
                  <a:lnTo>
                    <a:pt x="1148541" y="1133748"/>
                  </a:lnTo>
                  <a:lnTo>
                    <a:pt x="1141842" y="1144915"/>
                  </a:lnTo>
                  <a:lnTo>
                    <a:pt x="1141505" y="1145660"/>
                  </a:lnTo>
                  <a:lnTo>
                    <a:pt x="1187973" y="1232630"/>
                  </a:lnTo>
                  <a:cubicBezTo>
                    <a:pt x="1223766" y="1293409"/>
                    <a:pt x="1261138" y="1345505"/>
                    <a:pt x="1289562" y="1373921"/>
                  </a:cubicBezTo>
                  <a:cubicBezTo>
                    <a:pt x="1344304" y="1428648"/>
                    <a:pt x="1426417" y="1496004"/>
                    <a:pt x="1531690" y="1481270"/>
                  </a:cubicBezTo>
                  <a:cubicBezTo>
                    <a:pt x="1531690" y="1481270"/>
                    <a:pt x="1476948" y="1504424"/>
                    <a:pt x="1426417" y="1496004"/>
                  </a:cubicBezTo>
                  <a:cubicBezTo>
                    <a:pt x="1377991" y="1485480"/>
                    <a:pt x="1245347" y="1456011"/>
                    <a:pt x="1194816" y="1399179"/>
                  </a:cubicBezTo>
                  <a:cubicBezTo>
                    <a:pt x="1182709" y="1384971"/>
                    <a:pt x="1165076" y="1364054"/>
                    <a:pt x="1145436" y="1340670"/>
                  </a:cubicBezTo>
                  <a:lnTo>
                    <a:pt x="1091189" y="1275923"/>
                  </a:lnTo>
                  <a:lnTo>
                    <a:pt x="1064249" y="1369079"/>
                  </a:lnTo>
                  <a:cubicBezTo>
                    <a:pt x="1054868" y="1409695"/>
                    <a:pt x="1048279" y="1449238"/>
                    <a:pt x="1046007" y="1483657"/>
                  </a:cubicBezTo>
                  <a:lnTo>
                    <a:pt x="1046013" y="1495461"/>
                  </a:lnTo>
                  <a:lnTo>
                    <a:pt x="1012870" y="1487283"/>
                  </a:lnTo>
                  <a:cubicBezTo>
                    <a:pt x="926987" y="1465792"/>
                    <a:pt x="733725" y="1415316"/>
                    <a:pt x="561761" y="1355377"/>
                  </a:cubicBezTo>
                  <a:cubicBezTo>
                    <a:pt x="461449" y="1320412"/>
                    <a:pt x="345032" y="1242374"/>
                    <a:pt x="245802" y="1165644"/>
                  </a:cubicBezTo>
                  <a:lnTo>
                    <a:pt x="203985" y="1132152"/>
                  </a:lnTo>
                  <a:lnTo>
                    <a:pt x="234345" y="1297625"/>
                  </a:lnTo>
                  <a:cubicBezTo>
                    <a:pt x="242410" y="1333469"/>
                    <a:pt x="251108" y="1368352"/>
                    <a:pt x="260418" y="1401636"/>
                  </a:cubicBezTo>
                  <a:lnTo>
                    <a:pt x="276086" y="1451374"/>
                  </a:lnTo>
                  <a:lnTo>
                    <a:pt x="305709" y="1466895"/>
                  </a:lnTo>
                  <a:cubicBezTo>
                    <a:pt x="373741" y="1500727"/>
                    <a:pt x="458919" y="1537496"/>
                    <a:pt x="561761" y="1572001"/>
                  </a:cubicBezTo>
                  <a:cubicBezTo>
                    <a:pt x="875187" y="1675055"/>
                    <a:pt x="1106575" y="1664539"/>
                    <a:pt x="1106575" y="1664539"/>
                  </a:cubicBezTo>
                  <a:lnTo>
                    <a:pt x="1106413" y="1663981"/>
                  </a:lnTo>
                  <a:lnTo>
                    <a:pt x="1109394" y="1669032"/>
                  </a:lnTo>
                  <a:lnTo>
                    <a:pt x="1145872" y="1724864"/>
                  </a:lnTo>
                  <a:lnTo>
                    <a:pt x="1151390" y="1728726"/>
                  </a:lnTo>
                  <a:cubicBezTo>
                    <a:pt x="1204685" y="1766022"/>
                    <a:pt x="1231333" y="1784670"/>
                    <a:pt x="1244657" y="1793994"/>
                  </a:cubicBezTo>
                  <a:lnTo>
                    <a:pt x="1255282" y="1801430"/>
                  </a:lnTo>
                  <a:lnTo>
                    <a:pt x="1259765" y="1803273"/>
                  </a:lnTo>
                  <a:lnTo>
                    <a:pt x="1262425" y="1805592"/>
                  </a:lnTo>
                  <a:lnTo>
                    <a:pt x="1274330" y="1811179"/>
                  </a:lnTo>
                  <a:cubicBezTo>
                    <a:pt x="1306011" y="1825288"/>
                    <a:pt x="1380623" y="1853310"/>
                    <a:pt x="1470632" y="1851731"/>
                  </a:cubicBezTo>
                  <a:cubicBezTo>
                    <a:pt x="1470632" y="1851731"/>
                    <a:pt x="1375886" y="1881199"/>
                    <a:pt x="1337987" y="1879094"/>
                  </a:cubicBezTo>
                  <a:lnTo>
                    <a:pt x="1331095" y="1878426"/>
                  </a:lnTo>
                  <a:lnTo>
                    <a:pt x="1337882" y="1887387"/>
                  </a:lnTo>
                  <a:cubicBezTo>
                    <a:pt x="1419945" y="2013557"/>
                    <a:pt x="2129049" y="1929443"/>
                    <a:pt x="2129049" y="1929443"/>
                  </a:cubicBezTo>
                  <a:cubicBezTo>
                    <a:pt x="2129049" y="1929443"/>
                    <a:pt x="2129049" y="1929443"/>
                    <a:pt x="1413632" y="2169166"/>
                  </a:cubicBezTo>
                  <a:cubicBezTo>
                    <a:pt x="1372338" y="2174818"/>
                    <a:pt x="1335063" y="2177389"/>
                    <a:pt x="1301496" y="2177335"/>
                  </a:cubicBezTo>
                  <a:lnTo>
                    <a:pt x="1281595" y="2175656"/>
                  </a:lnTo>
                  <a:lnTo>
                    <a:pt x="1272759" y="2177928"/>
                  </a:lnTo>
                  <a:cubicBezTo>
                    <a:pt x="1225811" y="2184118"/>
                    <a:pt x="1152027" y="2176826"/>
                    <a:pt x="1063402" y="2155016"/>
                  </a:cubicBezTo>
                  <a:lnTo>
                    <a:pt x="994039" y="2133739"/>
                  </a:lnTo>
                  <a:lnTo>
                    <a:pt x="954380" y="2125140"/>
                  </a:lnTo>
                  <a:cubicBezTo>
                    <a:pt x="795130" y="2082053"/>
                    <a:pt x="625466" y="1978945"/>
                    <a:pt x="485181" y="1869194"/>
                  </a:cubicBezTo>
                  <a:lnTo>
                    <a:pt x="424111" y="1817746"/>
                  </a:lnTo>
                  <a:lnTo>
                    <a:pt x="407264" y="1804650"/>
                  </a:lnTo>
                  <a:lnTo>
                    <a:pt x="400242" y="1797638"/>
                  </a:lnTo>
                  <a:lnTo>
                    <a:pt x="373060" y="1774739"/>
                  </a:lnTo>
                  <a:cubicBezTo>
                    <a:pt x="269990" y="1681147"/>
                    <a:pt x="196858" y="1593878"/>
                    <a:pt x="178723" y="1546546"/>
                  </a:cubicBezTo>
                  <a:cubicBezTo>
                    <a:pt x="92516" y="1378254"/>
                    <a:pt x="0" y="1054291"/>
                    <a:pt x="0" y="780817"/>
                  </a:cubicBezTo>
                  <a:cubicBezTo>
                    <a:pt x="0" y="639609"/>
                    <a:pt x="33412" y="519701"/>
                    <a:pt x="75177" y="424975"/>
                  </a:cubicBezTo>
                  <a:lnTo>
                    <a:pt x="118668" y="339046"/>
                  </a:lnTo>
                  <a:lnTo>
                    <a:pt x="116953" y="341932"/>
                  </a:lnTo>
                  <a:cubicBezTo>
                    <a:pt x="106605" y="360695"/>
                    <a:pt x="98512" y="376484"/>
                    <a:pt x="93993" y="385485"/>
                  </a:cubicBezTo>
                  <a:lnTo>
                    <a:pt x="93509" y="386464"/>
                  </a:lnTo>
                  <a:lnTo>
                    <a:pt x="95671" y="380966"/>
                  </a:lnTo>
                  <a:cubicBezTo>
                    <a:pt x="123713" y="321057"/>
                    <a:pt x="154747" y="273315"/>
                    <a:pt x="182624" y="235436"/>
                  </a:cubicBezTo>
                  <a:cubicBezTo>
                    <a:pt x="241010" y="154155"/>
                    <a:pt x="355019" y="96548"/>
                    <a:pt x="478385" y="56179"/>
                  </a:cubicBezTo>
                  <a:close/>
                  <a:moveTo>
                    <a:pt x="999928" y="0"/>
                  </a:moveTo>
                  <a:lnTo>
                    <a:pt x="1676449" y="525838"/>
                  </a:lnTo>
                  <a:cubicBezTo>
                    <a:pt x="1676449" y="525838"/>
                    <a:pt x="1594394" y="780465"/>
                    <a:pt x="1579666" y="999319"/>
                  </a:cubicBezTo>
                  <a:cubicBezTo>
                    <a:pt x="1570461" y="1136103"/>
                    <a:pt x="1517697" y="1165202"/>
                    <a:pt x="1467605" y="1154947"/>
                  </a:cubicBezTo>
                  <a:lnTo>
                    <a:pt x="1464597" y="1153889"/>
                  </a:lnTo>
                  <a:lnTo>
                    <a:pt x="1452025" y="1125910"/>
                  </a:lnTo>
                  <a:cubicBezTo>
                    <a:pt x="1443951" y="1107940"/>
                    <a:pt x="1434013" y="1085824"/>
                    <a:pt x="1421781" y="1058603"/>
                  </a:cubicBezTo>
                  <a:cubicBezTo>
                    <a:pt x="1421781" y="1058603"/>
                    <a:pt x="1360757" y="999691"/>
                    <a:pt x="1327088" y="961820"/>
                  </a:cubicBezTo>
                  <a:lnTo>
                    <a:pt x="1304643" y="931982"/>
                  </a:lnTo>
                  <a:lnTo>
                    <a:pt x="1303076" y="929526"/>
                  </a:lnTo>
                  <a:cubicBezTo>
                    <a:pt x="1268667" y="875590"/>
                    <a:pt x="1268667" y="875590"/>
                    <a:pt x="1268667" y="875590"/>
                  </a:cubicBezTo>
                  <a:cubicBezTo>
                    <a:pt x="1268667" y="875590"/>
                    <a:pt x="1236457" y="743498"/>
                    <a:pt x="1300274" y="628723"/>
                  </a:cubicBezTo>
                  <a:lnTo>
                    <a:pt x="1307563" y="618378"/>
                  </a:lnTo>
                  <a:lnTo>
                    <a:pt x="1298642" y="596988"/>
                  </a:lnTo>
                  <a:lnTo>
                    <a:pt x="1292154" y="580800"/>
                  </a:lnTo>
                  <a:lnTo>
                    <a:pt x="1285141" y="579133"/>
                  </a:lnTo>
                  <a:cubicBezTo>
                    <a:pt x="1217808" y="547566"/>
                    <a:pt x="1022122" y="492850"/>
                    <a:pt x="1003184" y="372896"/>
                  </a:cubicBezTo>
                  <a:cubicBezTo>
                    <a:pt x="992533" y="305422"/>
                    <a:pt x="984544" y="180018"/>
                    <a:pt x="993448" y="53615"/>
                  </a:cubicBezTo>
                  <a:close/>
                </a:path>
              </a:pathLst>
            </a:custGeom>
            <a:solidFill>
              <a:schemeClr val="bg1"/>
            </a:solidFill>
            <a:ln w="3175" cap="flat">
              <a:noFill/>
              <a:prstDash val="solid"/>
              <a:miter lim="800000"/>
              <a:headEnd/>
              <a:tailEnd/>
            </a:ln>
          </p:spPr>
          <p:txBody>
            <a:bodyPr vert="horz" wrap="square" lIns="91415" tIns="45707" rIns="91415" bIns="45707" numCol="1" anchor="t" anchorCtr="0" compatLnSpc="1">
              <a:prstTxWarp prst="textNoShape">
                <a:avLst/>
              </a:prstTxWarp>
              <a:noAutofit/>
            </a:bodyPr>
            <a:lstStyle/>
            <a:p>
              <a:pPr defTabSz="932470"/>
              <a:endParaRPr lang="en-IN">
                <a:solidFill>
                  <a:srgbClr val="505050"/>
                </a:solidFill>
                <a:latin typeface="Segoe UI"/>
                <a:ea typeface="MS PGothic" charset="0"/>
              </a:endParaRPr>
            </a:p>
          </p:txBody>
        </p:sp>
        <p:sp>
          <p:nvSpPr>
            <p:cNvPr id="11" name="Freeform 10"/>
            <p:cNvSpPr>
              <a:spLocks/>
            </p:cNvSpPr>
            <p:nvPr/>
          </p:nvSpPr>
          <p:spPr bwMode="auto">
            <a:xfrm>
              <a:off x="8766049" y="5124616"/>
              <a:ext cx="603726" cy="434894"/>
            </a:xfrm>
            <a:custGeom>
              <a:avLst/>
              <a:gdLst>
                <a:gd name="connsiteX0" fmla="*/ 3283994 w 3907177"/>
                <a:gd name="connsiteY0" fmla="*/ 2199606 h 3033282"/>
                <a:gd name="connsiteX1" fmla="*/ 3216771 w 3907177"/>
                <a:gd name="connsiteY1" fmla="*/ 2237508 h 3033282"/>
                <a:gd name="connsiteX2" fmla="*/ 3176070 w 3907177"/>
                <a:gd name="connsiteY2" fmla="*/ 2287254 h 3033282"/>
                <a:gd name="connsiteX3" fmla="*/ 3157902 w 3907177"/>
                <a:gd name="connsiteY3" fmla="*/ 2304911 h 3033282"/>
                <a:gd name="connsiteX4" fmla="*/ 3148728 w 3907177"/>
                <a:gd name="connsiteY4" fmla="*/ 2311436 h 3033282"/>
                <a:gd name="connsiteX5" fmla="*/ 3136944 w 3907177"/>
                <a:gd name="connsiteY5" fmla="*/ 2319628 h 3033282"/>
                <a:gd name="connsiteX6" fmla="*/ 3154439 w 3907177"/>
                <a:gd name="connsiteY6" fmla="*/ 2308277 h 3033282"/>
                <a:gd name="connsiteX7" fmla="*/ 3157902 w 3907177"/>
                <a:gd name="connsiteY7" fmla="*/ 2304911 h 3033282"/>
                <a:gd name="connsiteX8" fmla="*/ 3176070 w 3907177"/>
                <a:gd name="connsiteY8" fmla="*/ 2291992 h 3033282"/>
                <a:gd name="connsiteX9" fmla="*/ 3229375 w 3907177"/>
                <a:gd name="connsiteY9" fmla="*/ 2250142 h 3033282"/>
                <a:gd name="connsiteX10" fmla="*/ 3317605 w 3907177"/>
                <a:gd name="connsiteY10" fmla="*/ 2231191 h 3033282"/>
                <a:gd name="connsiteX11" fmla="*/ 3378755 w 3907177"/>
                <a:gd name="connsiteY11" fmla="*/ 2245404 h 3033282"/>
                <a:gd name="connsiteX12" fmla="*/ 3382808 w 3907177"/>
                <a:gd name="connsiteY12" fmla="*/ 2247161 h 3033282"/>
                <a:gd name="connsiteX13" fmla="*/ 3351550 w 3907177"/>
                <a:gd name="connsiteY13" fmla="*/ 2248260 h 3033282"/>
                <a:gd name="connsiteX14" fmla="*/ 3315694 w 3907177"/>
                <a:gd name="connsiteY14" fmla="*/ 2268558 h 3033282"/>
                <a:gd name="connsiteX15" fmla="*/ 3248262 w 3907177"/>
                <a:gd name="connsiteY15" fmla="*/ 2369622 h 3033282"/>
                <a:gd name="connsiteX16" fmla="*/ 3195581 w 3907177"/>
                <a:gd name="connsiteY16" fmla="*/ 2443314 h 3033282"/>
                <a:gd name="connsiteX17" fmla="*/ 3288300 w 3907177"/>
                <a:gd name="connsiteY17" fmla="*/ 2346462 h 3033282"/>
                <a:gd name="connsiteX18" fmla="*/ 3334660 w 3907177"/>
                <a:gd name="connsiteY18" fmla="*/ 2295930 h 3033282"/>
                <a:gd name="connsiteX19" fmla="*/ 3404199 w 3907177"/>
                <a:gd name="connsiteY19" fmla="*/ 2281191 h 3033282"/>
                <a:gd name="connsiteX20" fmla="*/ 3442129 w 3907177"/>
                <a:gd name="connsiteY20" fmla="*/ 2291719 h 3033282"/>
                <a:gd name="connsiteX21" fmla="*/ 3448451 w 3907177"/>
                <a:gd name="connsiteY21" fmla="*/ 2258031 h 3033282"/>
                <a:gd name="connsiteX22" fmla="*/ 3432746 w 3907177"/>
                <a:gd name="connsiteY22" fmla="*/ 2253458 h 3033282"/>
                <a:gd name="connsiteX23" fmla="*/ 3399309 w 3907177"/>
                <a:gd name="connsiteY23" fmla="*/ 2247403 h 3033282"/>
                <a:gd name="connsiteX24" fmla="*/ 3406885 w 3907177"/>
                <a:gd name="connsiteY24" fmla="*/ 2246720 h 3033282"/>
                <a:gd name="connsiteX25" fmla="*/ 3422640 w 3907177"/>
                <a:gd name="connsiteY25" fmla="*/ 2231191 h 3033282"/>
                <a:gd name="connsiteX26" fmla="*/ 3370122 w 3907177"/>
                <a:gd name="connsiteY26" fmla="*/ 2208029 h 3033282"/>
                <a:gd name="connsiteX27" fmla="*/ 3283994 w 3907177"/>
                <a:gd name="connsiteY27" fmla="*/ 2199606 h 3033282"/>
                <a:gd name="connsiteX28" fmla="*/ 3868985 w 3907177"/>
                <a:gd name="connsiteY28" fmla="*/ 2136388 h 3033282"/>
                <a:gd name="connsiteX29" fmla="*/ 3734396 w 3907177"/>
                <a:gd name="connsiteY29" fmla="*/ 2199444 h 3033282"/>
                <a:gd name="connsiteX30" fmla="*/ 3559852 w 3907177"/>
                <a:gd name="connsiteY30" fmla="*/ 2182629 h 3033282"/>
                <a:gd name="connsiteX31" fmla="*/ 3641867 w 3907177"/>
                <a:gd name="connsiteY31" fmla="*/ 2241481 h 3033282"/>
                <a:gd name="connsiteX32" fmla="*/ 3702852 w 3907177"/>
                <a:gd name="connsiteY32" fmla="*/ 2239379 h 3033282"/>
                <a:gd name="connsiteX33" fmla="*/ 3831132 w 3907177"/>
                <a:gd name="connsiteY33" fmla="*/ 2178425 h 3033282"/>
                <a:gd name="connsiteX34" fmla="*/ 3868985 w 3907177"/>
                <a:gd name="connsiteY34" fmla="*/ 2136388 h 3033282"/>
                <a:gd name="connsiteX35" fmla="*/ 3385344 w 3907177"/>
                <a:gd name="connsiteY35" fmla="*/ 2089937 h 3033282"/>
                <a:gd name="connsiteX36" fmla="*/ 3403807 w 3907177"/>
                <a:gd name="connsiteY36" fmla="*/ 2092045 h 3033282"/>
                <a:gd name="connsiteX37" fmla="*/ 3420687 w 3907177"/>
                <a:gd name="connsiteY37" fmla="*/ 2119439 h 3033282"/>
                <a:gd name="connsiteX38" fmla="*/ 3410137 w 3907177"/>
                <a:gd name="connsiteY38" fmla="*/ 2151048 h 3033282"/>
                <a:gd name="connsiteX39" fmla="*/ 3380596 w 3907177"/>
                <a:gd name="connsiteY39" fmla="*/ 2144726 h 3033282"/>
                <a:gd name="connsiteX40" fmla="*/ 3353166 w 3907177"/>
                <a:gd name="connsiteY40" fmla="*/ 2146834 h 3033282"/>
                <a:gd name="connsiteX41" fmla="*/ 3353166 w 3907177"/>
                <a:gd name="connsiteY41" fmla="*/ 2113117 h 3033282"/>
                <a:gd name="connsiteX42" fmla="*/ 3370046 w 3907177"/>
                <a:gd name="connsiteY42" fmla="*/ 2094152 h 3033282"/>
                <a:gd name="connsiteX43" fmla="*/ 3385344 w 3907177"/>
                <a:gd name="connsiteY43" fmla="*/ 2089937 h 3033282"/>
                <a:gd name="connsiteX44" fmla="*/ 2921466 w 3907177"/>
                <a:gd name="connsiteY44" fmla="*/ 1940074 h 3033282"/>
                <a:gd name="connsiteX45" fmla="*/ 2876044 w 3907177"/>
                <a:gd name="connsiteY45" fmla="*/ 1945069 h 3033282"/>
                <a:gd name="connsiteX46" fmla="*/ 2796228 w 3907177"/>
                <a:gd name="connsiteY46" fmla="*/ 1980818 h 3033282"/>
                <a:gd name="connsiteX47" fmla="*/ 2716411 w 3907177"/>
                <a:gd name="connsiteY47" fmla="*/ 2018670 h 3033282"/>
                <a:gd name="connsiteX48" fmla="*/ 2773123 w 3907177"/>
                <a:gd name="connsiteY48" fmla="*/ 2014464 h 3033282"/>
                <a:gd name="connsiteX49" fmla="*/ 2813031 w 3907177"/>
                <a:gd name="connsiteY49" fmla="*/ 2008155 h 3033282"/>
                <a:gd name="connsiteX50" fmla="*/ 2810931 w 3907177"/>
                <a:gd name="connsiteY50" fmla="*/ 2075448 h 3033282"/>
                <a:gd name="connsiteX51" fmla="*/ 2825634 w 3907177"/>
                <a:gd name="connsiteY51" fmla="*/ 2117505 h 3033282"/>
                <a:gd name="connsiteX52" fmla="*/ 2817232 w 3907177"/>
                <a:gd name="connsiteY52" fmla="*/ 2123814 h 3033282"/>
                <a:gd name="connsiteX53" fmla="*/ 2773123 w 3907177"/>
                <a:gd name="connsiteY53" fmla="*/ 2157460 h 3033282"/>
                <a:gd name="connsiteX54" fmla="*/ 2848738 w 3907177"/>
                <a:gd name="connsiteY54" fmla="*/ 2125917 h 3033282"/>
                <a:gd name="connsiteX55" fmla="*/ 2941157 w 3907177"/>
                <a:gd name="connsiteY55" fmla="*/ 2104888 h 3033282"/>
                <a:gd name="connsiteX56" fmla="*/ 3111292 w 3907177"/>
                <a:gd name="connsiteY56" fmla="*/ 2106991 h 3033282"/>
                <a:gd name="connsiteX57" fmla="*/ 3056681 w 3907177"/>
                <a:gd name="connsiteY57" fmla="*/ 2085962 h 3033282"/>
                <a:gd name="connsiteX58" fmla="*/ 3016773 w 3907177"/>
                <a:gd name="connsiteY58" fmla="*/ 2081756 h 3033282"/>
                <a:gd name="connsiteX59" fmla="*/ 3023074 w 3907177"/>
                <a:gd name="connsiteY59" fmla="*/ 2027081 h 3033282"/>
                <a:gd name="connsiteX60" fmla="*/ 2995769 w 3907177"/>
                <a:gd name="connsiteY60" fmla="*/ 1970303 h 3033282"/>
                <a:gd name="connsiteX61" fmla="*/ 3018873 w 3907177"/>
                <a:gd name="connsiteY61" fmla="*/ 1966098 h 3033282"/>
                <a:gd name="connsiteX62" fmla="*/ 3065083 w 3907177"/>
                <a:gd name="connsiteY62" fmla="*/ 1957686 h 3033282"/>
                <a:gd name="connsiteX63" fmla="*/ 2968463 w 3907177"/>
                <a:gd name="connsiteY63" fmla="*/ 1942966 h 3033282"/>
                <a:gd name="connsiteX64" fmla="*/ 2921466 w 3907177"/>
                <a:gd name="connsiteY64" fmla="*/ 1940074 h 3033282"/>
                <a:gd name="connsiteX65" fmla="*/ 2882143 w 3907177"/>
                <a:gd name="connsiteY65" fmla="*/ 1689578 h 3033282"/>
                <a:gd name="connsiteX66" fmla="*/ 2779009 w 3907177"/>
                <a:gd name="connsiteY66" fmla="*/ 1700880 h 3033282"/>
                <a:gd name="connsiteX67" fmla="*/ 2720075 w 3907177"/>
                <a:gd name="connsiteY67" fmla="*/ 1810222 h 3033282"/>
                <a:gd name="connsiteX68" fmla="*/ 2806371 w 3907177"/>
                <a:gd name="connsiteY68" fmla="*/ 1730318 h 3033282"/>
                <a:gd name="connsiteX69" fmla="*/ 2953705 w 3907177"/>
                <a:gd name="connsiteY69" fmla="*/ 1692469 h 3033282"/>
                <a:gd name="connsiteX70" fmla="*/ 2882143 w 3907177"/>
                <a:gd name="connsiteY70" fmla="*/ 1689578 h 3033282"/>
                <a:gd name="connsiteX71" fmla="*/ 2751741 w 3907177"/>
                <a:gd name="connsiteY71" fmla="*/ 1152523 h 3033282"/>
                <a:gd name="connsiteX72" fmla="*/ 2752273 w 3907177"/>
                <a:gd name="connsiteY72" fmla="*/ 1154187 h 3033282"/>
                <a:gd name="connsiteX73" fmla="*/ 2764036 w 3907177"/>
                <a:gd name="connsiteY73" fmla="*/ 1192874 h 3033282"/>
                <a:gd name="connsiteX74" fmla="*/ 2787833 w 3907177"/>
                <a:gd name="connsiteY74" fmla="*/ 1274009 h 3033282"/>
                <a:gd name="connsiteX75" fmla="*/ 2819472 w 3907177"/>
                <a:gd name="connsiteY75" fmla="*/ 1283014 h 3033282"/>
                <a:gd name="connsiteX76" fmla="*/ 2820261 w 3907177"/>
                <a:gd name="connsiteY76" fmla="*/ 1283258 h 3033282"/>
                <a:gd name="connsiteX77" fmla="*/ 2825890 w 3907177"/>
                <a:gd name="connsiteY77" fmla="*/ 1283302 h 3033282"/>
                <a:gd name="connsiteX78" fmla="*/ 2903747 w 3907177"/>
                <a:gd name="connsiteY78" fmla="*/ 1291542 h 3033282"/>
                <a:gd name="connsiteX79" fmla="*/ 2899550 w 3907177"/>
                <a:gd name="connsiteY79" fmla="*/ 1288295 h 3033282"/>
                <a:gd name="connsiteX80" fmla="*/ 2806596 w 3907177"/>
                <a:gd name="connsiteY80" fmla="*/ 1216396 h 3033282"/>
                <a:gd name="connsiteX81" fmla="*/ 2775061 w 3907177"/>
                <a:gd name="connsiteY81" fmla="*/ 1179930 h 3033282"/>
                <a:gd name="connsiteX82" fmla="*/ 1695768 w 3907177"/>
                <a:gd name="connsiteY82" fmla="*/ 862876 h 3033282"/>
                <a:gd name="connsiteX83" fmla="*/ 2078780 w 3907177"/>
                <a:gd name="connsiteY83" fmla="*/ 919680 h 3033282"/>
                <a:gd name="connsiteX84" fmla="*/ 2177689 w 3907177"/>
                <a:gd name="connsiteY84" fmla="*/ 938615 h 3033282"/>
                <a:gd name="connsiteX85" fmla="*/ 2274495 w 3907177"/>
                <a:gd name="connsiteY85" fmla="*/ 997523 h 3033282"/>
                <a:gd name="connsiteX86" fmla="*/ 2192421 w 3907177"/>
                <a:gd name="connsiteY86" fmla="*/ 984900 h 3033282"/>
                <a:gd name="connsiteX87" fmla="*/ 2082989 w 3907177"/>
                <a:gd name="connsiteY87" fmla="*/ 1031185 h 3033282"/>
                <a:gd name="connsiteX88" fmla="*/ 2013542 w 3907177"/>
                <a:gd name="connsiteY88" fmla="*/ 1064846 h 3033282"/>
                <a:gd name="connsiteX89" fmla="*/ 2177689 w 3907177"/>
                <a:gd name="connsiteY89" fmla="*/ 1060639 h 3033282"/>
                <a:gd name="connsiteX90" fmla="*/ 2320793 w 3907177"/>
                <a:gd name="connsiteY90" fmla="*/ 1102716 h 3033282"/>
                <a:gd name="connsiteX91" fmla="*/ 2402867 w 3907177"/>
                <a:gd name="connsiteY91" fmla="*/ 1193182 h 3033282"/>
                <a:gd name="connsiteX92" fmla="*/ 2477977 w 3907177"/>
                <a:gd name="connsiteY92" fmla="*/ 1304520 h 3033282"/>
                <a:gd name="connsiteX93" fmla="*/ 2495231 w 3907177"/>
                <a:gd name="connsiteY93" fmla="*/ 1302276 h 3033282"/>
                <a:gd name="connsiteX94" fmla="*/ 2479203 w 3907177"/>
                <a:gd name="connsiteY94" fmla="*/ 1263722 h 3033282"/>
                <a:gd name="connsiteX95" fmla="*/ 2352360 w 3907177"/>
                <a:gd name="connsiteY95" fmla="*/ 974380 h 3033282"/>
                <a:gd name="connsiteX96" fmla="*/ 2194525 w 3907177"/>
                <a:gd name="connsiteY96" fmla="*/ 875499 h 3033282"/>
                <a:gd name="connsiteX97" fmla="*/ 1695768 w 3907177"/>
                <a:gd name="connsiteY97" fmla="*/ 862876 h 3033282"/>
                <a:gd name="connsiteX98" fmla="*/ 2884074 w 3907177"/>
                <a:gd name="connsiteY98" fmla="*/ 435929 h 3033282"/>
                <a:gd name="connsiteX99" fmla="*/ 2987291 w 3907177"/>
                <a:gd name="connsiteY99" fmla="*/ 631716 h 3033282"/>
                <a:gd name="connsiteX100" fmla="*/ 3130531 w 3907177"/>
                <a:gd name="connsiteY100" fmla="*/ 1008552 h 3033282"/>
                <a:gd name="connsiteX101" fmla="*/ 3063124 w 3907177"/>
                <a:gd name="connsiteY101" fmla="*/ 682241 h 3033282"/>
                <a:gd name="connsiteX102" fmla="*/ 2970440 w 3907177"/>
                <a:gd name="connsiteY102" fmla="*/ 520138 h 3033282"/>
                <a:gd name="connsiteX103" fmla="*/ 2884074 w 3907177"/>
                <a:gd name="connsiteY103" fmla="*/ 435929 h 3033282"/>
                <a:gd name="connsiteX104" fmla="*/ 990408 w 3907177"/>
                <a:gd name="connsiteY104" fmla="*/ 698 h 3033282"/>
                <a:gd name="connsiteX105" fmla="*/ 1039550 w 3907177"/>
                <a:gd name="connsiteY105" fmla="*/ 863 h 3033282"/>
                <a:gd name="connsiteX106" fmla="*/ 1348803 w 3907177"/>
                <a:gd name="connsiteY106" fmla="*/ 72387 h 3033282"/>
                <a:gd name="connsiteX107" fmla="*/ 1737998 w 3907177"/>
                <a:gd name="connsiteY107" fmla="*/ 232264 h 3033282"/>
                <a:gd name="connsiteX108" fmla="*/ 2005176 w 3907177"/>
                <a:gd name="connsiteY108" fmla="*/ 371104 h 3033282"/>
                <a:gd name="connsiteX109" fmla="*/ 2203455 w 3907177"/>
                <a:gd name="connsiteY109" fmla="*/ 477601 h 3033282"/>
                <a:gd name="connsiteX110" fmla="*/ 2296994 w 3907177"/>
                <a:gd name="connsiteY110" fmla="*/ 530121 h 3033282"/>
                <a:gd name="connsiteX111" fmla="*/ 2323986 w 3907177"/>
                <a:gd name="connsiteY111" fmla="*/ 546882 h 3033282"/>
                <a:gd name="connsiteX112" fmla="*/ 2357160 w 3907177"/>
                <a:gd name="connsiteY112" fmla="*/ 567482 h 3033282"/>
                <a:gd name="connsiteX113" fmla="*/ 2404890 w 3907177"/>
                <a:gd name="connsiteY113" fmla="*/ 598298 h 3033282"/>
                <a:gd name="connsiteX114" fmla="*/ 2415440 w 3907177"/>
                <a:gd name="connsiteY114" fmla="*/ 605928 h 3033282"/>
                <a:gd name="connsiteX115" fmla="*/ 2362991 w 3907177"/>
                <a:gd name="connsiteY115" fmla="*/ 493093 h 3033282"/>
                <a:gd name="connsiteX116" fmla="*/ 2329266 w 3907177"/>
                <a:gd name="connsiteY116" fmla="*/ 483333 h 3033282"/>
                <a:gd name="connsiteX117" fmla="*/ 2307060 w 3907177"/>
                <a:gd name="connsiteY117" fmla="*/ 476906 h 3033282"/>
                <a:gd name="connsiteX118" fmla="*/ 2313198 w 3907177"/>
                <a:gd name="connsiteY118" fmla="*/ 470584 h 3033282"/>
                <a:gd name="connsiteX119" fmla="*/ 2460566 w 3907177"/>
                <a:gd name="connsiteY119" fmla="*/ 333037 h 3033282"/>
                <a:gd name="connsiteX120" fmla="*/ 2482676 w 3907177"/>
                <a:gd name="connsiteY120" fmla="*/ 317005 h 3033282"/>
                <a:gd name="connsiteX121" fmla="*/ 2522361 w 3907177"/>
                <a:gd name="connsiteY121" fmla="*/ 296868 h 3033282"/>
                <a:gd name="connsiteX122" fmla="*/ 2554579 w 3907177"/>
                <a:gd name="connsiteY122" fmla="*/ 283748 h 3033282"/>
                <a:gd name="connsiteX123" fmla="*/ 2694384 w 3907177"/>
                <a:gd name="connsiteY123" fmla="*/ 254812 h 3033282"/>
                <a:gd name="connsiteX124" fmla="*/ 2798186 w 3907177"/>
                <a:gd name="connsiteY124" fmla="*/ 277829 h 3033282"/>
                <a:gd name="connsiteX125" fmla="*/ 2857052 w 3907177"/>
                <a:gd name="connsiteY125" fmla="*/ 260994 h 3033282"/>
                <a:gd name="connsiteX126" fmla="*/ 2861191 w 3907177"/>
                <a:gd name="connsiteY126" fmla="*/ 261705 h 3033282"/>
                <a:gd name="connsiteX127" fmla="*/ 2866568 w 3907177"/>
                <a:gd name="connsiteY127" fmla="*/ 262766 h 3033282"/>
                <a:gd name="connsiteX128" fmla="*/ 2867847 w 3907177"/>
                <a:gd name="connsiteY128" fmla="*/ 263215 h 3033282"/>
                <a:gd name="connsiteX129" fmla="*/ 2874182 w 3907177"/>
                <a:gd name="connsiteY129" fmla="*/ 265939 h 3033282"/>
                <a:gd name="connsiteX130" fmla="*/ 2878772 w 3907177"/>
                <a:gd name="connsiteY130" fmla="*/ 265783 h 3033282"/>
                <a:gd name="connsiteX131" fmla="*/ 2879970 w 3907177"/>
                <a:gd name="connsiteY131" fmla="*/ 265863 h 3033282"/>
                <a:gd name="connsiteX132" fmla="*/ 2909084 w 3907177"/>
                <a:gd name="connsiteY132" fmla="*/ 273357 h 3033282"/>
                <a:gd name="connsiteX133" fmla="*/ 2989498 w 3907177"/>
                <a:gd name="connsiteY133" fmla="*/ 315709 h 3033282"/>
                <a:gd name="connsiteX134" fmla="*/ 3365815 w 3907177"/>
                <a:gd name="connsiteY134" fmla="*/ 925987 h 3033282"/>
                <a:gd name="connsiteX135" fmla="*/ 3233368 w 3907177"/>
                <a:gd name="connsiteY135" fmla="*/ 1376331 h 3033282"/>
                <a:gd name="connsiteX136" fmla="*/ 3239761 w 3907177"/>
                <a:gd name="connsiteY136" fmla="*/ 1410216 h 3033282"/>
                <a:gd name="connsiteX137" fmla="*/ 3243622 w 3907177"/>
                <a:gd name="connsiteY137" fmla="*/ 1426604 h 3033282"/>
                <a:gd name="connsiteX138" fmla="*/ 3302854 w 3907177"/>
                <a:gd name="connsiteY138" fmla="*/ 1472111 h 3033282"/>
                <a:gd name="connsiteX139" fmla="*/ 3442037 w 3907177"/>
                <a:gd name="connsiteY139" fmla="*/ 1705090 h 3033282"/>
                <a:gd name="connsiteX140" fmla="*/ 3433973 w 3907177"/>
                <a:gd name="connsiteY140" fmla="*/ 1732860 h 3033282"/>
                <a:gd name="connsiteX141" fmla="*/ 3404867 w 3907177"/>
                <a:gd name="connsiteY141" fmla="*/ 1673697 h 3033282"/>
                <a:gd name="connsiteX142" fmla="*/ 3388345 w 3907177"/>
                <a:gd name="connsiteY142" fmla="*/ 1639131 h 3033282"/>
                <a:gd name="connsiteX143" fmla="*/ 3377441 w 3907177"/>
                <a:gd name="connsiteY143" fmla="*/ 1616053 h 3033282"/>
                <a:gd name="connsiteX144" fmla="*/ 3359581 w 3907177"/>
                <a:gd name="connsiteY144" fmla="*/ 1565598 h 3033282"/>
                <a:gd name="connsiteX145" fmla="*/ 3361687 w 3907177"/>
                <a:gd name="connsiteY145" fmla="*/ 1582431 h 3033282"/>
                <a:gd name="connsiteX146" fmla="*/ 3374588 w 3907177"/>
                <a:gd name="connsiteY146" fmla="*/ 1610015 h 3033282"/>
                <a:gd name="connsiteX147" fmla="*/ 3377441 w 3907177"/>
                <a:gd name="connsiteY147" fmla="*/ 1616053 h 3033282"/>
                <a:gd name="connsiteX148" fmla="*/ 3442901 w 3907177"/>
                <a:gd name="connsiteY148" fmla="*/ 1800978 h 3033282"/>
                <a:gd name="connsiteX149" fmla="*/ 3440408 w 3907177"/>
                <a:gd name="connsiteY149" fmla="*/ 1796829 h 3033282"/>
                <a:gd name="connsiteX150" fmla="*/ 3433154 w 3907177"/>
                <a:gd name="connsiteY150" fmla="*/ 1784752 h 3033282"/>
                <a:gd name="connsiteX151" fmla="*/ 3397602 w 3907177"/>
                <a:gd name="connsiteY151" fmla="*/ 1761774 h 3033282"/>
                <a:gd name="connsiteX152" fmla="*/ 3349501 w 3907177"/>
                <a:gd name="connsiteY152" fmla="*/ 1755507 h 3033282"/>
                <a:gd name="connsiteX153" fmla="*/ 3395510 w 3907177"/>
                <a:gd name="connsiteY153" fmla="*/ 1772218 h 3033282"/>
                <a:gd name="connsiteX154" fmla="*/ 3439918 w 3907177"/>
                <a:gd name="connsiteY154" fmla="*/ 1800713 h 3033282"/>
                <a:gd name="connsiteX155" fmla="*/ 3444055 w 3907177"/>
                <a:gd name="connsiteY155" fmla="*/ 1804238 h 3033282"/>
                <a:gd name="connsiteX156" fmla="*/ 3555468 w 3907177"/>
                <a:gd name="connsiteY156" fmla="*/ 2118980 h 3033282"/>
                <a:gd name="connsiteX157" fmla="*/ 3553362 w 3907177"/>
                <a:gd name="connsiteY157" fmla="*/ 2091890 h 3033282"/>
                <a:gd name="connsiteX158" fmla="*/ 3553487 w 3907177"/>
                <a:gd name="connsiteY158" fmla="*/ 2080908 h 3033282"/>
                <a:gd name="connsiteX159" fmla="*/ 3554536 w 3907177"/>
                <a:gd name="connsiteY159" fmla="*/ 2083695 h 3033282"/>
                <a:gd name="connsiteX160" fmla="*/ 3570142 w 3907177"/>
                <a:gd name="connsiteY160" fmla="*/ 2125146 h 3033282"/>
                <a:gd name="connsiteX161" fmla="*/ 3570375 w 3907177"/>
                <a:gd name="connsiteY161" fmla="*/ 2125765 h 3033282"/>
                <a:gd name="connsiteX162" fmla="*/ 3570326 w 3907177"/>
                <a:gd name="connsiteY162" fmla="*/ 2125774 h 3033282"/>
                <a:gd name="connsiteX163" fmla="*/ 3524755 w 3907177"/>
                <a:gd name="connsiteY163" fmla="*/ 2128437 h 3033282"/>
                <a:gd name="connsiteX164" fmla="*/ 3520991 w 3907177"/>
                <a:gd name="connsiteY164" fmla="*/ 2130652 h 3033282"/>
                <a:gd name="connsiteX165" fmla="*/ 3519898 w 3907177"/>
                <a:gd name="connsiteY165" fmla="*/ 2125754 h 3033282"/>
                <a:gd name="connsiteX166" fmla="*/ 3513061 w 3907177"/>
                <a:gd name="connsiteY166" fmla="*/ 2102599 h 3033282"/>
                <a:gd name="connsiteX167" fmla="*/ 3485716 w 3907177"/>
                <a:gd name="connsiteY167" fmla="*/ 2058392 h 3033282"/>
                <a:gd name="connsiteX168" fmla="*/ 3422611 w 3907177"/>
                <a:gd name="connsiteY168" fmla="*/ 2039446 h 3033282"/>
                <a:gd name="connsiteX169" fmla="*/ 3384747 w 3907177"/>
                <a:gd name="connsiteY169" fmla="*/ 2043657 h 3033282"/>
                <a:gd name="connsiteX170" fmla="*/ 3334263 w 3907177"/>
                <a:gd name="connsiteY170" fmla="*/ 2031026 h 3033282"/>
                <a:gd name="connsiteX171" fmla="*/ 3378437 w 3907177"/>
                <a:gd name="connsiteY171" fmla="*/ 2058392 h 3033282"/>
                <a:gd name="connsiteX172" fmla="*/ 3357402 w 3907177"/>
                <a:gd name="connsiteY172" fmla="*/ 2092073 h 3033282"/>
                <a:gd name="connsiteX173" fmla="*/ 3351091 w 3907177"/>
                <a:gd name="connsiteY173" fmla="*/ 2140490 h 3033282"/>
                <a:gd name="connsiteX174" fmla="*/ 3317435 w 3907177"/>
                <a:gd name="connsiteY174" fmla="*/ 2140490 h 3033282"/>
                <a:gd name="connsiteX175" fmla="*/ 3359505 w 3907177"/>
                <a:gd name="connsiteY175" fmla="*/ 2155225 h 3033282"/>
                <a:gd name="connsiteX176" fmla="*/ 3416300 w 3907177"/>
                <a:gd name="connsiteY176" fmla="*/ 2180486 h 3033282"/>
                <a:gd name="connsiteX177" fmla="*/ 3468953 w 3907177"/>
                <a:gd name="connsiteY177" fmla="*/ 2204760 h 3033282"/>
                <a:gd name="connsiteX178" fmla="*/ 3471183 w 3907177"/>
                <a:gd name="connsiteY178" fmla="*/ 2205864 h 3033282"/>
                <a:gd name="connsiteX179" fmla="*/ 3465112 w 3907177"/>
                <a:gd name="connsiteY179" fmla="*/ 2222558 h 3033282"/>
                <a:gd name="connsiteX180" fmla="*/ 3404088 w 3907177"/>
                <a:gd name="connsiteY180" fmla="*/ 2397188 h 3033282"/>
                <a:gd name="connsiteX181" fmla="*/ 3303083 w 3907177"/>
                <a:gd name="connsiteY181" fmla="*/ 2544467 h 3033282"/>
                <a:gd name="connsiteX182" fmla="*/ 3395671 w 3907177"/>
                <a:gd name="connsiteY182" fmla="*/ 2456100 h 3033282"/>
                <a:gd name="connsiteX183" fmla="*/ 3450382 w 3907177"/>
                <a:gd name="connsiteY183" fmla="*/ 2386668 h 3033282"/>
                <a:gd name="connsiteX184" fmla="*/ 3526136 w 3907177"/>
                <a:gd name="connsiteY184" fmla="*/ 2184686 h 3033282"/>
                <a:gd name="connsiteX185" fmla="*/ 3618725 w 3907177"/>
                <a:gd name="connsiteY185" fmla="*/ 2163646 h 3033282"/>
                <a:gd name="connsiteX186" fmla="*/ 3751294 w 3907177"/>
                <a:gd name="connsiteY186" fmla="*/ 2136294 h 3033282"/>
                <a:gd name="connsiteX187" fmla="*/ 3799430 w 3907177"/>
                <a:gd name="connsiteY187" fmla="*/ 2104735 h 3033282"/>
                <a:gd name="connsiteX188" fmla="*/ 3810437 w 3907177"/>
                <a:gd name="connsiteY188" fmla="*/ 2099831 h 3033282"/>
                <a:gd name="connsiteX189" fmla="*/ 3824461 w 3907177"/>
                <a:gd name="connsiteY189" fmla="*/ 2097367 h 3033282"/>
                <a:gd name="connsiteX190" fmla="*/ 3829342 w 3907177"/>
                <a:gd name="connsiteY190" fmla="*/ 2096510 h 3033282"/>
                <a:gd name="connsiteX191" fmla="*/ 3845987 w 3907177"/>
                <a:gd name="connsiteY191" fmla="*/ 2098423 h 3033282"/>
                <a:gd name="connsiteX192" fmla="*/ 3904907 w 3907177"/>
                <a:gd name="connsiteY192" fmla="*/ 2180478 h 3033282"/>
                <a:gd name="connsiteX193" fmla="*/ 3885968 w 3907177"/>
                <a:gd name="connsiteY193" fmla="*/ 2315133 h 3033282"/>
                <a:gd name="connsiteX194" fmla="*/ 3884225 w 3907177"/>
                <a:gd name="connsiteY194" fmla="*/ 2328571 h 3033282"/>
                <a:gd name="connsiteX195" fmla="*/ 3881324 w 3907177"/>
                <a:gd name="connsiteY195" fmla="*/ 2344937 h 3033282"/>
                <a:gd name="connsiteX196" fmla="*/ 3878738 w 3907177"/>
                <a:gd name="connsiteY196" fmla="*/ 2354578 h 3033282"/>
                <a:gd name="connsiteX197" fmla="*/ 3857107 w 3907177"/>
                <a:gd name="connsiteY197" fmla="*/ 2435219 h 3033282"/>
                <a:gd name="connsiteX198" fmla="*/ 3839183 w 3907177"/>
                <a:gd name="connsiteY198" fmla="*/ 2502042 h 3033282"/>
                <a:gd name="connsiteX199" fmla="*/ 3806236 w 3907177"/>
                <a:gd name="connsiteY199" fmla="*/ 2584501 h 3033282"/>
                <a:gd name="connsiteX200" fmla="*/ 3612412 w 3907177"/>
                <a:gd name="connsiteY200" fmla="*/ 2876897 h 3033282"/>
                <a:gd name="connsiteX201" fmla="*/ 3004275 w 3907177"/>
                <a:gd name="connsiteY201" fmla="*/ 2912665 h 3033282"/>
                <a:gd name="connsiteX202" fmla="*/ 2812785 w 3907177"/>
                <a:gd name="connsiteY202" fmla="*/ 2759074 h 3033282"/>
                <a:gd name="connsiteX203" fmla="*/ 2726510 w 3907177"/>
                <a:gd name="connsiteY203" fmla="*/ 2651771 h 3033282"/>
                <a:gd name="connsiteX204" fmla="*/ 2722301 w 3907177"/>
                <a:gd name="connsiteY204" fmla="*/ 2655979 h 3033282"/>
                <a:gd name="connsiteX205" fmla="*/ 2686529 w 3907177"/>
                <a:gd name="connsiteY205" fmla="*/ 2750658 h 3033282"/>
                <a:gd name="connsiteX206" fmla="*/ 2646547 w 3907177"/>
                <a:gd name="connsiteY206" fmla="*/ 2799050 h 3033282"/>
                <a:gd name="connsiteX207" fmla="*/ 2593940 w 3907177"/>
                <a:gd name="connsiteY207" fmla="*/ 2887417 h 3033282"/>
                <a:gd name="connsiteX208" fmla="*/ 2606566 w 3907177"/>
                <a:gd name="connsiteY208" fmla="*/ 2963160 h 3033282"/>
                <a:gd name="connsiteX209" fmla="*/ 2724406 w 3907177"/>
                <a:gd name="connsiteY209" fmla="*/ 3001032 h 3033282"/>
                <a:gd name="connsiteX210" fmla="*/ 2614983 w 3907177"/>
                <a:gd name="connsiteY210" fmla="*/ 2916873 h 3033282"/>
                <a:gd name="connsiteX211" fmla="*/ 2636026 w 3907177"/>
                <a:gd name="connsiteY211" fmla="*/ 2931601 h 3033282"/>
                <a:gd name="connsiteX212" fmla="*/ 2741240 w 3907177"/>
                <a:gd name="connsiteY212" fmla="*/ 2975784 h 3033282"/>
                <a:gd name="connsiteX213" fmla="*/ 2823307 w 3907177"/>
                <a:gd name="connsiteY213" fmla="*/ 2935809 h 3033282"/>
                <a:gd name="connsiteX214" fmla="*/ 2869601 w 3907177"/>
                <a:gd name="connsiteY214" fmla="*/ 2874793 h 3033282"/>
                <a:gd name="connsiteX215" fmla="*/ 2909582 w 3907177"/>
                <a:gd name="connsiteY215" fmla="*/ 2914769 h 3033282"/>
                <a:gd name="connsiteX216" fmla="*/ 2804368 w 3907177"/>
                <a:gd name="connsiteY216" fmla="*/ 3009448 h 3033282"/>
                <a:gd name="connsiteX217" fmla="*/ 2631817 w 3907177"/>
                <a:gd name="connsiteY217" fmla="*/ 3019968 h 3033282"/>
                <a:gd name="connsiteX218" fmla="*/ 2592812 w 3907177"/>
                <a:gd name="connsiteY218" fmla="*/ 2997729 h 3033282"/>
                <a:gd name="connsiteX219" fmla="*/ 2571463 w 3907177"/>
                <a:gd name="connsiteY219" fmla="*/ 2978979 h 3033282"/>
                <a:gd name="connsiteX220" fmla="*/ 2569646 w 3907177"/>
                <a:gd name="connsiteY220" fmla="*/ 2977384 h 3033282"/>
                <a:gd name="connsiteX221" fmla="*/ 2550477 w 3907177"/>
                <a:gd name="connsiteY221" fmla="*/ 2953365 h 3033282"/>
                <a:gd name="connsiteX222" fmla="*/ 2543509 w 3907177"/>
                <a:gd name="connsiteY222" fmla="*/ 2942341 h 3033282"/>
                <a:gd name="connsiteX223" fmla="*/ 2527951 w 3907177"/>
                <a:gd name="connsiteY223" fmla="*/ 2910199 h 3033282"/>
                <a:gd name="connsiteX224" fmla="*/ 2522395 w 3907177"/>
                <a:gd name="connsiteY224" fmla="*/ 2893729 h 3033282"/>
                <a:gd name="connsiteX225" fmla="*/ 2457162 w 3907177"/>
                <a:gd name="connsiteY225" fmla="*/ 2748554 h 3033282"/>
                <a:gd name="connsiteX226" fmla="*/ 2362469 w 3907177"/>
                <a:gd name="connsiteY226" fmla="*/ 2651771 h 3033282"/>
                <a:gd name="connsiteX227" fmla="*/ 2340024 w 3907177"/>
                <a:gd name="connsiteY227" fmla="*/ 2621933 h 3033282"/>
                <a:gd name="connsiteX228" fmla="*/ 2338457 w 3907177"/>
                <a:gd name="connsiteY228" fmla="*/ 2619477 h 3033282"/>
                <a:gd name="connsiteX229" fmla="*/ 2304048 w 3907177"/>
                <a:gd name="connsiteY229" fmla="*/ 2565541 h 3033282"/>
                <a:gd name="connsiteX230" fmla="*/ 2335655 w 3907177"/>
                <a:gd name="connsiteY230" fmla="*/ 2318674 h 3033282"/>
                <a:gd name="connsiteX231" fmla="*/ 2366996 w 3907177"/>
                <a:gd name="connsiteY231" fmla="*/ 2274192 h 3033282"/>
                <a:gd name="connsiteX232" fmla="*/ 2347572 w 3907177"/>
                <a:gd name="connsiteY232" fmla="*/ 2275513 h 3033282"/>
                <a:gd name="connsiteX233" fmla="*/ 2320522 w 3907177"/>
                <a:gd name="connsiteY233" fmla="*/ 2269084 h 3033282"/>
                <a:gd name="connsiteX234" fmla="*/ 2038565 w 3907177"/>
                <a:gd name="connsiteY234" fmla="*/ 2062847 h 3033282"/>
                <a:gd name="connsiteX235" fmla="*/ 2043892 w 3907177"/>
                <a:gd name="connsiteY235" fmla="*/ 1618938 h 3033282"/>
                <a:gd name="connsiteX236" fmla="*/ 2058099 w 3907177"/>
                <a:gd name="connsiteY236" fmla="*/ 1557525 h 3033282"/>
                <a:gd name="connsiteX237" fmla="*/ 2055755 w 3907177"/>
                <a:gd name="connsiteY237" fmla="*/ 1558228 h 3033282"/>
                <a:gd name="connsiteX238" fmla="*/ 2050316 w 3907177"/>
                <a:gd name="connsiteY238" fmla="*/ 1559430 h 3033282"/>
                <a:gd name="connsiteX239" fmla="*/ 1525518 w 3907177"/>
                <a:gd name="connsiteY239" fmla="*/ 1690090 h 3033282"/>
                <a:gd name="connsiteX240" fmla="*/ 946985 w 3907177"/>
                <a:gd name="connsiteY240" fmla="*/ 1875211 h 3033282"/>
                <a:gd name="connsiteX241" fmla="*/ 559893 w 3907177"/>
                <a:gd name="connsiteY241" fmla="*/ 1858382 h 3033282"/>
                <a:gd name="connsiteX242" fmla="*/ 412630 w 3907177"/>
                <a:gd name="connsiteY242" fmla="*/ 1498659 h 3033282"/>
                <a:gd name="connsiteX243" fmla="*/ 46576 w 3907177"/>
                <a:gd name="connsiteY243" fmla="*/ 1063204 h 3033282"/>
                <a:gd name="connsiteX244" fmla="*/ 36057 w 3907177"/>
                <a:gd name="connsiteY244" fmla="*/ 665615 h 3033282"/>
                <a:gd name="connsiteX245" fmla="*/ 191735 w 3907177"/>
                <a:gd name="connsiteY245" fmla="*/ 459457 h 3033282"/>
                <a:gd name="connsiteX246" fmla="*/ 374762 w 3907177"/>
                <a:gd name="connsiteY246" fmla="*/ 465768 h 3033282"/>
                <a:gd name="connsiteX247" fmla="*/ 677704 w 3907177"/>
                <a:gd name="connsiteY247" fmla="*/ 528878 h 3033282"/>
                <a:gd name="connsiteX248" fmla="*/ 1090040 w 3907177"/>
                <a:gd name="connsiteY248" fmla="*/ 713999 h 3033282"/>
                <a:gd name="connsiteX249" fmla="*/ 736609 w 3907177"/>
                <a:gd name="connsiteY249" fmla="*/ 514152 h 3033282"/>
                <a:gd name="connsiteX250" fmla="*/ 503092 w 3907177"/>
                <a:gd name="connsiteY250" fmla="*/ 423695 h 3033282"/>
                <a:gd name="connsiteX251" fmla="*/ 700845 w 3907177"/>
                <a:gd name="connsiteY251" fmla="*/ 246989 h 3033282"/>
                <a:gd name="connsiteX252" fmla="*/ 867042 w 3907177"/>
                <a:gd name="connsiteY252" fmla="*/ 47143 h 3033282"/>
                <a:gd name="connsiteX253" fmla="*/ 990408 w 3907177"/>
                <a:gd name="connsiteY253" fmla="*/ 698 h 30332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Lst>
              <a:rect l="l" t="t" r="r" b="b"/>
              <a:pathLst>
                <a:path w="3907177" h="3033282">
                  <a:moveTo>
                    <a:pt x="3283994" y="2199606"/>
                  </a:moveTo>
                  <a:cubicBezTo>
                    <a:pt x="3260886" y="2199606"/>
                    <a:pt x="3239879" y="2208029"/>
                    <a:pt x="3216771" y="2237508"/>
                  </a:cubicBezTo>
                  <a:cubicBezTo>
                    <a:pt x="3206268" y="2252247"/>
                    <a:pt x="3191038" y="2271198"/>
                    <a:pt x="3176070" y="2287254"/>
                  </a:cubicBezTo>
                  <a:lnTo>
                    <a:pt x="3157902" y="2304911"/>
                  </a:lnTo>
                  <a:lnTo>
                    <a:pt x="3148728" y="2311436"/>
                  </a:lnTo>
                  <a:cubicBezTo>
                    <a:pt x="3141540" y="2316470"/>
                    <a:pt x="3136944" y="2319628"/>
                    <a:pt x="3136944" y="2319628"/>
                  </a:cubicBezTo>
                  <a:cubicBezTo>
                    <a:pt x="3141671" y="2318049"/>
                    <a:pt x="3147710" y="2313969"/>
                    <a:pt x="3154439" y="2308277"/>
                  </a:cubicBezTo>
                  <a:lnTo>
                    <a:pt x="3157902" y="2304911"/>
                  </a:lnTo>
                  <a:lnTo>
                    <a:pt x="3176070" y="2291992"/>
                  </a:lnTo>
                  <a:cubicBezTo>
                    <a:pt x="3196815" y="2276989"/>
                    <a:pt x="3219922" y="2259617"/>
                    <a:pt x="3229375" y="2250142"/>
                  </a:cubicBezTo>
                  <a:cubicBezTo>
                    <a:pt x="3248282" y="2231191"/>
                    <a:pt x="3283994" y="2231191"/>
                    <a:pt x="3317605" y="2231191"/>
                  </a:cubicBezTo>
                  <a:cubicBezTo>
                    <a:pt x="3341238" y="2231191"/>
                    <a:pt x="3367234" y="2240666"/>
                    <a:pt x="3378755" y="2245404"/>
                  </a:cubicBezTo>
                  <a:lnTo>
                    <a:pt x="3382808" y="2247161"/>
                  </a:lnTo>
                  <a:lnTo>
                    <a:pt x="3351550" y="2248260"/>
                  </a:lnTo>
                  <a:cubicBezTo>
                    <a:pt x="3337425" y="2251320"/>
                    <a:pt x="3324650" y="2257505"/>
                    <a:pt x="3315694" y="2268558"/>
                  </a:cubicBezTo>
                  <a:cubicBezTo>
                    <a:pt x="3281978" y="2310668"/>
                    <a:pt x="3267228" y="2335934"/>
                    <a:pt x="3248262" y="2369622"/>
                  </a:cubicBezTo>
                  <a:cubicBezTo>
                    <a:pt x="3229297" y="2403310"/>
                    <a:pt x="3195581" y="2443314"/>
                    <a:pt x="3195581" y="2443314"/>
                  </a:cubicBezTo>
                  <a:cubicBezTo>
                    <a:pt x="3195581" y="2443314"/>
                    <a:pt x="3273549" y="2363305"/>
                    <a:pt x="3288300" y="2346462"/>
                  </a:cubicBezTo>
                  <a:cubicBezTo>
                    <a:pt x="3303051" y="2327512"/>
                    <a:pt x="3309372" y="2312774"/>
                    <a:pt x="3334660" y="2295930"/>
                  </a:cubicBezTo>
                  <a:cubicBezTo>
                    <a:pt x="3357839" y="2279086"/>
                    <a:pt x="3381019" y="2279086"/>
                    <a:pt x="3404199" y="2281191"/>
                  </a:cubicBezTo>
                  <a:cubicBezTo>
                    <a:pt x="3427378" y="2283297"/>
                    <a:pt x="3442129" y="2291719"/>
                    <a:pt x="3442129" y="2291719"/>
                  </a:cubicBezTo>
                  <a:lnTo>
                    <a:pt x="3448451" y="2258031"/>
                  </a:lnTo>
                  <a:cubicBezTo>
                    <a:pt x="3448451" y="2258031"/>
                    <a:pt x="3442393" y="2255926"/>
                    <a:pt x="3432746" y="2253458"/>
                  </a:cubicBezTo>
                  <a:lnTo>
                    <a:pt x="3399309" y="2247403"/>
                  </a:lnTo>
                  <a:lnTo>
                    <a:pt x="3406885" y="2246720"/>
                  </a:lnTo>
                  <a:cubicBezTo>
                    <a:pt x="3417388" y="2244878"/>
                    <a:pt x="3426842" y="2240666"/>
                    <a:pt x="3422640" y="2231191"/>
                  </a:cubicBezTo>
                  <a:cubicBezTo>
                    <a:pt x="3412137" y="2214346"/>
                    <a:pt x="3391130" y="2216451"/>
                    <a:pt x="3370122" y="2208029"/>
                  </a:cubicBezTo>
                  <a:cubicBezTo>
                    <a:pt x="3349115" y="2201712"/>
                    <a:pt x="3309202" y="2199606"/>
                    <a:pt x="3283994" y="2199606"/>
                  </a:cubicBezTo>
                  <a:close/>
                  <a:moveTo>
                    <a:pt x="3868985" y="2136388"/>
                  </a:moveTo>
                  <a:cubicBezTo>
                    <a:pt x="3868985" y="2136388"/>
                    <a:pt x="3778558" y="2193138"/>
                    <a:pt x="3734396" y="2199444"/>
                  </a:cubicBezTo>
                  <a:cubicBezTo>
                    <a:pt x="3690235" y="2205750"/>
                    <a:pt x="3646073" y="2235176"/>
                    <a:pt x="3559852" y="2182629"/>
                  </a:cubicBezTo>
                  <a:cubicBezTo>
                    <a:pt x="3555646" y="2180527"/>
                    <a:pt x="3604014" y="2239379"/>
                    <a:pt x="3641867" y="2241481"/>
                  </a:cubicBezTo>
                  <a:cubicBezTo>
                    <a:pt x="3681823" y="2243583"/>
                    <a:pt x="3702852" y="2239379"/>
                    <a:pt x="3702852" y="2239379"/>
                  </a:cubicBezTo>
                  <a:cubicBezTo>
                    <a:pt x="3784867" y="2228870"/>
                    <a:pt x="3820617" y="2188935"/>
                    <a:pt x="3831132" y="2178425"/>
                  </a:cubicBezTo>
                  <a:cubicBezTo>
                    <a:pt x="3843750" y="2170018"/>
                    <a:pt x="3868985" y="2136388"/>
                    <a:pt x="3868985" y="2136388"/>
                  </a:cubicBezTo>
                  <a:close/>
                  <a:moveTo>
                    <a:pt x="3385344" y="2089937"/>
                  </a:moveTo>
                  <a:cubicBezTo>
                    <a:pt x="3391674" y="2089411"/>
                    <a:pt x="3398532" y="2089937"/>
                    <a:pt x="3403807" y="2092045"/>
                  </a:cubicBezTo>
                  <a:cubicBezTo>
                    <a:pt x="3412247" y="2096259"/>
                    <a:pt x="3418577" y="2104688"/>
                    <a:pt x="3420687" y="2119439"/>
                  </a:cubicBezTo>
                  <a:cubicBezTo>
                    <a:pt x="3422797" y="2132083"/>
                    <a:pt x="3410137" y="2151048"/>
                    <a:pt x="3410137" y="2151048"/>
                  </a:cubicBezTo>
                  <a:cubicBezTo>
                    <a:pt x="3410137" y="2151048"/>
                    <a:pt x="3389037" y="2144726"/>
                    <a:pt x="3380596" y="2144726"/>
                  </a:cubicBezTo>
                  <a:cubicBezTo>
                    <a:pt x="3374266" y="2142619"/>
                    <a:pt x="3353166" y="2146834"/>
                    <a:pt x="3353166" y="2146834"/>
                  </a:cubicBezTo>
                  <a:lnTo>
                    <a:pt x="3353166" y="2113117"/>
                  </a:lnTo>
                  <a:cubicBezTo>
                    <a:pt x="3353166" y="2113117"/>
                    <a:pt x="3365826" y="2096259"/>
                    <a:pt x="3370046" y="2094152"/>
                  </a:cubicBezTo>
                  <a:cubicBezTo>
                    <a:pt x="3373211" y="2092045"/>
                    <a:pt x="3379014" y="2090464"/>
                    <a:pt x="3385344" y="2089937"/>
                  </a:cubicBezTo>
                  <a:close/>
                  <a:moveTo>
                    <a:pt x="2921466" y="1940074"/>
                  </a:moveTo>
                  <a:cubicBezTo>
                    <a:pt x="2903875" y="1940863"/>
                    <a:pt x="2886546" y="1942966"/>
                    <a:pt x="2876044" y="1945069"/>
                  </a:cubicBezTo>
                  <a:cubicBezTo>
                    <a:pt x="2857140" y="1951377"/>
                    <a:pt x="2819332" y="1968200"/>
                    <a:pt x="2796228" y="1980818"/>
                  </a:cubicBezTo>
                  <a:cubicBezTo>
                    <a:pt x="2773123" y="1995538"/>
                    <a:pt x="2716411" y="2018670"/>
                    <a:pt x="2716411" y="2018670"/>
                  </a:cubicBezTo>
                  <a:cubicBezTo>
                    <a:pt x="2716411" y="2018670"/>
                    <a:pt x="2756319" y="2016567"/>
                    <a:pt x="2773123" y="2014464"/>
                  </a:cubicBezTo>
                  <a:cubicBezTo>
                    <a:pt x="2789926" y="2014464"/>
                    <a:pt x="2813031" y="2008155"/>
                    <a:pt x="2813031" y="2008155"/>
                  </a:cubicBezTo>
                  <a:cubicBezTo>
                    <a:pt x="2813031" y="2008155"/>
                    <a:pt x="2802529" y="2046007"/>
                    <a:pt x="2810931" y="2075448"/>
                  </a:cubicBezTo>
                  <a:cubicBezTo>
                    <a:pt x="2817232" y="2102785"/>
                    <a:pt x="2825634" y="2117505"/>
                    <a:pt x="2825634" y="2117505"/>
                  </a:cubicBezTo>
                  <a:cubicBezTo>
                    <a:pt x="2825634" y="2117505"/>
                    <a:pt x="2825634" y="2119608"/>
                    <a:pt x="2817232" y="2123814"/>
                  </a:cubicBezTo>
                  <a:cubicBezTo>
                    <a:pt x="2810931" y="2125917"/>
                    <a:pt x="2773123" y="2157460"/>
                    <a:pt x="2773123" y="2157460"/>
                  </a:cubicBezTo>
                  <a:cubicBezTo>
                    <a:pt x="2773123" y="2157460"/>
                    <a:pt x="2831935" y="2132226"/>
                    <a:pt x="2848738" y="2125917"/>
                  </a:cubicBezTo>
                  <a:cubicBezTo>
                    <a:pt x="2865542" y="2121711"/>
                    <a:pt x="2901249" y="2113300"/>
                    <a:pt x="2941157" y="2104888"/>
                  </a:cubicBezTo>
                  <a:cubicBezTo>
                    <a:pt x="2981066" y="2096476"/>
                    <a:pt x="3111292" y="2106991"/>
                    <a:pt x="3111292" y="2106991"/>
                  </a:cubicBezTo>
                  <a:cubicBezTo>
                    <a:pt x="3111292" y="2106991"/>
                    <a:pt x="3073484" y="2092271"/>
                    <a:pt x="3056681" y="2085962"/>
                  </a:cubicBezTo>
                  <a:cubicBezTo>
                    <a:pt x="3039878" y="2081756"/>
                    <a:pt x="3016773" y="2081756"/>
                    <a:pt x="3016773" y="2081756"/>
                  </a:cubicBezTo>
                  <a:cubicBezTo>
                    <a:pt x="3016773" y="2081756"/>
                    <a:pt x="3029375" y="2052316"/>
                    <a:pt x="3023074" y="2027081"/>
                  </a:cubicBezTo>
                  <a:cubicBezTo>
                    <a:pt x="3016773" y="1999744"/>
                    <a:pt x="2995769" y="1970303"/>
                    <a:pt x="2995769" y="1970303"/>
                  </a:cubicBezTo>
                  <a:cubicBezTo>
                    <a:pt x="2995769" y="1970303"/>
                    <a:pt x="3002070" y="1966098"/>
                    <a:pt x="3018873" y="1966098"/>
                  </a:cubicBezTo>
                  <a:cubicBezTo>
                    <a:pt x="3035677" y="1963995"/>
                    <a:pt x="3065083" y="1957686"/>
                    <a:pt x="3065083" y="1957686"/>
                  </a:cubicBezTo>
                  <a:cubicBezTo>
                    <a:pt x="3065083" y="1957686"/>
                    <a:pt x="2991568" y="1949274"/>
                    <a:pt x="2968463" y="1942966"/>
                  </a:cubicBezTo>
                  <a:cubicBezTo>
                    <a:pt x="2956910" y="1939811"/>
                    <a:pt x="2939057" y="1939286"/>
                    <a:pt x="2921466" y="1940074"/>
                  </a:cubicBezTo>
                  <a:close/>
                  <a:moveTo>
                    <a:pt x="2882143" y="1689578"/>
                  </a:moveTo>
                  <a:cubicBezTo>
                    <a:pt x="2843731" y="1689315"/>
                    <a:pt x="2800057" y="1691418"/>
                    <a:pt x="2779009" y="1700880"/>
                  </a:cubicBezTo>
                  <a:cubicBezTo>
                    <a:pt x="2736913" y="1717702"/>
                    <a:pt x="2720075" y="1810222"/>
                    <a:pt x="2720075" y="1810222"/>
                  </a:cubicBezTo>
                  <a:cubicBezTo>
                    <a:pt x="2720075" y="1810222"/>
                    <a:pt x="2760066" y="1759756"/>
                    <a:pt x="2806371" y="1730318"/>
                  </a:cubicBezTo>
                  <a:cubicBezTo>
                    <a:pt x="2852676" y="1698777"/>
                    <a:pt x="2953705" y="1692469"/>
                    <a:pt x="2953705" y="1692469"/>
                  </a:cubicBezTo>
                  <a:cubicBezTo>
                    <a:pt x="2953705" y="1692469"/>
                    <a:pt x="2920555" y="1689840"/>
                    <a:pt x="2882143" y="1689578"/>
                  </a:cubicBezTo>
                  <a:close/>
                  <a:moveTo>
                    <a:pt x="2751741" y="1152523"/>
                  </a:moveTo>
                  <a:lnTo>
                    <a:pt x="2752273" y="1154187"/>
                  </a:lnTo>
                  <a:lnTo>
                    <a:pt x="2764036" y="1192874"/>
                  </a:lnTo>
                  <a:lnTo>
                    <a:pt x="2787833" y="1274009"/>
                  </a:lnTo>
                  <a:lnTo>
                    <a:pt x="2819472" y="1283014"/>
                  </a:lnTo>
                  <a:lnTo>
                    <a:pt x="2820261" y="1283258"/>
                  </a:lnTo>
                  <a:lnTo>
                    <a:pt x="2825890" y="1283302"/>
                  </a:lnTo>
                  <a:lnTo>
                    <a:pt x="2903747" y="1291542"/>
                  </a:lnTo>
                  <a:lnTo>
                    <a:pt x="2899550" y="1288295"/>
                  </a:lnTo>
                  <a:cubicBezTo>
                    <a:pt x="2806596" y="1216396"/>
                    <a:pt x="2806596" y="1216396"/>
                    <a:pt x="2806596" y="1216396"/>
                  </a:cubicBezTo>
                  <a:cubicBezTo>
                    <a:pt x="2806596" y="1216396"/>
                    <a:pt x="2794376" y="1202454"/>
                    <a:pt x="2775061" y="1179930"/>
                  </a:cubicBezTo>
                  <a:close/>
                  <a:moveTo>
                    <a:pt x="1695768" y="862876"/>
                  </a:moveTo>
                  <a:cubicBezTo>
                    <a:pt x="2078780" y="919680"/>
                    <a:pt x="2078780" y="919680"/>
                    <a:pt x="2078780" y="919680"/>
                  </a:cubicBezTo>
                  <a:cubicBezTo>
                    <a:pt x="2078780" y="919680"/>
                    <a:pt x="2137705" y="923888"/>
                    <a:pt x="2177689" y="938615"/>
                  </a:cubicBezTo>
                  <a:cubicBezTo>
                    <a:pt x="2217674" y="951238"/>
                    <a:pt x="2274495" y="997523"/>
                    <a:pt x="2274495" y="997523"/>
                  </a:cubicBezTo>
                  <a:cubicBezTo>
                    <a:pt x="2274495" y="997523"/>
                    <a:pt x="2226092" y="984900"/>
                    <a:pt x="2192421" y="984900"/>
                  </a:cubicBezTo>
                  <a:cubicBezTo>
                    <a:pt x="2160854" y="987004"/>
                    <a:pt x="2101929" y="1026977"/>
                    <a:pt x="2082989" y="1031185"/>
                  </a:cubicBezTo>
                  <a:cubicBezTo>
                    <a:pt x="2061944" y="1035392"/>
                    <a:pt x="2013542" y="1064846"/>
                    <a:pt x="2013542" y="1064846"/>
                  </a:cubicBezTo>
                  <a:cubicBezTo>
                    <a:pt x="2013542" y="1064846"/>
                    <a:pt x="2118765" y="1039600"/>
                    <a:pt x="2177689" y="1060639"/>
                  </a:cubicBezTo>
                  <a:cubicBezTo>
                    <a:pt x="2234510" y="1081677"/>
                    <a:pt x="2276599" y="1062742"/>
                    <a:pt x="2320793" y="1102716"/>
                  </a:cubicBezTo>
                  <a:cubicBezTo>
                    <a:pt x="2362882" y="1142689"/>
                    <a:pt x="2402867" y="1193182"/>
                    <a:pt x="2402867" y="1193182"/>
                  </a:cubicBezTo>
                  <a:lnTo>
                    <a:pt x="2477977" y="1304520"/>
                  </a:lnTo>
                  <a:lnTo>
                    <a:pt x="2495231" y="1302276"/>
                  </a:lnTo>
                  <a:lnTo>
                    <a:pt x="2479203" y="1263722"/>
                  </a:lnTo>
                  <a:cubicBezTo>
                    <a:pt x="2435552" y="1159125"/>
                    <a:pt x="2373405" y="1012512"/>
                    <a:pt x="2352360" y="974380"/>
                  </a:cubicBezTo>
                  <a:cubicBezTo>
                    <a:pt x="2320793" y="913369"/>
                    <a:pt x="2238719" y="886019"/>
                    <a:pt x="2194525" y="875499"/>
                  </a:cubicBezTo>
                  <a:cubicBezTo>
                    <a:pt x="2150331" y="862876"/>
                    <a:pt x="1695768" y="862876"/>
                    <a:pt x="1695768" y="862876"/>
                  </a:cubicBezTo>
                  <a:close/>
                  <a:moveTo>
                    <a:pt x="2884074" y="435929"/>
                  </a:moveTo>
                  <a:cubicBezTo>
                    <a:pt x="2884074" y="435929"/>
                    <a:pt x="2919884" y="555927"/>
                    <a:pt x="2987291" y="631716"/>
                  </a:cubicBezTo>
                  <a:cubicBezTo>
                    <a:pt x="3054698" y="705399"/>
                    <a:pt x="3130531" y="1008552"/>
                    <a:pt x="3130531" y="1008552"/>
                  </a:cubicBezTo>
                  <a:cubicBezTo>
                    <a:pt x="3130531" y="1008552"/>
                    <a:pt x="3115786" y="812766"/>
                    <a:pt x="3063124" y="682241"/>
                  </a:cubicBezTo>
                  <a:cubicBezTo>
                    <a:pt x="3063124" y="682241"/>
                    <a:pt x="2993611" y="549612"/>
                    <a:pt x="2970440" y="520138"/>
                  </a:cubicBezTo>
                  <a:cubicBezTo>
                    <a:pt x="2945162" y="490665"/>
                    <a:pt x="2884074" y="435929"/>
                    <a:pt x="2884074" y="435929"/>
                  </a:cubicBezTo>
                  <a:close/>
                  <a:moveTo>
                    <a:pt x="990408" y="698"/>
                  </a:moveTo>
                  <a:cubicBezTo>
                    <a:pt x="1005101" y="-321"/>
                    <a:pt x="1021142" y="-189"/>
                    <a:pt x="1039550" y="863"/>
                  </a:cubicBezTo>
                  <a:cubicBezTo>
                    <a:pt x="1111078" y="5070"/>
                    <a:pt x="1258341" y="38728"/>
                    <a:pt x="1348803" y="72387"/>
                  </a:cubicBezTo>
                  <a:cubicBezTo>
                    <a:pt x="1439264" y="103941"/>
                    <a:pt x="1653848" y="181776"/>
                    <a:pt x="1737998" y="232264"/>
                  </a:cubicBezTo>
                  <a:cubicBezTo>
                    <a:pt x="1830564" y="284855"/>
                    <a:pt x="1914714" y="318513"/>
                    <a:pt x="2005176" y="371104"/>
                  </a:cubicBezTo>
                  <a:cubicBezTo>
                    <a:pt x="2051459" y="397400"/>
                    <a:pt x="2127194" y="436317"/>
                    <a:pt x="2203455" y="477601"/>
                  </a:cubicBezTo>
                  <a:lnTo>
                    <a:pt x="2296994" y="530121"/>
                  </a:lnTo>
                  <a:lnTo>
                    <a:pt x="2323986" y="546882"/>
                  </a:lnTo>
                  <a:lnTo>
                    <a:pt x="2357160" y="567482"/>
                  </a:lnTo>
                  <a:lnTo>
                    <a:pt x="2404890" y="598298"/>
                  </a:lnTo>
                  <a:lnTo>
                    <a:pt x="2415440" y="605928"/>
                  </a:lnTo>
                  <a:lnTo>
                    <a:pt x="2362991" y="493093"/>
                  </a:lnTo>
                  <a:cubicBezTo>
                    <a:pt x="2362991" y="493093"/>
                    <a:pt x="2362991" y="493093"/>
                    <a:pt x="2329266" y="483333"/>
                  </a:cubicBezTo>
                  <a:lnTo>
                    <a:pt x="2307060" y="476906"/>
                  </a:lnTo>
                  <a:lnTo>
                    <a:pt x="2313198" y="470584"/>
                  </a:lnTo>
                  <a:cubicBezTo>
                    <a:pt x="2335494" y="447752"/>
                    <a:pt x="2406858" y="375701"/>
                    <a:pt x="2460566" y="333037"/>
                  </a:cubicBezTo>
                  <a:lnTo>
                    <a:pt x="2482676" y="317005"/>
                  </a:lnTo>
                  <a:lnTo>
                    <a:pt x="2522361" y="296868"/>
                  </a:lnTo>
                  <a:lnTo>
                    <a:pt x="2554579" y="283748"/>
                  </a:lnTo>
                  <a:cubicBezTo>
                    <a:pt x="2588217" y="269017"/>
                    <a:pt x="2633417" y="251656"/>
                    <a:pt x="2694384" y="254812"/>
                  </a:cubicBezTo>
                  <a:cubicBezTo>
                    <a:pt x="2724868" y="256391"/>
                    <a:pt x="2759293" y="263098"/>
                    <a:pt x="2798186" y="277829"/>
                  </a:cubicBezTo>
                  <a:cubicBezTo>
                    <a:pt x="2951656" y="336753"/>
                    <a:pt x="2857052" y="260994"/>
                    <a:pt x="2857052" y="260994"/>
                  </a:cubicBezTo>
                  <a:cubicBezTo>
                    <a:pt x="2857052" y="260994"/>
                    <a:pt x="2858530" y="261224"/>
                    <a:pt x="2861191" y="261705"/>
                  </a:cubicBezTo>
                  <a:lnTo>
                    <a:pt x="2866568" y="262766"/>
                  </a:lnTo>
                  <a:lnTo>
                    <a:pt x="2867847" y="263215"/>
                  </a:lnTo>
                  <a:cubicBezTo>
                    <a:pt x="2872013" y="264887"/>
                    <a:pt x="2874182" y="265939"/>
                    <a:pt x="2874182" y="265939"/>
                  </a:cubicBezTo>
                  <a:cubicBezTo>
                    <a:pt x="2874182" y="265939"/>
                    <a:pt x="2875760" y="265775"/>
                    <a:pt x="2878772" y="265783"/>
                  </a:cubicBezTo>
                  <a:lnTo>
                    <a:pt x="2879970" y="265863"/>
                  </a:lnTo>
                  <a:lnTo>
                    <a:pt x="2909084" y="273357"/>
                  </a:lnTo>
                  <a:cubicBezTo>
                    <a:pt x="2937466" y="282038"/>
                    <a:pt x="2970577" y="295717"/>
                    <a:pt x="2989498" y="315709"/>
                  </a:cubicBezTo>
                  <a:cubicBezTo>
                    <a:pt x="3027340" y="357797"/>
                    <a:pt x="3391043" y="702920"/>
                    <a:pt x="3365815" y="925987"/>
                  </a:cubicBezTo>
                  <a:cubicBezTo>
                    <a:pt x="3351098" y="1060670"/>
                    <a:pt x="3227061" y="1315303"/>
                    <a:pt x="3233368" y="1376331"/>
                  </a:cubicBezTo>
                  <a:cubicBezTo>
                    <a:pt x="3234682" y="1385538"/>
                    <a:pt x="3236920" y="1397159"/>
                    <a:pt x="3239761" y="1410216"/>
                  </a:cubicBezTo>
                  <a:lnTo>
                    <a:pt x="3243622" y="1426604"/>
                  </a:lnTo>
                  <a:lnTo>
                    <a:pt x="3302854" y="1472111"/>
                  </a:lnTo>
                  <a:cubicBezTo>
                    <a:pt x="3370331" y="1532754"/>
                    <a:pt x="3422311" y="1609600"/>
                    <a:pt x="3442037" y="1705090"/>
                  </a:cubicBezTo>
                  <a:lnTo>
                    <a:pt x="3433973" y="1732860"/>
                  </a:lnTo>
                  <a:lnTo>
                    <a:pt x="3404867" y="1673697"/>
                  </a:lnTo>
                  <a:cubicBezTo>
                    <a:pt x="3399074" y="1661664"/>
                    <a:pt x="3393479" y="1649944"/>
                    <a:pt x="3388345" y="1639131"/>
                  </a:cubicBezTo>
                  <a:lnTo>
                    <a:pt x="3377441" y="1616053"/>
                  </a:lnTo>
                  <a:lnTo>
                    <a:pt x="3359581" y="1565598"/>
                  </a:lnTo>
                  <a:cubicBezTo>
                    <a:pt x="3359581" y="1565598"/>
                    <a:pt x="3359581" y="1565598"/>
                    <a:pt x="3361687" y="1582431"/>
                  </a:cubicBezTo>
                  <a:cubicBezTo>
                    <a:pt x="3361687" y="1582431"/>
                    <a:pt x="3366690" y="1593215"/>
                    <a:pt x="3374588" y="1610015"/>
                  </a:cubicBezTo>
                  <a:lnTo>
                    <a:pt x="3377441" y="1616053"/>
                  </a:lnTo>
                  <a:lnTo>
                    <a:pt x="3442901" y="1800978"/>
                  </a:lnTo>
                  <a:lnTo>
                    <a:pt x="3440408" y="1796829"/>
                  </a:lnTo>
                  <a:cubicBezTo>
                    <a:pt x="3438644" y="1793891"/>
                    <a:pt x="3436291" y="1789974"/>
                    <a:pt x="3433154" y="1784752"/>
                  </a:cubicBezTo>
                  <a:cubicBezTo>
                    <a:pt x="3433154" y="1784752"/>
                    <a:pt x="3414332" y="1768041"/>
                    <a:pt x="3397602" y="1761774"/>
                  </a:cubicBezTo>
                  <a:cubicBezTo>
                    <a:pt x="3380871" y="1753418"/>
                    <a:pt x="3349501" y="1755507"/>
                    <a:pt x="3349501" y="1755507"/>
                  </a:cubicBezTo>
                  <a:cubicBezTo>
                    <a:pt x="3349501" y="1755507"/>
                    <a:pt x="3380871" y="1768041"/>
                    <a:pt x="3395510" y="1772218"/>
                  </a:cubicBezTo>
                  <a:cubicBezTo>
                    <a:pt x="3406489" y="1773785"/>
                    <a:pt x="3429233" y="1791802"/>
                    <a:pt x="3439918" y="1800713"/>
                  </a:cubicBezTo>
                  <a:lnTo>
                    <a:pt x="3444055" y="1804238"/>
                  </a:lnTo>
                  <a:lnTo>
                    <a:pt x="3555468" y="2118980"/>
                  </a:lnTo>
                  <a:cubicBezTo>
                    <a:pt x="3555468" y="2118980"/>
                    <a:pt x="3553888" y="2108460"/>
                    <a:pt x="3553362" y="2091890"/>
                  </a:cubicBezTo>
                  <a:lnTo>
                    <a:pt x="3553487" y="2080908"/>
                  </a:lnTo>
                  <a:lnTo>
                    <a:pt x="3554536" y="2083695"/>
                  </a:lnTo>
                  <a:cubicBezTo>
                    <a:pt x="3566426" y="2115277"/>
                    <a:pt x="3569399" y="2123172"/>
                    <a:pt x="3570142" y="2125146"/>
                  </a:cubicBezTo>
                  <a:lnTo>
                    <a:pt x="3570375" y="2125765"/>
                  </a:lnTo>
                  <a:lnTo>
                    <a:pt x="3570326" y="2125774"/>
                  </a:lnTo>
                  <a:cubicBezTo>
                    <a:pt x="3545075" y="2130508"/>
                    <a:pt x="3536395" y="2124591"/>
                    <a:pt x="3524755" y="2128437"/>
                  </a:cubicBezTo>
                  <a:lnTo>
                    <a:pt x="3520991" y="2130652"/>
                  </a:lnTo>
                  <a:lnTo>
                    <a:pt x="3519898" y="2125754"/>
                  </a:lnTo>
                  <a:cubicBezTo>
                    <a:pt x="3517794" y="2116808"/>
                    <a:pt x="3515165" y="2106809"/>
                    <a:pt x="3513061" y="2102599"/>
                  </a:cubicBezTo>
                  <a:cubicBezTo>
                    <a:pt x="3510958" y="2096283"/>
                    <a:pt x="3498337" y="2064707"/>
                    <a:pt x="3485716" y="2058392"/>
                  </a:cubicBezTo>
                  <a:cubicBezTo>
                    <a:pt x="3475198" y="2052077"/>
                    <a:pt x="3435232" y="2037341"/>
                    <a:pt x="3422611" y="2039446"/>
                  </a:cubicBezTo>
                  <a:cubicBezTo>
                    <a:pt x="3409989" y="2039446"/>
                    <a:pt x="3397368" y="2045762"/>
                    <a:pt x="3384747" y="2043657"/>
                  </a:cubicBezTo>
                  <a:cubicBezTo>
                    <a:pt x="3372126" y="2041551"/>
                    <a:pt x="3334263" y="2031026"/>
                    <a:pt x="3334263" y="2031026"/>
                  </a:cubicBezTo>
                  <a:cubicBezTo>
                    <a:pt x="3378437" y="2058392"/>
                    <a:pt x="3378437" y="2058392"/>
                    <a:pt x="3378437" y="2058392"/>
                  </a:cubicBezTo>
                  <a:cubicBezTo>
                    <a:pt x="3378437" y="2058392"/>
                    <a:pt x="3359505" y="2079443"/>
                    <a:pt x="3357402" y="2092073"/>
                  </a:cubicBezTo>
                  <a:cubicBezTo>
                    <a:pt x="3348988" y="2111019"/>
                    <a:pt x="3351091" y="2140490"/>
                    <a:pt x="3351091" y="2140490"/>
                  </a:cubicBezTo>
                  <a:cubicBezTo>
                    <a:pt x="3317435" y="2140490"/>
                    <a:pt x="3317435" y="2140490"/>
                    <a:pt x="3317435" y="2140490"/>
                  </a:cubicBezTo>
                  <a:cubicBezTo>
                    <a:pt x="3317435" y="2140490"/>
                    <a:pt x="3348988" y="2148910"/>
                    <a:pt x="3359505" y="2155225"/>
                  </a:cubicBezTo>
                  <a:cubicBezTo>
                    <a:pt x="3370023" y="2161541"/>
                    <a:pt x="3395265" y="2172066"/>
                    <a:pt x="3416300" y="2180486"/>
                  </a:cubicBezTo>
                  <a:cubicBezTo>
                    <a:pt x="3432076" y="2186801"/>
                    <a:pt x="3457318" y="2199037"/>
                    <a:pt x="3468953" y="2204760"/>
                  </a:cubicBezTo>
                  <a:lnTo>
                    <a:pt x="3471183" y="2205864"/>
                  </a:lnTo>
                  <a:lnTo>
                    <a:pt x="3465112" y="2222558"/>
                  </a:lnTo>
                  <a:cubicBezTo>
                    <a:pt x="3458799" y="2247805"/>
                    <a:pt x="3418818" y="2359317"/>
                    <a:pt x="3404088" y="2397188"/>
                  </a:cubicBezTo>
                  <a:cubicBezTo>
                    <a:pt x="3389358" y="2435060"/>
                    <a:pt x="3303083" y="2544467"/>
                    <a:pt x="3303083" y="2544467"/>
                  </a:cubicBezTo>
                  <a:cubicBezTo>
                    <a:pt x="3303083" y="2544467"/>
                    <a:pt x="3383045" y="2468724"/>
                    <a:pt x="3395671" y="2456100"/>
                  </a:cubicBezTo>
                  <a:cubicBezTo>
                    <a:pt x="3410401" y="2443476"/>
                    <a:pt x="3429339" y="2411916"/>
                    <a:pt x="3450382" y="2386668"/>
                  </a:cubicBezTo>
                  <a:cubicBezTo>
                    <a:pt x="3469321" y="2363525"/>
                    <a:pt x="3515615" y="2209934"/>
                    <a:pt x="3526136" y="2184686"/>
                  </a:cubicBezTo>
                  <a:cubicBezTo>
                    <a:pt x="3538762" y="2157334"/>
                    <a:pt x="3574535" y="2159438"/>
                    <a:pt x="3618725" y="2163646"/>
                  </a:cubicBezTo>
                  <a:cubicBezTo>
                    <a:pt x="3665019" y="2167854"/>
                    <a:pt x="3707104" y="2155230"/>
                    <a:pt x="3751294" y="2136294"/>
                  </a:cubicBezTo>
                  <a:cubicBezTo>
                    <a:pt x="3772337" y="2126826"/>
                    <a:pt x="3786015" y="2113676"/>
                    <a:pt x="3799430" y="2104735"/>
                  </a:cubicBezTo>
                  <a:lnTo>
                    <a:pt x="3810437" y="2099831"/>
                  </a:lnTo>
                  <a:lnTo>
                    <a:pt x="3824461" y="2097367"/>
                  </a:lnTo>
                  <a:lnTo>
                    <a:pt x="3829342" y="2096510"/>
                  </a:lnTo>
                  <a:lnTo>
                    <a:pt x="3845987" y="2098423"/>
                  </a:lnTo>
                  <a:cubicBezTo>
                    <a:pt x="3885968" y="2111046"/>
                    <a:pt x="3894385" y="2134190"/>
                    <a:pt x="3904907" y="2180478"/>
                  </a:cubicBezTo>
                  <a:cubicBezTo>
                    <a:pt x="3915428" y="2226766"/>
                    <a:pt x="3885968" y="2315133"/>
                    <a:pt x="3885968" y="2315133"/>
                  </a:cubicBezTo>
                  <a:cubicBezTo>
                    <a:pt x="3885968" y="2315133"/>
                    <a:pt x="3885508" y="2319834"/>
                    <a:pt x="3884225" y="2328571"/>
                  </a:cubicBezTo>
                  <a:lnTo>
                    <a:pt x="3881324" y="2344937"/>
                  </a:lnTo>
                  <a:lnTo>
                    <a:pt x="3878738" y="2354578"/>
                  </a:lnTo>
                  <a:cubicBezTo>
                    <a:pt x="3870987" y="2383473"/>
                    <a:pt x="3863790" y="2410304"/>
                    <a:pt x="3857107" y="2435219"/>
                  </a:cubicBezTo>
                  <a:lnTo>
                    <a:pt x="3839183" y="2502042"/>
                  </a:lnTo>
                  <a:lnTo>
                    <a:pt x="3806236" y="2584501"/>
                  </a:lnTo>
                  <a:cubicBezTo>
                    <a:pt x="3765301" y="2675605"/>
                    <a:pt x="3703948" y="2779062"/>
                    <a:pt x="3612412" y="2876897"/>
                  </a:cubicBezTo>
                  <a:cubicBezTo>
                    <a:pt x="3370419" y="3137791"/>
                    <a:pt x="3046360" y="2935809"/>
                    <a:pt x="3004275" y="2912665"/>
                  </a:cubicBezTo>
                  <a:cubicBezTo>
                    <a:pt x="2962189" y="2889521"/>
                    <a:pt x="2852767" y="2792738"/>
                    <a:pt x="2812785" y="2759074"/>
                  </a:cubicBezTo>
                  <a:cubicBezTo>
                    <a:pt x="2770700" y="2725410"/>
                    <a:pt x="2726510" y="2651771"/>
                    <a:pt x="2726510" y="2651771"/>
                  </a:cubicBezTo>
                  <a:cubicBezTo>
                    <a:pt x="2726510" y="2651771"/>
                    <a:pt x="2724406" y="2649667"/>
                    <a:pt x="2722301" y="2655979"/>
                  </a:cubicBezTo>
                  <a:cubicBezTo>
                    <a:pt x="2720197" y="2662291"/>
                    <a:pt x="2699154" y="2727514"/>
                    <a:pt x="2686529" y="2750658"/>
                  </a:cubicBezTo>
                  <a:cubicBezTo>
                    <a:pt x="2676007" y="2771698"/>
                    <a:pt x="2661277" y="2782218"/>
                    <a:pt x="2646547" y="2799050"/>
                  </a:cubicBezTo>
                  <a:cubicBezTo>
                    <a:pt x="2633922" y="2817986"/>
                    <a:pt x="2612879" y="2845337"/>
                    <a:pt x="2593940" y="2887417"/>
                  </a:cubicBezTo>
                  <a:cubicBezTo>
                    <a:pt x="2575002" y="2929497"/>
                    <a:pt x="2606566" y="2963160"/>
                    <a:pt x="2606566" y="2963160"/>
                  </a:cubicBezTo>
                  <a:cubicBezTo>
                    <a:pt x="2627609" y="2988408"/>
                    <a:pt x="2697050" y="3005240"/>
                    <a:pt x="2724406" y="3001032"/>
                  </a:cubicBezTo>
                  <a:cubicBezTo>
                    <a:pt x="2654964" y="2986304"/>
                    <a:pt x="2614983" y="2916873"/>
                    <a:pt x="2614983" y="2916873"/>
                  </a:cubicBezTo>
                  <a:cubicBezTo>
                    <a:pt x="2614983" y="2916873"/>
                    <a:pt x="2614983" y="2916873"/>
                    <a:pt x="2636026" y="2931601"/>
                  </a:cubicBezTo>
                  <a:cubicBezTo>
                    <a:pt x="2654964" y="2946329"/>
                    <a:pt x="2688633" y="2969472"/>
                    <a:pt x="2741240" y="2975784"/>
                  </a:cubicBezTo>
                  <a:cubicBezTo>
                    <a:pt x="2793847" y="2982096"/>
                    <a:pt x="2823307" y="2935809"/>
                    <a:pt x="2823307" y="2935809"/>
                  </a:cubicBezTo>
                  <a:cubicBezTo>
                    <a:pt x="2823307" y="2935809"/>
                    <a:pt x="2823307" y="2935809"/>
                    <a:pt x="2869601" y="2874793"/>
                  </a:cubicBezTo>
                  <a:cubicBezTo>
                    <a:pt x="2869601" y="2874793"/>
                    <a:pt x="2869601" y="2874793"/>
                    <a:pt x="2909582" y="2914769"/>
                  </a:cubicBezTo>
                  <a:cubicBezTo>
                    <a:pt x="2909582" y="2914769"/>
                    <a:pt x="2838037" y="2988408"/>
                    <a:pt x="2804368" y="3009448"/>
                  </a:cubicBezTo>
                  <a:cubicBezTo>
                    <a:pt x="2770700" y="3030488"/>
                    <a:pt x="2715988" y="3045216"/>
                    <a:pt x="2631817" y="3019968"/>
                  </a:cubicBezTo>
                  <a:lnTo>
                    <a:pt x="2592812" y="2997729"/>
                  </a:lnTo>
                  <a:lnTo>
                    <a:pt x="2571463" y="2978979"/>
                  </a:lnTo>
                  <a:lnTo>
                    <a:pt x="2569646" y="2977384"/>
                  </a:lnTo>
                  <a:lnTo>
                    <a:pt x="2550477" y="2953365"/>
                  </a:lnTo>
                  <a:lnTo>
                    <a:pt x="2543509" y="2942341"/>
                  </a:lnTo>
                  <a:lnTo>
                    <a:pt x="2527951" y="2910199"/>
                  </a:lnTo>
                  <a:cubicBezTo>
                    <a:pt x="2524104" y="2900173"/>
                    <a:pt x="2522395" y="2893729"/>
                    <a:pt x="2522395" y="2893729"/>
                  </a:cubicBezTo>
                  <a:cubicBezTo>
                    <a:pt x="2522395" y="2893729"/>
                    <a:pt x="2522395" y="2893729"/>
                    <a:pt x="2457162" y="2748554"/>
                  </a:cubicBezTo>
                  <a:cubicBezTo>
                    <a:pt x="2457162" y="2748554"/>
                    <a:pt x="2396138" y="2689642"/>
                    <a:pt x="2362469" y="2651771"/>
                  </a:cubicBezTo>
                  <a:lnTo>
                    <a:pt x="2340024" y="2621933"/>
                  </a:lnTo>
                  <a:lnTo>
                    <a:pt x="2338457" y="2619477"/>
                  </a:lnTo>
                  <a:cubicBezTo>
                    <a:pt x="2304048" y="2565541"/>
                    <a:pt x="2304048" y="2565541"/>
                    <a:pt x="2304048" y="2565541"/>
                  </a:cubicBezTo>
                  <a:cubicBezTo>
                    <a:pt x="2304048" y="2565541"/>
                    <a:pt x="2271838" y="2433449"/>
                    <a:pt x="2335655" y="2318674"/>
                  </a:cubicBezTo>
                  <a:lnTo>
                    <a:pt x="2366996" y="2274192"/>
                  </a:lnTo>
                  <a:lnTo>
                    <a:pt x="2347572" y="2275513"/>
                  </a:lnTo>
                  <a:cubicBezTo>
                    <a:pt x="2338243" y="2274970"/>
                    <a:pt x="2329202" y="2273030"/>
                    <a:pt x="2320522" y="2269084"/>
                  </a:cubicBezTo>
                  <a:cubicBezTo>
                    <a:pt x="2253189" y="2237517"/>
                    <a:pt x="2057503" y="2182801"/>
                    <a:pt x="2038565" y="2062847"/>
                  </a:cubicBezTo>
                  <a:cubicBezTo>
                    <a:pt x="2024363" y="1972882"/>
                    <a:pt x="2014894" y="1779929"/>
                    <a:pt x="2043892" y="1618938"/>
                  </a:cubicBezTo>
                  <a:lnTo>
                    <a:pt x="2058099" y="1557525"/>
                  </a:lnTo>
                  <a:lnTo>
                    <a:pt x="2055755" y="1558228"/>
                  </a:lnTo>
                  <a:lnTo>
                    <a:pt x="2050316" y="1559430"/>
                  </a:lnTo>
                  <a:cubicBezTo>
                    <a:pt x="1969609" y="1577348"/>
                    <a:pt x="1639648" y="1651436"/>
                    <a:pt x="1525518" y="1690090"/>
                  </a:cubicBezTo>
                  <a:cubicBezTo>
                    <a:pt x="1395085" y="1734267"/>
                    <a:pt x="1087937" y="1875211"/>
                    <a:pt x="946985" y="1875211"/>
                  </a:cubicBezTo>
                  <a:cubicBezTo>
                    <a:pt x="751335" y="1873108"/>
                    <a:pt x="559893" y="1858382"/>
                    <a:pt x="559893" y="1858382"/>
                  </a:cubicBezTo>
                  <a:cubicBezTo>
                    <a:pt x="559893" y="1858382"/>
                    <a:pt x="488365" y="1593323"/>
                    <a:pt x="412630" y="1498659"/>
                  </a:cubicBezTo>
                  <a:cubicBezTo>
                    <a:pt x="334791" y="1403995"/>
                    <a:pt x="94962" y="1208355"/>
                    <a:pt x="46576" y="1063204"/>
                  </a:cubicBezTo>
                  <a:cubicBezTo>
                    <a:pt x="293" y="915949"/>
                    <a:pt x="-24952" y="798144"/>
                    <a:pt x="36057" y="665615"/>
                  </a:cubicBezTo>
                  <a:cubicBezTo>
                    <a:pt x="94962" y="535189"/>
                    <a:pt x="191735" y="459457"/>
                    <a:pt x="191735" y="459457"/>
                  </a:cubicBezTo>
                  <a:cubicBezTo>
                    <a:pt x="191735" y="459457"/>
                    <a:pt x="294819" y="455250"/>
                    <a:pt x="374762" y="465768"/>
                  </a:cubicBezTo>
                  <a:cubicBezTo>
                    <a:pt x="456809" y="476287"/>
                    <a:pt x="587242" y="499427"/>
                    <a:pt x="677704" y="528878"/>
                  </a:cubicBezTo>
                  <a:cubicBezTo>
                    <a:pt x="766061" y="558329"/>
                    <a:pt x="1090040" y="713999"/>
                    <a:pt x="1090040" y="713999"/>
                  </a:cubicBezTo>
                  <a:cubicBezTo>
                    <a:pt x="736609" y="514152"/>
                    <a:pt x="736609" y="514152"/>
                    <a:pt x="736609" y="514152"/>
                  </a:cubicBezTo>
                  <a:cubicBezTo>
                    <a:pt x="503092" y="423695"/>
                    <a:pt x="503092" y="423695"/>
                    <a:pt x="503092" y="423695"/>
                  </a:cubicBezTo>
                  <a:cubicBezTo>
                    <a:pt x="503092" y="423695"/>
                    <a:pt x="606176" y="362690"/>
                    <a:pt x="700845" y="246989"/>
                  </a:cubicBezTo>
                  <a:cubicBezTo>
                    <a:pt x="795514" y="131289"/>
                    <a:pt x="803929" y="89216"/>
                    <a:pt x="867042" y="47143"/>
                  </a:cubicBezTo>
                  <a:cubicBezTo>
                    <a:pt x="914377" y="17166"/>
                    <a:pt x="946327" y="3755"/>
                    <a:pt x="990408" y="698"/>
                  </a:cubicBezTo>
                  <a:close/>
                </a:path>
              </a:pathLst>
            </a:custGeom>
            <a:solidFill>
              <a:schemeClr val="bg1"/>
            </a:solidFill>
            <a:ln w="3175">
              <a:noFill/>
            </a:ln>
          </p:spPr>
          <p:txBody>
            <a:bodyPr vert="horz" wrap="square" lIns="91415" tIns="45707" rIns="91415" bIns="45707" numCol="1" anchor="t" anchorCtr="0" compatLnSpc="1">
              <a:prstTxWarp prst="textNoShape">
                <a:avLst/>
              </a:prstTxWarp>
              <a:noAutofit/>
            </a:bodyPr>
            <a:lstStyle/>
            <a:p>
              <a:pPr defTabSz="932470"/>
              <a:endParaRPr lang="en-IN">
                <a:solidFill>
                  <a:srgbClr val="505050"/>
                </a:solidFill>
                <a:latin typeface="Segoe UI"/>
                <a:ea typeface="MS PGothic" charset="0"/>
              </a:endParaRPr>
            </a:p>
          </p:txBody>
        </p:sp>
      </p:grpSp>
      <p:pic>
        <p:nvPicPr>
          <p:cNvPr id="19" name="Picture 4" descr="http://www.thebhwgroup.com/blog/wp-content/uploads/2014/10/pig-logo.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1277083" y="4246511"/>
            <a:ext cx="660795" cy="993676"/>
          </a:xfrm>
          <a:prstGeom prst="rect">
            <a:avLst/>
          </a:prstGeom>
          <a:noFill/>
          <a:extLst>
            <a:ext uri="{909E8E84-426E-40DD-AFC4-6F175D3DCCD1}">
              <a14:hiddenFill xmlns:a14="http://schemas.microsoft.com/office/drawing/2010/main">
                <a:solidFill>
                  <a:srgbClr val="FFFFFF"/>
                </a:solidFill>
              </a14:hiddenFill>
            </a:ext>
          </a:extLst>
        </p:spPr>
      </p:pic>
      <p:pic>
        <p:nvPicPr>
          <p:cNvPr id="20" name="Picture 19"/>
          <p:cNvPicPr>
            <a:picLocks noChangeAspect="1"/>
          </p:cNvPicPr>
          <p:nvPr/>
        </p:nvPicPr>
        <p:blipFill>
          <a:blip r:embed="rId5"/>
          <a:stretch>
            <a:fillRect/>
          </a:stretch>
        </p:blipFill>
        <p:spPr>
          <a:xfrm>
            <a:off x="7532740" y="4184398"/>
            <a:ext cx="1150809" cy="1055788"/>
          </a:xfrm>
          <a:prstGeom prst="rect">
            <a:avLst/>
          </a:prstGeom>
          <a:solidFill>
            <a:schemeClr val="accent3"/>
          </a:solidFill>
        </p:spPr>
      </p:pic>
      <p:pic>
        <p:nvPicPr>
          <p:cNvPr id="27650" name="Picture 2" descr="https://zeppelin.incubator.apache.org/assets/themes/zeppelin/img/spark_logo.jp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8142684" y="3047260"/>
            <a:ext cx="1045678" cy="1045678"/>
          </a:xfrm>
          <a:prstGeom prst="rect">
            <a:avLst/>
          </a:prstGeom>
          <a:noFill/>
          <a:extLst>
            <a:ext uri="{909E8E84-426E-40DD-AFC4-6F175D3DCCD1}">
              <a14:hiddenFill xmlns:a14="http://schemas.microsoft.com/office/drawing/2010/main">
                <a:solidFill>
                  <a:srgbClr val="FFFFFF"/>
                </a:solidFill>
              </a14:hiddenFill>
            </a:ext>
          </a:extLst>
        </p:spPr>
      </p:pic>
      <p:pic>
        <p:nvPicPr>
          <p:cNvPr id="27652" name="Picture 4" descr="https://www.mapr.com/sites/default/files/squoop-image.pn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8012782" y="5562078"/>
            <a:ext cx="1832097" cy="610700"/>
          </a:xfrm>
          <a:prstGeom prst="rect">
            <a:avLst/>
          </a:prstGeom>
          <a:noFill/>
          <a:extLst>
            <a:ext uri="{909E8E84-426E-40DD-AFC4-6F175D3DCCD1}">
              <a14:hiddenFill xmlns:a14="http://schemas.microsoft.com/office/drawing/2010/main">
                <a:solidFill>
                  <a:srgbClr val="FFFFFF"/>
                </a:solidFill>
              </a14:hiddenFill>
            </a:ext>
          </a:extLst>
        </p:spPr>
      </p:pic>
      <p:pic>
        <p:nvPicPr>
          <p:cNvPr id="27654" name="Picture 6" descr="https://cwiki.apache.org/confluence/download/attachments/30737784/oozie_282x1178.png?version=1&amp;modificationDate=1349284899000&amp;api=v2"/>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10058438" y="5638986"/>
            <a:ext cx="1908550" cy="456886"/>
          </a:xfrm>
          <a:prstGeom prst="rect">
            <a:avLst/>
          </a:prstGeom>
          <a:noFill/>
          <a:extLst>
            <a:ext uri="{909E8E84-426E-40DD-AFC4-6F175D3DCCD1}">
              <a14:hiddenFill xmlns:a14="http://schemas.microsoft.com/office/drawing/2010/main">
                <a:solidFill>
                  <a:srgbClr val="FFFFFF"/>
                </a:solidFill>
              </a14:hiddenFill>
            </a:ext>
          </a:extLst>
        </p:spPr>
      </p:pic>
      <p:sp>
        <p:nvSpPr>
          <p:cNvPr id="21" name="TextBox 20"/>
          <p:cNvSpPr txBox="1"/>
          <p:nvPr/>
        </p:nvSpPr>
        <p:spPr>
          <a:xfrm flipH="1">
            <a:off x="7914841" y="2099294"/>
            <a:ext cx="4105631" cy="652738"/>
          </a:xfrm>
          <a:prstGeom prst="rect">
            <a:avLst/>
          </a:prstGeom>
          <a:noFill/>
        </p:spPr>
        <p:txBody>
          <a:bodyPr wrap="square" lIns="186497" tIns="93248" rIns="186497" bIns="93248" rtlCol="0">
            <a:noAutofit/>
          </a:bodyPr>
          <a:lstStyle/>
          <a:p>
            <a:pPr defTabSz="932504">
              <a:lnSpc>
                <a:spcPct val="90000"/>
              </a:lnSpc>
              <a:spcAft>
                <a:spcPts val="612"/>
              </a:spcAft>
            </a:pPr>
            <a:r>
              <a:rPr lang="en-US" sz="1836" dirty="0">
                <a:solidFill>
                  <a:srgbClr val="000000">
                    <a:lumMod val="65000"/>
                    <a:lumOff val="35000"/>
                  </a:srgbClr>
                </a:solidFill>
                <a:latin typeface="Segoe UI"/>
                <a:ea typeface="MS PGothic" charset="0"/>
              </a:rPr>
              <a:t>In addition to the core, HDInsight supports the Hadoop Ecosystem</a:t>
            </a:r>
          </a:p>
        </p:txBody>
      </p:sp>
      <p:pic>
        <p:nvPicPr>
          <p:cNvPr id="27656" name="Picture 8" descr="Apache HBase"/>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10445288" y="3382362"/>
            <a:ext cx="1497149" cy="382251"/>
          </a:xfrm>
          <a:prstGeom prst="rect">
            <a:avLst/>
          </a:prstGeom>
          <a:noFill/>
          <a:extLst>
            <a:ext uri="{909E8E84-426E-40DD-AFC4-6F175D3DCCD1}">
              <a14:hiddenFill xmlns:a14="http://schemas.microsoft.com/office/drawing/2010/main">
                <a:solidFill>
                  <a:srgbClr val="FFFFFF"/>
                </a:solidFill>
              </a14:hiddenFill>
            </a:ext>
          </a:extLst>
        </p:spPr>
      </p:pic>
      <p:sp>
        <p:nvSpPr>
          <p:cNvPr id="23" name="Oval 22"/>
          <p:cNvSpPr/>
          <p:nvPr/>
        </p:nvSpPr>
        <p:spPr bwMode="auto">
          <a:xfrm>
            <a:off x="8328110" y="3224749"/>
            <a:ext cx="3092594" cy="3027956"/>
          </a:xfrm>
          <a:prstGeom prst="ellipse">
            <a:avLst/>
          </a:prstGeom>
          <a:noFill/>
          <a:ln>
            <a:solidFill>
              <a:schemeClr val="bg1">
                <a:lumMod val="95000"/>
              </a:schemeClr>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ctr" defTabSz="950933" fontAlgn="base">
              <a:lnSpc>
                <a:spcPct val="90000"/>
              </a:lnSpc>
              <a:spcBef>
                <a:spcPct val="0"/>
              </a:spcBef>
              <a:spcAft>
                <a:spcPct val="0"/>
              </a:spcAft>
            </a:pPr>
            <a:endParaRPr lang="en-US" sz="2040" b="1" dirty="0">
              <a:solidFill>
                <a:srgbClr val="FFFFFF"/>
              </a:solidFill>
              <a:latin typeface="Segoe UI Light"/>
              <a:ea typeface="Segoe UI" pitchFamily="34" charset="0"/>
              <a:cs typeface="Segoe UI" pitchFamily="34" charset="0"/>
            </a:endParaRPr>
          </a:p>
        </p:txBody>
      </p:sp>
    </p:spTree>
    <p:extLst>
      <p:ext uri="{BB962C8B-B14F-4D97-AF65-F5344CB8AC3E}">
        <p14:creationId xmlns:p14="http://schemas.microsoft.com/office/powerpoint/2010/main" val="2400191639"/>
      </p:ext>
    </p:extLst>
  </p:cSld>
  <p:clrMapOvr>
    <a:masterClrMapping/>
  </p:clrMapOvr>
  <p:transition spd="med">
    <p:fade/>
  </p:transition>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366168" y="1212851"/>
            <a:ext cx="11252518" cy="2597634"/>
          </a:xfrm>
        </p:spPr>
        <p:txBody>
          <a:bodyPr/>
          <a:lstStyle/>
          <a:p>
            <a:pPr marL="0" indent="0">
              <a:buNone/>
            </a:pPr>
            <a:r>
              <a:rPr lang="en-US" sz="3200" dirty="0">
                <a:gradFill>
                  <a:gsLst>
                    <a:gs pos="1250">
                      <a:srgbClr val="0078D7"/>
                    </a:gs>
                    <a:gs pos="99000">
                      <a:srgbClr val="0078D7"/>
                    </a:gs>
                  </a:gsLst>
                  <a:lin ang="5400000" scaled="0"/>
                </a:gradFill>
              </a:rPr>
              <a:t>Stream analytics for near-real time processing</a:t>
            </a:r>
          </a:p>
          <a:p>
            <a:pPr marL="342900" lvl="1" indent="-342900"/>
            <a:r>
              <a:rPr lang="en-US" dirty="0"/>
              <a:t>Consumes millions of real-time events from a scalable event broker (</a:t>
            </a:r>
            <a:r>
              <a:rPr lang="en-US" dirty="0" err="1"/>
              <a:t>ie</a:t>
            </a:r>
            <a:r>
              <a:rPr lang="en-US" dirty="0"/>
              <a:t>. Apache Kafka, Azure Event Hub)</a:t>
            </a:r>
          </a:p>
          <a:p>
            <a:pPr marL="342900" lvl="1" indent="-342900"/>
            <a:r>
              <a:rPr lang="en-US" dirty="0"/>
              <a:t>Performs time-sensitive computation</a:t>
            </a:r>
          </a:p>
          <a:p>
            <a:pPr marL="342900" lvl="1" indent="-342900"/>
            <a:r>
              <a:rPr lang="en-US" dirty="0"/>
              <a:t>Output to persistent stores, dashboards, or devices</a:t>
            </a:r>
          </a:p>
          <a:p>
            <a:pPr marL="342900" lvl="1" indent="-342900"/>
            <a:r>
              <a:rPr lang="en-US" dirty="0"/>
              <a:t>Customizable with Java + .NET</a:t>
            </a:r>
          </a:p>
          <a:p>
            <a:pPr marL="342900" lvl="1" indent="-342900"/>
            <a:r>
              <a:rPr lang="en-US" dirty="0"/>
              <a:t>Deeply integrated to Visual Studio</a:t>
            </a:r>
          </a:p>
        </p:txBody>
      </p:sp>
      <p:sp>
        <p:nvSpPr>
          <p:cNvPr id="2" name="Title 1"/>
          <p:cNvSpPr>
            <a:spLocks noGrp="1"/>
          </p:cNvSpPr>
          <p:nvPr>
            <p:ph type="title"/>
          </p:nvPr>
        </p:nvSpPr>
        <p:spPr/>
        <p:txBody>
          <a:bodyPr/>
          <a:lstStyle/>
          <a:p>
            <a:r>
              <a:rPr lang="en-US" dirty="0"/>
              <a:t>HDInsight Storm</a:t>
            </a:r>
          </a:p>
        </p:txBody>
      </p:sp>
      <p:grpSp>
        <p:nvGrpSpPr>
          <p:cNvPr id="316" name="Group 315"/>
          <p:cNvGrpSpPr/>
          <p:nvPr/>
        </p:nvGrpSpPr>
        <p:grpSpPr>
          <a:xfrm>
            <a:off x="489077" y="3863751"/>
            <a:ext cx="6422781" cy="2748753"/>
            <a:chOff x="269240" y="1189495"/>
            <a:chExt cx="11655082" cy="5376993"/>
          </a:xfrm>
        </p:grpSpPr>
        <p:sp>
          <p:nvSpPr>
            <p:cNvPr id="317" name="Rectangle 316"/>
            <p:cNvSpPr/>
            <p:nvPr/>
          </p:nvSpPr>
          <p:spPr bwMode="auto">
            <a:xfrm>
              <a:off x="269240" y="1905095"/>
              <a:ext cx="1792850" cy="4661393"/>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34452" tIns="107562" rIns="134452" bIns="107562"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685491" fontAlgn="base">
                <a:lnSpc>
                  <a:spcPct val="90000"/>
                </a:lnSpc>
                <a:spcBef>
                  <a:spcPct val="0"/>
                </a:spcBef>
                <a:spcAft>
                  <a:spcPct val="0"/>
                </a:spcAft>
              </a:pPr>
              <a:endParaRPr lang="en-US" sz="825" dirty="0" err="1">
                <a:gradFill>
                  <a:gsLst>
                    <a:gs pos="0">
                      <a:srgbClr val="FFFFFF"/>
                    </a:gs>
                    <a:gs pos="100000">
                      <a:srgbClr val="FFFFFF"/>
                    </a:gs>
                  </a:gsLst>
                  <a:lin ang="5400000" scaled="1"/>
                </a:gradFill>
                <a:ea typeface="Segoe UI" pitchFamily="34" charset="0"/>
                <a:cs typeface="Segoe UI" pitchFamily="34" charset="0"/>
              </a:endParaRPr>
            </a:p>
          </p:txBody>
        </p:sp>
        <p:sp>
          <p:nvSpPr>
            <p:cNvPr id="318" name="Rectangle 317"/>
            <p:cNvSpPr/>
            <p:nvPr/>
          </p:nvSpPr>
          <p:spPr bwMode="auto">
            <a:xfrm>
              <a:off x="2241685" y="1905095"/>
              <a:ext cx="1792850" cy="4661393"/>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34452" tIns="107562" rIns="134452" bIns="107562"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685491" fontAlgn="base">
                <a:lnSpc>
                  <a:spcPct val="90000"/>
                </a:lnSpc>
                <a:spcBef>
                  <a:spcPct val="0"/>
                </a:spcBef>
                <a:spcAft>
                  <a:spcPct val="0"/>
                </a:spcAft>
              </a:pPr>
              <a:endParaRPr lang="en-US" sz="825" dirty="0" err="1">
                <a:gradFill>
                  <a:gsLst>
                    <a:gs pos="0">
                      <a:srgbClr val="FFFFFF"/>
                    </a:gs>
                    <a:gs pos="100000">
                      <a:srgbClr val="FFFFFF"/>
                    </a:gs>
                  </a:gsLst>
                  <a:lin ang="5400000" scaled="1"/>
                </a:gradFill>
                <a:ea typeface="Segoe UI" pitchFamily="34" charset="0"/>
                <a:cs typeface="Segoe UI" pitchFamily="34" charset="0"/>
              </a:endParaRPr>
            </a:p>
          </p:txBody>
        </p:sp>
        <p:sp>
          <p:nvSpPr>
            <p:cNvPr id="319" name="Rectangle 318"/>
            <p:cNvSpPr/>
            <p:nvPr/>
          </p:nvSpPr>
          <p:spPr bwMode="auto">
            <a:xfrm>
              <a:off x="4214131" y="1905095"/>
              <a:ext cx="1792850" cy="4661393"/>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34452" tIns="107562" rIns="134452" bIns="107562"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685491" fontAlgn="base">
                <a:lnSpc>
                  <a:spcPct val="90000"/>
                </a:lnSpc>
                <a:spcBef>
                  <a:spcPct val="0"/>
                </a:spcBef>
                <a:spcAft>
                  <a:spcPct val="0"/>
                </a:spcAft>
              </a:pPr>
              <a:endParaRPr lang="en-US" sz="825" dirty="0" err="1">
                <a:gradFill>
                  <a:gsLst>
                    <a:gs pos="0">
                      <a:srgbClr val="FFFFFF"/>
                    </a:gs>
                    <a:gs pos="100000">
                      <a:srgbClr val="FFFFFF"/>
                    </a:gs>
                  </a:gsLst>
                  <a:lin ang="5400000" scaled="1"/>
                </a:gradFill>
                <a:ea typeface="Segoe UI" pitchFamily="34" charset="0"/>
                <a:cs typeface="Segoe UI" pitchFamily="34" charset="0"/>
              </a:endParaRPr>
            </a:p>
          </p:txBody>
        </p:sp>
        <p:sp>
          <p:nvSpPr>
            <p:cNvPr id="320" name="Rectangle 319"/>
            <p:cNvSpPr/>
            <p:nvPr/>
          </p:nvSpPr>
          <p:spPr bwMode="auto">
            <a:xfrm>
              <a:off x="6186576" y="1905095"/>
              <a:ext cx="1792850" cy="4661393"/>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34452" tIns="107562" rIns="134452" bIns="107562"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685491" fontAlgn="base">
                <a:lnSpc>
                  <a:spcPct val="90000"/>
                </a:lnSpc>
                <a:spcBef>
                  <a:spcPct val="0"/>
                </a:spcBef>
                <a:spcAft>
                  <a:spcPct val="0"/>
                </a:spcAft>
              </a:pPr>
              <a:endParaRPr lang="en-US" sz="825" dirty="0" err="1">
                <a:gradFill>
                  <a:gsLst>
                    <a:gs pos="0">
                      <a:srgbClr val="FFFFFF"/>
                    </a:gs>
                    <a:gs pos="100000">
                      <a:srgbClr val="FFFFFF"/>
                    </a:gs>
                  </a:gsLst>
                  <a:lin ang="5400000" scaled="1"/>
                </a:gradFill>
                <a:ea typeface="Segoe UI" pitchFamily="34" charset="0"/>
                <a:cs typeface="Segoe UI" pitchFamily="34" charset="0"/>
              </a:endParaRPr>
            </a:p>
          </p:txBody>
        </p:sp>
        <p:sp>
          <p:nvSpPr>
            <p:cNvPr id="321" name="Rectangle 320"/>
            <p:cNvSpPr/>
            <p:nvPr/>
          </p:nvSpPr>
          <p:spPr bwMode="auto">
            <a:xfrm>
              <a:off x="8159021" y="1905095"/>
              <a:ext cx="1792850" cy="4661393"/>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34452" tIns="107562" rIns="134452" bIns="107562"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685491" fontAlgn="base">
                <a:lnSpc>
                  <a:spcPct val="90000"/>
                </a:lnSpc>
                <a:spcBef>
                  <a:spcPct val="0"/>
                </a:spcBef>
                <a:spcAft>
                  <a:spcPct val="0"/>
                </a:spcAft>
              </a:pPr>
              <a:endParaRPr lang="en-US" sz="825" dirty="0" err="1">
                <a:gradFill>
                  <a:gsLst>
                    <a:gs pos="0">
                      <a:srgbClr val="FFFFFF"/>
                    </a:gs>
                    <a:gs pos="100000">
                      <a:srgbClr val="FFFFFF"/>
                    </a:gs>
                  </a:gsLst>
                  <a:lin ang="5400000" scaled="1"/>
                </a:gradFill>
                <a:ea typeface="Segoe UI" pitchFamily="34" charset="0"/>
                <a:cs typeface="Segoe UI" pitchFamily="34" charset="0"/>
              </a:endParaRPr>
            </a:p>
          </p:txBody>
        </p:sp>
        <p:sp>
          <p:nvSpPr>
            <p:cNvPr id="322" name="Rectangle 321"/>
            <p:cNvSpPr/>
            <p:nvPr/>
          </p:nvSpPr>
          <p:spPr bwMode="auto">
            <a:xfrm>
              <a:off x="10131468" y="1840761"/>
              <a:ext cx="1792850" cy="4725727"/>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34452" tIns="107562" rIns="134452" bIns="107562"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685491" fontAlgn="base">
                <a:lnSpc>
                  <a:spcPct val="90000"/>
                </a:lnSpc>
                <a:spcBef>
                  <a:spcPct val="0"/>
                </a:spcBef>
                <a:spcAft>
                  <a:spcPct val="0"/>
                </a:spcAft>
              </a:pPr>
              <a:endParaRPr lang="en-US" sz="825" dirty="0" err="1">
                <a:gradFill>
                  <a:gsLst>
                    <a:gs pos="0">
                      <a:srgbClr val="FFFFFF"/>
                    </a:gs>
                    <a:gs pos="100000">
                      <a:srgbClr val="FFFFFF"/>
                    </a:gs>
                  </a:gsLst>
                  <a:lin ang="5400000" scaled="1"/>
                </a:gradFill>
                <a:ea typeface="Segoe UI" pitchFamily="34" charset="0"/>
                <a:cs typeface="Segoe UI" pitchFamily="34" charset="0"/>
              </a:endParaRPr>
            </a:p>
          </p:txBody>
        </p:sp>
        <p:grpSp>
          <p:nvGrpSpPr>
            <p:cNvPr id="323" name="Group 322"/>
            <p:cNvGrpSpPr/>
            <p:nvPr/>
          </p:nvGrpSpPr>
          <p:grpSpPr>
            <a:xfrm>
              <a:off x="2420700" y="2089033"/>
              <a:ext cx="7352158" cy="4293518"/>
              <a:chOff x="2469239" y="2130426"/>
              <a:chExt cx="7499584" cy="4379612"/>
            </a:xfrm>
          </p:grpSpPr>
          <p:sp>
            <p:nvSpPr>
              <p:cNvPr id="401" name="Oval 400"/>
              <p:cNvSpPr/>
              <p:nvPr/>
            </p:nvSpPr>
            <p:spPr bwMode="auto">
              <a:xfrm>
                <a:off x="2469239" y="2130426"/>
                <a:ext cx="7499584" cy="4379612"/>
              </a:xfrm>
              <a:prstGeom prst="ellipse">
                <a:avLst/>
              </a:prstGeom>
              <a:solidFill>
                <a:schemeClr val="accent6">
                  <a:alpha val="1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34452" tIns="107562" rIns="134452" bIns="107562"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685491" fontAlgn="base">
                  <a:lnSpc>
                    <a:spcPct val="90000"/>
                  </a:lnSpc>
                  <a:spcBef>
                    <a:spcPct val="0"/>
                  </a:spcBef>
                  <a:spcAft>
                    <a:spcPct val="0"/>
                  </a:spcAft>
                </a:pPr>
                <a:endParaRPr lang="en-US" sz="825" dirty="0" err="1">
                  <a:gradFill>
                    <a:gsLst>
                      <a:gs pos="0">
                        <a:srgbClr val="FFFFFF"/>
                      </a:gs>
                      <a:gs pos="100000">
                        <a:srgbClr val="FFFFFF"/>
                      </a:gs>
                    </a:gsLst>
                    <a:lin ang="5400000" scaled="1"/>
                  </a:gradFill>
                  <a:ea typeface="Segoe UI" pitchFamily="34" charset="0"/>
                  <a:cs typeface="Segoe UI" pitchFamily="34" charset="0"/>
                </a:endParaRPr>
              </a:p>
            </p:txBody>
          </p:sp>
          <p:sp>
            <p:nvSpPr>
              <p:cNvPr id="402" name="Freeform 135"/>
              <p:cNvSpPr>
                <a:spLocks/>
              </p:cNvSpPr>
              <p:nvPr/>
            </p:nvSpPr>
            <p:spPr bwMode="auto">
              <a:xfrm>
                <a:off x="4722813" y="3784600"/>
                <a:ext cx="4071937" cy="1674813"/>
              </a:xfrm>
              <a:custGeom>
                <a:avLst/>
                <a:gdLst>
                  <a:gd name="T0" fmla="*/ 349 w 391"/>
                  <a:gd name="T1" fmla="*/ 75 h 159"/>
                  <a:gd name="T2" fmla="*/ 342 w 391"/>
                  <a:gd name="T3" fmla="*/ 76 h 159"/>
                  <a:gd name="T4" fmla="*/ 263 w 391"/>
                  <a:gd name="T5" fmla="*/ 0 h 159"/>
                  <a:gd name="T6" fmla="*/ 187 w 391"/>
                  <a:gd name="T7" fmla="*/ 59 h 159"/>
                  <a:gd name="T8" fmla="*/ 145 w 391"/>
                  <a:gd name="T9" fmla="*/ 42 h 159"/>
                  <a:gd name="T10" fmla="*/ 87 w 391"/>
                  <a:gd name="T11" fmla="*/ 94 h 159"/>
                  <a:gd name="T12" fmla="*/ 59 w 391"/>
                  <a:gd name="T13" fmla="*/ 107 h 159"/>
                  <a:gd name="T14" fmla="*/ 32 w 391"/>
                  <a:gd name="T15" fmla="*/ 94 h 159"/>
                  <a:gd name="T16" fmla="*/ 0 w 391"/>
                  <a:gd name="T17" fmla="*/ 126 h 159"/>
                  <a:gd name="T18" fmla="*/ 32 w 391"/>
                  <a:gd name="T19" fmla="*/ 159 h 159"/>
                  <a:gd name="T20" fmla="*/ 41 w 391"/>
                  <a:gd name="T21" fmla="*/ 159 h 159"/>
                  <a:gd name="T22" fmla="*/ 148 w 391"/>
                  <a:gd name="T23" fmla="*/ 159 h 159"/>
                  <a:gd name="T24" fmla="*/ 208 w 391"/>
                  <a:gd name="T25" fmla="*/ 159 h 159"/>
                  <a:gd name="T26" fmla="*/ 352 w 391"/>
                  <a:gd name="T27" fmla="*/ 159 h 159"/>
                  <a:gd name="T28" fmla="*/ 352 w 391"/>
                  <a:gd name="T29" fmla="*/ 159 h 159"/>
                  <a:gd name="T30" fmla="*/ 391 w 391"/>
                  <a:gd name="T31" fmla="*/ 117 h 159"/>
                  <a:gd name="T32" fmla="*/ 349 w 391"/>
                  <a:gd name="T33" fmla="*/ 75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91" h="159">
                    <a:moveTo>
                      <a:pt x="349" y="75"/>
                    </a:moveTo>
                    <a:cubicBezTo>
                      <a:pt x="347" y="75"/>
                      <a:pt x="345" y="75"/>
                      <a:pt x="342" y="76"/>
                    </a:cubicBezTo>
                    <a:cubicBezTo>
                      <a:pt x="340" y="34"/>
                      <a:pt x="306" y="0"/>
                      <a:pt x="263" y="0"/>
                    </a:cubicBezTo>
                    <a:cubicBezTo>
                      <a:pt x="227" y="0"/>
                      <a:pt x="196" y="25"/>
                      <a:pt x="187" y="59"/>
                    </a:cubicBezTo>
                    <a:cubicBezTo>
                      <a:pt x="176" y="48"/>
                      <a:pt x="161" y="42"/>
                      <a:pt x="145" y="42"/>
                    </a:cubicBezTo>
                    <a:cubicBezTo>
                      <a:pt x="115" y="42"/>
                      <a:pt x="90" y="65"/>
                      <a:pt x="87" y="94"/>
                    </a:cubicBezTo>
                    <a:cubicBezTo>
                      <a:pt x="76" y="96"/>
                      <a:pt x="66" y="101"/>
                      <a:pt x="59" y="107"/>
                    </a:cubicBezTo>
                    <a:cubicBezTo>
                      <a:pt x="53" y="99"/>
                      <a:pt x="43" y="94"/>
                      <a:pt x="32" y="94"/>
                    </a:cubicBezTo>
                    <a:cubicBezTo>
                      <a:pt x="14" y="94"/>
                      <a:pt x="0" y="108"/>
                      <a:pt x="0" y="126"/>
                    </a:cubicBezTo>
                    <a:cubicBezTo>
                      <a:pt x="0" y="144"/>
                      <a:pt x="14" y="159"/>
                      <a:pt x="32" y="159"/>
                    </a:cubicBezTo>
                    <a:cubicBezTo>
                      <a:pt x="41" y="159"/>
                      <a:pt x="41" y="159"/>
                      <a:pt x="41" y="159"/>
                    </a:cubicBezTo>
                    <a:cubicBezTo>
                      <a:pt x="148" y="159"/>
                      <a:pt x="148" y="159"/>
                      <a:pt x="148" y="159"/>
                    </a:cubicBezTo>
                    <a:cubicBezTo>
                      <a:pt x="208" y="159"/>
                      <a:pt x="208" y="159"/>
                      <a:pt x="208" y="159"/>
                    </a:cubicBezTo>
                    <a:cubicBezTo>
                      <a:pt x="352" y="159"/>
                      <a:pt x="352" y="159"/>
                      <a:pt x="352" y="159"/>
                    </a:cubicBezTo>
                    <a:cubicBezTo>
                      <a:pt x="352" y="159"/>
                      <a:pt x="352" y="159"/>
                      <a:pt x="352" y="159"/>
                    </a:cubicBezTo>
                    <a:cubicBezTo>
                      <a:pt x="374" y="158"/>
                      <a:pt x="391" y="139"/>
                      <a:pt x="391" y="117"/>
                    </a:cubicBezTo>
                    <a:cubicBezTo>
                      <a:pt x="391" y="94"/>
                      <a:pt x="372" y="75"/>
                      <a:pt x="349" y="75"/>
                    </a:cubicBezTo>
                    <a:close/>
                  </a:path>
                </a:pathLst>
              </a:custGeom>
              <a:solidFill>
                <a:srgbClr val="FFFFFF"/>
              </a:solidFill>
              <a:ln>
                <a:noFill/>
              </a:ln>
            </p:spPr>
            <p:txBody>
              <a:bodyPr vert="horz" wrap="square" lIns="67226" tIns="33613" rIns="67226" bIns="336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788">
                  <a:solidFill>
                    <a:srgbClr val="505050"/>
                  </a:solidFill>
                </a:endParaRPr>
              </a:p>
            </p:txBody>
          </p:sp>
          <p:sp>
            <p:nvSpPr>
              <p:cNvPr id="403" name="Freeform 136"/>
              <p:cNvSpPr>
                <a:spLocks/>
              </p:cNvSpPr>
              <p:nvPr/>
            </p:nvSpPr>
            <p:spPr bwMode="auto">
              <a:xfrm>
                <a:off x="5529263" y="2765425"/>
                <a:ext cx="1549400" cy="835025"/>
              </a:xfrm>
              <a:custGeom>
                <a:avLst/>
                <a:gdLst>
                  <a:gd name="T0" fmla="*/ 210 w 242"/>
                  <a:gd name="T1" fmla="*/ 64 h 129"/>
                  <a:gd name="T2" fmla="*/ 209 w 242"/>
                  <a:gd name="T3" fmla="*/ 64 h 129"/>
                  <a:gd name="T4" fmla="*/ 144 w 242"/>
                  <a:gd name="T5" fmla="*/ 0 h 129"/>
                  <a:gd name="T6" fmla="*/ 80 w 242"/>
                  <a:gd name="T7" fmla="*/ 56 h 129"/>
                  <a:gd name="T8" fmla="*/ 45 w 242"/>
                  <a:gd name="T9" fmla="*/ 39 h 129"/>
                  <a:gd name="T10" fmla="*/ 0 w 242"/>
                  <a:gd name="T11" fmla="*/ 84 h 129"/>
                  <a:gd name="T12" fmla="*/ 45 w 242"/>
                  <a:gd name="T13" fmla="*/ 129 h 129"/>
                  <a:gd name="T14" fmla="*/ 210 w 242"/>
                  <a:gd name="T15" fmla="*/ 129 h 129"/>
                  <a:gd name="T16" fmla="*/ 242 w 242"/>
                  <a:gd name="T17" fmla="*/ 96 h 129"/>
                  <a:gd name="T18" fmla="*/ 210 w 242"/>
                  <a:gd name="T19" fmla="*/ 64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2" h="129">
                    <a:moveTo>
                      <a:pt x="210" y="64"/>
                    </a:moveTo>
                    <a:cubicBezTo>
                      <a:pt x="210" y="64"/>
                      <a:pt x="209" y="64"/>
                      <a:pt x="209" y="64"/>
                    </a:cubicBezTo>
                    <a:cubicBezTo>
                      <a:pt x="209" y="28"/>
                      <a:pt x="180" y="0"/>
                      <a:pt x="144" y="0"/>
                    </a:cubicBezTo>
                    <a:cubicBezTo>
                      <a:pt x="111" y="0"/>
                      <a:pt x="84" y="24"/>
                      <a:pt x="80" y="56"/>
                    </a:cubicBezTo>
                    <a:cubicBezTo>
                      <a:pt x="72" y="46"/>
                      <a:pt x="59" y="39"/>
                      <a:pt x="45" y="39"/>
                    </a:cubicBezTo>
                    <a:cubicBezTo>
                      <a:pt x="20" y="39"/>
                      <a:pt x="0" y="59"/>
                      <a:pt x="0" y="84"/>
                    </a:cubicBezTo>
                    <a:cubicBezTo>
                      <a:pt x="0" y="109"/>
                      <a:pt x="20" y="129"/>
                      <a:pt x="45" y="129"/>
                    </a:cubicBezTo>
                    <a:cubicBezTo>
                      <a:pt x="210" y="129"/>
                      <a:pt x="210" y="129"/>
                      <a:pt x="210" y="129"/>
                    </a:cubicBezTo>
                    <a:cubicBezTo>
                      <a:pt x="228" y="129"/>
                      <a:pt x="242" y="114"/>
                      <a:pt x="242" y="96"/>
                    </a:cubicBezTo>
                    <a:cubicBezTo>
                      <a:pt x="242" y="78"/>
                      <a:pt x="228" y="64"/>
                      <a:pt x="210" y="64"/>
                    </a:cubicBezTo>
                    <a:close/>
                  </a:path>
                </a:pathLst>
              </a:custGeom>
              <a:solidFill>
                <a:srgbClr val="FFFFFF"/>
              </a:solidFill>
              <a:ln>
                <a:noFill/>
              </a:ln>
            </p:spPr>
            <p:txBody>
              <a:bodyPr vert="horz" wrap="square" lIns="67226" tIns="33613" rIns="67226" bIns="336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788">
                  <a:solidFill>
                    <a:srgbClr val="505050"/>
                  </a:solidFill>
                </a:endParaRPr>
              </a:p>
            </p:txBody>
          </p:sp>
          <p:sp>
            <p:nvSpPr>
              <p:cNvPr id="404" name="Freeform 137"/>
              <p:cNvSpPr>
                <a:spLocks/>
              </p:cNvSpPr>
              <p:nvPr/>
            </p:nvSpPr>
            <p:spPr bwMode="auto">
              <a:xfrm>
                <a:off x="3502025" y="3259138"/>
                <a:ext cx="2005013" cy="1139825"/>
              </a:xfrm>
              <a:custGeom>
                <a:avLst/>
                <a:gdLst>
                  <a:gd name="T0" fmla="*/ 187 w 224"/>
                  <a:gd name="T1" fmla="*/ 53 h 126"/>
                  <a:gd name="T2" fmla="*/ 183 w 224"/>
                  <a:gd name="T3" fmla="*/ 53 h 126"/>
                  <a:gd name="T4" fmla="*/ 187 w 224"/>
                  <a:gd name="T5" fmla="*/ 37 h 126"/>
                  <a:gd name="T6" fmla="*/ 150 w 224"/>
                  <a:gd name="T7" fmla="*/ 0 h 126"/>
                  <a:gd name="T8" fmla="*/ 114 w 224"/>
                  <a:gd name="T9" fmla="*/ 32 h 126"/>
                  <a:gd name="T10" fmla="*/ 86 w 224"/>
                  <a:gd name="T11" fmla="*/ 20 h 126"/>
                  <a:gd name="T12" fmla="*/ 49 w 224"/>
                  <a:gd name="T13" fmla="*/ 55 h 126"/>
                  <a:gd name="T14" fmla="*/ 37 w 224"/>
                  <a:gd name="T15" fmla="*/ 53 h 126"/>
                  <a:gd name="T16" fmla="*/ 0 w 224"/>
                  <a:gd name="T17" fmla="*/ 90 h 126"/>
                  <a:gd name="T18" fmla="*/ 37 w 224"/>
                  <a:gd name="T19" fmla="*/ 126 h 126"/>
                  <a:gd name="T20" fmla="*/ 187 w 224"/>
                  <a:gd name="T21" fmla="*/ 126 h 126"/>
                  <a:gd name="T22" fmla="*/ 224 w 224"/>
                  <a:gd name="T23" fmla="*/ 90 h 126"/>
                  <a:gd name="T24" fmla="*/ 187 w 224"/>
                  <a:gd name="T25" fmla="*/ 53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4" h="126">
                    <a:moveTo>
                      <a:pt x="187" y="53"/>
                    </a:moveTo>
                    <a:cubicBezTo>
                      <a:pt x="186" y="53"/>
                      <a:pt x="184" y="53"/>
                      <a:pt x="183" y="53"/>
                    </a:cubicBezTo>
                    <a:cubicBezTo>
                      <a:pt x="185" y="48"/>
                      <a:pt x="187" y="42"/>
                      <a:pt x="187" y="37"/>
                    </a:cubicBezTo>
                    <a:cubicBezTo>
                      <a:pt x="187" y="16"/>
                      <a:pt x="170" y="0"/>
                      <a:pt x="150" y="0"/>
                    </a:cubicBezTo>
                    <a:cubicBezTo>
                      <a:pt x="131" y="0"/>
                      <a:pt x="116" y="14"/>
                      <a:pt x="114" y="32"/>
                    </a:cubicBezTo>
                    <a:cubicBezTo>
                      <a:pt x="107" y="25"/>
                      <a:pt x="97" y="20"/>
                      <a:pt x="86" y="20"/>
                    </a:cubicBezTo>
                    <a:cubicBezTo>
                      <a:pt x="67" y="20"/>
                      <a:pt x="50" y="36"/>
                      <a:pt x="49" y="55"/>
                    </a:cubicBezTo>
                    <a:cubicBezTo>
                      <a:pt x="45" y="54"/>
                      <a:pt x="41" y="53"/>
                      <a:pt x="37" y="53"/>
                    </a:cubicBezTo>
                    <a:cubicBezTo>
                      <a:pt x="16" y="53"/>
                      <a:pt x="0" y="69"/>
                      <a:pt x="0" y="90"/>
                    </a:cubicBezTo>
                    <a:cubicBezTo>
                      <a:pt x="0" y="110"/>
                      <a:pt x="16" y="126"/>
                      <a:pt x="37" y="126"/>
                    </a:cubicBezTo>
                    <a:cubicBezTo>
                      <a:pt x="187" y="126"/>
                      <a:pt x="187" y="126"/>
                      <a:pt x="187" y="126"/>
                    </a:cubicBezTo>
                    <a:cubicBezTo>
                      <a:pt x="207" y="126"/>
                      <a:pt x="224" y="110"/>
                      <a:pt x="224" y="90"/>
                    </a:cubicBezTo>
                    <a:cubicBezTo>
                      <a:pt x="224" y="69"/>
                      <a:pt x="207" y="53"/>
                      <a:pt x="187" y="53"/>
                    </a:cubicBezTo>
                    <a:close/>
                  </a:path>
                </a:pathLst>
              </a:custGeom>
              <a:solidFill>
                <a:srgbClr val="FFFFFF"/>
              </a:solidFill>
              <a:ln>
                <a:noFill/>
              </a:ln>
            </p:spPr>
            <p:txBody>
              <a:bodyPr vert="horz" wrap="square" lIns="67226" tIns="33613" rIns="67226" bIns="336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788">
                  <a:solidFill>
                    <a:srgbClr val="505050"/>
                  </a:solidFill>
                </a:endParaRPr>
              </a:p>
            </p:txBody>
          </p:sp>
        </p:grpSp>
        <p:grpSp>
          <p:nvGrpSpPr>
            <p:cNvPr id="324" name="Group 323"/>
            <p:cNvGrpSpPr/>
            <p:nvPr/>
          </p:nvGrpSpPr>
          <p:grpSpPr>
            <a:xfrm>
              <a:off x="269241" y="1189495"/>
              <a:ext cx="11655081" cy="717140"/>
              <a:chOff x="274638" y="1212850"/>
              <a:chExt cx="11888787" cy="731520"/>
            </a:xfrm>
          </p:grpSpPr>
          <p:sp>
            <p:nvSpPr>
              <p:cNvPr id="390" name="Rectangle 389"/>
              <p:cNvSpPr/>
              <p:nvPr/>
            </p:nvSpPr>
            <p:spPr bwMode="auto">
              <a:xfrm>
                <a:off x="4298632" y="1212850"/>
                <a:ext cx="1828800" cy="731520"/>
              </a:xfrm>
              <a:prstGeom prst="rect">
                <a:avLst/>
              </a:prstGeom>
              <a:solidFill>
                <a:srgbClr val="4E195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07562" tIns="67226" rIns="107562" bIns="67226"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defTabSz="685491">
                  <a:lnSpc>
                    <a:spcPct val="90000"/>
                  </a:lnSpc>
                </a:pPr>
                <a:r>
                  <a:rPr lang="en-US" sz="900" dirty="0">
                    <a:gradFill>
                      <a:gsLst>
                        <a:gs pos="0">
                          <a:srgbClr val="FFFFFF"/>
                        </a:gs>
                        <a:gs pos="100000">
                          <a:srgbClr val="FFFFFF"/>
                        </a:gs>
                      </a:gsLst>
                      <a:lin ang="5400000" scaled="1"/>
                    </a:gradFill>
                    <a:ea typeface="Segoe UI" pitchFamily="34" charset="0"/>
                    <a:cs typeface="Segoe UI" pitchFamily="34" charset="0"/>
                  </a:rPr>
                  <a:t>Event Queuing System</a:t>
                </a:r>
              </a:p>
            </p:txBody>
          </p:sp>
          <p:sp>
            <p:nvSpPr>
              <p:cNvPr id="391" name="Right Arrow 124"/>
              <p:cNvSpPr/>
              <p:nvPr/>
            </p:nvSpPr>
            <p:spPr bwMode="auto">
              <a:xfrm>
                <a:off x="3996722" y="1441450"/>
                <a:ext cx="420624" cy="274320"/>
              </a:xfrm>
              <a:prstGeom prst="rightArrow">
                <a:avLst/>
              </a:prstGeom>
              <a:solidFill>
                <a:srgbClr val="7030A0"/>
              </a:solidFill>
              <a:ln w="254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34452" tIns="107562" rIns="134452" bIns="107562"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685491" fontAlgn="base">
                  <a:lnSpc>
                    <a:spcPct val="90000"/>
                  </a:lnSpc>
                  <a:spcBef>
                    <a:spcPct val="0"/>
                  </a:spcBef>
                  <a:spcAft>
                    <a:spcPct val="0"/>
                  </a:spcAft>
                </a:pPr>
                <a:endParaRPr lang="en-US" sz="825" dirty="0" err="1">
                  <a:gradFill>
                    <a:gsLst>
                      <a:gs pos="0">
                        <a:srgbClr val="FFFFFF"/>
                      </a:gs>
                      <a:gs pos="100000">
                        <a:srgbClr val="FFFFFF"/>
                      </a:gs>
                    </a:gsLst>
                    <a:lin ang="5400000" scaled="1"/>
                  </a:gradFill>
                  <a:ea typeface="Segoe UI" pitchFamily="34" charset="0"/>
                  <a:cs typeface="Segoe UI" pitchFamily="34" charset="0"/>
                </a:endParaRPr>
              </a:p>
            </p:txBody>
          </p:sp>
          <p:sp>
            <p:nvSpPr>
              <p:cNvPr id="392" name="Rectangle 391"/>
              <p:cNvSpPr/>
              <p:nvPr/>
            </p:nvSpPr>
            <p:spPr bwMode="auto">
              <a:xfrm>
                <a:off x="2286635" y="1212850"/>
                <a:ext cx="1828800" cy="731520"/>
              </a:xfrm>
              <a:prstGeom prst="rect">
                <a:avLst/>
              </a:prstGeom>
              <a:solidFill>
                <a:srgbClr val="4E195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07562" tIns="67226" rIns="107562" bIns="67226"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defTabSz="685491">
                  <a:lnSpc>
                    <a:spcPct val="90000"/>
                  </a:lnSpc>
                </a:pPr>
                <a:r>
                  <a:rPr lang="en-US" sz="900" dirty="0">
                    <a:gradFill>
                      <a:gsLst>
                        <a:gs pos="0">
                          <a:srgbClr val="FFFFFF"/>
                        </a:gs>
                        <a:gs pos="100000">
                          <a:srgbClr val="FFFFFF"/>
                        </a:gs>
                      </a:gsLst>
                      <a:lin ang="5400000" scaled="1"/>
                    </a:gradFill>
                    <a:ea typeface="Segoe UI" pitchFamily="34" charset="0"/>
                    <a:cs typeface="Segoe UI" pitchFamily="34" charset="0"/>
                  </a:rPr>
                  <a:t>Collection</a:t>
                </a:r>
              </a:p>
            </p:txBody>
          </p:sp>
          <p:sp>
            <p:nvSpPr>
              <p:cNvPr id="393" name="Right Arrow 126"/>
              <p:cNvSpPr/>
              <p:nvPr/>
            </p:nvSpPr>
            <p:spPr bwMode="auto">
              <a:xfrm>
                <a:off x="1984725" y="1441450"/>
                <a:ext cx="420624" cy="274320"/>
              </a:xfrm>
              <a:prstGeom prst="rightArrow">
                <a:avLst/>
              </a:prstGeom>
              <a:solidFill>
                <a:srgbClr val="7030A0"/>
              </a:solidFill>
              <a:ln w="254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34452" tIns="107562" rIns="134452" bIns="107562"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685491" fontAlgn="base">
                  <a:lnSpc>
                    <a:spcPct val="90000"/>
                  </a:lnSpc>
                  <a:spcBef>
                    <a:spcPct val="0"/>
                  </a:spcBef>
                  <a:spcAft>
                    <a:spcPct val="0"/>
                  </a:spcAft>
                </a:pPr>
                <a:endParaRPr lang="en-US" sz="825" dirty="0" err="1">
                  <a:gradFill>
                    <a:gsLst>
                      <a:gs pos="0">
                        <a:srgbClr val="FFFFFF"/>
                      </a:gs>
                      <a:gs pos="100000">
                        <a:srgbClr val="FFFFFF"/>
                      </a:gs>
                    </a:gsLst>
                    <a:lin ang="5400000" scaled="1"/>
                  </a:gradFill>
                  <a:ea typeface="Segoe UI" pitchFamily="34" charset="0"/>
                  <a:cs typeface="Segoe UI" pitchFamily="34" charset="0"/>
                </a:endParaRPr>
              </a:p>
            </p:txBody>
          </p:sp>
          <p:sp>
            <p:nvSpPr>
              <p:cNvPr id="394" name="Rectangle 393"/>
              <p:cNvSpPr/>
              <p:nvPr/>
            </p:nvSpPr>
            <p:spPr bwMode="auto">
              <a:xfrm>
                <a:off x="10334625" y="1212850"/>
                <a:ext cx="1828800" cy="731520"/>
              </a:xfrm>
              <a:prstGeom prst="rect">
                <a:avLst/>
              </a:prstGeom>
              <a:solidFill>
                <a:srgbClr val="4E195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07562" tIns="67226" rIns="107562" bIns="67226"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defTabSz="685491">
                  <a:lnSpc>
                    <a:spcPct val="90000"/>
                  </a:lnSpc>
                </a:pPr>
                <a:r>
                  <a:rPr lang="en-US" sz="900" dirty="0">
                    <a:gradFill>
                      <a:gsLst>
                        <a:gs pos="0">
                          <a:srgbClr val="FFFFFF"/>
                        </a:gs>
                        <a:gs pos="100000">
                          <a:srgbClr val="FFFFFF"/>
                        </a:gs>
                      </a:gsLst>
                      <a:lin ang="5400000" scaled="1"/>
                    </a:gradFill>
                    <a:ea typeface="Segoe UI" pitchFamily="34" charset="0"/>
                    <a:cs typeface="Segoe UI" pitchFamily="34" charset="0"/>
                  </a:rPr>
                  <a:t>Presentation and action</a:t>
                </a:r>
              </a:p>
            </p:txBody>
          </p:sp>
          <p:sp>
            <p:nvSpPr>
              <p:cNvPr id="395" name="Right Arrow 128"/>
              <p:cNvSpPr/>
              <p:nvPr/>
            </p:nvSpPr>
            <p:spPr bwMode="auto">
              <a:xfrm>
                <a:off x="10032715" y="1441450"/>
                <a:ext cx="420624" cy="274320"/>
              </a:xfrm>
              <a:prstGeom prst="rightArrow">
                <a:avLst/>
              </a:prstGeom>
              <a:solidFill>
                <a:srgbClr val="7030A0"/>
              </a:solidFill>
              <a:ln w="254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34452" tIns="107562" rIns="134452" bIns="107562"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685491" fontAlgn="base">
                  <a:lnSpc>
                    <a:spcPct val="90000"/>
                  </a:lnSpc>
                  <a:spcBef>
                    <a:spcPct val="0"/>
                  </a:spcBef>
                  <a:spcAft>
                    <a:spcPct val="0"/>
                  </a:spcAft>
                </a:pPr>
                <a:endParaRPr lang="en-US" sz="825" dirty="0" err="1">
                  <a:gradFill>
                    <a:gsLst>
                      <a:gs pos="0">
                        <a:srgbClr val="FFFFFF"/>
                      </a:gs>
                      <a:gs pos="100000">
                        <a:srgbClr val="FFFFFF"/>
                      </a:gs>
                    </a:gsLst>
                    <a:lin ang="5400000" scaled="1"/>
                  </a:gradFill>
                  <a:ea typeface="Segoe UI" pitchFamily="34" charset="0"/>
                  <a:cs typeface="Segoe UI" pitchFamily="34" charset="0"/>
                </a:endParaRPr>
              </a:p>
            </p:txBody>
          </p:sp>
          <p:sp>
            <p:nvSpPr>
              <p:cNvPr id="396" name="Rectangle 395"/>
              <p:cNvSpPr/>
              <p:nvPr/>
            </p:nvSpPr>
            <p:spPr bwMode="auto">
              <a:xfrm>
                <a:off x="274638" y="1212850"/>
                <a:ext cx="1828800" cy="731520"/>
              </a:xfrm>
              <a:prstGeom prst="rect">
                <a:avLst/>
              </a:prstGeom>
              <a:solidFill>
                <a:srgbClr val="4E195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07562" tIns="67226" rIns="107562" bIns="67226"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defTabSz="685491">
                  <a:lnSpc>
                    <a:spcPct val="90000"/>
                  </a:lnSpc>
                </a:pPr>
                <a:r>
                  <a:rPr lang="en-US" sz="900" dirty="0">
                    <a:gradFill>
                      <a:gsLst>
                        <a:gs pos="0">
                          <a:srgbClr val="FFFFFF"/>
                        </a:gs>
                        <a:gs pos="100000">
                          <a:srgbClr val="FFFFFF"/>
                        </a:gs>
                      </a:gsLst>
                      <a:lin ang="5400000" scaled="1"/>
                    </a:gradFill>
                    <a:ea typeface="Segoe UI" pitchFamily="34" charset="0"/>
                    <a:cs typeface="Segoe UI" pitchFamily="34" charset="0"/>
                  </a:rPr>
                  <a:t>Event producers</a:t>
                </a:r>
              </a:p>
            </p:txBody>
          </p:sp>
          <p:sp>
            <p:nvSpPr>
              <p:cNvPr id="397" name="Rectangle 396"/>
              <p:cNvSpPr/>
              <p:nvPr/>
            </p:nvSpPr>
            <p:spPr bwMode="auto">
              <a:xfrm>
                <a:off x="6310629" y="1212850"/>
                <a:ext cx="1828800" cy="731520"/>
              </a:xfrm>
              <a:prstGeom prst="rect">
                <a:avLst/>
              </a:prstGeom>
              <a:solidFill>
                <a:srgbClr val="4E195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07562" tIns="67226" rIns="107562" bIns="67226"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defTabSz="685491">
                  <a:lnSpc>
                    <a:spcPct val="90000"/>
                  </a:lnSpc>
                </a:pPr>
                <a:r>
                  <a:rPr lang="en-US" sz="900" dirty="0">
                    <a:gradFill>
                      <a:gsLst>
                        <a:gs pos="0">
                          <a:srgbClr val="FFFFFF"/>
                        </a:gs>
                        <a:gs pos="100000">
                          <a:srgbClr val="FFFFFF"/>
                        </a:gs>
                      </a:gsLst>
                      <a:lin ang="5400000" scaled="1"/>
                    </a:gradFill>
                    <a:ea typeface="Segoe UI" pitchFamily="34" charset="0"/>
                    <a:cs typeface="Segoe UI" pitchFamily="34" charset="0"/>
                  </a:rPr>
                  <a:t>Transformation</a:t>
                </a:r>
              </a:p>
            </p:txBody>
          </p:sp>
          <p:sp>
            <p:nvSpPr>
              <p:cNvPr id="398" name="Rectangle 397"/>
              <p:cNvSpPr/>
              <p:nvPr/>
            </p:nvSpPr>
            <p:spPr bwMode="auto">
              <a:xfrm>
                <a:off x="8322626" y="1212850"/>
                <a:ext cx="1828800" cy="731520"/>
              </a:xfrm>
              <a:prstGeom prst="rect">
                <a:avLst/>
              </a:prstGeom>
              <a:solidFill>
                <a:srgbClr val="4E195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07562" tIns="67226" rIns="107562" bIns="67226"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defTabSz="685491">
                  <a:lnSpc>
                    <a:spcPct val="90000"/>
                  </a:lnSpc>
                </a:pPr>
                <a:r>
                  <a:rPr lang="en-US" sz="900" dirty="0">
                    <a:gradFill>
                      <a:gsLst>
                        <a:gs pos="0">
                          <a:srgbClr val="FFFFFF"/>
                        </a:gs>
                        <a:gs pos="100000">
                          <a:srgbClr val="FFFFFF"/>
                        </a:gs>
                      </a:gsLst>
                      <a:lin ang="5400000" scaled="1"/>
                    </a:gradFill>
                    <a:ea typeface="Segoe UI" pitchFamily="34" charset="0"/>
                    <a:cs typeface="Segoe UI" pitchFamily="34" charset="0"/>
                  </a:rPr>
                  <a:t>Long-term storage</a:t>
                </a:r>
              </a:p>
            </p:txBody>
          </p:sp>
          <p:sp>
            <p:nvSpPr>
              <p:cNvPr id="399" name="Left-Right Arrow 132"/>
              <p:cNvSpPr/>
              <p:nvPr/>
            </p:nvSpPr>
            <p:spPr bwMode="auto">
              <a:xfrm>
                <a:off x="6008719" y="1441450"/>
                <a:ext cx="420624" cy="274320"/>
              </a:xfrm>
              <a:prstGeom prst="leftRightArrow">
                <a:avLst/>
              </a:prstGeom>
              <a:solidFill>
                <a:srgbClr val="7030A0"/>
              </a:solidFill>
              <a:ln w="254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34452" tIns="107562" rIns="134452" bIns="107562"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685491" fontAlgn="base">
                  <a:lnSpc>
                    <a:spcPct val="90000"/>
                  </a:lnSpc>
                  <a:spcBef>
                    <a:spcPct val="0"/>
                  </a:spcBef>
                  <a:spcAft>
                    <a:spcPct val="0"/>
                  </a:spcAft>
                </a:pPr>
                <a:endParaRPr lang="en-US" sz="825" dirty="0" err="1">
                  <a:gradFill>
                    <a:gsLst>
                      <a:gs pos="0">
                        <a:srgbClr val="FFFFFF"/>
                      </a:gs>
                      <a:gs pos="100000">
                        <a:srgbClr val="FFFFFF"/>
                      </a:gs>
                    </a:gsLst>
                    <a:lin ang="5400000" scaled="1"/>
                  </a:gradFill>
                  <a:ea typeface="Segoe UI" pitchFamily="34" charset="0"/>
                  <a:cs typeface="Segoe UI" pitchFamily="34" charset="0"/>
                </a:endParaRPr>
              </a:p>
            </p:txBody>
          </p:sp>
          <p:sp>
            <p:nvSpPr>
              <p:cNvPr id="400" name="Left-Right Arrow 133"/>
              <p:cNvSpPr/>
              <p:nvPr/>
            </p:nvSpPr>
            <p:spPr bwMode="auto">
              <a:xfrm>
                <a:off x="8020716" y="1441450"/>
                <a:ext cx="420624" cy="274320"/>
              </a:xfrm>
              <a:prstGeom prst="leftRightArrow">
                <a:avLst/>
              </a:prstGeom>
              <a:solidFill>
                <a:srgbClr val="7030A0"/>
              </a:solidFill>
              <a:ln w="254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34452" tIns="107562" rIns="134452" bIns="107562"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685491" fontAlgn="base">
                  <a:lnSpc>
                    <a:spcPct val="90000"/>
                  </a:lnSpc>
                  <a:spcBef>
                    <a:spcPct val="0"/>
                  </a:spcBef>
                  <a:spcAft>
                    <a:spcPct val="0"/>
                  </a:spcAft>
                </a:pPr>
                <a:endParaRPr lang="en-US" sz="825" dirty="0" err="1">
                  <a:gradFill>
                    <a:gsLst>
                      <a:gs pos="0">
                        <a:srgbClr val="FFFFFF"/>
                      </a:gs>
                      <a:gs pos="100000">
                        <a:srgbClr val="FFFFFF"/>
                      </a:gs>
                    </a:gsLst>
                    <a:lin ang="5400000" scaled="1"/>
                  </a:gradFill>
                  <a:ea typeface="Segoe UI" pitchFamily="34" charset="0"/>
                  <a:cs typeface="Segoe UI" pitchFamily="34" charset="0"/>
                </a:endParaRPr>
              </a:p>
            </p:txBody>
          </p:sp>
        </p:grpSp>
        <p:sp>
          <p:nvSpPr>
            <p:cNvPr id="325" name="Oval 324"/>
            <p:cNvSpPr/>
            <p:nvPr/>
          </p:nvSpPr>
          <p:spPr bwMode="auto">
            <a:xfrm>
              <a:off x="4273126" y="4057331"/>
              <a:ext cx="1508760" cy="1507080"/>
            </a:xfrm>
            <a:prstGeom prst="ellipse">
              <a:avLst/>
            </a:prstGeom>
            <a:solidFill>
              <a:srgbClr val="4E195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0" tIns="33613" rIns="0" bIns="0"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685491" fontAlgn="base">
                <a:lnSpc>
                  <a:spcPct val="90000"/>
                </a:lnSpc>
                <a:spcBef>
                  <a:spcPct val="0"/>
                </a:spcBef>
                <a:spcAft>
                  <a:spcPct val="0"/>
                </a:spcAft>
              </a:pPr>
              <a:r>
                <a:rPr lang="en-US" sz="675" dirty="0">
                  <a:gradFill>
                    <a:gsLst>
                      <a:gs pos="0">
                        <a:srgbClr val="FFFFFF"/>
                      </a:gs>
                      <a:gs pos="100000">
                        <a:srgbClr val="FFFFFF"/>
                      </a:gs>
                    </a:gsLst>
                    <a:lin ang="5400000" scaled="1"/>
                  </a:gradFill>
                  <a:ea typeface="Segoe UI" pitchFamily="34" charset="0"/>
                  <a:cs typeface="Segoe UI" pitchFamily="34" charset="0"/>
                </a:rPr>
                <a:t>Event Hubs</a:t>
              </a:r>
            </a:p>
          </p:txBody>
        </p:sp>
        <p:sp>
          <p:nvSpPr>
            <p:cNvPr id="326" name="Freeform 58"/>
            <p:cNvSpPr>
              <a:spLocks noEditPoints="1"/>
            </p:cNvSpPr>
            <p:nvPr/>
          </p:nvSpPr>
          <p:spPr bwMode="auto">
            <a:xfrm>
              <a:off x="4762675" y="4562104"/>
              <a:ext cx="606954" cy="711225"/>
            </a:xfrm>
            <a:custGeom>
              <a:avLst/>
              <a:gdLst>
                <a:gd name="T0" fmla="*/ 694 w 1666"/>
                <a:gd name="T1" fmla="*/ 1171 h 1956"/>
                <a:gd name="T2" fmla="*/ 694 w 1666"/>
                <a:gd name="T3" fmla="*/ 1171 h 1956"/>
                <a:gd name="T4" fmla="*/ 694 w 1666"/>
                <a:gd name="T5" fmla="*/ 1171 h 1956"/>
                <a:gd name="T6" fmla="*/ 694 w 1666"/>
                <a:gd name="T7" fmla="*/ 1586 h 1956"/>
                <a:gd name="T8" fmla="*/ 864 w 1666"/>
                <a:gd name="T9" fmla="*/ 1586 h 1956"/>
                <a:gd name="T10" fmla="*/ 597 w 1666"/>
                <a:gd name="T11" fmla="*/ 1956 h 1956"/>
                <a:gd name="T12" fmla="*/ 324 w 1666"/>
                <a:gd name="T13" fmla="*/ 1586 h 1956"/>
                <a:gd name="T14" fmla="*/ 489 w 1666"/>
                <a:gd name="T15" fmla="*/ 1586 h 1956"/>
                <a:gd name="T16" fmla="*/ 489 w 1666"/>
                <a:gd name="T17" fmla="*/ 1171 h 1956"/>
                <a:gd name="T18" fmla="*/ 694 w 1666"/>
                <a:gd name="T19" fmla="*/ 1171 h 1956"/>
                <a:gd name="T20" fmla="*/ 347 w 1666"/>
                <a:gd name="T21" fmla="*/ 548 h 1956"/>
                <a:gd name="T22" fmla="*/ 347 w 1666"/>
                <a:gd name="T23" fmla="*/ 690 h 1956"/>
                <a:gd name="T24" fmla="*/ 830 w 1666"/>
                <a:gd name="T25" fmla="*/ 690 h 1956"/>
                <a:gd name="T26" fmla="*/ 830 w 1666"/>
                <a:gd name="T27" fmla="*/ 548 h 1956"/>
                <a:gd name="T28" fmla="*/ 347 w 1666"/>
                <a:gd name="T29" fmla="*/ 548 h 1956"/>
                <a:gd name="T30" fmla="*/ 347 w 1666"/>
                <a:gd name="T31" fmla="*/ 754 h 1956"/>
                <a:gd name="T32" fmla="*/ 347 w 1666"/>
                <a:gd name="T33" fmla="*/ 896 h 1956"/>
                <a:gd name="T34" fmla="*/ 830 w 1666"/>
                <a:gd name="T35" fmla="*/ 896 h 1956"/>
                <a:gd name="T36" fmla="*/ 830 w 1666"/>
                <a:gd name="T37" fmla="*/ 754 h 1956"/>
                <a:gd name="T38" fmla="*/ 347 w 1666"/>
                <a:gd name="T39" fmla="*/ 754 h 1956"/>
                <a:gd name="T40" fmla="*/ 347 w 1666"/>
                <a:gd name="T41" fmla="*/ 963 h 1956"/>
                <a:gd name="T42" fmla="*/ 347 w 1666"/>
                <a:gd name="T43" fmla="*/ 1105 h 1956"/>
                <a:gd name="T44" fmla="*/ 830 w 1666"/>
                <a:gd name="T45" fmla="*/ 1105 h 1956"/>
                <a:gd name="T46" fmla="*/ 830 w 1666"/>
                <a:gd name="T47" fmla="*/ 963 h 1956"/>
                <a:gd name="T48" fmla="*/ 347 w 1666"/>
                <a:gd name="T49" fmla="*/ 963 h 1956"/>
                <a:gd name="T50" fmla="*/ 1336 w 1666"/>
                <a:gd name="T51" fmla="*/ 896 h 1956"/>
                <a:gd name="T52" fmla="*/ 1274 w 1666"/>
                <a:gd name="T53" fmla="*/ 896 h 1956"/>
                <a:gd name="T54" fmla="*/ 762 w 1666"/>
                <a:gd name="T55" fmla="*/ 228 h 1956"/>
                <a:gd name="T56" fmla="*/ 762 w 1666"/>
                <a:gd name="T57" fmla="*/ 426 h 1956"/>
                <a:gd name="T58" fmla="*/ 1054 w 1666"/>
                <a:gd name="T59" fmla="*/ 960 h 1956"/>
                <a:gd name="T60" fmla="*/ 1048 w 1666"/>
                <a:gd name="T61" fmla="*/ 1097 h 1956"/>
                <a:gd name="T62" fmla="*/ 1327 w 1666"/>
                <a:gd name="T63" fmla="*/ 1094 h 1956"/>
                <a:gd name="T64" fmla="*/ 1457 w 1666"/>
                <a:gd name="T65" fmla="*/ 1187 h 1956"/>
                <a:gd name="T66" fmla="*/ 1457 w 1666"/>
                <a:gd name="T67" fmla="*/ 1314 h 1956"/>
                <a:gd name="T68" fmla="*/ 762 w 1666"/>
                <a:gd name="T69" fmla="*/ 1314 h 1956"/>
                <a:gd name="T70" fmla="*/ 762 w 1666"/>
                <a:gd name="T71" fmla="*/ 1512 h 1956"/>
                <a:gd name="T72" fmla="*/ 1586 w 1666"/>
                <a:gd name="T73" fmla="*/ 1512 h 1956"/>
                <a:gd name="T74" fmla="*/ 1666 w 1666"/>
                <a:gd name="T75" fmla="*/ 1446 h 1956"/>
                <a:gd name="T76" fmla="*/ 1666 w 1666"/>
                <a:gd name="T77" fmla="*/ 1187 h 1956"/>
                <a:gd name="T78" fmla="*/ 1336 w 1666"/>
                <a:gd name="T79" fmla="*/ 896 h 1956"/>
                <a:gd name="T80" fmla="*/ 641 w 1666"/>
                <a:gd name="T81" fmla="*/ 0 h 1956"/>
                <a:gd name="T82" fmla="*/ 640 w 1666"/>
                <a:gd name="T83" fmla="*/ 0 h 1956"/>
                <a:gd name="T84" fmla="*/ 62 w 1666"/>
                <a:gd name="T85" fmla="*/ 0 h 1956"/>
                <a:gd name="T86" fmla="*/ 0 w 1666"/>
                <a:gd name="T87" fmla="*/ 70 h 1956"/>
                <a:gd name="T88" fmla="*/ 0 w 1666"/>
                <a:gd name="T89" fmla="*/ 1446 h 1956"/>
                <a:gd name="T90" fmla="*/ 80 w 1666"/>
                <a:gd name="T91" fmla="*/ 1512 h 1956"/>
                <a:gd name="T92" fmla="*/ 420 w 1666"/>
                <a:gd name="T93" fmla="*/ 1512 h 1956"/>
                <a:gd name="T94" fmla="*/ 420 w 1666"/>
                <a:gd name="T95" fmla="*/ 1314 h 1956"/>
                <a:gd name="T96" fmla="*/ 204 w 1666"/>
                <a:gd name="T97" fmla="*/ 1314 h 1956"/>
                <a:gd name="T98" fmla="*/ 204 w 1666"/>
                <a:gd name="T99" fmla="*/ 199 h 1956"/>
                <a:gd name="T100" fmla="*/ 489 w 1666"/>
                <a:gd name="T101" fmla="*/ 199 h 1956"/>
                <a:gd name="T102" fmla="*/ 489 w 1666"/>
                <a:gd name="T103" fmla="*/ 484 h 1956"/>
                <a:gd name="T104" fmla="*/ 694 w 1666"/>
                <a:gd name="T105" fmla="*/ 484 h 1956"/>
                <a:gd name="T106" fmla="*/ 694 w 1666"/>
                <a:gd name="T107" fmla="*/ 59 h 1956"/>
                <a:gd name="T108" fmla="*/ 641 w 1666"/>
                <a:gd name="T109" fmla="*/ 0 h 19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666" h="1956">
                  <a:moveTo>
                    <a:pt x="694" y="1171"/>
                  </a:moveTo>
                  <a:cubicBezTo>
                    <a:pt x="694" y="1171"/>
                    <a:pt x="694" y="1171"/>
                    <a:pt x="694" y="1171"/>
                  </a:cubicBezTo>
                  <a:cubicBezTo>
                    <a:pt x="694" y="1171"/>
                    <a:pt x="694" y="1171"/>
                    <a:pt x="694" y="1171"/>
                  </a:cubicBezTo>
                  <a:cubicBezTo>
                    <a:pt x="694" y="1586"/>
                    <a:pt x="694" y="1586"/>
                    <a:pt x="694" y="1586"/>
                  </a:cubicBezTo>
                  <a:cubicBezTo>
                    <a:pt x="864" y="1586"/>
                    <a:pt x="864" y="1586"/>
                    <a:pt x="864" y="1586"/>
                  </a:cubicBezTo>
                  <a:cubicBezTo>
                    <a:pt x="597" y="1956"/>
                    <a:pt x="597" y="1956"/>
                    <a:pt x="597" y="1956"/>
                  </a:cubicBezTo>
                  <a:cubicBezTo>
                    <a:pt x="324" y="1586"/>
                    <a:pt x="324" y="1586"/>
                    <a:pt x="324" y="1586"/>
                  </a:cubicBezTo>
                  <a:cubicBezTo>
                    <a:pt x="489" y="1586"/>
                    <a:pt x="489" y="1586"/>
                    <a:pt x="489" y="1586"/>
                  </a:cubicBezTo>
                  <a:cubicBezTo>
                    <a:pt x="489" y="1171"/>
                    <a:pt x="489" y="1171"/>
                    <a:pt x="489" y="1171"/>
                  </a:cubicBezTo>
                  <a:cubicBezTo>
                    <a:pt x="694" y="1171"/>
                    <a:pt x="694" y="1171"/>
                    <a:pt x="694" y="1171"/>
                  </a:cubicBezTo>
                  <a:close/>
                  <a:moveTo>
                    <a:pt x="347" y="548"/>
                  </a:moveTo>
                  <a:cubicBezTo>
                    <a:pt x="347" y="690"/>
                    <a:pt x="347" y="690"/>
                    <a:pt x="347" y="690"/>
                  </a:cubicBezTo>
                  <a:cubicBezTo>
                    <a:pt x="830" y="690"/>
                    <a:pt x="830" y="690"/>
                    <a:pt x="830" y="690"/>
                  </a:cubicBezTo>
                  <a:cubicBezTo>
                    <a:pt x="830" y="548"/>
                    <a:pt x="830" y="548"/>
                    <a:pt x="830" y="548"/>
                  </a:cubicBezTo>
                  <a:cubicBezTo>
                    <a:pt x="347" y="548"/>
                    <a:pt x="347" y="548"/>
                    <a:pt x="347" y="548"/>
                  </a:cubicBezTo>
                  <a:close/>
                  <a:moveTo>
                    <a:pt x="347" y="754"/>
                  </a:moveTo>
                  <a:cubicBezTo>
                    <a:pt x="347" y="896"/>
                    <a:pt x="347" y="896"/>
                    <a:pt x="347" y="896"/>
                  </a:cubicBezTo>
                  <a:cubicBezTo>
                    <a:pt x="830" y="896"/>
                    <a:pt x="830" y="896"/>
                    <a:pt x="830" y="896"/>
                  </a:cubicBezTo>
                  <a:cubicBezTo>
                    <a:pt x="830" y="754"/>
                    <a:pt x="830" y="754"/>
                    <a:pt x="830" y="754"/>
                  </a:cubicBezTo>
                  <a:cubicBezTo>
                    <a:pt x="347" y="754"/>
                    <a:pt x="347" y="754"/>
                    <a:pt x="347" y="754"/>
                  </a:cubicBezTo>
                  <a:close/>
                  <a:moveTo>
                    <a:pt x="347" y="963"/>
                  </a:moveTo>
                  <a:cubicBezTo>
                    <a:pt x="347" y="1105"/>
                    <a:pt x="347" y="1105"/>
                    <a:pt x="347" y="1105"/>
                  </a:cubicBezTo>
                  <a:cubicBezTo>
                    <a:pt x="830" y="1105"/>
                    <a:pt x="830" y="1105"/>
                    <a:pt x="830" y="1105"/>
                  </a:cubicBezTo>
                  <a:cubicBezTo>
                    <a:pt x="830" y="963"/>
                    <a:pt x="830" y="963"/>
                    <a:pt x="830" y="963"/>
                  </a:cubicBezTo>
                  <a:cubicBezTo>
                    <a:pt x="347" y="963"/>
                    <a:pt x="347" y="963"/>
                    <a:pt x="347" y="963"/>
                  </a:cubicBezTo>
                  <a:close/>
                  <a:moveTo>
                    <a:pt x="1336" y="896"/>
                  </a:moveTo>
                  <a:cubicBezTo>
                    <a:pt x="1274" y="896"/>
                    <a:pt x="1274" y="896"/>
                    <a:pt x="1274" y="896"/>
                  </a:cubicBezTo>
                  <a:cubicBezTo>
                    <a:pt x="1242" y="484"/>
                    <a:pt x="1039" y="280"/>
                    <a:pt x="762" y="228"/>
                  </a:cubicBezTo>
                  <a:cubicBezTo>
                    <a:pt x="762" y="426"/>
                    <a:pt x="762" y="426"/>
                    <a:pt x="762" y="426"/>
                  </a:cubicBezTo>
                  <a:cubicBezTo>
                    <a:pt x="968" y="495"/>
                    <a:pt x="1048" y="696"/>
                    <a:pt x="1054" y="960"/>
                  </a:cubicBezTo>
                  <a:cubicBezTo>
                    <a:pt x="1048" y="1097"/>
                    <a:pt x="1048" y="1097"/>
                    <a:pt x="1048" y="1097"/>
                  </a:cubicBezTo>
                  <a:cubicBezTo>
                    <a:pt x="1327" y="1094"/>
                    <a:pt x="1327" y="1094"/>
                    <a:pt x="1327" y="1094"/>
                  </a:cubicBezTo>
                  <a:cubicBezTo>
                    <a:pt x="1401" y="1094"/>
                    <a:pt x="1457" y="1114"/>
                    <a:pt x="1457" y="1187"/>
                  </a:cubicBezTo>
                  <a:cubicBezTo>
                    <a:pt x="1457" y="1314"/>
                    <a:pt x="1457" y="1314"/>
                    <a:pt x="1457" y="1314"/>
                  </a:cubicBezTo>
                  <a:cubicBezTo>
                    <a:pt x="762" y="1314"/>
                    <a:pt x="762" y="1314"/>
                    <a:pt x="762" y="1314"/>
                  </a:cubicBezTo>
                  <a:cubicBezTo>
                    <a:pt x="762" y="1512"/>
                    <a:pt x="762" y="1512"/>
                    <a:pt x="762" y="1512"/>
                  </a:cubicBezTo>
                  <a:cubicBezTo>
                    <a:pt x="1586" y="1512"/>
                    <a:pt x="1586" y="1512"/>
                    <a:pt x="1586" y="1512"/>
                  </a:cubicBezTo>
                  <a:cubicBezTo>
                    <a:pt x="1632" y="1512"/>
                    <a:pt x="1666" y="1477"/>
                    <a:pt x="1666" y="1446"/>
                  </a:cubicBezTo>
                  <a:cubicBezTo>
                    <a:pt x="1666" y="1414"/>
                    <a:pt x="1666" y="1187"/>
                    <a:pt x="1666" y="1187"/>
                  </a:cubicBezTo>
                  <a:cubicBezTo>
                    <a:pt x="1666" y="1010"/>
                    <a:pt x="1516" y="896"/>
                    <a:pt x="1336" y="896"/>
                  </a:cubicBezTo>
                  <a:close/>
                  <a:moveTo>
                    <a:pt x="641" y="0"/>
                  </a:moveTo>
                  <a:cubicBezTo>
                    <a:pt x="640" y="0"/>
                    <a:pt x="640" y="0"/>
                    <a:pt x="640" y="0"/>
                  </a:cubicBezTo>
                  <a:cubicBezTo>
                    <a:pt x="62" y="0"/>
                    <a:pt x="62" y="0"/>
                    <a:pt x="62" y="0"/>
                  </a:cubicBezTo>
                  <a:cubicBezTo>
                    <a:pt x="48" y="0"/>
                    <a:pt x="0" y="0"/>
                    <a:pt x="0" y="70"/>
                  </a:cubicBezTo>
                  <a:cubicBezTo>
                    <a:pt x="0" y="70"/>
                    <a:pt x="0" y="1425"/>
                    <a:pt x="0" y="1446"/>
                  </a:cubicBezTo>
                  <a:cubicBezTo>
                    <a:pt x="0" y="1477"/>
                    <a:pt x="35" y="1512"/>
                    <a:pt x="80" y="1512"/>
                  </a:cubicBezTo>
                  <a:cubicBezTo>
                    <a:pt x="420" y="1512"/>
                    <a:pt x="420" y="1512"/>
                    <a:pt x="420" y="1512"/>
                  </a:cubicBezTo>
                  <a:cubicBezTo>
                    <a:pt x="420" y="1314"/>
                    <a:pt x="420" y="1314"/>
                    <a:pt x="420" y="1314"/>
                  </a:cubicBezTo>
                  <a:cubicBezTo>
                    <a:pt x="204" y="1314"/>
                    <a:pt x="204" y="1314"/>
                    <a:pt x="204" y="1314"/>
                  </a:cubicBezTo>
                  <a:cubicBezTo>
                    <a:pt x="204" y="199"/>
                    <a:pt x="204" y="199"/>
                    <a:pt x="204" y="199"/>
                  </a:cubicBezTo>
                  <a:cubicBezTo>
                    <a:pt x="489" y="199"/>
                    <a:pt x="489" y="199"/>
                    <a:pt x="489" y="199"/>
                  </a:cubicBezTo>
                  <a:cubicBezTo>
                    <a:pt x="489" y="484"/>
                    <a:pt x="489" y="484"/>
                    <a:pt x="489" y="484"/>
                  </a:cubicBezTo>
                  <a:cubicBezTo>
                    <a:pt x="694" y="484"/>
                    <a:pt x="694" y="484"/>
                    <a:pt x="694" y="484"/>
                  </a:cubicBezTo>
                  <a:cubicBezTo>
                    <a:pt x="694" y="59"/>
                    <a:pt x="694" y="59"/>
                    <a:pt x="694" y="59"/>
                  </a:cubicBezTo>
                  <a:cubicBezTo>
                    <a:pt x="694" y="3"/>
                    <a:pt x="656" y="0"/>
                    <a:pt x="641" y="0"/>
                  </a:cubicBezTo>
                  <a:close/>
                </a:path>
              </a:pathLst>
            </a:custGeom>
            <a:solidFill>
              <a:srgbClr val="FFFFFF"/>
            </a:solidFill>
            <a:ln>
              <a:noFill/>
            </a:ln>
          </p:spPr>
          <p:txBody>
            <a:bodyPr vert="horz" wrap="square" lIns="67226" tIns="33613" rIns="67226" bIns="336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788">
                <a:solidFill>
                  <a:srgbClr val="505050"/>
                </a:solidFill>
              </a:endParaRPr>
            </a:p>
          </p:txBody>
        </p:sp>
        <p:grpSp>
          <p:nvGrpSpPr>
            <p:cNvPr id="327" name="Group 326"/>
            <p:cNvGrpSpPr/>
            <p:nvPr/>
          </p:nvGrpSpPr>
          <p:grpSpPr>
            <a:xfrm>
              <a:off x="6349716" y="5840153"/>
              <a:ext cx="1465023" cy="656345"/>
              <a:chOff x="6401114" y="4959527"/>
              <a:chExt cx="1494401" cy="669506"/>
            </a:xfrm>
          </p:grpSpPr>
          <p:sp>
            <p:nvSpPr>
              <p:cNvPr id="388" name="Freeform 121"/>
              <p:cNvSpPr>
                <a:spLocks noChangeAspect="1" noEditPoints="1"/>
              </p:cNvSpPr>
              <p:nvPr/>
            </p:nvSpPr>
            <p:spPr bwMode="black">
              <a:xfrm flipH="1">
                <a:off x="6401114" y="4959527"/>
                <a:ext cx="822960" cy="669506"/>
              </a:xfrm>
              <a:custGeom>
                <a:avLst/>
                <a:gdLst>
                  <a:gd name="T0" fmla="*/ 478 w 667"/>
                  <a:gd name="T1" fmla="*/ 242 h 543"/>
                  <a:gd name="T2" fmla="*/ 398 w 667"/>
                  <a:gd name="T3" fmla="*/ 228 h 543"/>
                  <a:gd name="T4" fmla="*/ 420 w 667"/>
                  <a:gd name="T5" fmla="*/ 150 h 543"/>
                  <a:gd name="T6" fmla="*/ 382 w 667"/>
                  <a:gd name="T7" fmla="*/ 107 h 543"/>
                  <a:gd name="T8" fmla="*/ 312 w 667"/>
                  <a:gd name="T9" fmla="*/ 149 h 543"/>
                  <a:gd name="T10" fmla="*/ 278 w 667"/>
                  <a:gd name="T11" fmla="*/ 64 h 543"/>
                  <a:gd name="T12" fmla="*/ 220 w 667"/>
                  <a:gd name="T13" fmla="*/ 54 h 543"/>
                  <a:gd name="T14" fmla="*/ 192 w 667"/>
                  <a:gd name="T15" fmla="*/ 142 h 543"/>
                  <a:gd name="T16" fmla="*/ 120 w 667"/>
                  <a:gd name="T17" fmla="*/ 105 h 543"/>
                  <a:gd name="T18" fmla="*/ 70 w 667"/>
                  <a:gd name="T19" fmla="*/ 135 h 543"/>
                  <a:gd name="T20" fmla="*/ 98 w 667"/>
                  <a:gd name="T21" fmla="*/ 212 h 543"/>
                  <a:gd name="T22" fmla="*/ 20 w 667"/>
                  <a:gd name="T23" fmla="*/ 232 h 543"/>
                  <a:gd name="T24" fmla="*/ 0 w 667"/>
                  <a:gd name="T25" fmla="*/ 287 h 543"/>
                  <a:gd name="T26" fmla="*/ 72 w 667"/>
                  <a:gd name="T27" fmla="*/ 327 h 543"/>
                  <a:gd name="T28" fmla="*/ 23 w 667"/>
                  <a:gd name="T29" fmla="*/ 393 h 543"/>
                  <a:gd name="T30" fmla="*/ 45 w 667"/>
                  <a:gd name="T31" fmla="*/ 448 h 543"/>
                  <a:gd name="T32" fmla="*/ 125 w 667"/>
                  <a:gd name="T33" fmla="*/ 431 h 543"/>
                  <a:gd name="T34" fmla="*/ 132 w 667"/>
                  <a:gd name="T35" fmla="*/ 513 h 543"/>
                  <a:gd name="T36" fmla="*/ 182 w 667"/>
                  <a:gd name="T37" fmla="*/ 541 h 543"/>
                  <a:gd name="T38" fmla="*/ 233 w 667"/>
                  <a:gd name="T39" fmla="*/ 478 h 543"/>
                  <a:gd name="T40" fmla="*/ 253 w 667"/>
                  <a:gd name="T41" fmla="*/ 478 h 543"/>
                  <a:gd name="T42" fmla="*/ 305 w 667"/>
                  <a:gd name="T43" fmla="*/ 541 h 543"/>
                  <a:gd name="T44" fmla="*/ 355 w 667"/>
                  <a:gd name="T45" fmla="*/ 513 h 543"/>
                  <a:gd name="T46" fmla="*/ 362 w 667"/>
                  <a:gd name="T47" fmla="*/ 431 h 543"/>
                  <a:gd name="T48" fmla="*/ 442 w 667"/>
                  <a:gd name="T49" fmla="*/ 448 h 543"/>
                  <a:gd name="T50" fmla="*/ 463 w 667"/>
                  <a:gd name="T51" fmla="*/ 393 h 543"/>
                  <a:gd name="T52" fmla="*/ 415 w 667"/>
                  <a:gd name="T53" fmla="*/ 327 h 543"/>
                  <a:gd name="T54" fmla="*/ 487 w 667"/>
                  <a:gd name="T55" fmla="*/ 287 h 543"/>
                  <a:gd name="T56" fmla="*/ 312 w 667"/>
                  <a:gd name="T57" fmla="*/ 375 h 543"/>
                  <a:gd name="T58" fmla="*/ 175 w 667"/>
                  <a:gd name="T59" fmla="*/ 375 h 543"/>
                  <a:gd name="T60" fmla="*/ 175 w 667"/>
                  <a:gd name="T61" fmla="*/ 238 h 543"/>
                  <a:gd name="T62" fmla="*/ 312 w 667"/>
                  <a:gd name="T63" fmla="*/ 238 h 543"/>
                  <a:gd name="T64" fmla="*/ 198 w 667"/>
                  <a:gd name="T65" fmla="*/ 306 h 543"/>
                  <a:gd name="T66" fmla="*/ 288 w 667"/>
                  <a:gd name="T67" fmla="*/ 306 h 543"/>
                  <a:gd name="T68" fmla="*/ 198 w 667"/>
                  <a:gd name="T69" fmla="*/ 306 h 543"/>
                  <a:gd name="T70" fmla="*/ 638 w 667"/>
                  <a:gd name="T71" fmla="*/ 133 h 543"/>
                  <a:gd name="T72" fmla="*/ 662 w 667"/>
                  <a:gd name="T73" fmla="*/ 92 h 543"/>
                  <a:gd name="T74" fmla="*/ 665 w 667"/>
                  <a:gd name="T75" fmla="*/ 77 h 543"/>
                  <a:gd name="T76" fmla="*/ 642 w 667"/>
                  <a:gd name="T77" fmla="*/ 52 h 543"/>
                  <a:gd name="T78" fmla="*/ 605 w 667"/>
                  <a:gd name="T79" fmla="*/ 62 h 543"/>
                  <a:gd name="T80" fmla="*/ 566 w 667"/>
                  <a:gd name="T81" fmla="*/ 10 h 543"/>
                  <a:gd name="T82" fmla="*/ 531 w 667"/>
                  <a:gd name="T83" fmla="*/ 0 h 543"/>
                  <a:gd name="T84" fmla="*/ 511 w 667"/>
                  <a:gd name="T85" fmla="*/ 45 h 543"/>
                  <a:gd name="T86" fmla="*/ 446 w 667"/>
                  <a:gd name="T87" fmla="*/ 52 h 543"/>
                  <a:gd name="T88" fmla="*/ 432 w 667"/>
                  <a:gd name="T89" fmla="*/ 57 h 543"/>
                  <a:gd name="T90" fmla="*/ 419 w 667"/>
                  <a:gd name="T91" fmla="*/ 83 h 543"/>
                  <a:gd name="T92" fmla="*/ 451 w 667"/>
                  <a:gd name="T93" fmla="*/ 117 h 543"/>
                  <a:gd name="T94" fmla="*/ 451 w 667"/>
                  <a:gd name="T95" fmla="*/ 152 h 543"/>
                  <a:gd name="T96" fmla="*/ 419 w 667"/>
                  <a:gd name="T97" fmla="*/ 185 h 543"/>
                  <a:gd name="T98" fmla="*/ 432 w 667"/>
                  <a:gd name="T99" fmla="*/ 210 h 543"/>
                  <a:gd name="T100" fmla="*/ 446 w 667"/>
                  <a:gd name="T101" fmla="*/ 217 h 543"/>
                  <a:gd name="T102" fmla="*/ 511 w 667"/>
                  <a:gd name="T103" fmla="*/ 222 h 543"/>
                  <a:gd name="T104" fmla="*/ 531 w 667"/>
                  <a:gd name="T105" fmla="*/ 267 h 543"/>
                  <a:gd name="T106" fmla="*/ 566 w 667"/>
                  <a:gd name="T107" fmla="*/ 258 h 543"/>
                  <a:gd name="T108" fmla="*/ 605 w 667"/>
                  <a:gd name="T109" fmla="*/ 205 h 543"/>
                  <a:gd name="T110" fmla="*/ 642 w 667"/>
                  <a:gd name="T111" fmla="*/ 217 h 543"/>
                  <a:gd name="T112" fmla="*/ 665 w 667"/>
                  <a:gd name="T113" fmla="*/ 190 h 543"/>
                  <a:gd name="T114" fmla="*/ 662 w 667"/>
                  <a:gd name="T115" fmla="*/ 177 h 543"/>
                  <a:gd name="T116" fmla="*/ 635 w 667"/>
                  <a:gd name="T117" fmla="*/ 152 h 543"/>
                  <a:gd name="T118" fmla="*/ 543 w 667"/>
                  <a:gd name="T119" fmla="*/ 170 h 543"/>
                  <a:gd name="T120" fmla="*/ 543 w 667"/>
                  <a:gd name="T121" fmla="*/ 97 h 5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67" h="543">
                    <a:moveTo>
                      <a:pt x="487" y="287"/>
                    </a:moveTo>
                    <a:cubicBezTo>
                      <a:pt x="478" y="242"/>
                      <a:pt x="478" y="242"/>
                      <a:pt x="478" y="242"/>
                    </a:cubicBezTo>
                    <a:cubicBezTo>
                      <a:pt x="477" y="237"/>
                      <a:pt x="473" y="233"/>
                      <a:pt x="467" y="232"/>
                    </a:cubicBezTo>
                    <a:cubicBezTo>
                      <a:pt x="398" y="228"/>
                      <a:pt x="398" y="228"/>
                      <a:pt x="398" y="228"/>
                    </a:cubicBezTo>
                    <a:cubicBezTo>
                      <a:pt x="395" y="223"/>
                      <a:pt x="392" y="217"/>
                      <a:pt x="388" y="212"/>
                    </a:cubicBezTo>
                    <a:cubicBezTo>
                      <a:pt x="420" y="150"/>
                      <a:pt x="420" y="150"/>
                      <a:pt x="420" y="150"/>
                    </a:cubicBezTo>
                    <a:cubicBezTo>
                      <a:pt x="423" y="145"/>
                      <a:pt x="422" y="139"/>
                      <a:pt x="417" y="135"/>
                    </a:cubicBezTo>
                    <a:cubicBezTo>
                      <a:pt x="382" y="107"/>
                      <a:pt x="382" y="107"/>
                      <a:pt x="382" y="107"/>
                    </a:cubicBezTo>
                    <a:cubicBezTo>
                      <a:pt x="378" y="102"/>
                      <a:pt x="372" y="102"/>
                      <a:pt x="367" y="105"/>
                    </a:cubicBezTo>
                    <a:cubicBezTo>
                      <a:pt x="312" y="149"/>
                      <a:pt x="312" y="149"/>
                      <a:pt x="312" y="149"/>
                    </a:cubicBezTo>
                    <a:cubicBezTo>
                      <a:pt x="307" y="145"/>
                      <a:pt x="302" y="144"/>
                      <a:pt x="295" y="142"/>
                    </a:cubicBezTo>
                    <a:cubicBezTo>
                      <a:pt x="278" y="64"/>
                      <a:pt x="278" y="64"/>
                      <a:pt x="278" y="64"/>
                    </a:cubicBezTo>
                    <a:cubicBezTo>
                      <a:pt x="277" y="59"/>
                      <a:pt x="272" y="54"/>
                      <a:pt x="267" y="54"/>
                    </a:cubicBezTo>
                    <a:cubicBezTo>
                      <a:pt x="220" y="54"/>
                      <a:pt x="220" y="54"/>
                      <a:pt x="220" y="54"/>
                    </a:cubicBezTo>
                    <a:cubicBezTo>
                      <a:pt x="215" y="54"/>
                      <a:pt x="210" y="59"/>
                      <a:pt x="208" y="64"/>
                    </a:cubicBezTo>
                    <a:cubicBezTo>
                      <a:pt x="192" y="142"/>
                      <a:pt x="192" y="142"/>
                      <a:pt x="192" y="142"/>
                    </a:cubicBezTo>
                    <a:cubicBezTo>
                      <a:pt x="185" y="144"/>
                      <a:pt x="180" y="145"/>
                      <a:pt x="175" y="149"/>
                    </a:cubicBezTo>
                    <a:cubicBezTo>
                      <a:pt x="120" y="105"/>
                      <a:pt x="120" y="105"/>
                      <a:pt x="120" y="105"/>
                    </a:cubicBezTo>
                    <a:cubicBezTo>
                      <a:pt x="115" y="102"/>
                      <a:pt x="108" y="102"/>
                      <a:pt x="105" y="105"/>
                    </a:cubicBezTo>
                    <a:cubicBezTo>
                      <a:pt x="70" y="135"/>
                      <a:pt x="70" y="135"/>
                      <a:pt x="70" y="135"/>
                    </a:cubicBezTo>
                    <a:cubicBezTo>
                      <a:pt x="65" y="139"/>
                      <a:pt x="65" y="145"/>
                      <a:pt x="67" y="150"/>
                    </a:cubicBezTo>
                    <a:cubicBezTo>
                      <a:pt x="98" y="212"/>
                      <a:pt x="98" y="212"/>
                      <a:pt x="98" y="212"/>
                    </a:cubicBezTo>
                    <a:cubicBezTo>
                      <a:pt x="95" y="217"/>
                      <a:pt x="92" y="223"/>
                      <a:pt x="88" y="228"/>
                    </a:cubicBezTo>
                    <a:cubicBezTo>
                      <a:pt x="20" y="232"/>
                      <a:pt x="20" y="232"/>
                      <a:pt x="20" y="232"/>
                    </a:cubicBezTo>
                    <a:cubicBezTo>
                      <a:pt x="13" y="232"/>
                      <a:pt x="10" y="237"/>
                      <a:pt x="8" y="242"/>
                    </a:cubicBezTo>
                    <a:cubicBezTo>
                      <a:pt x="0" y="287"/>
                      <a:pt x="0" y="287"/>
                      <a:pt x="0" y="287"/>
                    </a:cubicBezTo>
                    <a:cubicBezTo>
                      <a:pt x="0" y="292"/>
                      <a:pt x="2" y="298"/>
                      <a:pt x="7" y="300"/>
                    </a:cubicBezTo>
                    <a:cubicBezTo>
                      <a:pt x="72" y="327"/>
                      <a:pt x="72" y="327"/>
                      <a:pt x="72" y="327"/>
                    </a:cubicBezTo>
                    <a:cubicBezTo>
                      <a:pt x="73" y="333"/>
                      <a:pt x="73" y="340"/>
                      <a:pt x="75" y="347"/>
                    </a:cubicBezTo>
                    <a:cubicBezTo>
                      <a:pt x="23" y="393"/>
                      <a:pt x="23" y="393"/>
                      <a:pt x="23" y="393"/>
                    </a:cubicBezTo>
                    <a:cubicBezTo>
                      <a:pt x="20" y="397"/>
                      <a:pt x="18" y="403"/>
                      <a:pt x="22" y="408"/>
                    </a:cubicBezTo>
                    <a:cubicBezTo>
                      <a:pt x="45" y="448"/>
                      <a:pt x="45" y="448"/>
                      <a:pt x="45" y="448"/>
                    </a:cubicBezTo>
                    <a:cubicBezTo>
                      <a:pt x="47" y="451"/>
                      <a:pt x="53" y="455"/>
                      <a:pt x="58" y="453"/>
                    </a:cubicBezTo>
                    <a:cubicBezTo>
                      <a:pt x="125" y="431"/>
                      <a:pt x="125" y="431"/>
                      <a:pt x="125" y="431"/>
                    </a:cubicBezTo>
                    <a:cubicBezTo>
                      <a:pt x="130" y="436"/>
                      <a:pt x="135" y="441"/>
                      <a:pt x="140" y="445"/>
                    </a:cubicBezTo>
                    <a:cubicBezTo>
                      <a:pt x="132" y="513"/>
                      <a:pt x="132" y="513"/>
                      <a:pt x="132" y="513"/>
                    </a:cubicBezTo>
                    <a:cubicBezTo>
                      <a:pt x="130" y="520"/>
                      <a:pt x="133" y="525"/>
                      <a:pt x="138" y="526"/>
                    </a:cubicBezTo>
                    <a:cubicBezTo>
                      <a:pt x="182" y="541"/>
                      <a:pt x="182" y="541"/>
                      <a:pt x="182" y="541"/>
                    </a:cubicBezTo>
                    <a:cubicBezTo>
                      <a:pt x="187" y="543"/>
                      <a:pt x="193" y="541"/>
                      <a:pt x="197" y="538"/>
                    </a:cubicBezTo>
                    <a:cubicBezTo>
                      <a:pt x="233" y="478"/>
                      <a:pt x="233" y="478"/>
                      <a:pt x="233" y="478"/>
                    </a:cubicBezTo>
                    <a:cubicBezTo>
                      <a:pt x="237" y="478"/>
                      <a:pt x="240" y="480"/>
                      <a:pt x="243" y="480"/>
                    </a:cubicBezTo>
                    <a:cubicBezTo>
                      <a:pt x="247" y="480"/>
                      <a:pt x="250" y="478"/>
                      <a:pt x="253" y="478"/>
                    </a:cubicBezTo>
                    <a:cubicBezTo>
                      <a:pt x="290" y="538"/>
                      <a:pt x="290" y="538"/>
                      <a:pt x="290" y="538"/>
                    </a:cubicBezTo>
                    <a:cubicBezTo>
                      <a:pt x="293" y="541"/>
                      <a:pt x="300" y="543"/>
                      <a:pt x="305" y="541"/>
                    </a:cubicBezTo>
                    <a:cubicBezTo>
                      <a:pt x="348" y="526"/>
                      <a:pt x="348" y="526"/>
                      <a:pt x="348" y="526"/>
                    </a:cubicBezTo>
                    <a:cubicBezTo>
                      <a:pt x="353" y="525"/>
                      <a:pt x="357" y="520"/>
                      <a:pt x="355" y="513"/>
                    </a:cubicBezTo>
                    <a:cubicBezTo>
                      <a:pt x="347" y="445"/>
                      <a:pt x="347" y="445"/>
                      <a:pt x="347" y="445"/>
                    </a:cubicBezTo>
                    <a:cubicBezTo>
                      <a:pt x="352" y="440"/>
                      <a:pt x="357" y="436"/>
                      <a:pt x="362" y="431"/>
                    </a:cubicBezTo>
                    <a:cubicBezTo>
                      <a:pt x="428" y="453"/>
                      <a:pt x="428" y="453"/>
                      <a:pt x="428" y="453"/>
                    </a:cubicBezTo>
                    <a:cubicBezTo>
                      <a:pt x="433" y="455"/>
                      <a:pt x="440" y="451"/>
                      <a:pt x="442" y="448"/>
                    </a:cubicBezTo>
                    <a:cubicBezTo>
                      <a:pt x="465" y="408"/>
                      <a:pt x="465" y="408"/>
                      <a:pt x="465" y="408"/>
                    </a:cubicBezTo>
                    <a:cubicBezTo>
                      <a:pt x="468" y="403"/>
                      <a:pt x="467" y="397"/>
                      <a:pt x="463" y="393"/>
                    </a:cubicBezTo>
                    <a:cubicBezTo>
                      <a:pt x="412" y="347"/>
                      <a:pt x="412" y="347"/>
                      <a:pt x="412" y="347"/>
                    </a:cubicBezTo>
                    <a:cubicBezTo>
                      <a:pt x="413" y="340"/>
                      <a:pt x="413" y="333"/>
                      <a:pt x="415" y="327"/>
                    </a:cubicBezTo>
                    <a:cubicBezTo>
                      <a:pt x="480" y="300"/>
                      <a:pt x="480" y="300"/>
                      <a:pt x="480" y="300"/>
                    </a:cubicBezTo>
                    <a:cubicBezTo>
                      <a:pt x="485" y="298"/>
                      <a:pt x="487" y="293"/>
                      <a:pt x="487" y="287"/>
                    </a:cubicBezTo>
                    <a:close/>
                    <a:moveTo>
                      <a:pt x="340" y="307"/>
                    </a:moveTo>
                    <a:cubicBezTo>
                      <a:pt x="340" y="333"/>
                      <a:pt x="328" y="357"/>
                      <a:pt x="312" y="375"/>
                    </a:cubicBezTo>
                    <a:cubicBezTo>
                      <a:pt x="293" y="392"/>
                      <a:pt x="270" y="403"/>
                      <a:pt x="243" y="403"/>
                    </a:cubicBezTo>
                    <a:cubicBezTo>
                      <a:pt x="217" y="403"/>
                      <a:pt x="193" y="392"/>
                      <a:pt x="175" y="375"/>
                    </a:cubicBezTo>
                    <a:cubicBezTo>
                      <a:pt x="158" y="357"/>
                      <a:pt x="147" y="333"/>
                      <a:pt x="147" y="307"/>
                    </a:cubicBezTo>
                    <a:cubicBezTo>
                      <a:pt x="147" y="280"/>
                      <a:pt x="158" y="255"/>
                      <a:pt x="175" y="238"/>
                    </a:cubicBezTo>
                    <a:cubicBezTo>
                      <a:pt x="193" y="220"/>
                      <a:pt x="217" y="210"/>
                      <a:pt x="243" y="210"/>
                    </a:cubicBezTo>
                    <a:cubicBezTo>
                      <a:pt x="270" y="210"/>
                      <a:pt x="293" y="220"/>
                      <a:pt x="312" y="238"/>
                    </a:cubicBezTo>
                    <a:cubicBezTo>
                      <a:pt x="328" y="255"/>
                      <a:pt x="340" y="280"/>
                      <a:pt x="340" y="307"/>
                    </a:cubicBezTo>
                    <a:close/>
                    <a:moveTo>
                      <a:pt x="198" y="306"/>
                    </a:moveTo>
                    <a:cubicBezTo>
                      <a:pt x="198" y="281"/>
                      <a:pt x="218" y="261"/>
                      <a:pt x="243" y="261"/>
                    </a:cubicBezTo>
                    <a:cubicBezTo>
                      <a:pt x="268" y="261"/>
                      <a:pt x="288" y="281"/>
                      <a:pt x="288" y="306"/>
                    </a:cubicBezTo>
                    <a:cubicBezTo>
                      <a:pt x="288" y="331"/>
                      <a:pt x="268" y="351"/>
                      <a:pt x="243" y="351"/>
                    </a:cubicBezTo>
                    <a:cubicBezTo>
                      <a:pt x="218" y="351"/>
                      <a:pt x="198" y="331"/>
                      <a:pt x="198" y="306"/>
                    </a:cubicBezTo>
                    <a:close/>
                    <a:moveTo>
                      <a:pt x="635" y="152"/>
                    </a:moveTo>
                    <a:cubicBezTo>
                      <a:pt x="637" y="147"/>
                      <a:pt x="638" y="140"/>
                      <a:pt x="638" y="133"/>
                    </a:cubicBezTo>
                    <a:cubicBezTo>
                      <a:pt x="638" y="128"/>
                      <a:pt x="637" y="122"/>
                      <a:pt x="635" y="117"/>
                    </a:cubicBezTo>
                    <a:cubicBezTo>
                      <a:pt x="662" y="92"/>
                      <a:pt x="662" y="92"/>
                      <a:pt x="662" y="92"/>
                    </a:cubicBezTo>
                    <a:cubicBezTo>
                      <a:pt x="665" y="90"/>
                      <a:pt x="665" y="87"/>
                      <a:pt x="665" y="83"/>
                    </a:cubicBezTo>
                    <a:cubicBezTo>
                      <a:pt x="665" y="82"/>
                      <a:pt x="665" y="78"/>
                      <a:pt x="665" y="77"/>
                    </a:cubicBezTo>
                    <a:cubicBezTo>
                      <a:pt x="654" y="57"/>
                      <a:pt x="654" y="57"/>
                      <a:pt x="654" y="57"/>
                    </a:cubicBezTo>
                    <a:cubicBezTo>
                      <a:pt x="650" y="53"/>
                      <a:pt x="647" y="52"/>
                      <a:pt x="642" y="52"/>
                    </a:cubicBezTo>
                    <a:cubicBezTo>
                      <a:pt x="642" y="52"/>
                      <a:pt x="640" y="52"/>
                      <a:pt x="638" y="52"/>
                    </a:cubicBezTo>
                    <a:cubicBezTo>
                      <a:pt x="605" y="62"/>
                      <a:pt x="605" y="62"/>
                      <a:pt x="605" y="62"/>
                    </a:cubicBezTo>
                    <a:cubicBezTo>
                      <a:pt x="595" y="55"/>
                      <a:pt x="585" y="49"/>
                      <a:pt x="573" y="45"/>
                    </a:cubicBezTo>
                    <a:cubicBezTo>
                      <a:pt x="566" y="10"/>
                      <a:pt x="566" y="10"/>
                      <a:pt x="566" y="10"/>
                    </a:cubicBezTo>
                    <a:cubicBezTo>
                      <a:pt x="565" y="5"/>
                      <a:pt x="560" y="0"/>
                      <a:pt x="555" y="0"/>
                    </a:cubicBezTo>
                    <a:cubicBezTo>
                      <a:pt x="531" y="0"/>
                      <a:pt x="531" y="0"/>
                      <a:pt x="531" y="0"/>
                    </a:cubicBezTo>
                    <a:cubicBezTo>
                      <a:pt x="524" y="0"/>
                      <a:pt x="521" y="5"/>
                      <a:pt x="519" y="10"/>
                    </a:cubicBezTo>
                    <a:cubicBezTo>
                      <a:pt x="511" y="45"/>
                      <a:pt x="511" y="45"/>
                      <a:pt x="511" y="45"/>
                    </a:cubicBezTo>
                    <a:cubicBezTo>
                      <a:pt x="499" y="49"/>
                      <a:pt x="489" y="55"/>
                      <a:pt x="481" y="63"/>
                    </a:cubicBezTo>
                    <a:cubicBezTo>
                      <a:pt x="446" y="52"/>
                      <a:pt x="446" y="52"/>
                      <a:pt x="446" y="52"/>
                    </a:cubicBezTo>
                    <a:cubicBezTo>
                      <a:pt x="444" y="52"/>
                      <a:pt x="444" y="52"/>
                      <a:pt x="442" y="52"/>
                    </a:cubicBezTo>
                    <a:cubicBezTo>
                      <a:pt x="439" y="52"/>
                      <a:pt x="434" y="53"/>
                      <a:pt x="432" y="57"/>
                    </a:cubicBezTo>
                    <a:cubicBezTo>
                      <a:pt x="421" y="77"/>
                      <a:pt x="421" y="77"/>
                      <a:pt x="421" y="77"/>
                    </a:cubicBezTo>
                    <a:cubicBezTo>
                      <a:pt x="419" y="78"/>
                      <a:pt x="419" y="82"/>
                      <a:pt x="419" y="83"/>
                    </a:cubicBezTo>
                    <a:cubicBezTo>
                      <a:pt x="419" y="87"/>
                      <a:pt x="421" y="90"/>
                      <a:pt x="422" y="92"/>
                    </a:cubicBezTo>
                    <a:cubicBezTo>
                      <a:pt x="451" y="117"/>
                      <a:pt x="451" y="117"/>
                      <a:pt x="451" y="117"/>
                    </a:cubicBezTo>
                    <a:cubicBezTo>
                      <a:pt x="449" y="122"/>
                      <a:pt x="447" y="128"/>
                      <a:pt x="447" y="133"/>
                    </a:cubicBezTo>
                    <a:cubicBezTo>
                      <a:pt x="447" y="140"/>
                      <a:pt x="449" y="145"/>
                      <a:pt x="451" y="152"/>
                    </a:cubicBezTo>
                    <a:cubicBezTo>
                      <a:pt x="422" y="177"/>
                      <a:pt x="422" y="177"/>
                      <a:pt x="422" y="177"/>
                    </a:cubicBezTo>
                    <a:cubicBezTo>
                      <a:pt x="421" y="178"/>
                      <a:pt x="419" y="182"/>
                      <a:pt x="419" y="185"/>
                    </a:cubicBezTo>
                    <a:cubicBezTo>
                      <a:pt x="419" y="187"/>
                      <a:pt x="419" y="188"/>
                      <a:pt x="421" y="190"/>
                    </a:cubicBezTo>
                    <a:cubicBezTo>
                      <a:pt x="432" y="210"/>
                      <a:pt x="432" y="210"/>
                      <a:pt x="432" y="210"/>
                    </a:cubicBezTo>
                    <a:cubicBezTo>
                      <a:pt x="434" y="215"/>
                      <a:pt x="439" y="217"/>
                      <a:pt x="442" y="217"/>
                    </a:cubicBezTo>
                    <a:cubicBezTo>
                      <a:pt x="444" y="217"/>
                      <a:pt x="444" y="217"/>
                      <a:pt x="446" y="217"/>
                    </a:cubicBezTo>
                    <a:cubicBezTo>
                      <a:pt x="481" y="205"/>
                      <a:pt x="481" y="205"/>
                      <a:pt x="481" y="205"/>
                    </a:cubicBezTo>
                    <a:cubicBezTo>
                      <a:pt x="489" y="212"/>
                      <a:pt x="499" y="218"/>
                      <a:pt x="511" y="222"/>
                    </a:cubicBezTo>
                    <a:cubicBezTo>
                      <a:pt x="519" y="258"/>
                      <a:pt x="519" y="258"/>
                      <a:pt x="519" y="258"/>
                    </a:cubicBezTo>
                    <a:cubicBezTo>
                      <a:pt x="521" y="263"/>
                      <a:pt x="524" y="267"/>
                      <a:pt x="531" y="267"/>
                    </a:cubicBezTo>
                    <a:cubicBezTo>
                      <a:pt x="555" y="267"/>
                      <a:pt x="555" y="267"/>
                      <a:pt x="555" y="267"/>
                    </a:cubicBezTo>
                    <a:cubicBezTo>
                      <a:pt x="560" y="267"/>
                      <a:pt x="565" y="263"/>
                      <a:pt x="566" y="258"/>
                    </a:cubicBezTo>
                    <a:cubicBezTo>
                      <a:pt x="573" y="223"/>
                      <a:pt x="573" y="223"/>
                      <a:pt x="573" y="223"/>
                    </a:cubicBezTo>
                    <a:cubicBezTo>
                      <a:pt x="585" y="218"/>
                      <a:pt x="595" y="213"/>
                      <a:pt x="605" y="205"/>
                    </a:cubicBezTo>
                    <a:cubicBezTo>
                      <a:pt x="638" y="217"/>
                      <a:pt x="638" y="217"/>
                      <a:pt x="638" y="217"/>
                    </a:cubicBezTo>
                    <a:cubicBezTo>
                      <a:pt x="640" y="217"/>
                      <a:pt x="642" y="217"/>
                      <a:pt x="642" y="217"/>
                    </a:cubicBezTo>
                    <a:cubicBezTo>
                      <a:pt x="647" y="217"/>
                      <a:pt x="650" y="215"/>
                      <a:pt x="654" y="210"/>
                    </a:cubicBezTo>
                    <a:cubicBezTo>
                      <a:pt x="665" y="190"/>
                      <a:pt x="665" y="190"/>
                      <a:pt x="665" y="190"/>
                    </a:cubicBezTo>
                    <a:cubicBezTo>
                      <a:pt x="665" y="188"/>
                      <a:pt x="667" y="187"/>
                      <a:pt x="665" y="185"/>
                    </a:cubicBezTo>
                    <a:cubicBezTo>
                      <a:pt x="667" y="182"/>
                      <a:pt x="665" y="178"/>
                      <a:pt x="662" y="177"/>
                    </a:cubicBezTo>
                    <a:cubicBezTo>
                      <a:pt x="635" y="152"/>
                      <a:pt x="635" y="152"/>
                      <a:pt x="635" y="152"/>
                    </a:cubicBezTo>
                    <a:cubicBezTo>
                      <a:pt x="635" y="152"/>
                      <a:pt x="635" y="152"/>
                      <a:pt x="635" y="152"/>
                    </a:cubicBezTo>
                    <a:close/>
                    <a:moveTo>
                      <a:pt x="580" y="133"/>
                    </a:moveTo>
                    <a:cubicBezTo>
                      <a:pt x="580" y="153"/>
                      <a:pt x="563" y="170"/>
                      <a:pt x="543" y="170"/>
                    </a:cubicBezTo>
                    <a:cubicBezTo>
                      <a:pt x="523" y="170"/>
                      <a:pt x="506" y="153"/>
                      <a:pt x="506" y="133"/>
                    </a:cubicBezTo>
                    <a:cubicBezTo>
                      <a:pt x="506" y="113"/>
                      <a:pt x="523" y="97"/>
                      <a:pt x="543" y="97"/>
                    </a:cubicBezTo>
                    <a:cubicBezTo>
                      <a:pt x="563" y="97"/>
                      <a:pt x="580" y="113"/>
                      <a:pt x="580" y="133"/>
                    </a:cubicBezTo>
                    <a:close/>
                  </a:path>
                </a:pathLst>
              </a:custGeom>
              <a:solidFill>
                <a:schemeClr val="accent1"/>
              </a:solidFill>
              <a:ln>
                <a:noFill/>
              </a:ln>
              <a:extLst/>
            </p:spPr>
            <p:txBody>
              <a:bodyPr vert="horz" wrap="square" lIns="67226" tIns="33613" rIns="67226" bIns="336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788">
                  <a:solidFill>
                    <a:srgbClr val="505050"/>
                  </a:solidFill>
                </a:endParaRPr>
              </a:p>
            </p:txBody>
          </p:sp>
          <p:sp>
            <p:nvSpPr>
              <p:cNvPr id="389" name="TextBox 310"/>
              <p:cNvSpPr txBox="1"/>
              <p:nvPr/>
            </p:nvSpPr>
            <p:spPr>
              <a:xfrm>
                <a:off x="7284268" y="5121123"/>
                <a:ext cx="611247" cy="373084"/>
              </a:xfrm>
              <a:prstGeom prst="rect">
                <a:avLst/>
              </a:prstGeom>
              <a:noFill/>
            </p:spPr>
            <p:txBody>
              <a:bodyPr wrap="non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90000"/>
                  </a:lnSpc>
                  <a:spcAft>
                    <a:spcPts val="441"/>
                  </a:spcAft>
                </a:pPr>
                <a:r>
                  <a:rPr lang="en-US" sz="675" dirty="0">
                    <a:gradFill>
                      <a:gsLst>
                        <a:gs pos="2917">
                          <a:srgbClr val="002050"/>
                        </a:gs>
                        <a:gs pos="30000">
                          <a:srgbClr val="002050"/>
                        </a:gs>
                      </a:gsLst>
                      <a:lin ang="5400000" scaled="0"/>
                    </a:gradFill>
                  </a:rPr>
                  <a:t>Storage </a:t>
                </a:r>
                <a:br>
                  <a:rPr lang="en-US" sz="675" dirty="0">
                    <a:gradFill>
                      <a:gsLst>
                        <a:gs pos="2917">
                          <a:srgbClr val="002050"/>
                        </a:gs>
                        <a:gs pos="30000">
                          <a:srgbClr val="002050"/>
                        </a:gs>
                      </a:gsLst>
                      <a:lin ang="5400000" scaled="0"/>
                    </a:gradFill>
                  </a:rPr>
                </a:br>
                <a:r>
                  <a:rPr lang="en-US" sz="675" dirty="0">
                    <a:gradFill>
                      <a:gsLst>
                        <a:gs pos="2917">
                          <a:srgbClr val="002050"/>
                        </a:gs>
                        <a:gs pos="30000">
                          <a:srgbClr val="002050"/>
                        </a:gs>
                      </a:gsLst>
                      <a:lin ang="5400000" scaled="0"/>
                    </a:gradFill>
                  </a:rPr>
                  <a:t>adapters</a:t>
                </a:r>
              </a:p>
            </p:txBody>
          </p:sp>
        </p:grpSp>
        <p:sp>
          <p:nvSpPr>
            <p:cNvPr id="328" name="TextBox 140"/>
            <p:cNvSpPr txBox="1"/>
            <p:nvPr/>
          </p:nvSpPr>
          <p:spPr>
            <a:xfrm>
              <a:off x="6792930" y="4095216"/>
              <a:ext cx="861553" cy="365751"/>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90000"/>
                </a:lnSpc>
                <a:spcAft>
                  <a:spcPts val="441"/>
                </a:spcAft>
              </a:pPr>
              <a:r>
                <a:rPr lang="en-US" sz="675" b="1" dirty="0">
                  <a:solidFill>
                    <a:srgbClr val="0078D7"/>
                  </a:solidFill>
                </a:rPr>
                <a:t>Stream </a:t>
              </a:r>
              <a:br>
                <a:rPr lang="en-US" sz="675" b="1" dirty="0">
                  <a:solidFill>
                    <a:srgbClr val="0078D7"/>
                  </a:solidFill>
                </a:rPr>
              </a:br>
              <a:r>
                <a:rPr lang="en-US" sz="675" b="1" dirty="0">
                  <a:solidFill>
                    <a:srgbClr val="0078D7"/>
                  </a:solidFill>
                </a:rPr>
                <a:t>processing</a:t>
              </a:r>
            </a:p>
          </p:txBody>
        </p:sp>
        <p:grpSp>
          <p:nvGrpSpPr>
            <p:cNvPr id="329" name="Group 328"/>
            <p:cNvGrpSpPr/>
            <p:nvPr/>
          </p:nvGrpSpPr>
          <p:grpSpPr>
            <a:xfrm>
              <a:off x="2528413" y="3424408"/>
              <a:ext cx="1165353" cy="1146271"/>
              <a:chOff x="2579112" y="3492574"/>
              <a:chExt cx="1188720" cy="1169255"/>
            </a:xfrm>
          </p:grpSpPr>
          <p:sp>
            <p:nvSpPr>
              <p:cNvPr id="386" name="TextBox 307"/>
              <p:cNvSpPr txBox="1"/>
              <p:nvPr/>
            </p:nvSpPr>
            <p:spPr>
              <a:xfrm>
                <a:off x="2640546" y="4288745"/>
                <a:ext cx="1115671" cy="373084"/>
              </a:xfrm>
              <a:prstGeom prst="rect">
                <a:avLst/>
              </a:prstGeom>
              <a:noFill/>
            </p:spPr>
            <p:txBody>
              <a:bodyPr wrap="non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90000"/>
                  </a:lnSpc>
                  <a:spcAft>
                    <a:spcPts val="441"/>
                  </a:spcAft>
                </a:pPr>
                <a:r>
                  <a:rPr lang="en-US" sz="675" dirty="0">
                    <a:gradFill>
                      <a:gsLst>
                        <a:gs pos="2917">
                          <a:srgbClr val="002050"/>
                        </a:gs>
                        <a:gs pos="30000">
                          <a:srgbClr val="002050"/>
                        </a:gs>
                      </a:gsLst>
                      <a:lin ang="5400000" scaled="0"/>
                    </a:gradFill>
                  </a:rPr>
                  <a:t>Cloud gateways</a:t>
                </a:r>
                <a:br>
                  <a:rPr lang="en-US" sz="675" dirty="0">
                    <a:gradFill>
                      <a:gsLst>
                        <a:gs pos="2917">
                          <a:srgbClr val="002050"/>
                        </a:gs>
                        <a:gs pos="30000">
                          <a:srgbClr val="002050"/>
                        </a:gs>
                      </a:gsLst>
                      <a:lin ang="5400000" scaled="0"/>
                    </a:gradFill>
                  </a:rPr>
                </a:br>
                <a:r>
                  <a:rPr lang="en-US" sz="675" dirty="0">
                    <a:gradFill>
                      <a:gsLst>
                        <a:gs pos="2917">
                          <a:srgbClr val="002050"/>
                        </a:gs>
                        <a:gs pos="30000">
                          <a:srgbClr val="002050"/>
                        </a:gs>
                      </a:gsLst>
                      <a:lin ang="5400000" scaled="0"/>
                    </a:gradFill>
                  </a:rPr>
                  <a:t>(web APIs)</a:t>
                </a:r>
              </a:p>
            </p:txBody>
          </p:sp>
          <p:sp>
            <p:nvSpPr>
              <p:cNvPr id="387" name="Freeform 120"/>
              <p:cNvSpPr>
                <a:spLocks noChangeAspect="1" noEditPoints="1"/>
              </p:cNvSpPr>
              <p:nvPr/>
            </p:nvSpPr>
            <p:spPr bwMode="auto">
              <a:xfrm>
                <a:off x="2579112" y="3492574"/>
                <a:ext cx="1188720" cy="762033"/>
              </a:xfrm>
              <a:custGeom>
                <a:avLst/>
                <a:gdLst>
                  <a:gd name="T0" fmla="*/ 1938 w 2377"/>
                  <a:gd name="T1" fmla="*/ 1522 h 1522"/>
                  <a:gd name="T2" fmla="*/ 603 w 2377"/>
                  <a:gd name="T3" fmla="*/ 1522 h 1522"/>
                  <a:gd name="T4" fmla="*/ 377 w 2377"/>
                  <a:gd name="T5" fmla="*/ 1298 h 1522"/>
                  <a:gd name="T6" fmla="*/ 547 w 2377"/>
                  <a:gd name="T7" fmla="*/ 1077 h 1522"/>
                  <a:gd name="T8" fmla="*/ 813 w 2377"/>
                  <a:gd name="T9" fmla="*/ 878 h 1522"/>
                  <a:gd name="T10" fmla="*/ 1292 w 2377"/>
                  <a:gd name="T11" fmla="*/ 418 h 1522"/>
                  <a:gd name="T12" fmla="*/ 1728 w 2377"/>
                  <a:gd name="T13" fmla="*/ 693 h 1522"/>
                  <a:gd name="T14" fmla="*/ 1938 w 2377"/>
                  <a:gd name="T15" fmla="*/ 638 h 1522"/>
                  <a:gd name="T16" fmla="*/ 2377 w 2377"/>
                  <a:gd name="T17" fmla="*/ 1083 h 1522"/>
                  <a:gd name="T18" fmla="*/ 1938 w 2377"/>
                  <a:gd name="T19" fmla="*/ 1522 h 1522"/>
                  <a:gd name="T20" fmla="*/ 603 w 2377"/>
                  <a:gd name="T21" fmla="*/ 1227 h 1522"/>
                  <a:gd name="T22" fmla="*/ 533 w 2377"/>
                  <a:gd name="T23" fmla="*/ 1298 h 1522"/>
                  <a:gd name="T24" fmla="*/ 603 w 2377"/>
                  <a:gd name="T25" fmla="*/ 1368 h 1522"/>
                  <a:gd name="T26" fmla="*/ 1938 w 2377"/>
                  <a:gd name="T27" fmla="*/ 1368 h 1522"/>
                  <a:gd name="T28" fmla="*/ 2222 w 2377"/>
                  <a:gd name="T29" fmla="*/ 1083 h 1522"/>
                  <a:gd name="T30" fmla="*/ 1938 w 2377"/>
                  <a:gd name="T31" fmla="*/ 798 h 1522"/>
                  <a:gd name="T32" fmla="*/ 1736 w 2377"/>
                  <a:gd name="T33" fmla="*/ 873 h 1522"/>
                  <a:gd name="T34" fmla="*/ 1637 w 2377"/>
                  <a:gd name="T35" fmla="*/ 973 h 1522"/>
                  <a:gd name="T36" fmla="*/ 1607 w 2377"/>
                  <a:gd name="T37" fmla="*/ 834 h 1522"/>
                  <a:gd name="T38" fmla="*/ 1292 w 2377"/>
                  <a:gd name="T39" fmla="*/ 574 h 1522"/>
                  <a:gd name="T40" fmla="*/ 967 w 2377"/>
                  <a:gd name="T41" fmla="*/ 898 h 1522"/>
                  <a:gd name="T42" fmla="*/ 967 w 2377"/>
                  <a:gd name="T43" fmla="*/ 942 h 1522"/>
                  <a:gd name="T44" fmla="*/ 982 w 2377"/>
                  <a:gd name="T45" fmla="*/ 1048 h 1522"/>
                  <a:gd name="T46" fmla="*/ 847 w 2377"/>
                  <a:gd name="T47" fmla="*/ 1027 h 1522"/>
                  <a:gd name="T48" fmla="*/ 682 w 2377"/>
                  <a:gd name="T49" fmla="*/ 1162 h 1522"/>
                  <a:gd name="T50" fmla="*/ 672 w 2377"/>
                  <a:gd name="T51" fmla="*/ 1227 h 1522"/>
                  <a:gd name="T52" fmla="*/ 607 w 2377"/>
                  <a:gd name="T53" fmla="*/ 1227 h 1522"/>
                  <a:gd name="T54" fmla="*/ 603 w 2377"/>
                  <a:gd name="T55" fmla="*/ 1227 h 1522"/>
                  <a:gd name="T56" fmla="*/ 755 w 2377"/>
                  <a:gd name="T57" fmla="*/ 830 h 1522"/>
                  <a:gd name="T58" fmla="*/ 1272 w 2377"/>
                  <a:gd name="T59" fmla="*/ 350 h 1522"/>
                  <a:gd name="T60" fmla="*/ 1755 w 2377"/>
                  <a:gd name="T61" fmla="*/ 623 h 1522"/>
                  <a:gd name="T62" fmla="*/ 1768 w 2377"/>
                  <a:gd name="T63" fmla="*/ 615 h 1522"/>
                  <a:gd name="T64" fmla="*/ 1772 w 2377"/>
                  <a:gd name="T65" fmla="*/ 561 h 1522"/>
                  <a:gd name="T66" fmla="*/ 1374 w 2377"/>
                  <a:gd name="T67" fmla="*/ 194 h 1522"/>
                  <a:gd name="T68" fmla="*/ 1189 w 2377"/>
                  <a:gd name="T69" fmla="*/ 242 h 1522"/>
                  <a:gd name="T70" fmla="*/ 805 w 2377"/>
                  <a:gd name="T71" fmla="*/ 0 h 1522"/>
                  <a:gd name="T72" fmla="*/ 384 w 2377"/>
                  <a:gd name="T73" fmla="*/ 404 h 1522"/>
                  <a:gd name="T74" fmla="*/ 150 w 2377"/>
                  <a:gd name="T75" fmla="*/ 580 h 1522"/>
                  <a:gd name="T76" fmla="*/ 0 w 2377"/>
                  <a:gd name="T77" fmla="*/ 774 h 1522"/>
                  <a:gd name="T78" fmla="*/ 199 w 2377"/>
                  <a:gd name="T79" fmla="*/ 972 h 1522"/>
                  <a:gd name="T80" fmla="*/ 529 w 2377"/>
                  <a:gd name="T81" fmla="*/ 972 h 1522"/>
                  <a:gd name="T82" fmla="*/ 755 w 2377"/>
                  <a:gd name="T83" fmla="*/ 830 h 1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377" h="1522">
                    <a:moveTo>
                      <a:pt x="1938" y="1522"/>
                    </a:moveTo>
                    <a:cubicBezTo>
                      <a:pt x="603" y="1522"/>
                      <a:pt x="603" y="1522"/>
                      <a:pt x="603" y="1522"/>
                    </a:cubicBezTo>
                    <a:cubicBezTo>
                      <a:pt x="477" y="1522"/>
                      <a:pt x="377" y="1422"/>
                      <a:pt x="377" y="1298"/>
                    </a:cubicBezTo>
                    <a:cubicBezTo>
                      <a:pt x="377" y="1193"/>
                      <a:pt x="452" y="1102"/>
                      <a:pt x="547" y="1077"/>
                    </a:cubicBezTo>
                    <a:cubicBezTo>
                      <a:pt x="593" y="967"/>
                      <a:pt x="693" y="888"/>
                      <a:pt x="813" y="878"/>
                    </a:cubicBezTo>
                    <a:cubicBezTo>
                      <a:pt x="822" y="624"/>
                      <a:pt x="1032" y="418"/>
                      <a:pt x="1292" y="418"/>
                    </a:cubicBezTo>
                    <a:cubicBezTo>
                      <a:pt x="1477" y="418"/>
                      <a:pt x="1647" y="528"/>
                      <a:pt x="1728" y="693"/>
                    </a:cubicBezTo>
                    <a:cubicBezTo>
                      <a:pt x="1786" y="657"/>
                      <a:pt x="1861" y="638"/>
                      <a:pt x="1938" y="638"/>
                    </a:cubicBezTo>
                    <a:cubicBezTo>
                      <a:pt x="2177" y="638"/>
                      <a:pt x="2377" y="838"/>
                      <a:pt x="2377" y="1083"/>
                    </a:cubicBezTo>
                    <a:cubicBezTo>
                      <a:pt x="2377" y="1323"/>
                      <a:pt x="2177" y="1522"/>
                      <a:pt x="1938" y="1522"/>
                    </a:cubicBezTo>
                    <a:close/>
                    <a:moveTo>
                      <a:pt x="603" y="1227"/>
                    </a:moveTo>
                    <a:cubicBezTo>
                      <a:pt x="562" y="1227"/>
                      <a:pt x="533" y="1258"/>
                      <a:pt x="533" y="1298"/>
                    </a:cubicBezTo>
                    <a:cubicBezTo>
                      <a:pt x="533" y="1333"/>
                      <a:pt x="562" y="1368"/>
                      <a:pt x="603" y="1368"/>
                    </a:cubicBezTo>
                    <a:cubicBezTo>
                      <a:pt x="1938" y="1368"/>
                      <a:pt x="1938" y="1368"/>
                      <a:pt x="1938" y="1368"/>
                    </a:cubicBezTo>
                    <a:cubicBezTo>
                      <a:pt x="2092" y="1368"/>
                      <a:pt x="2222" y="1237"/>
                      <a:pt x="2222" y="1083"/>
                    </a:cubicBezTo>
                    <a:cubicBezTo>
                      <a:pt x="2222" y="923"/>
                      <a:pt x="2092" y="798"/>
                      <a:pt x="1938" y="798"/>
                    </a:cubicBezTo>
                    <a:cubicBezTo>
                      <a:pt x="1861" y="798"/>
                      <a:pt x="1792" y="823"/>
                      <a:pt x="1736" y="873"/>
                    </a:cubicBezTo>
                    <a:cubicBezTo>
                      <a:pt x="1637" y="973"/>
                      <a:pt x="1637" y="973"/>
                      <a:pt x="1637" y="973"/>
                    </a:cubicBezTo>
                    <a:cubicBezTo>
                      <a:pt x="1607" y="834"/>
                      <a:pt x="1607" y="834"/>
                      <a:pt x="1607" y="834"/>
                    </a:cubicBezTo>
                    <a:cubicBezTo>
                      <a:pt x="1576" y="682"/>
                      <a:pt x="1447" y="574"/>
                      <a:pt x="1292" y="574"/>
                    </a:cubicBezTo>
                    <a:cubicBezTo>
                      <a:pt x="1113" y="574"/>
                      <a:pt x="967" y="718"/>
                      <a:pt x="967" y="898"/>
                    </a:cubicBezTo>
                    <a:cubicBezTo>
                      <a:pt x="967" y="913"/>
                      <a:pt x="967" y="928"/>
                      <a:pt x="967" y="942"/>
                    </a:cubicBezTo>
                    <a:cubicBezTo>
                      <a:pt x="982" y="1048"/>
                      <a:pt x="982" y="1048"/>
                      <a:pt x="982" y="1048"/>
                    </a:cubicBezTo>
                    <a:cubicBezTo>
                      <a:pt x="908" y="1026"/>
                      <a:pt x="857" y="1027"/>
                      <a:pt x="847" y="1027"/>
                    </a:cubicBezTo>
                    <a:cubicBezTo>
                      <a:pt x="767" y="1027"/>
                      <a:pt x="697" y="1088"/>
                      <a:pt x="682" y="1162"/>
                    </a:cubicBezTo>
                    <a:cubicBezTo>
                      <a:pt x="672" y="1227"/>
                      <a:pt x="672" y="1227"/>
                      <a:pt x="672" y="1227"/>
                    </a:cubicBezTo>
                    <a:cubicBezTo>
                      <a:pt x="607" y="1227"/>
                      <a:pt x="607" y="1227"/>
                      <a:pt x="607" y="1227"/>
                    </a:cubicBezTo>
                    <a:cubicBezTo>
                      <a:pt x="603" y="1227"/>
                      <a:pt x="603" y="1227"/>
                      <a:pt x="603" y="1227"/>
                    </a:cubicBezTo>
                    <a:close/>
                    <a:moveTo>
                      <a:pt x="755" y="830"/>
                    </a:moveTo>
                    <a:cubicBezTo>
                      <a:pt x="765" y="578"/>
                      <a:pt x="991" y="361"/>
                      <a:pt x="1272" y="350"/>
                    </a:cubicBezTo>
                    <a:cubicBezTo>
                      <a:pt x="1468" y="343"/>
                      <a:pt x="1667" y="445"/>
                      <a:pt x="1755" y="623"/>
                    </a:cubicBezTo>
                    <a:cubicBezTo>
                      <a:pt x="1759" y="620"/>
                      <a:pt x="1764" y="617"/>
                      <a:pt x="1768" y="615"/>
                    </a:cubicBezTo>
                    <a:cubicBezTo>
                      <a:pt x="1771" y="597"/>
                      <a:pt x="1772" y="580"/>
                      <a:pt x="1772" y="561"/>
                    </a:cubicBezTo>
                    <a:cubicBezTo>
                      <a:pt x="1772" y="346"/>
                      <a:pt x="1584" y="194"/>
                      <a:pt x="1374" y="194"/>
                    </a:cubicBezTo>
                    <a:cubicBezTo>
                      <a:pt x="1307" y="194"/>
                      <a:pt x="1241" y="211"/>
                      <a:pt x="1189" y="242"/>
                    </a:cubicBezTo>
                    <a:cubicBezTo>
                      <a:pt x="1118" y="97"/>
                      <a:pt x="968" y="0"/>
                      <a:pt x="805" y="0"/>
                    </a:cubicBezTo>
                    <a:cubicBezTo>
                      <a:pt x="576" y="0"/>
                      <a:pt x="391" y="181"/>
                      <a:pt x="384" y="404"/>
                    </a:cubicBezTo>
                    <a:cubicBezTo>
                      <a:pt x="278" y="414"/>
                      <a:pt x="190" y="483"/>
                      <a:pt x="150" y="580"/>
                    </a:cubicBezTo>
                    <a:cubicBezTo>
                      <a:pt x="66" y="602"/>
                      <a:pt x="0" y="682"/>
                      <a:pt x="0" y="774"/>
                    </a:cubicBezTo>
                    <a:cubicBezTo>
                      <a:pt x="0" y="884"/>
                      <a:pt x="88" y="972"/>
                      <a:pt x="199" y="972"/>
                    </a:cubicBezTo>
                    <a:cubicBezTo>
                      <a:pt x="199" y="972"/>
                      <a:pt x="207" y="972"/>
                      <a:pt x="529" y="972"/>
                    </a:cubicBezTo>
                    <a:cubicBezTo>
                      <a:pt x="574" y="900"/>
                      <a:pt x="661" y="839"/>
                      <a:pt x="755" y="830"/>
                    </a:cubicBezTo>
                    <a:close/>
                  </a:path>
                </a:pathLst>
              </a:custGeom>
              <a:solidFill>
                <a:schemeClr val="accent1"/>
              </a:solidFill>
              <a:ln>
                <a:noFill/>
              </a:ln>
            </p:spPr>
            <p:txBody>
              <a:bodyPr vert="horz" wrap="square" lIns="67226" tIns="33613" rIns="67226" bIns="336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788">
                  <a:solidFill>
                    <a:srgbClr val="505050"/>
                  </a:solidFill>
                </a:endParaRPr>
              </a:p>
            </p:txBody>
          </p:sp>
        </p:grpSp>
        <p:grpSp>
          <p:nvGrpSpPr>
            <p:cNvPr id="330" name="Group 329"/>
            <p:cNvGrpSpPr/>
            <p:nvPr/>
          </p:nvGrpSpPr>
          <p:grpSpPr>
            <a:xfrm>
              <a:off x="2420699" y="5771193"/>
              <a:ext cx="1367299" cy="687135"/>
              <a:chOff x="2637890" y="5389538"/>
              <a:chExt cx="1394716" cy="700913"/>
            </a:xfrm>
          </p:grpSpPr>
          <p:sp>
            <p:nvSpPr>
              <p:cNvPr id="384" name="TextBox 305"/>
              <p:cNvSpPr txBox="1"/>
              <p:nvPr/>
            </p:nvSpPr>
            <p:spPr>
              <a:xfrm>
                <a:off x="3379818" y="5546093"/>
                <a:ext cx="652788" cy="373084"/>
              </a:xfrm>
              <a:prstGeom prst="rect">
                <a:avLst/>
              </a:prstGeom>
              <a:noFill/>
            </p:spPr>
            <p:txBody>
              <a:bodyPr wrap="non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90000"/>
                  </a:lnSpc>
                  <a:spcAft>
                    <a:spcPts val="441"/>
                  </a:spcAft>
                </a:pPr>
                <a:r>
                  <a:rPr lang="en-US" sz="675" dirty="0">
                    <a:gradFill>
                      <a:gsLst>
                        <a:gs pos="2917">
                          <a:srgbClr val="002050"/>
                        </a:gs>
                        <a:gs pos="30000">
                          <a:srgbClr val="002050"/>
                        </a:gs>
                      </a:gsLst>
                      <a:lin ang="5400000" scaled="0"/>
                    </a:gradFill>
                  </a:rPr>
                  <a:t>Field </a:t>
                </a:r>
                <a:br>
                  <a:rPr lang="en-US" sz="675" dirty="0">
                    <a:gradFill>
                      <a:gsLst>
                        <a:gs pos="2917">
                          <a:srgbClr val="002050"/>
                        </a:gs>
                        <a:gs pos="30000">
                          <a:srgbClr val="002050"/>
                        </a:gs>
                      </a:gsLst>
                      <a:lin ang="5400000" scaled="0"/>
                    </a:gradFill>
                  </a:rPr>
                </a:br>
                <a:r>
                  <a:rPr lang="en-US" sz="675" dirty="0">
                    <a:gradFill>
                      <a:gsLst>
                        <a:gs pos="2917">
                          <a:srgbClr val="002050"/>
                        </a:gs>
                        <a:gs pos="30000">
                          <a:srgbClr val="002050"/>
                        </a:gs>
                      </a:gsLst>
                      <a:lin ang="5400000" scaled="0"/>
                    </a:gradFill>
                  </a:rPr>
                  <a:t>gateways</a:t>
                </a:r>
              </a:p>
            </p:txBody>
          </p:sp>
          <p:sp>
            <p:nvSpPr>
              <p:cNvPr id="385" name="Freeform 118"/>
              <p:cNvSpPr>
                <a:spLocks noChangeAspect="1" noEditPoints="1"/>
              </p:cNvSpPr>
              <p:nvPr/>
            </p:nvSpPr>
            <p:spPr bwMode="black">
              <a:xfrm>
                <a:off x="2637890" y="5389538"/>
                <a:ext cx="653948" cy="700913"/>
              </a:xfrm>
              <a:custGeom>
                <a:avLst/>
                <a:gdLst>
                  <a:gd name="T0" fmla="*/ 181 w 182"/>
                  <a:gd name="T1" fmla="*/ 65 h 195"/>
                  <a:gd name="T2" fmla="*/ 88 w 182"/>
                  <a:gd name="T3" fmla="*/ 0 h 195"/>
                  <a:gd name="T4" fmla="*/ 88 w 182"/>
                  <a:gd name="T5" fmla="*/ 40 h 195"/>
                  <a:gd name="T6" fmla="*/ 1 w 182"/>
                  <a:gd name="T7" fmla="*/ 40 h 195"/>
                  <a:gd name="T8" fmla="*/ 1 w 182"/>
                  <a:gd name="T9" fmla="*/ 89 h 195"/>
                  <a:gd name="T10" fmla="*/ 57 w 182"/>
                  <a:gd name="T11" fmla="*/ 89 h 195"/>
                  <a:gd name="T12" fmla="*/ 88 w 182"/>
                  <a:gd name="T13" fmla="*/ 68 h 195"/>
                  <a:gd name="T14" fmla="*/ 88 w 182"/>
                  <a:gd name="T15" fmla="*/ 130 h 195"/>
                  <a:gd name="T16" fmla="*/ 181 w 182"/>
                  <a:gd name="T17" fmla="*/ 65 h 195"/>
                  <a:gd name="T18" fmla="*/ 19 w 182"/>
                  <a:gd name="T19" fmla="*/ 127 h 195"/>
                  <a:gd name="T20" fmla="*/ 88 w 182"/>
                  <a:gd name="T21" fmla="*/ 172 h 195"/>
                  <a:gd name="T22" fmla="*/ 88 w 182"/>
                  <a:gd name="T23" fmla="*/ 142 h 195"/>
                  <a:gd name="T24" fmla="*/ 178 w 182"/>
                  <a:gd name="T25" fmla="*/ 142 h 195"/>
                  <a:gd name="T26" fmla="*/ 178 w 182"/>
                  <a:gd name="T27" fmla="*/ 153 h 195"/>
                  <a:gd name="T28" fmla="*/ 100 w 182"/>
                  <a:gd name="T29" fmla="*/ 153 h 195"/>
                  <a:gd name="T30" fmla="*/ 100 w 182"/>
                  <a:gd name="T31" fmla="*/ 195 h 195"/>
                  <a:gd name="T32" fmla="*/ 0 w 182"/>
                  <a:gd name="T33" fmla="*/ 127 h 195"/>
                  <a:gd name="T34" fmla="*/ 19 w 182"/>
                  <a:gd name="T35" fmla="*/ 127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2" h="195">
                    <a:moveTo>
                      <a:pt x="181" y="65"/>
                    </a:moveTo>
                    <a:cubicBezTo>
                      <a:pt x="88" y="0"/>
                      <a:pt x="88" y="0"/>
                      <a:pt x="88" y="0"/>
                    </a:cubicBezTo>
                    <a:cubicBezTo>
                      <a:pt x="88" y="40"/>
                      <a:pt x="88" y="40"/>
                      <a:pt x="88" y="40"/>
                    </a:cubicBezTo>
                    <a:cubicBezTo>
                      <a:pt x="1" y="40"/>
                      <a:pt x="1" y="40"/>
                      <a:pt x="1" y="40"/>
                    </a:cubicBezTo>
                    <a:cubicBezTo>
                      <a:pt x="1" y="89"/>
                      <a:pt x="1" y="89"/>
                      <a:pt x="1" y="89"/>
                    </a:cubicBezTo>
                    <a:cubicBezTo>
                      <a:pt x="57" y="89"/>
                      <a:pt x="57" y="89"/>
                      <a:pt x="57" y="89"/>
                    </a:cubicBezTo>
                    <a:cubicBezTo>
                      <a:pt x="88" y="68"/>
                      <a:pt x="88" y="68"/>
                      <a:pt x="88" y="68"/>
                    </a:cubicBezTo>
                    <a:cubicBezTo>
                      <a:pt x="88" y="130"/>
                      <a:pt x="88" y="130"/>
                      <a:pt x="88" y="130"/>
                    </a:cubicBezTo>
                    <a:cubicBezTo>
                      <a:pt x="181" y="65"/>
                      <a:pt x="181" y="65"/>
                      <a:pt x="181" y="65"/>
                    </a:cubicBezTo>
                    <a:close/>
                    <a:moveTo>
                      <a:pt x="19" y="127"/>
                    </a:moveTo>
                    <a:cubicBezTo>
                      <a:pt x="88" y="172"/>
                      <a:pt x="88" y="172"/>
                      <a:pt x="88" y="172"/>
                    </a:cubicBezTo>
                    <a:cubicBezTo>
                      <a:pt x="88" y="142"/>
                      <a:pt x="88" y="142"/>
                      <a:pt x="88" y="142"/>
                    </a:cubicBezTo>
                    <a:cubicBezTo>
                      <a:pt x="178" y="142"/>
                      <a:pt x="178" y="142"/>
                      <a:pt x="178" y="142"/>
                    </a:cubicBezTo>
                    <a:cubicBezTo>
                      <a:pt x="182" y="142"/>
                      <a:pt x="182" y="153"/>
                      <a:pt x="178" y="153"/>
                    </a:cubicBezTo>
                    <a:cubicBezTo>
                      <a:pt x="100" y="153"/>
                      <a:pt x="100" y="153"/>
                      <a:pt x="100" y="153"/>
                    </a:cubicBezTo>
                    <a:cubicBezTo>
                      <a:pt x="100" y="195"/>
                      <a:pt x="100" y="195"/>
                      <a:pt x="100" y="195"/>
                    </a:cubicBezTo>
                    <a:cubicBezTo>
                      <a:pt x="0" y="127"/>
                      <a:pt x="0" y="127"/>
                      <a:pt x="0" y="127"/>
                    </a:cubicBezTo>
                    <a:cubicBezTo>
                      <a:pt x="19" y="127"/>
                      <a:pt x="19" y="127"/>
                      <a:pt x="19" y="127"/>
                    </a:cubicBezTo>
                    <a:close/>
                  </a:path>
                </a:pathLst>
              </a:custGeom>
              <a:solidFill>
                <a:schemeClr val="accent1"/>
              </a:solidFill>
              <a:ln>
                <a:noFill/>
              </a:ln>
            </p:spPr>
            <p:txBody>
              <a:bodyPr vert="horz" wrap="square" lIns="60510" tIns="30256" rIns="60510" bIns="3025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750">
                  <a:solidFill>
                    <a:srgbClr val="505050"/>
                  </a:solidFill>
                </a:endParaRPr>
              </a:p>
            </p:txBody>
          </p:sp>
        </p:grpSp>
        <p:grpSp>
          <p:nvGrpSpPr>
            <p:cNvPr id="331" name="Group 330"/>
            <p:cNvGrpSpPr/>
            <p:nvPr/>
          </p:nvGrpSpPr>
          <p:grpSpPr>
            <a:xfrm>
              <a:off x="738060" y="2245414"/>
              <a:ext cx="855213" cy="963208"/>
              <a:chOff x="752857" y="2289942"/>
              <a:chExt cx="872360" cy="982522"/>
            </a:xfrm>
          </p:grpSpPr>
          <p:sp>
            <p:nvSpPr>
              <p:cNvPr id="382" name="Freeform 115"/>
              <p:cNvSpPr>
                <a:spLocks noChangeAspect="1" noEditPoints="1"/>
              </p:cNvSpPr>
              <p:nvPr/>
            </p:nvSpPr>
            <p:spPr bwMode="auto">
              <a:xfrm>
                <a:off x="818928" y="2289942"/>
                <a:ext cx="740220" cy="728731"/>
              </a:xfrm>
              <a:custGeom>
                <a:avLst/>
                <a:gdLst>
                  <a:gd name="T0" fmla="*/ 190 w 902"/>
                  <a:gd name="T1" fmla="*/ 259 h 888"/>
                  <a:gd name="T2" fmla="*/ 190 w 902"/>
                  <a:gd name="T3" fmla="*/ 476 h 888"/>
                  <a:gd name="T4" fmla="*/ 0 w 902"/>
                  <a:gd name="T5" fmla="*/ 366 h 888"/>
                  <a:gd name="T6" fmla="*/ 0 w 902"/>
                  <a:gd name="T7" fmla="*/ 150 h 888"/>
                  <a:gd name="T8" fmla="*/ 190 w 902"/>
                  <a:gd name="T9" fmla="*/ 259 h 888"/>
                  <a:gd name="T10" fmla="*/ 238 w 902"/>
                  <a:gd name="T11" fmla="*/ 259 h 888"/>
                  <a:gd name="T12" fmla="*/ 238 w 902"/>
                  <a:gd name="T13" fmla="*/ 476 h 888"/>
                  <a:gd name="T14" fmla="*/ 428 w 902"/>
                  <a:gd name="T15" fmla="*/ 366 h 888"/>
                  <a:gd name="T16" fmla="*/ 428 w 902"/>
                  <a:gd name="T17" fmla="*/ 150 h 888"/>
                  <a:gd name="T18" fmla="*/ 238 w 902"/>
                  <a:gd name="T19" fmla="*/ 259 h 888"/>
                  <a:gd name="T20" fmla="*/ 405 w 902"/>
                  <a:gd name="T21" fmla="*/ 107 h 888"/>
                  <a:gd name="T22" fmla="*/ 214 w 902"/>
                  <a:gd name="T23" fmla="*/ 0 h 888"/>
                  <a:gd name="T24" fmla="*/ 24 w 902"/>
                  <a:gd name="T25" fmla="*/ 107 h 888"/>
                  <a:gd name="T26" fmla="*/ 214 w 902"/>
                  <a:gd name="T27" fmla="*/ 216 h 888"/>
                  <a:gd name="T28" fmla="*/ 405 w 902"/>
                  <a:gd name="T29" fmla="*/ 107 h 888"/>
                  <a:gd name="T30" fmla="*/ 476 w 902"/>
                  <a:gd name="T31" fmla="*/ 150 h 888"/>
                  <a:gd name="T32" fmla="*/ 474 w 902"/>
                  <a:gd name="T33" fmla="*/ 366 h 888"/>
                  <a:gd name="T34" fmla="*/ 664 w 902"/>
                  <a:gd name="T35" fmla="*/ 476 h 888"/>
                  <a:gd name="T36" fmla="*/ 667 w 902"/>
                  <a:gd name="T37" fmla="*/ 259 h 888"/>
                  <a:gd name="T38" fmla="*/ 476 w 902"/>
                  <a:gd name="T39" fmla="*/ 150 h 888"/>
                  <a:gd name="T40" fmla="*/ 712 w 902"/>
                  <a:gd name="T41" fmla="*/ 259 h 888"/>
                  <a:gd name="T42" fmla="*/ 712 w 902"/>
                  <a:gd name="T43" fmla="*/ 476 h 888"/>
                  <a:gd name="T44" fmla="*/ 902 w 902"/>
                  <a:gd name="T45" fmla="*/ 366 h 888"/>
                  <a:gd name="T46" fmla="*/ 902 w 902"/>
                  <a:gd name="T47" fmla="*/ 150 h 888"/>
                  <a:gd name="T48" fmla="*/ 712 w 902"/>
                  <a:gd name="T49" fmla="*/ 259 h 888"/>
                  <a:gd name="T50" fmla="*/ 879 w 902"/>
                  <a:gd name="T51" fmla="*/ 107 h 888"/>
                  <a:gd name="T52" fmla="*/ 688 w 902"/>
                  <a:gd name="T53" fmla="*/ 0 h 888"/>
                  <a:gd name="T54" fmla="*/ 500 w 902"/>
                  <a:gd name="T55" fmla="*/ 107 h 888"/>
                  <a:gd name="T56" fmla="*/ 690 w 902"/>
                  <a:gd name="T57" fmla="*/ 216 h 888"/>
                  <a:gd name="T58" fmla="*/ 879 w 902"/>
                  <a:gd name="T59" fmla="*/ 107 h 888"/>
                  <a:gd name="T60" fmla="*/ 238 w 902"/>
                  <a:gd name="T61" fmla="*/ 559 h 888"/>
                  <a:gd name="T62" fmla="*/ 238 w 902"/>
                  <a:gd name="T63" fmla="*/ 778 h 888"/>
                  <a:gd name="T64" fmla="*/ 428 w 902"/>
                  <a:gd name="T65" fmla="*/ 888 h 888"/>
                  <a:gd name="T66" fmla="*/ 428 w 902"/>
                  <a:gd name="T67" fmla="*/ 669 h 888"/>
                  <a:gd name="T68" fmla="*/ 238 w 902"/>
                  <a:gd name="T69" fmla="*/ 559 h 888"/>
                  <a:gd name="T70" fmla="*/ 476 w 902"/>
                  <a:gd name="T71" fmla="*/ 669 h 888"/>
                  <a:gd name="T72" fmla="*/ 476 w 902"/>
                  <a:gd name="T73" fmla="*/ 888 h 888"/>
                  <a:gd name="T74" fmla="*/ 664 w 902"/>
                  <a:gd name="T75" fmla="*/ 778 h 888"/>
                  <a:gd name="T76" fmla="*/ 667 w 902"/>
                  <a:gd name="T77" fmla="*/ 559 h 888"/>
                  <a:gd name="T78" fmla="*/ 476 w 902"/>
                  <a:gd name="T79" fmla="*/ 669 h 888"/>
                  <a:gd name="T80" fmla="*/ 643 w 902"/>
                  <a:gd name="T81" fmla="*/ 519 h 888"/>
                  <a:gd name="T82" fmla="*/ 452 w 902"/>
                  <a:gd name="T83" fmla="*/ 409 h 888"/>
                  <a:gd name="T84" fmla="*/ 262 w 902"/>
                  <a:gd name="T85" fmla="*/ 519 h 888"/>
                  <a:gd name="T86" fmla="*/ 452 w 902"/>
                  <a:gd name="T87" fmla="*/ 628 h 888"/>
                  <a:gd name="T88" fmla="*/ 643 w 902"/>
                  <a:gd name="T89" fmla="*/ 519 h 8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902" h="888">
                    <a:moveTo>
                      <a:pt x="190" y="259"/>
                    </a:moveTo>
                    <a:lnTo>
                      <a:pt x="190" y="476"/>
                    </a:lnTo>
                    <a:lnTo>
                      <a:pt x="0" y="366"/>
                    </a:lnTo>
                    <a:lnTo>
                      <a:pt x="0" y="150"/>
                    </a:lnTo>
                    <a:lnTo>
                      <a:pt x="190" y="259"/>
                    </a:lnTo>
                    <a:close/>
                    <a:moveTo>
                      <a:pt x="238" y="259"/>
                    </a:moveTo>
                    <a:lnTo>
                      <a:pt x="238" y="476"/>
                    </a:lnTo>
                    <a:lnTo>
                      <a:pt x="428" y="366"/>
                    </a:lnTo>
                    <a:lnTo>
                      <a:pt x="428" y="150"/>
                    </a:lnTo>
                    <a:lnTo>
                      <a:pt x="238" y="259"/>
                    </a:lnTo>
                    <a:close/>
                    <a:moveTo>
                      <a:pt x="405" y="107"/>
                    </a:moveTo>
                    <a:lnTo>
                      <a:pt x="214" y="0"/>
                    </a:lnTo>
                    <a:lnTo>
                      <a:pt x="24" y="107"/>
                    </a:lnTo>
                    <a:lnTo>
                      <a:pt x="214" y="216"/>
                    </a:lnTo>
                    <a:lnTo>
                      <a:pt x="405" y="107"/>
                    </a:lnTo>
                    <a:close/>
                    <a:moveTo>
                      <a:pt x="476" y="150"/>
                    </a:moveTo>
                    <a:lnTo>
                      <a:pt x="474" y="366"/>
                    </a:lnTo>
                    <a:lnTo>
                      <a:pt x="664" y="476"/>
                    </a:lnTo>
                    <a:lnTo>
                      <a:pt x="667" y="259"/>
                    </a:lnTo>
                    <a:lnTo>
                      <a:pt x="476" y="150"/>
                    </a:lnTo>
                    <a:close/>
                    <a:moveTo>
                      <a:pt x="712" y="259"/>
                    </a:moveTo>
                    <a:lnTo>
                      <a:pt x="712" y="476"/>
                    </a:lnTo>
                    <a:lnTo>
                      <a:pt x="902" y="366"/>
                    </a:lnTo>
                    <a:lnTo>
                      <a:pt x="902" y="150"/>
                    </a:lnTo>
                    <a:lnTo>
                      <a:pt x="712" y="259"/>
                    </a:lnTo>
                    <a:close/>
                    <a:moveTo>
                      <a:pt x="879" y="107"/>
                    </a:moveTo>
                    <a:lnTo>
                      <a:pt x="688" y="0"/>
                    </a:lnTo>
                    <a:lnTo>
                      <a:pt x="500" y="107"/>
                    </a:lnTo>
                    <a:lnTo>
                      <a:pt x="690" y="216"/>
                    </a:lnTo>
                    <a:lnTo>
                      <a:pt x="879" y="107"/>
                    </a:lnTo>
                    <a:close/>
                    <a:moveTo>
                      <a:pt x="238" y="559"/>
                    </a:moveTo>
                    <a:lnTo>
                      <a:pt x="238" y="778"/>
                    </a:lnTo>
                    <a:lnTo>
                      <a:pt x="428" y="888"/>
                    </a:lnTo>
                    <a:lnTo>
                      <a:pt x="428" y="669"/>
                    </a:lnTo>
                    <a:lnTo>
                      <a:pt x="238" y="559"/>
                    </a:lnTo>
                    <a:close/>
                    <a:moveTo>
                      <a:pt x="476" y="669"/>
                    </a:moveTo>
                    <a:lnTo>
                      <a:pt x="476" y="888"/>
                    </a:lnTo>
                    <a:lnTo>
                      <a:pt x="664" y="778"/>
                    </a:lnTo>
                    <a:lnTo>
                      <a:pt x="667" y="559"/>
                    </a:lnTo>
                    <a:lnTo>
                      <a:pt x="476" y="669"/>
                    </a:lnTo>
                    <a:close/>
                    <a:moveTo>
                      <a:pt x="643" y="519"/>
                    </a:moveTo>
                    <a:lnTo>
                      <a:pt x="452" y="409"/>
                    </a:lnTo>
                    <a:lnTo>
                      <a:pt x="262" y="519"/>
                    </a:lnTo>
                    <a:lnTo>
                      <a:pt x="452" y="628"/>
                    </a:lnTo>
                    <a:lnTo>
                      <a:pt x="643" y="519"/>
                    </a:lnTo>
                    <a:close/>
                  </a:path>
                </a:pathLst>
              </a:custGeom>
              <a:solidFill>
                <a:srgbClr val="A5A5A5"/>
              </a:solidFill>
              <a:ln>
                <a:noFill/>
              </a:ln>
            </p:spPr>
            <p:txBody>
              <a:bodyPr vert="horz" wrap="square" lIns="67226" tIns="33613" rIns="67226" bIns="336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788">
                  <a:solidFill>
                    <a:srgbClr val="505050"/>
                  </a:solidFill>
                </a:endParaRPr>
              </a:p>
            </p:txBody>
          </p:sp>
          <p:sp>
            <p:nvSpPr>
              <p:cNvPr id="383" name="TextBox 304"/>
              <p:cNvSpPr txBox="1"/>
              <p:nvPr/>
            </p:nvSpPr>
            <p:spPr>
              <a:xfrm>
                <a:off x="752857" y="3085922"/>
                <a:ext cx="872360" cy="186542"/>
              </a:xfrm>
              <a:prstGeom prst="rect">
                <a:avLst/>
              </a:prstGeom>
              <a:noFill/>
            </p:spPr>
            <p:txBody>
              <a:bodyPr wrap="non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90000"/>
                  </a:lnSpc>
                  <a:spcAft>
                    <a:spcPts val="441"/>
                  </a:spcAft>
                </a:pPr>
                <a:r>
                  <a:rPr lang="en-US" sz="675" dirty="0">
                    <a:gradFill>
                      <a:gsLst>
                        <a:gs pos="2917">
                          <a:srgbClr val="002050"/>
                        </a:gs>
                        <a:gs pos="30000">
                          <a:srgbClr val="002050"/>
                        </a:gs>
                      </a:gsLst>
                      <a:lin ang="5400000" scaled="0"/>
                    </a:gradFill>
                  </a:rPr>
                  <a:t>Applications</a:t>
                </a:r>
              </a:p>
            </p:txBody>
          </p:sp>
        </p:grpSp>
        <p:sp>
          <p:nvSpPr>
            <p:cNvPr id="332" name="Freeform 64"/>
            <p:cNvSpPr>
              <a:spLocks noChangeAspect="1" noEditPoints="1"/>
            </p:cNvSpPr>
            <p:nvPr/>
          </p:nvSpPr>
          <p:spPr bwMode="black">
            <a:xfrm>
              <a:off x="10698029" y="3243485"/>
              <a:ext cx="689802" cy="689623"/>
            </a:xfrm>
            <a:custGeom>
              <a:avLst/>
              <a:gdLst>
                <a:gd name="T0" fmla="*/ 226 w 300"/>
                <a:gd name="T1" fmla="*/ 193 h 300"/>
                <a:gd name="T2" fmla="*/ 233 w 300"/>
                <a:gd name="T3" fmla="*/ 157 h 300"/>
                <a:gd name="T4" fmla="*/ 233 w 300"/>
                <a:gd name="T5" fmla="*/ 128 h 300"/>
                <a:gd name="T6" fmla="*/ 142 w 300"/>
                <a:gd name="T7" fmla="*/ 51 h 300"/>
                <a:gd name="T8" fmla="*/ 52 w 300"/>
                <a:gd name="T9" fmla="*/ 128 h 300"/>
                <a:gd name="T10" fmla="*/ 52 w 300"/>
                <a:gd name="T11" fmla="*/ 157 h 300"/>
                <a:gd name="T12" fmla="*/ 142 w 300"/>
                <a:gd name="T13" fmla="*/ 234 h 300"/>
                <a:gd name="T14" fmla="*/ 183 w 300"/>
                <a:gd name="T15" fmla="*/ 224 h 300"/>
                <a:gd name="T16" fmla="*/ 193 w 300"/>
                <a:gd name="T17" fmla="*/ 226 h 300"/>
                <a:gd name="T18" fmla="*/ 270 w 300"/>
                <a:gd name="T19" fmla="*/ 300 h 300"/>
                <a:gd name="T20" fmla="*/ 298 w 300"/>
                <a:gd name="T21" fmla="*/ 275 h 300"/>
                <a:gd name="T22" fmla="*/ 206 w 300"/>
                <a:gd name="T23" fmla="*/ 157 h 300"/>
                <a:gd name="T24" fmla="*/ 142 w 300"/>
                <a:gd name="T25" fmla="*/ 208 h 300"/>
                <a:gd name="T26" fmla="*/ 78 w 300"/>
                <a:gd name="T27" fmla="*/ 157 h 300"/>
                <a:gd name="T28" fmla="*/ 78 w 300"/>
                <a:gd name="T29" fmla="*/ 128 h 300"/>
                <a:gd name="T30" fmla="*/ 142 w 300"/>
                <a:gd name="T31" fmla="*/ 77 h 300"/>
                <a:gd name="T32" fmla="*/ 206 w 300"/>
                <a:gd name="T33" fmla="*/ 128 h 300"/>
                <a:gd name="T34" fmla="*/ 206 w 300"/>
                <a:gd name="T35" fmla="*/ 157 h 300"/>
                <a:gd name="T36" fmla="*/ 197 w 300"/>
                <a:gd name="T37" fmla="*/ 142 h 300"/>
                <a:gd name="T38" fmla="*/ 156 w 300"/>
                <a:gd name="T39" fmla="*/ 157 h 300"/>
                <a:gd name="T40" fmla="*/ 142 w 300"/>
                <a:gd name="T41" fmla="*/ 197 h 300"/>
                <a:gd name="T42" fmla="*/ 128 w 300"/>
                <a:gd name="T43" fmla="*/ 157 h 300"/>
                <a:gd name="T44" fmla="*/ 87 w 300"/>
                <a:gd name="T45" fmla="*/ 142 h 300"/>
                <a:gd name="T46" fmla="*/ 128 w 300"/>
                <a:gd name="T47" fmla="*/ 128 h 300"/>
                <a:gd name="T48" fmla="*/ 142 w 300"/>
                <a:gd name="T49" fmla="*/ 88 h 300"/>
                <a:gd name="T50" fmla="*/ 156 w 300"/>
                <a:gd name="T51" fmla="*/ 128 h 300"/>
                <a:gd name="T52" fmla="*/ 142 w 300"/>
                <a:gd name="T53" fmla="*/ 40 h 300"/>
                <a:gd name="T54" fmla="*/ 128 w 300"/>
                <a:gd name="T55" fmla="*/ 0 h 300"/>
                <a:gd name="T56" fmla="*/ 156 w 300"/>
                <a:gd name="T57" fmla="*/ 41 h 300"/>
                <a:gd name="T58" fmla="*/ 40 w 300"/>
                <a:gd name="T59" fmla="*/ 142 h 300"/>
                <a:gd name="T60" fmla="*/ 0 w 300"/>
                <a:gd name="T61" fmla="*/ 157 h 300"/>
                <a:gd name="T62" fmla="*/ 41 w 300"/>
                <a:gd name="T63" fmla="*/ 128 h 300"/>
                <a:gd name="T64" fmla="*/ 142 w 300"/>
                <a:gd name="T65" fmla="*/ 245 h 300"/>
                <a:gd name="T66" fmla="*/ 156 w 300"/>
                <a:gd name="T67" fmla="*/ 285 h 300"/>
                <a:gd name="T68" fmla="*/ 128 w 300"/>
                <a:gd name="T69" fmla="*/ 244 h 300"/>
                <a:gd name="T70" fmla="*/ 245 w 300"/>
                <a:gd name="T71" fmla="*/ 142 h 300"/>
                <a:gd name="T72" fmla="*/ 285 w 300"/>
                <a:gd name="T73" fmla="*/ 128 h 300"/>
                <a:gd name="T74" fmla="*/ 243 w 300"/>
                <a:gd name="T75" fmla="*/ 15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00" h="300">
                  <a:moveTo>
                    <a:pt x="298" y="266"/>
                  </a:moveTo>
                  <a:cubicBezTo>
                    <a:pt x="226" y="193"/>
                    <a:pt x="226" y="193"/>
                    <a:pt x="226" y="193"/>
                  </a:cubicBezTo>
                  <a:cubicBezTo>
                    <a:pt x="223" y="191"/>
                    <a:pt x="222" y="186"/>
                    <a:pt x="224" y="183"/>
                  </a:cubicBezTo>
                  <a:cubicBezTo>
                    <a:pt x="228" y="175"/>
                    <a:pt x="231" y="166"/>
                    <a:pt x="233" y="157"/>
                  </a:cubicBezTo>
                  <a:cubicBezTo>
                    <a:pt x="233" y="152"/>
                    <a:pt x="234" y="147"/>
                    <a:pt x="234" y="142"/>
                  </a:cubicBezTo>
                  <a:cubicBezTo>
                    <a:pt x="234" y="138"/>
                    <a:pt x="233" y="133"/>
                    <a:pt x="233" y="128"/>
                  </a:cubicBezTo>
                  <a:cubicBezTo>
                    <a:pt x="227" y="89"/>
                    <a:pt x="196" y="58"/>
                    <a:pt x="156" y="52"/>
                  </a:cubicBezTo>
                  <a:cubicBezTo>
                    <a:pt x="152" y="51"/>
                    <a:pt x="147" y="51"/>
                    <a:pt x="142" y="51"/>
                  </a:cubicBezTo>
                  <a:cubicBezTo>
                    <a:pt x="137" y="51"/>
                    <a:pt x="133" y="51"/>
                    <a:pt x="128" y="52"/>
                  </a:cubicBezTo>
                  <a:cubicBezTo>
                    <a:pt x="89" y="58"/>
                    <a:pt x="58" y="89"/>
                    <a:pt x="52" y="128"/>
                  </a:cubicBezTo>
                  <a:cubicBezTo>
                    <a:pt x="51" y="133"/>
                    <a:pt x="51" y="138"/>
                    <a:pt x="51" y="142"/>
                  </a:cubicBezTo>
                  <a:cubicBezTo>
                    <a:pt x="51" y="147"/>
                    <a:pt x="51" y="152"/>
                    <a:pt x="52" y="157"/>
                  </a:cubicBezTo>
                  <a:cubicBezTo>
                    <a:pt x="58" y="196"/>
                    <a:pt x="89" y="227"/>
                    <a:pt x="128" y="233"/>
                  </a:cubicBezTo>
                  <a:cubicBezTo>
                    <a:pt x="133" y="234"/>
                    <a:pt x="137" y="234"/>
                    <a:pt x="142" y="234"/>
                  </a:cubicBezTo>
                  <a:cubicBezTo>
                    <a:pt x="147" y="234"/>
                    <a:pt x="152" y="234"/>
                    <a:pt x="156" y="233"/>
                  </a:cubicBezTo>
                  <a:cubicBezTo>
                    <a:pt x="166" y="231"/>
                    <a:pt x="175" y="228"/>
                    <a:pt x="183" y="224"/>
                  </a:cubicBezTo>
                  <a:cubicBezTo>
                    <a:pt x="184" y="224"/>
                    <a:pt x="185" y="223"/>
                    <a:pt x="187" y="223"/>
                  </a:cubicBezTo>
                  <a:cubicBezTo>
                    <a:pt x="189" y="223"/>
                    <a:pt x="192" y="224"/>
                    <a:pt x="193" y="226"/>
                  </a:cubicBezTo>
                  <a:cubicBezTo>
                    <a:pt x="265" y="298"/>
                    <a:pt x="265" y="298"/>
                    <a:pt x="265" y="298"/>
                  </a:cubicBezTo>
                  <a:cubicBezTo>
                    <a:pt x="267" y="299"/>
                    <a:pt x="268" y="300"/>
                    <a:pt x="270" y="300"/>
                  </a:cubicBezTo>
                  <a:cubicBezTo>
                    <a:pt x="272" y="300"/>
                    <a:pt x="273" y="299"/>
                    <a:pt x="275" y="298"/>
                  </a:cubicBezTo>
                  <a:cubicBezTo>
                    <a:pt x="298" y="275"/>
                    <a:pt x="298" y="275"/>
                    <a:pt x="298" y="275"/>
                  </a:cubicBezTo>
                  <a:cubicBezTo>
                    <a:pt x="300" y="272"/>
                    <a:pt x="300" y="268"/>
                    <a:pt x="298" y="266"/>
                  </a:cubicBezTo>
                  <a:close/>
                  <a:moveTo>
                    <a:pt x="206" y="157"/>
                  </a:moveTo>
                  <a:cubicBezTo>
                    <a:pt x="201" y="181"/>
                    <a:pt x="181" y="201"/>
                    <a:pt x="156" y="206"/>
                  </a:cubicBezTo>
                  <a:cubicBezTo>
                    <a:pt x="152" y="207"/>
                    <a:pt x="147" y="208"/>
                    <a:pt x="142" y="208"/>
                  </a:cubicBezTo>
                  <a:cubicBezTo>
                    <a:pt x="137" y="208"/>
                    <a:pt x="133" y="207"/>
                    <a:pt x="128" y="206"/>
                  </a:cubicBezTo>
                  <a:cubicBezTo>
                    <a:pt x="103" y="201"/>
                    <a:pt x="84" y="181"/>
                    <a:pt x="78" y="157"/>
                  </a:cubicBezTo>
                  <a:cubicBezTo>
                    <a:pt x="77" y="152"/>
                    <a:pt x="77" y="147"/>
                    <a:pt x="77" y="142"/>
                  </a:cubicBezTo>
                  <a:cubicBezTo>
                    <a:pt x="77" y="138"/>
                    <a:pt x="77" y="133"/>
                    <a:pt x="78" y="128"/>
                  </a:cubicBezTo>
                  <a:cubicBezTo>
                    <a:pt x="84" y="103"/>
                    <a:pt x="103" y="84"/>
                    <a:pt x="128" y="79"/>
                  </a:cubicBezTo>
                  <a:cubicBezTo>
                    <a:pt x="133" y="78"/>
                    <a:pt x="137" y="77"/>
                    <a:pt x="142" y="77"/>
                  </a:cubicBezTo>
                  <a:cubicBezTo>
                    <a:pt x="147" y="77"/>
                    <a:pt x="152" y="78"/>
                    <a:pt x="156" y="79"/>
                  </a:cubicBezTo>
                  <a:cubicBezTo>
                    <a:pt x="181" y="84"/>
                    <a:pt x="201" y="103"/>
                    <a:pt x="206" y="128"/>
                  </a:cubicBezTo>
                  <a:cubicBezTo>
                    <a:pt x="207" y="133"/>
                    <a:pt x="208" y="138"/>
                    <a:pt x="208" y="142"/>
                  </a:cubicBezTo>
                  <a:cubicBezTo>
                    <a:pt x="208" y="147"/>
                    <a:pt x="207" y="152"/>
                    <a:pt x="206" y="157"/>
                  </a:cubicBezTo>
                  <a:close/>
                  <a:moveTo>
                    <a:pt x="195" y="128"/>
                  </a:moveTo>
                  <a:cubicBezTo>
                    <a:pt x="196" y="133"/>
                    <a:pt x="197" y="138"/>
                    <a:pt x="197" y="142"/>
                  </a:cubicBezTo>
                  <a:cubicBezTo>
                    <a:pt x="197" y="147"/>
                    <a:pt x="196" y="152"/>
                    <a:pt x="195" y="157"/>
                  </a:cubicBezTo>
                  <a:cubicBezTo>
                    <a:pt x="156" y="157"/>
                    <a:pt x="156" y="157"/>
                    <a:pt x="156" y="157"/>
                  </a:cubicBezTo>
                  <a:cubicBezTo>
                    <a:pt x="156" y="195"/>
                    <a:pt x="156" y="195"/>
                    <a:pt x="156" y="195"/>
                  </a:cubicBezTo>
                  <a:cubicBezTo>
                    <a:pt x="152" y="197"/>
                    <a:pt x="147" y="197"/>
                    <a:pt x="142" y="197"/>
                  </a:cubicBezTo>
                  <a:cubicBezTo>
                    <a:pt x="137" y="197"/>
                    <a:pt x="133" y="197"/>
                    <a:pt x="128" y="195"/>
                  </a:cubicBezTo>
                  <a:cubicBezTo>
                    <a:pt x="128" y="157"/>
                    <a:pt x="128" y="157"/>
                    <a:pt x="128" y="157"/>
                  </a:cubicBezTo>
                  <a:cubicBezTo>
                    <a:pt x="89" y="157"/>
                    <a:pt x="89" y="157"/>
                    <a:pt x="89" y="157"/>
                  </a:cubicBezTo>
                  <a:cubicBezTo>
                    <a:pt x="88" y="152"/>
                    <a:pt x="87" y="147"/>
                    <a:pt x="87" y="142"/>
                  </a:cubicBezTo>
                  <a:cubicBezTo>
                    <a:pt x="87" y="138"/>
                    <a:pt x="88" y="133"/>
                    <a:pt x="89" y="128"/>
                  </a:cubicBezTo>
                  <a:cubicBezTo>
                    <a:pt x="128" y="128"/>
                    <a:pt x="128" y="128"/>
                    <a:pt x="128" y="128"/>
                  </a:cubicBezTo>
                  <a:cubicBezTo>
                    <a:pt x="128" y="90"/>
                    <a:pt x="128" y="90"/>
                    <a:pt x="128" y="90"/>
                  </a:cubicBezTo>
                  <a:cubicBezTo>
                    <a:pt x="133" y="88"/>
                    <a:pt x="137" y="88"/>
                    <a:pt x="142" y="88"/>
                  </a:cubicBezTo>
                  <a:cubicBezTo>
                    <a:pt x="147" y="88"/>
                    <a:pt x="152" y="88"/>
                    <a:pt x="156" y="90"/>
                  </a:cubicBezTo>
                  <a:cubicBezTo>
                    <a:pt x="156" y="128"/>
                    <a:pt x="156" y="128"/>
                    <a:pt x="156" y="128"/>
                  </a:cubicBezTo>
                  <a:lnTo>
                    <a:pt x="195" y="128"/>
                  </a:lnTo>
                  <a:close/>
                  <a:moveTo>
                    <a:pt x="142" y="40"/>
                  </a:moveTo>
                  <a:cubicBezTo>
                    <a:pt x="137" y="40"/>
                    <a:pt x="133" y="41"/>
                    <a:pt x="128" y="41"/>
                  </a:cubicBezTo>
                  <a:cubicBezTo>
                    <a:pt x="128" y="0"/>
                    <a:pt x="128" y="0"/>
                    <a:pt x="128" y="0"/>
                  </a:cubicBezTo>
                  <a:cubicBezTo>
                    <a:pt x="156" y="0"/>
                    <a:pt x="156" y="0"/>
                    <a:pt x="156" y="0"/>
                  </a:cubicBezTo>
                  <a:cubicBezTo>
                    <a:pt x="156" y="41"/>
                    <a:pt x="156" y="41"/>
                    <a:pt x="156" y="41"/>
                  </a:cubicBezTo>
                  <a:cubicBezTo>
                    <a:pt x="152" y="41"/>
                    <a:pt x="147" y="40"/>
                    <a:pt x="142" y="40"/>
                  </a:cubicBezTo>
                  <a:close/>
                  <a:moveTo>
                    <a:pt x="40" y="142"/>
                  </a:moveTo>
                  <a:cubicBezTo>
                    <a:pt x="40" y="147"/>
                    <a:pt x="40" y="152"/>
                    <a:pt x="41" y="157"/>
                  </a:cubicBezTo>
                  <a:cubicBezTo>
                    <a:pt x="0" y="157"/>
                    <a:pt x="0" y="157"/>
                    <a:pt x="0" y="157"/>
                  </a:cubicBezTo>
                  <a:cubicBezTo>
                    <a:pt x="0" y="128"/>
                    <a:pt x="0" y="128"/>
                    <a:pt x="0" y="128"/>
                  </a:cubicBezTo>
                  <a:cubicBezTo>
                    <a:pt x="41" y="128"/>
                    <a:pt x="41" y="128"/>
                    <a:pt x="41" y="128"/>
                  </a:cubicBezTo>
                  <a:cubicBezTo>
                    <a:pt x="40" y="133"/>
                    <a:pt x="40" y="138"/>
                    <a:pt x="40" y="142"/>
                  </a:cubicBezTo>
                  <a:close/>
                  <a:moveTo>
                    <a:pt x="142" y="245"/>
                  </a:moveTo>
                  <a:cubicBezTo>
                    <a:pt x="147" y="245"/>
                    <a:pt x="152" y="244"/>
                    <a:pt x="156" y="244"/>
                  </a:cubicBezTo>
                  <a:cubicBezTo>
                    <a:pt x="156" y="285"/>
                    <a:pt x="156" y="285"/>
                    <a:pt x="156" y="285"/>
                  </a:cubicBezTo>
                  <a:cubicBezTo>
                    <a:pt x="128" y="285"/>
                    <a:pt x="128" y="285"/>
                    <a:pt x="128" y="285"/>
                  </a:cubicBezTo>
                  <a:cubicBezTo>
                    <a:pt x="128" y="244"/>
                    <a:pt x="128" y="244"/>
                    <a:pt x="128" y="244"/>
                  </a:cubicBezTo>
                  <a:cubicBezTo>
                    <a:pt x="133" y="244"/>
                    <a:pt x="137" y="245"/>
                    <a:pt x="142" y="245"/>
                  </a:cubicBezTo>
                  <a:close/>
                  <a:moveTo>
                    <a:pt x="245" y="142"/>
                  </a:moveTo>
                  <a:cubicBezTo>
                    <a:pt x="245" y="138"/>
                    <a:pt x="244" y="133"/>
                    <a:pt x="243" y="128"/>
                  </a:cubicBezTo>
                  <a:cubicBezTo>
                    <a:pt x="285" y="128"/>
                    <a:pt x="285" y="128"/>
                    <a:pt x="285" y="128"/>
                  </a:cubicBezTo>
                  <a:cubicBezTo>
                    <a:pt x="285" y="157"/>
                    <a:pt x="285" y="157"/>
                    <a:pt x="285" y="157"/>
                  </a:cubicBezTo>
                  <a:cubicBezTo>
                    <a:pt x="243" y="157"/>
                    <a:pt x="243" y="157"/>
                    <a:pt x="243" y="157"/>
                  </a:cubicBezTo>
                  <a:cubicBezTo>
                    <a:pt x="244" y="152"/>
                    <a:pt x="245" y="147"/>
                    <a:pt x="245" y="142"/>
                  </a:cubicBezTo>
                  <a:close/>
                </a:path>
              </a:pathLst>
            </a:custGeom>
            <a:solidFill>
              <a:schemeClr val="accent1"/>
            </a:solidFill>
            <a:ln>
              <a:noFill/>
            </a:ln>
          </p:spPr>
          <p:txBody>
            <a:bodyPr vert="horz" wrap="square" lIns="60510" tIns="30256" rIns="60510" bIns="3025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750" dirty="0">
                <a:solidFill>
                  <a:srgbClr val="505050"/>
                </a:solidFill>
              </a:endParaRPr>
            </a:p>
          </p:txBody>
        </p:sp>
        <p:sp>
          <p:nvSpPr>
            <p:cNvPr id="333" name="TextBox 145"/>
            <p:cNvSpPr txBox="1"/>
            <p:nvPr/>
          </p:nvSpPr>
          <p:spPr>
            <a:xfrm>
              <a:off x="10365616" y="3966702"/>
              <a:ext cx="1207189" cy="203196"/>
            </a:xfrm>
            <a:prstGeom prst="rect">
              <a:avLst/>
            </a:prstGeom>
            <a:noFill/>
          </p:spPr>
          <p:txBody>
            <a:bodyPr wrap="non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675" dirty="0">
                  <a:solidFill>
                    <a:srgbClr val="505050"/>
                  </a:solidFill>
                </a:rPr>
                <a:t>Search and query</a:t>
              </a:r>
            </a:p>
          </p:txBody>
        </p:sp>
        <p:sp>
          <p:nvSpPr>
            <p:cNvPr id="334" name="Freeform 66"/>
            <p:cNvSpPr>
              <a:spLocks noEditPoints="1"/>
            </p:cNvSpPr>
            <p:nvPr/>
          </p:nvSpPr>
          <p:spPr bwMode="auto">
            <a:xfrm>
              <a:off x="10698030" y="4234906"/>
              <a:ext cx="717394" cy="682837"/>
            </a:xfrm>
            <a:custGeom>
              <a:avLst/>
              <a:gdLst>
                <a:gd name="T0" fmla="*/ 1210 w 2135"/>
                <a:gd name="T1" fmla="*/ 204 h 2030"/>
                <a:gd name="T2" fmla="*/ 2029 w 2135"/>
                <a:gd name="T3" fmla="*/ 204 h 2030"/>
                <a:gd name="T4" fmla="*/ 2135 w 2135"/>
                <a:gd name="T5" fmla="*/ 302 h 2030"/>
                <a:gd name="T6" fmla="*/ 2135 w 2135"/>
                <a:gd name="T7" fmla="*/ 1724 h 2030"/>
                <a:gd name="T8" fmla="*/ 2033 w 2135"/>
                <a:gd name="T9" fmla="*/ 1826 h 2030"/>
                <a:gd name="T10" fmla="*/ 1218 w 2135"/>
                <a:gd name="T11" fmla="*/ 1825 h 2030"/>
                <a:gd name="T12" fmla="*/ 1211 w 2135"/>
                <a:gd name="T13" fmla="*/ 2030 h 2030"/>
                <a:gd name="T14" fmla="*/ 967 w 2135"/>
                <a:gd name="T15" fmla="*/ 1984 h 2030"/>
                <a:gd name="T16" fmla="*/ 508 w 2135"/>
                <a:gd name="T17" fmla="*/ 1897 h 2030"/>
                <a:gd name="T18" fmla="*/ 6 w 2135"/>
                <a:gd name="T19" fmla="*/ 1803 h 2030"/>
                <a:gd name="T20" fmla="*/ 1 w 2135"/>
                <a:gd name="T21" fmla="*/ 1717 h 2030"/>
                <a:gd name="T22" fmla="*/ 9 w 2135"/>
                <a:gd name="T23" fmla="*/ 226 h 2030"/>
                <a:gd name="T24" fmla="*/ 630 w 2135"/>
                <a:gd name="T25" fmla="*/ 109 h 2030"/>
                <a:gd name="T26" fmla="*/ 1204 w 2135"/>
                <a:gd name="T27" fmla="*/ 1 h 2030"/>
                <a:gd name="T28" fmla="*/ 1211 w 2135"/>
                <a:gd name="T29" fmla="*/ 1181 h 2030"/>
                <a:gd name="T30" fmla="*/ 1505 w 2135"/>
                <a:gd name="T31" fmla="*/ 1364 h 2030"/>
                <a:gd name="T32" fmla="*/ 1211 w 2135"/>
                <a:gd name="T33" fmla="*/ 1429 h 2030"/>
                <a:gd name="T34" fmla="*/ 1503 w 2135"/>
                <a:gd name="T35" fmla="*/ 1613 h 2030"/>
                <a:gd name="T36" fmla="*/ 1211 w 2135"/>
                <a:gd name="T37" fmla="*/ 1743 h 2030"/>
                <a:gd name="T38" fmla="*/ 2050 w 2135"/>
                <a:gd name="T39" fmla="*/ 286 h 2030"/>
                <a:gd name="T40" fmla="*/ 1211 w 2135"/>
                <a:gd name="T41" fmla="*/ 417 h 2030"/>
                <a:gd name="T42" fmla="*/ 1503 w 2135"/>
                <a:gd name="T43" fmla="*/ 601 h 2030"/>
                <a:gd name="T44" fmla="*/ 1211 w 2135"/>
                <a:gd name="T45" fmla="*/ 610 h 2030"/>
                <a:gd name="T46" fmla="*/ 1219 w 2135"/>
                <a:gd name="T47" fmla="*/ 670 h 2030"/>
                <a:gd name="T48" fmla="*/ 1504 w 2135"/>
                <a:gd name="T49" fmla="*/ 670 h 2030"/>
                <a:gd name="T50" fmla="*/ 1211 w 2135"/>
                <a:gd name="T51" fmla="*/ 854 h 2030"/>
                <a:gd name="T52" fmla="*/ 1504 w 2135"/>
                <a:gd name="T53" fmla="*/ 927 h 2030"/>
                <a:gd name="T54" fmla="*/ 1211 w 2135"/>
                <a:gd name="T55" fmla="*/ 1111 h 2030"/>
                <a:gd name="T56" fmla="*/ 840 w 2135"/>
                <a:gd name="T57" fmla="*/ 1361 h 2030"/>
                <a:gd name="T58" fmla="*/ 650 w 2135"/>
                <a:gd name="T59" fmla="*/ 1004 h 2030"/>
                <a:gd name="T60" fmla="*/ 831 w 2135"/>
                <a:gd name="T61" fmla="*/ 648 h 2030"/>
                <a:gd name="T62" fmla="*/ 822 w 2135"/>
                <a:gd name="T63" fmla="*/ 641 h 2030"/>
                <a:gd name="T64" fmla="*/ 681 w 2135"/>
                <a:gd name="T65" fmla="*/ 651 h 2030"/>
                <a:gd name="T66" fmla="*/ 610 w 2135"/>
                <a:gd name="T67" fmla="*/ 798 h 2030"/>
                <a:gd name="T68" fmla="*/ 562 w 2135"/>
                <a:gd name="T69" fmla="*/ 920 h 2030"/>
                <a:gd name="T70" fmla="*/ 465 w 2135"/>
                <a:gd name="T71" fmla="*/ 671 h 2030"/>
                <a:gd name="T72" fmla="*/ 345 w 2135"/>
                <a:gd name="T73" fmla="*/ 674 h 2030"/>
                <a:gd name="T74" fmla="*/ 318 w 2135"/>
                <a:gd name="T75" fmla="*/ 685 h 2030"/>
                <a:gd name="T76" fmla="*/ 470 w 2135"/>
                <a:gd name="T77" fmla="*/ 996 h 2030"/>
                <a:gd name="T78" fmla="*/ 307 w 2135"/>
                <a:gd name="T79" fmla="*/ 1308 h 2030"/>
                <a:gd name="T80" fmla="*/ 305 w 2135"/>
                <a:gd name="T81" fmla="*/ 1324 h 2030"/>
                <a:gd name="T82" fmla="*/ 438 w 2135"/>
                <a:gd name="T83" fmla="*/ 1334 h 2030"/>
                <a:gd name="T84" fmla="*/ 519 w 2135"/>
                <a:gd name="T85" fmla="*/ 1171 h 2030"/>
                <a:gd name="T86" fmla="*/ 556 w 2135"/>
                <a:gd name="T87" fmla="*/ 1076 h 2030"/>
                <a:gd name="T88" fmla="*/ 572 w 2135"/>
                <a:gd name="T89" fmla="*/ 1128 h 2030"/>
                <a:gd name="T90" fmla="*/ 687 w 2135"/>
                <a:gd name="T91" fmla="*/ 1351 h 2030"/>
                <a:gd name="T92" fmla="*/ 840 w 2135"/>
                <a:gd name="T93" fmla="*/ 1361 h 20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135" h="2030">
                  <a:moveTo>
                    <a:pt x="1210" y="0"/>
                  </a:moveTo>
                  <a:cubicBezTo>
                    <a:pt x="1210" y="68"/>
                    <a:pt x="1210" y="135"/>
                    <a:pt x="1210" y="204"/>
                  </a:cubicBezTo>
                  <a:cubicBezTo>
                    <a:pt x="1214" y="204"/>
                    <a:pt x="1218" y="204"/>
                    <a:pt x="1221" y="204"/>
                  </a:cubicBezTo>
                  <a:cubicBezTo>
                    <a:pt x="1490" y="204"/>
                    <a:pt x="1760" y="204"/>
                    <a:pt x="2029" y="204"/>
                  </a:cubicBezTo>
                  <a:cubicBezTo>
                    <a:pt x="2053" y="204"/>
                    <a:pt x="2076" y="208"/>
                    <a:pt x="2095" y="223"/>
                  </a:cubicBezTo>
                  <a:cubicBezTo>
                    <a:pt x="2121" y="243"/>
                    <a:pt x="2134" y="269"/>
                    <a:pt x="2135" y="302"/>
                  </a:cubicBezTo>
                  <a:cubicBezTo>
                    <a:pt x="2135" y="303"/>
                    <a:pt x="2135" y="304"/>
                    <a:pt x="2135" y="306"/>
                  </a:cubicBezTo>
                  <a:cubicBezTo>
                    <a:pt x="2135" y="778"/>
                    <a:pt x="2135" y="1251"/>
                    <a:pt x="2135" y="1724"/>
                  </a:cubicBezTo>
                  <a:cubicBezTo>
                    <a:pt x="2135" y="1758"/>
                    <a:pt x="2122" y="1786"/>
                    <a:pt x="2094" y="1807"/>
                  </a:cubicBezTo>
                  <a:cubicBezTo>
                    <a:pt x="2076" y="1820"/>
                    <a:pt x="2055" y="1826"/>
                    <a:pt x="2033" y="1826"/>
                  </a:cubicBezTo>
                  <a:cubicBezTo>
                    <a:pt x="1774" y="1825"/>
                    <a:pt x="1515" y="1825"/>
                    <a:pt x="1256" y="1825"/>
                  </a:cubicBezTo>
                  <a:cubicBezTo>
                    <a:pt x="1243" y="1825"/>
                    <a:pt x="1231" y="1825"/>
                    <a:pt x="1218" y="1825"/>
                  </a:cubicBezTo>
                  <a:cubicBezTo>
                    <a:pt x="1216" y="1825"/>
                    <a:pt x="1214" y="1825"/>
                    <a:pt x="1211" y="1825"/>
                  </a:cubicBezTo>
                  <a:cubicBezTo>
                    <a:pt x="1211" y="1894"/>
                    <a:pt x="1211" y="1961"/>
                    <a:pt x="1211" y="2030"/>
                  </a:cubicBezTo>
                  <a:cubicBezTo>
                    <a:pt x="1191" y="2026"/>
                    <a:pt x="1172" y="2022"/>
                    <a:pt x="1153" y="2019"/>
                  </a:cubicBezTo>
                  <a:cubicBezTo>
                    <a:pt x="1091" y="2007"/>
                    <a:pt x="1029" y="1995"/>
                    <a:pt x="967" y="1984"/>
                  </a:cubicBezTo>
                  <a:cubicBezTo>
                    <a:pt x="893" y="1970"/>
                    <a:pt x="818" y="1956"/>
                    <a:pt x="744" y="1942"/>
                  </a:cubicBezTo>
                  <a:cubicBezTo>
                    <a:pt x="665" y="1927"/>
                    <a:pt x="587" y="1912"/>
                    <a:pt x="508" y="1897"/>
                  </a:cubicBezTo>
                  <a:cubicBezTo>
                    <a:pt x="423" y="1881"/>
                    <a:pt x="339" y="1865"/>
                    <a:pt x="254" y="1849"/>
                  </a:cubicBezTo>
                  <a:cubicBezTo>
                    <a:pt x="171" y="1834"/>
                    <a:pt x="89" y="1818"/>
                    <a:pt x="6" y="1803"/>
                  </a:cubicBezTo>
                  <a:cubicBezTo>
                    <a:pt x="1" y="1802"/>
                    <a:pt x="0" y="1800"/>
                    <a:pt x="0" y="1796"/>
                  </a:cubicBezTo>
                  <a:cubicBezTo>
                    <a:pt x="1" y="1770"/>
                    <a:pt x="1" y="1744"/>
                    <a:pt x="1" y="1717"/>
                  </a:cubicBezTo>
                  <a:cubicBezTo>
                    <a:pt x="1" y="1224"/>
                    <a:pt x="1" y="730"/>
                    <a:pt x="0" y="236"/>
                  </a:cubicBezTo>
                  <a:cubicBezTo>
                    <a:pt x="0" y="230"/>
                    <a:pt x="2" y="227"/>
                    <a:pt x="9" y="226"/>
                  </a:cubicBezTo>
                  <a:cubicBezTo>
                    <a:pt x="122" y="205"/>
                    <a:pt x="234" y="184"/>
                    <a:pt x="347" y="163"/>
                  </a:cubicBezTo>
                  <a:cubicBezTo>
                    <a:pt x="441" y="145"/>
                    <a:pt x="535" y="127"/>
                    <a:pt x="630" y="109"/>
                  </a:cubicBezTo>
                  <a:cubicBezTo>
                    <a:pt x="725" y="91"/>
                    <a:pt x="820" y="73"/>
                    <a:pt x="916" y="55"/>
                  </a:cubicBezTo>
                  <a:cubicBezTo>
                    <a:pt x="1012" y="37"/>
                    <a:pt x="1108" y="19"/>
                    <a:pt x="1204" y="1"/>
                  </a:cubicBezTo>
                  <a:cubicBezTo>
                    <a:pt x="1206" y="1"/>
                    <a:pt x="1208" y="0"/>
                    <a:pt x="1210" y="0"/>
                  </a:cubicBezTo>
                  <a:close/>
                  <a:moveTo>
                    <a:pt x="1211" y="1181"/>
                  </a:moveTo>
                  <a:cubicBezTo>
                    <a:pt x="1309" y="1181"/>
                    <a:pt x="1407" y="1181"/>
                    <a:pt x="1505" y="1181"/>
                  </a:cubicBezTo>
                  <a:cubicBezTo>
                    <a:pt x="1505" y="1242"/>
                    <a:pt x="1505" y="1303"/>
                    <a:pt x="1505" y="1364"/>
                  </a:cubicBezTo>
                  <a:cubicBezTo>
                    <a:pt x="1407" y="1364"/>
                    <a:pt x="1309" y="1364"/>
                    <a:pt x="1211" y="1364"/>
                  </a:cubicBezTo>
                  <a:cubicBezTo>
                    <a:pt x="1211" y="1386"/>
                    <a:pt x="1211" y="1407"/>
                    <a:pt x="1211" y="1429"/>
                  </a:cubicBezTo>
                  <a:cubicBezTo>
                    <a:pt x="1309" y="1429"/>
                    <a:pt x="1406" y="1429"/>
                    <a:pt x="1503" y="1429"/>
                  </a:cubicBezTo>
                  <a:cubicBezTo>
                    <a:pt x="1503" y="1490"/>
                    <a:pt x="1503" y="1551"/>
                    <a:pt x="1503" y="1613"/>
                  </a:cubicBezTo>
                  <a:cubicBezTo>
                    <a:pt x="1406" y="1613"/>
                    <a:pt x="1308" y="1613"/>
                    <a:pt x="1211" y="1613"/>
                  </a:cubicBezTo>
                  <a:cubicBezTo>
                    <a:pt x="1211" y="1657"/>
                    <a:pt x="1211" y="1700"/>
                    <a:pt x="1211" y="1743"/>
                  </a:cubicBezTo>
                  <a:cubicBezTo>
                    <a:pt x="1491" y="1743"/>
                    <a:pt x="1770" y="1743"/>
                    <a:pt x="2050" y="1743"/>
                  </a:cubicBezTo>
                  <a:cubicBezTo>
                    <a:pt x="2050" y="1257"/>
                    <a:pt x="2050" y="772"/>
                    <a:pt x="2050" y="286"/>
                  </a:cubicBezTo>
                  <a:cubicBezTo>
                    <a:pt x="1770" y="286"/>
                    <a:pt x="1491" y="286"/>
                    <a:pt x="1211" y="286"/>
                  </a:cubicBezTo>
                  <a:cubicBezTo>
                    <a:pt x="1211" y="329"/>
                    <a:pt x="1211" y="373"/>
                    <a:pt x="1211" y="417"/>
                  </a:cubicBezTo>
                  <a:cubicBezTo>
                    <a:pt x="1309" y="417"/>
                    <a:pt x="1406" y="417"/>
                    <a:pt x="1503" y="417"/>
                  </a:cubicBezTo>
                  <a:cubicBezTo>
                    <a:pt x="1503" y="478"/>
                    <a:pt x="1503" y="539"/>
                    <a:pt x="1503" y="601"/>
                  </a:cubicBezTo>
                  <a:cubicBezTo>
                    <a:pt x="1406" y="601"/>
                    <a:pt x="1308" y="601"/>
                    <a:pt x="1211" y="601"/>
                  </a:cubicBezTo>
                  <a:cubicBezTo>
                    <a:pt x="1211" y="604"/>
                    <a:pt x="1211" y="607"/>
                    <a:pt x="1211" y="610"/>
                  </a:cubicBezTo>
                  <a:cubicBezTo>
                    <a:pt x="1211" y="627"/>
                    <a:pt x="1211" y="644"/>
                    <a:pt x="1211" y="661"/>
                  </a:cubicBezTo>
                  <a:cubicBezTo>
                    <a:pt x="1211" y="670"/>
                    <a:pt x="1211" y="670"/>
                    <a:pt x="1219" y="670"/>
                  </a:cubicBezTo>
                  <a:cubicBezTo>
                    <a:pt x="1311" y="670"/>
                    <a:pt x="1404" y="670"/>
                    <a:pt x="1496" y="670"/>
                  </a:cubicBezTo>
                  <a:cubicBezTo>
                    <a:pt x="1499" y="670"/>
                    <a:pt x="1501" y="670"/>
                    <a:pt x="1504" y="670"/>
                  </a:cubicBezTo>
                  <a:cubicBezTo>
                    <a:pt x="1504" y="731"/>
                    <a:pt x="1504" y="792"/>
                    <a:pt x="1504" y="854"/>
                  </a:cubicBezTo>
                  <a:cubicBezTo>
                    <a:pt x="1406" y="854"/>
                    <a:pt x="1309" y="854"/>
                    <a:pt x="1211" y="854"/>
                  </a:cubicBezTo>
                  <a:cubicBezTo>
                    <a:pt x="1211" y="879"/>
                    <a:pt x="1211" y="903"/>
                    <a:pt x="1211" y="927"/>
                  </a:cubicBezTo>
                  <a:cubicBezTo>
                    <a:pt x="1309" y="927"/>
                    <a:pt x="1407" y="927"/>
                    <a:pt x="1504" y="927"/>
                  </a:cubicBezTo>
                  <a:cubicBezTo>
                    <a:pt x="1504" y="989"/>
                    <a:pt x="1504" y="1050"/>
                    <a:pt x="1504" y="1111"/>
                  </a:cubicBezTo>
                  <a:cubicBezTo>
                    <a:pt x="1406" y="1111"/>
                    <a:pt x="1309" y="1111"/>
                    <a:pt x="1211" y="1111"/>
                  </a:cubicBezTo>
                  <a:cubicBezTo>
                    <a:pt x="1211" y="1135"/>
                    <a:pt x="1211" y="1157"/>
                    <a:pt x="1211" y="1181"/>
                  </a:cubicBezTo>
                  <a:close/>
                  <a:moveTo>
                    <a:pt x="840" y="1361"/>
                  </a:moveTo>
                  <a:cubicBezTo>
                    <a:pt x="838" y="1357"/>
                    <a:pt x="836" y="1354"/>
                    <a:pt x="835" y="1352"/>
                  </a:cubicBezTo>
                  <a:cubicBezTo>
                    <a:pt x="774" y="1236"/>
                    <a:pt x="712" y="1120"/>
                    <a:pt x="650" y="1004"/>
                  </a:cubicBezTo>
                  <a:cubicBezTo>
                    <a:pt x="648" y="999"/>
                    <a:pt x="648" y="996"/>
                    <a:pt x="650" y="991"/>
                  </a:cubicBezTo>
                  <a:cubicBezTo>
                    <a:pt x="711" y="877"/>
                    <a:pt x="771" y="762"/>
                    <a:pt x="831" y="648"/>
                  </a:cubicBezTo>
                  <a:cubicBezTo>
                    <a:pt x="832" y="646"/>
                    <a:pt x="833" y="644"/>
                    <a:pt x="834" y="641"/>
                  </a:cubicBezTo>
                  <a:cubicBezTo>
                    <a:pt x="829" y="641"/>
                    <a:pt x="826" y="641"/>
                    <a:pt x="822" y="641"/>
                  </a:cubicBezTo>
                  <a:cubicBezTo>
                    <a:pt x="802" y="643"/>
                    <a:pt x="782" y="644"/>
                    <a:pt x="762" y="646"/>
                  </a:cubicBezTo>
                  <a:cubicBezTo>
                    <a:pt x="735" y="648"/>
                    <a:pt x="708" y="650"/>
                    <a:pt x="681" y="651"/>
                  </a:cubicBezTo>
                  <a:cubicBezTo>
                    <a:pt x="677" y="652"/>
                    <a:pt x="675" y="654"/>
                    <a:pt x="673" y="658"/>
                  </a:cubicBezTo>
                  <a:cubicBezTo>
                    <a:pt x="652" y="704"/>
                    <a:pt x="631" y="751"/>
                    <a:pt x="610" y="798"/>
                  </a:cubicBezTo>
                  <a:cubicBezTo>
                    <a:pt x="592" y="837"/>
                    <a:pt x="573" y="876"/>
                    <a:pt x="563" y="919"/>
                  </a:cubicBezTo>
                  <a:cubicBezTo>
                    <a:pt x="563" y="919"/>
                    <a:pt x="562" y="920"/>
                    <a:pt x="562" y="920"/>
                  </a:cubicBezTo>
                  <a:cubicBezTo>
                    <a:pt x="557" y="903"/>
                    <a:pt x="553" y="886"/>
                    <a:pt x="546" y="870"/>
                  </a:cubicBezTo>
                  <a:cubicBezTo>
                    <a:pt x="519" y="803"/>
                    <a:pt x="492" y="737"/>
                    <a:pt x="465" y="671"/>
                  </a:cubicBezTo>
                  <a:cubicBezTo>
                    <a:pt x="463" y="667"/>
                    <a:pt x="462" y="667"/>
                    <a:pt x="458" y="667"/>
                  </a:cubicBezTo>
                  <a:cubicBezTo>
                    <a:pt x="420" y="669"/>
                    <a:pt x="383" y="672"/>
                    <a:pt x="345" y="674"/>
                  </a:cubicBezTo>
                  <a:cubicBezTo>
                    <a:pt x="335" y="675"/>
                    <a:pt x="325" y="676"/>
                    <a:pt x="314" y="677"/>
                  </a:cubicBezTo>
                  <a:cubicBezTo>
                    <a:pt x="315" y="680"/>
                    <a:pt x="316" y="682"/>
                    <a:pt x="318" y="685"/>
                  </a:cubicBezTo>
                  <a:cubicBezTo>
                    <a:pt x="327" y="704"/>
                    <a:pt x="336" y="723"/>
                    <a:pt x="346" y="742"/>
                  </a:cubicBezTo>
                  <a:cubicBezTo>
                    <a:pt x="387" y="827"/>
                    <a:pt x="428" y="911"/>
                    <a:pt x="470" y="996"/>
                  </a:cubicBezTo>
                  <a:cubicBezTo>
                    <a:pt x="471" y="999"/>
                    <a:pt x="471" y="1002"/>
                    <a:pt x="470" y="1005"/>
                  </a:cubicBezTo>
                  <a:cubicBezTo>
                    <a:pt x="415" y="1106"/>
                    <a:pt x="361" y="1207"/>
                    <a:pt x="307" y="1308"/>
                  </a:cubicBezTo>
                  <a:cubicBezTo>
                    <a:pt x="305" y="1313"/>
                    <a:pt x="302" y="1318"/>
                    <a:pt x="300" y="1323"/>
                  </a:cubicBezTo>
                  <a:cubicBezTo>
                    <a:pt x="302" y="1324"/>
                    <a:pt x="304" y="1324"/>
                    <a:pt x="305" y="1324"/>
                  </a:cubicBezTo>
                  <a:cubicBezTo>
                    <a:pt x="318" y="1325"/>
                    <a:pt x="331" y="1326"/>
                    <a:pt x="345" y="1327"/>
                  </a:cubicBezTo>
                  <a:cubicBezTo>
                    <a:pt x="376" y="1329"/>
                    <a:pt x="407" y="1331"/>
                    <a:pt x="438" y="1334"/>
                  </a:cubicBezTo>
                  <a:cubicBezTo>
                    <a:pt x="443" y="1334"/>
                    <a:pt x="445" y="1333"/>
                    <a:pt x="447" y="1328"/>
                  </a:cubicBezTo>
                  <a:cubicBezTo>
                    <a:pt x="471" y="1276"/>
                    <a:pt x="496" y="1224"/>
                    <a:pt x="519" y="1171"/>
                  </a:cubicBezTo>
                  <a:cubicBezTo>
                    <a:pt x="530" y="1147"/>
                    <a:pt x="543" y="1124"/>
                    <a:pt x="550" y="1098"/>
                  </a:cubicBezTo>
                  <a:cubicBezTo>
                    <a:pt x="552" y="1091"/>
                    <a:pt x="554" y="1083"/>
                    <a:pt x="556" y="1076"/>
                  </a:cubicBezTo>
                  <a:cubicBezTo>
                    <a:pt x="557" y="1078"/>
                    <a:pt x="558" y="1081"/>
                    <a:pt x="558" y="1083"/>
                  </a:cubicBezTo>
                  <a:cubicBezTo>
                    <a:pt x="563" y="1098"/>
                    <a:pt x="566" y="1113"/>
                    <a:pt x="572" y="1128"/>
                  </a:cubicBezTo>
                  <a:cubicBezTo>
                    <a:pt x="602" y="1197"/>
                    <a:pt x="634" y="1265"/>
                    <a:pt x="664" y="1334"/>
                  </a:cubicBezTo>
                  <a:cubicBezTo>
                    <a:pt x="669" y="1345"/>
                    <a:pt x="674" y="1350"/>
                    <a:pt x="687" y="1351"/>
                  </a:cubicBezTo>
                  <a:cubicBezTo>
                    <a:pt x="730" y="1353"/>
                    <a:pt x="773" y="1356"/>
                    <a:pt x="816" y="1359"/>
                  </a:cubicBezTo>
                  <a:cubicBezTo>
                    <a:pt x="823" y="1360"/>
                    <a:pt x="831" y="1360"/>
                    <a:pt x="840" y="1361"/>
                  </a:cubicBezTo>
                  <a:close/>
                </a:path>
              </a:pathLst>
            </a:custGeom>
            <a:solidFill>
              <a:schemeClr val="accent1"/>
            </a:solidFill>
            <a:ln>
              <a:noFill/>
            </a:ln>
          </p:spPr>
          <p:txBody>
            <a:bodyPr vert="horz" wrap="square" lIns="67226" tIns="33613" rIns="67226" bIns="336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788">
                <a:solidFill>
                  <a:srgbClr val="505050"/>
                </a:solidFill>
              </a:endParaRPr>
            </a:p>
          </p:txBody>
        </p:sp>
        <p:sp>
          <p:nvSpPr>
            <p:cNvPr id="335" name="TextBox 147"/>
            <p:cNvSpPr txBox="1"/>
            <p:nvPr/>
          </p:nvSpPr>
          <p:spPr>
            <a:xfrm>
              <a:off x="10247846" y="4942101"/>
              <a:ext cx="1434081" cy="203196"/>
            </a:xfrm>
            <a:prstGeom prst="rect">
              <a:avLst/>
            </a:prstGeom>
            <a:noFill/>
          </p:spPr>
          <p:txBody>
            <a:bodyPr wrap="non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675" dirty="0">
                  <a:solidFill>
                    <a:srgbClr val="505050"/>
                  </a:solidFill>
                </a:rPr>
                <a:t>Data analytics (Excel)</a:t>
              </a:r>
            </a:p>
          </p:txBody>
        </p:sp>
        <p:sp>
          <p:nvSpPr>
            <p:cNvPr id="336" name="Freeform 68"/>
            <p:cNvSpPr>
              <a:spLocks noChangeAspect="1" noEditPoints="1"/>
            </p:cNvSpPr>
            <p:nvPr/>
          </p:nvSpPr>
          <p:spPr bwMode="black">
            <a:xfrm>
              <a:off x="10577266" y="2074785"/>
              <a:ext cx="897970" cy="578449"/>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chemeClr val="accent1"/>
            </a:solidFill>
            <a:extLst/>
          </p:spPr>
          <p:txBody>
            <a:bodyPr vert="horz" wrap="square" lIns="67226" tIns="33613" rIns="67226" bIns="336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788">
                <a:solidFill>
                  <a:srgbClr val="505050"/>
                </a:solidFill>
              </a:endParaRPr>
            </a:p>
          </p:txBody>
        </p:sp>
        <p:sp>
          <p:nvSpPr>
            <p:cNvPr id="337" name="TextBox 149"/>
            <p:cNvSpPr txBox="1"/>
            <p:nvPr/>
          </p:nvSpPr>
          <p:spPr>
            <a:xfrm>
              <a:off x="10369901" y="2721972"/>
              <a:ext cx="1172282" cy="406390"/>
            </a:xfrm>
            <a:prstGeom prst="rect">
              <a:avLst/>
            </a:prstGeom>
            <a:noFill/>
          </p:spPr>
          <p:txBody>
            <a:bodyPr wrap="non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675" dirty="0">
                  <a:solidFill>
                    <a:srgbClr val="505050"/>
                  </a:solidFill>
                </a:rPr>
                <a:t>Web/thick client </a:t>
              </a:r>
              <a:br>
                <a:rPr lang="en-US" sz="675" dirty="0">
                  <a:solidFill>
                    <a:srgbClr val="505050"/>
                  </a:solidFill>
                </a:rPr>
              </a:br>
              <a:r>
                <a:rPr lang="en-US" sz="675" dirty="0">
                  <a:solidFill>
                    <a:srgbClr val="505050"/>
                  </a:solidFill>
                </a:rPr>
                <a:t>dashboards</a:t>
              </a:r>
            </a:p>
          </p:txBody>
        </p:sp>
        <p:sp>
          <p:nvSpPr>
            <p:cNvPr id="338" name="Right Arrow 70"/>
            <p:cNvSpPr/>
            <p:nvPr/>
          </p:nvSpPr>
          <p:spPr bwMode="auto">
            <a:xfrm>
              <a:off x="7916635" y="5023859"/>
              <a:ext cx="2210170" cy="627498"/>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67226" tIns="0" rIns="0" bIns="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defTabSz="685491">
                <a:lnSpc>
                  <a:spcPct val="90000"/>
                </a:lnSpc>
              </a:pPr>
              <a:r>
                <a:rPr lang="en-US" sz="600" dirty="0">
                  <a:gradFill>
                    <a:gsLst>
                      <a:gs pos="0">
                        <a:srgbClr val="FFFFFF"/>
                      </a:gs>
                      <a:gs pos="100000">
                        <a:srgbClr val="FFFFFF"/>
                      </a:gs>
                    </a:gsLst>
                    <a:lin ang="5400000" scaled="1"/>
                  </a:gradFill>
                  <a:ea typeface="Segoe UI" pitchFamily="34" charset="0"/>
                  <a:cs typeface="Segoe UI" pitchFamily="34" charset="0"/>
                </a:rPr>
                <a:t>Live Dashboards</a:t>
              </a:r>
            </a:p>
          </p:txBody>
        </p:sp>
        <p:cxnSp>
          <p:nvCxnSpPr>
            <p:cNvPr id="339" name="Straight Arrow Connector 338"/>
            <p:cNvCxnSpPr/>
            <p:nvPr/>
          </p:nvCxnSpPr>
          <p:spPr>
            <a:xfrm>
              <a:off x="1423191" y="2671278"/>
              <a:ext cx="2820912" cy="954781"/>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40" name="Straight Arrow Connector 339"/>
            <p:cNvCxnSpPr/>
            <p:nvPr/>
          </p:nvCxnSpPr>
          <p:spPr>
            <a:xfrm>
              <a:off x="3750768" y="4012981"/>
              <a:ext cx="470338" cy="6831"/>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41" name="Straight Arrow Connector 340"/>
            <p:cNvCxnSpPr/>
            <p:nvPr/>
          </p:nvCxnSpPr>
          <p:spPr>
            <a:xfrm>
              <a:off x="1927626" y="3966852"/>
              <a:ext cx="647498" cy="0"/>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42" name="Straight Arrow Connector 341"/>
            <p:cNvCxnSpPr/>
            <p:nvPr/>
          </p:nvCxnSpPr>
          <p:spPr>
            <a:xfrm flipV="1">
              <a:off x="1927626" y="4618493"/>
              <a:ext cx="2247015" cy="779628"/>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43" name="Straight Arrow Connector 342"/>
            <p:cNvCxnSpPr/>
            <p:nvPr/>
          </p:nvCxnSpPr>
          <p:spPr>
            <a:xfrm flipV="1">
              <a:off x="3037236" y="5115341"/>
              <a:ext cx="1160441" cy="770814"/>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44" name="Straight Arrow Connector 343"/>
            <p:cNvCxnSpPr/>
            <p:nvPr/>
          </p:nvCxnSpPr>
          <p:spPr>
            <a:xfrm flipV="1">
              <a:off x="5694454" y="3582478"/>
              <a:ext cx="771830" cy="702788"/>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345" name="Oval 344"/>
            <p:cNvSpPr/>
            <p:nvPr/>
          </p:nvSpPr>
          <p:spPr bwMode="auto">
            <a:xfrm>
              <a:off x="6303102" y="2189758"/>
              <a:ext cx="1554480" cy="1554480"/>
            </a:xfrm>
            <a:prstGeom prst="ellipse">
              <a:avLst/>
            </a:prstGeom>
            <a:solidFill>
              <a:srgbClr val="4E195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0" tIns="33613" rIns="0" bIns="0"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685491" fontAlgn="base">
                <a:lnSpc>
                  <a:spcPct val="90000"/>
                </a:lnSpc>
                <a:spcBef>
                  <a:spcPct val="0"/>
                </a:spcBef>
                <a:spcAft>
                  <a:spcPct val="0"/>
                </a:spcAft>
              </a:pPr>
              <a:r>
                <a:rPr lang="en-US" sz="675" dirty="0">
                  <a:gradFill>
                    <a:gsLst>
                      <a:gs pos="0">
                        <a:srgbClr val="FFFFFF"/>
                      </a:gs>
                      <a:gs pos="100000">
                        <a:srgbClr val="FFFFFF"/>
                      </a:gs>
                    </a:gsLst>
                    <a:lin ang="5400000" scaled="1"/>
                  </a:gradFill>
                  <a:ea typeface="Segoe UI" pitchFamily="34" charset="0"/>
                  <a:cs typeface="Segoe UI" pitchFamily="34" charset="0"/>
                </a:rPr>
                <a:t>Apache Storm on </a:t>
              </a:r>
              <a:br>
                <a:rPr lang="en-US" sz="675" dirty="0">
                  <a:gradFill>
                    <a:gsLst>
                      <a:gs pos="0">
                        <a:srgbClr val="FFFFFF"/>
                      </a:gs>
                      <a:gs pos="100000">
                        <a:srgbClr val="FFFFFF"/>
                      </a:gs>
                    </a:gsLst>
                    <a:lin ang="5400000" scaled="1"/>
                  </a:gradFill>
                  <a:ea typeface="Segoe UI" pitchFamily="34" charset="0"/>
                  <a:cs typeface="Segoe UI" pitchFamily="34" charset="0"/>
                </a:rPr>
              </a:br>
              <a:r>
                <a:rPr lang="en-US" sz="675" b="1" dirty="0" err="1">
                  <a:gradFill>
                    <a:gsLst>
                      <a:gs pos="0">
                        <a:srgbClr val="FFFFFF"/>
                      </a:gs>
                      <a:gs pos="100000">
                        <a:srgbClr val="FFFFFF"/>
                      </a:gs>
                    </a:gsLst>
                    <a:lin ang="5400000" scaled="1"/>
                  </a:gradFill>
                  <a:ea typeface="Segoe UI" pitchFamily="34" charset="0"/>
                  <a:cs typeface="Segoe UI" pitchFamily="34" charset="0"/>
                </a:rPr>
                <a:t>HDInsight</a:t>
              </a:r>
              <a:endParaRPr lang="en-US" sz="675" b="1" dirty="0">
                <a:gradFill>
                  <a:gsLst>
                    <a:gs pos="0">
                      <a:srgbClr val="FFFFFF"/>
                    </a:gs>
                    <a:gs pos="100000">
                      <a:srgbClr val="FFFFFF"/>
                    </a:gs>
                  </a:gsLst>
                  <a:lin ang="5400000" scaled="1"/>
                </a:gradFill>
                <a:ea typeface="Segoe UI" pitchFamily="34" charset="0"/>
                <a:cs typeface="Segoe UI" pitchFamily="34" charset="0"/>
              </a:endParaRPr>
            </a:p>
          </p:txBody>
        </p:sp>
        <p:sp>
          <p:nvSpPr>
            <p:cNvPr id="346" name="Freeform 79"/>
            <p:cNvSpPr>
              <a:spLocks noChangeAspect="1" noEditPoints="1"/>
            </p:cNvSpPr>
            <p:nvPr/>
          </p:nvSpPr>
          <p:spPr bwMode="black">
            <a:xfrm>
              <a:off x="10833396" y="5249809"/>
              <a:ext cx="446660" cy="861029"/>
            </a:xfrm>
            <a:custGeom>
              <a:avLst/>
              <a:gdLst>
                <a:gd name="T0" fmla="*/ 544 w 602"/>
                <a:gd name="T1" fmla="*/ 95 h 1156"/>
                <a:gd name="T2" fmla="*/ 119 w 602"/>
                <a:gd name="T3" fmla="*/ 1068 h 1156"/>
                <a:gd name="T4" fmla="*/ 112 w 602"/>
                <a:gd name="T5" fmla="*/ 1048 h 1156"/>
                <a:gd name="T6" fmla="*/ 288 w 602"/>
                <a:gd name="T7" fmla="*/ 1050 h 1156"/>
                <a:gd name="T8" fmla="*/ 296 w 602"/>
                <a:gd name="T9" fmla="*/ 1053 h 1156"/>
                <a:gd name="T10" fmla="*/ 291 w 602"/>
                <a:gd name="T11" fmla="*/ 1071 h 1156"/>
                <a:gd name="T12" fmla="*/ 290 w 602"/>
                <a:gd name="T13" fmla="*/ 1072 h 1156"/>
                <a:gd name="T14" fmla="*/ 290 w 602"/>
                <a:gd name="T15" fmla="*/ 1072 h 1156"/>
                <a:gd name="T16" fmla="*/ 276 w 602"/>
                <a:gd name="T17" fmla="*/ 1069 h 1156"/>
                <a:gd name="T18" fmla="*/ 271 w 602"/>
                <a:gd name="T19" fmla="*/ 1071 h 1156"/>
                <a:gd name="T20" fmla="*/ 275 w 602"/>
                <a:gd name="T21" fmla="*/ 1052 h 1156"/>
                <a:gd name="T22" fmla="*/ 285 w 602"/>
                <a:gd name="T23" fmla="*/ 1050 h 1156"/>
                <a:gd name="T24" fmla="*/ 298 w 602"/>
                <a:gd name="T25" fmla="*/ 1055 h 1156"/>
                <a:gd name="T26" fmla="*/ 315 w 602"/>
                <a:gd name="T27" fmla="*/ 1058 h 1156"/>
                <a:gd name="T28" fmla="*/ 319 w 602"/>
                <a:gd name="T29" fmla="*/ 1057 h 1156"/>
                <a:gd name="T30" fmla="*/ 320 w 602"/>
                <a:gd name="T31" fmla="*/ 1057 h 1156"/>
                <a:gd name="T32" fmla="*/ 314 w 602"/>
                <a:gd name="T33" fmla="*/ 1075 h 1156"/>
                <a:gd name="T34" fmla="*/ 301 w 602"/>
                <a:gd name="T35" fmla="*/ 1077 h 1156"/>
                <a:gd name="T36" fmla="*/ 292 w 602"/>
                <a:gd name="T37" fmla="*/ 1073 h 1156"/>
                <a:gd name="T38" fmla="*/ 298 w 602"/>
                <a:gd name="T39" fmla="*/ 1055 h 1156"/>
                <a:gd name="T40" fmla="*/ 298 w 602"/>
                <a:gd name="T41" fmla="*/ 1055 h 1156"/>
                <a:gd name="T42" fmla="*/ 298 w 602"/>
                <a:gd name="T43" fmla="*/ 1055 h 1156"/>
                <a:gd name="T44" fmla="*/ 305 w 602"/>
                <a:gd name="T45" fmla="*/ 1034 h 1156"/>
                <a:gd name="T46" fmla="*/ 318 w 602"/>
                <a:gd name="T47" fmla="*/ 1037 h 1156"/>
                <a:gd name="T48" fmla="*/ 325 w 602"/>
                <a:gd name="T49" fmla="*/ 1035 h 1156"/>
                <a:gd name="T50" fmla="*/ 326 w 602"/>
                <a:gd name="T51" fmla="*/ 1035 h 1156"/>
                <a:gd name="T52" fmla="*/ 314 w 602"/>
                <a:gd name="T53" fmla="*/ 1056 h 1156"/>
                <a:gd name="T54" fmla="*/ 299 w 602"/>
                <a:gd name="T55" fmla="*/ 1052 h 1156"/>
                <a:gd name="T56" fmla="*/ 299 w 602"/>
                <a:gd name="T57" fmla="*/ 1052 h 1156"/>
                <a:gd name="T58" fmla="*/ 304 w 602"/>
                <a:gd name="T59" fmla="*/ 1034 h 1156"/>
                <a:gd name="T60" fmla="*/ 292 w 602"/>
                <a:gd name="T61" fmla="*/ 1028 h 1156"/>
                <a:gd name="T62" fmla="*/ 302 w 602"/>
                <a:gd name="T63" fmla="*/ 1032 h 1156"/>
                <a:gd name="T64" fmla="*/ 302 w 602"/>
                <a:gd name="T65" fmla="*/ 1032 h 1156"/>
                <a:gd name="T66" fmla="*/ 297 w 602"/>
                <a:gd name="T67" fmla="*/ 1050 h 1156"/>
                <a:gd name="T68" fmla="*/ 297 w 602"/>
                <a:gd name="T69" fmla="*/ 1050 h 1156"/>
                <a:gd name="T70" fmla="*/ 296 w 602"/>
                <a:gd name="T71" fmla="*/ 1050 h 1156"/>
                <a:gd name="T72" fmla="*/ 296 w 602"/>
                <a:gd name="T73" fmla="*/ 1050 h 1156"/>
                <a:gd name="T74" fmla="*/ 296 w 602"/>
                <a:gd name="T75" fmla="*/ 1050 h 1156"/>
                <a:gd name="T76" fmla="*/ 277 w 602"/>
                <a:gd name="T77" fmla="*/ 1049 h 1156"/>
                <a:gd name="T78" fmla="*/ 277 w 602"/>
                <a:gd name="T79" fmla="*/ 1049 h 1156"/>
                <a:gd name="T80" fmla="*/ 277 w 602"/>
                <a:gd name="T81" fmla="*/ 1049 h 1156"/>
                <a:gd name="T82" fmla="*/ 276 w 602"/>
                <a:gd name="T83" fmla="*/ 1049 h 1156"/>
                <a:gd name="T84" fmla="*/ 281 w 602"/>
                <a:gd name="T85" fmla="*/ 1032 h 1156"/>
                <a:gd name="T86" fmla="*/ 287 w 602"/>
                <a:gd name="T87" fmla="*/ 1029 h 1156"/>
                <a:gd name="T88" fmla="*/ 467 w 602"/>
                <a:gd name="T89" fmla="*/ 1059 h 1156"/>
                <a:gd name="T90" fmla="*/ 478 w 602"/>
                <a:gd name="T91" fmla="*/ 1064 h 1156"/>
                <a:gd name="T92" fmla="*/ 466 w 602"/>
                <a:gd name="T93" fmla="*/ 1048 h 1156"/>
                <a:gd name="T94" fmla="*/ 602 w 602"/>
                <a:gd name="T95" fmla="*/ 1116 h 1156"/>
                <a:gd name="T96" fmla="*/ 0 w 602"/>
                <a:gd name="T97" fmla="*/ 40 h 1156"/>
                <a:gd name="T98" fmla="*/ 602 w 602"/>
                <a:gd name="T99" fmla="*/ 1116 h 1156"/>
                <a:gd name="T100" fmla="*/ 273 w 602"/>
                <a:gd name="T101" fmla="*/ 202 h 1156"/>
                <a:gd name="T102" fmla="*/ 273 w 602"/>
                <a:gd name="T103" fmla="*/ 911 h 1156"/>
                <a:gd name="T104" fmla="*/ 462 w 602"/>
                <a:gd name="T105" fmla="*/ 581 h 1156"/>
                <a:gd name="T106" fmla="*/ 284 w 602"/>
                <a:gd name="T107" fmla="*/ 391 h 1156"/>
                <a:gd name="T108" fmla="*/ 284 w 602"/>
                <a:gd name="T109" fmla="*/ 391 h 1156"/>
                <a:gd name="T110" fmla="*/ 273 w 602"/>
                <a:gd name="T111" fmla="*/ 391 h 1156"/>
                <a:gd name="T112" fmla="*/ 462 w 602"/>
                <a:gd name="T113" fmla="*/ 911 h 1156"/>
                <a:gd name="T114" fmla="*/ 462 w 602"/>
                <a:gd name="T115" fmla="*/ 379 h 1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02" h="1156">
                  <a:moveTo>
                    <a:pt x="54" y="95"/>
                  </a:moveTo>
                  <a:cubicBezTo>
                    <a:pt x="54" y="367"/>
                    <a:pt x="54" y="639"/>
                    <a:pt x="54" y="911"/>
                  </a:cubicBezTo>
                  <a:cubicBezTo>
                    <a:pt x="217" y="911"/>
                    <a:pt x="381" y="911"/>
                    <a:pt x="544" y="911"/>
                  </a:cubicBezTo>
                  <a:cubicBezTo>
                    <a:pt x="544" y="639"/>
                    <a:pt x="544" y="367"/>
                    <a:pt x="544" y="95"/>
                  </a:cubicBezTo>
                  <a:cubicBezTo>
                    <a:pt x="381" y="95"/>
                    <a:pt x="217" y="95"/>
                    <a:pt x="54" y="95"/>
                  </a:cubicBezTo>
                  <a:close/>
                  <a:moveTo>
                    <a:pt x="112" y="1053"/>
                  </a:moveTo>
                  <a:cubicBezTo>
                    <a:pt x="126" y="1068"/>
                    <a:pt x="126" y="1068"/>
                    <a:pt x="126" y="1068"/>
                  </a:cubicBezTo>
                  <a:cubicBezTo>
                    <a:pt x="119" y="1068"/>
                    <a:pt x="119" y="1068"/>
                    <a:pt x="119" y="1068"/>
                  </a:cubicBezTo>
                  <a:cubicBezTo>
                    <a:pt x="103" y="1050"/>
                    <a:pt x="103" y="1050"/>
                    <a:pt x="103" y="1050"/>
                  </a:cubicBezTo>
                  <a:cubicBezTo>
                    <a:pt x="119" y="1034"/>
                    <a:pt x="119" y="1034"/>
                    <a:pt x="119" y="1034"/>
                  </a:cubicBezTo>
                  <a:cubicBezTo>
                    <a:pt x="126" y="1034"/>
                    <a:pt x="126" y="1034"/>
                    <a:pt x="126" y="1034"/>
                  </a:cubicBezTo>
                  <a:cubicBezTo>
                    <a:pt x="112" y="1048"/>
                    <a:pt x="112" y="1048"/>
                    <a:pt x="112" y="1048"/>
                  </a:cubicBezTo>
                  <a:cubicBezTo>
                    <a:pt x="137" y="1048"/>
                    <a:pt x="137" y="1048"/>
                    <a:pt x="137" y="1048"/>
                  </a:cubicBezTo>
                  <a:cubicBezTo>
                    <a:pt x="137" y="1053"/>
                    <a:pt x="137" y="1053"/>
                    <a:pt x="137" y="1053"/>
                  </a:cubicBezTo>
                  <a:lnTo>
                    <a:pt x="112" y="1053"/>
                  </a:lnTo>
                  <a:close/>
                  <a:moveTo>
                    <a:pt x="288" y="1050"/>
                  </a:moveTo>
                  <a:cubicBezTo>
                    <a:pt x="291" y="1050"/>
                    <a:pt x="294" y="1052"/>
                    <a:pt x="296" y="1053"/>
                  </a:cubicBezTo>
                  <a:cubicBezTo>
                    <a:pt x="296" y="1053"/>
                    <a:pt x="296" y="1053"/>
                    <a:pt x="296" y="1053"/>
                  </a:cubicBezTo>
                  <a:cubicBezTo>
                    <a:pt x="296" y="1053"/>
                    <a:pt x="296" y="1053"/>
                    <a:pt x="296" y="1053"/>
                  </a:cubicBezTo>
                  <a:cubicBezTo>
                    <a:pt x="296" y="1053"/>
                    <a:pt x="296" y="1053"/>
                    <a:pt x="296" y="1053"/>
                  </a:cubicBezTo>
                  <a:cubicBezTo>
                    <a:pt x="296" y="1053"/>
                    <a:pt x="296" y="1053"/>
                    <a:pt x="296" y="1053"/>
                  </a:cubicBezTo>
                  <a:cubicBezTo>
                    <a:pt x="296" y="1054"/>
                    <a:pt x="296" y="1054"/>
                    <a:pt x="296" y="1054"/>
                  </a:cubicBezTo>
                  <a:cubicBezTo>
                    <a:pt x="296" y="1054"/>
                    <a:pt x="291" y="1071"/>
                    <a:pt x="291" y="1072"/>
                  </a:cubicBezTo>
                  <a:cubicBezTo>
                    <a:pt x="291" y="1071"/>
                    <a:pt x="291" y="1071"/>
                    <a:pt x="291" y="1071"/>
                  </a:cubicBezTo>
                  <a:cubicBezTo>
                    <a:pt x="291" y="1072"/>
                    <a:pt x="291" y="1072"/>
                    <a:pt x="291"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89" y="1071"/>
                    <a:pt x="288" y="1071"/>
                    <a:pt x="286" y="1070"/>
                  </a:cubicBezTo>
                  <a:cubicBezTo>
                    <a:pt x="285" y="1069"/>
                    <a:pt x="285" y="1069"/>
                    <a:pt x="284" y="1069"/>
                  </a:cubicBezTo>
                  <a:cubicBezTo>
                    <a:pt x="283" y="1069"/>
                    <a:pt x="281" y="1069"/>
                    <a:pt x="280" y="1069"/>
                  </a:cubicBezTo>
                  <a:cubicBezTo>
                    <a:pt x="279" y="1069"/>
                    <a:pt x="278" y="1069"/>
                    <a:pt x="276" y="1069"/>
                  </a:cubicBezTo>
                  <a:cubicBezTo>
                    <a:pt x="274" y="1069"/>
                    <a:pt x="273" y="1070"/>
                    <a:pt x="271" y="1071"/>
                  </a:cubicBezTo>
                  <a:cubicBezTo>
                    <a:pt x="271" y="1071"/>
                    <a:pt x="271" y="1071"/>
                    <a:pt x="271" y="1071"/>
                  </a:cubicBezTo>
                  <a:cubicBezTo>
                    <a:pt x="271" y="1071"/>
                    <a:pt x="271" y="1071"/>
                    <a:pt x="271" y="1071"/>
                  </a:cubicBezTo>
                  <a:cubicBezTo>
                    <a:pt x="271" y="1071"/>
                    <a:pt x="271" y="1071"/>
                    <a:pt x="271" y="1071"/>
                  </a:cubicBezTo>
                  <a:cubicBezTo>
                    <a:pt x="270" y="1070"/>
                    <a:pt x="270" y="1070"/>
                    <a:pt x="270" y="1070"/>
                  </a:cubicBezTo>
                  <a:cubicBezTo>
                    <a:pt x="270" y="1070"/>
                    <a:pt x="270" y="1070"/>
                    <a:pt x="270" y="1070"/>
                  </a:cubicBezTo>
                  <a:cubicBezTo>
                    <a:pt x="275" y="1052"/>
                    <a:pt x="275" y="1052"/>
                    <a:pt x="275" y="1052"/>
                  </a:cubicBezTo>
                  <a:cubicBezTo>
                    <a:pt x="275" y="1052"/>
                    <a:pt x="275" y="1052"/>
                    <a:pt x="275" y="1052"/>
                  </a:cubicBezTo>
                  <a:cubicBezTo>
                    <a:pt x="275" y="1052"/>
                    <a:pt x="275" y="1052"/>
                    <a:pt x="275" y="1052"/>
                  </a:cubicBezTo>
                  <a:cubicBezTo>
                    <a:pt x="277" y="1051"/>
                    <a:pt x="278" y="1051"/>
                    <a:pt x="279" y="1051"/>
                  </a:cubicBezTo>
                  <a:cubicBezTo>
                    <a:pt x="280" y="1050"/>
                    <a:pt x="281" y="1050"/>
                    <a:pt x="282" y="1050"/>
                  </a:cubicBezTo>
                  <a:cubicBezTo>
                    <a:pt x="283" y="1050"/>
                    <a:pt x="284" y="1050"/>
                    <a:pt x="285" y="1050"/>
                  </a:cubicBezTo>
                  <a:cubicBezTo>
                    <a:pt x="286" y="1050"/>
                    <a:pt x="287" y="1050"/>
                    <a:pt x="288" y="1050"/>
                  </a:cubicBezTo>
                  <a:close/>
                  <a:moveTo>
                    <a:pt x="298" y="1055"/>
                  </a:moveTo>
                  <a:cubicBezTo>
                    <a:pt x="298" y="1055"/>
                    <a:pt x="298" y="1055"/>
                    <a:pt x="298" y="1055"/>
                  </a:cubicBezTo>
                  <a:cubicBezTo>
                    <a:pt x="298" y="1055"/>
                    <a:pt x="298" y="1055"/>
                    <a:pt x="298" y="1055"/>
                  </a:cubicBezTo>
                  <a:cubicBezTo>
                    <a:pt x="300" y="1056"/>
                    <a:pt x="301" y="1056"/>
                    <a:pt x="302" y="1057"/>
                  </a:cubicBezTo>
                  <a:cubicBezTo>
                    <a:pt x="303" y="1058"/>
                    <a:pt x="305" y="1058"/>
                    <a:pt x="306" y="1058"/>
                  </a:cubicBezTo>
                  <a:cubicBezTo>
                    <a:pt x="308" y="1058"/>
                    <a:pt x="310" y="1058"/>
                    <a:pt x="312" y="1058"/>
                  </a:cubicBezTo>
                  <a:cubicBezTo>
                    <a:pt x="313" y="1058"/>
                    <a:pt x="314" y="1058"/>
                    <a:pt x="315" y="1058"/>
                  </a:cubicBezTo>
                  <a:cubicBezTo>
                    <a:pt x="316" y="1057"/>
                    <a:pt x="317" y="1057"/>
                    <a:pt x="319" y="1056"/>
                  </a:cubicBezTo>
                  <a:cubicBezTo>
                    <a:pt x="319" y="1056"/>
                    <a:pt x="319" y="1057"/>
                    <a:pt x="319" y="1057"/>
                  </a:cubicBezTo>
                  <a:cubicBezTo>
                    <a:pt x="319" y="1057"/>
                    <a:pt x="319" y="1057"/>
                    <a:pt x="319" y="1057"/>
                  </a:cubicBezTo>
                  <a:cubicBezTo>
                    <a:pt x="319" y="1057"/>
                    <a:pt x="319" y="1057"/>
                    <a:pt x="319" y="1057"/>
                  </a:cubicBezTo>
                  <a:cubicBezTo>
                    <a:pt x="319" y="1057"/>
                    <a:pt x="319" y="1057"/>
                    <a:pt x="319" y="1057"/>
                  </a:cubicBezTo>
                  <a:cubicBezTo>
                    <a:pt x="319" y="1057"/>
                    <a:pt x="320" y="1057"/>
                    <a:pt x="320" y="1057"/>
                  </a:cubicBezTo>
                  <a:cubicBezTo>
                    <a:pt x="320" y="1057"/>
                    <a:pt x="320" y="1057"/>
                    <a:pt x="320" y="1057"/>
                  </a:cubicBezTo>
                  <a:cubicBezTo>
                    <a:pt x="320" y="1057"/>
                    <a:pt x="320" y="1057"/>
                    <a:pt x="320" y="1057"/>
                  </a:cubicBezTo>
                  <a:cubicBezTo>
                    <a:pt x="320" y="1057"/>
                    <a:pt x="320" y="1057"/>
                    <a:pt x="320" y="1057"/>
                  </a:cubicBezTo>
                  <a:cubicBezTo>
                    <a:pt x="320" y="1057"/>
                    <a:pt x="315" y="1075"/>
                    <a:pt x="315" y="1075"/>
                  </a:cubicBezTo>
                  <a:cubicBezTo>
                    <a:pt x="314" y="1075"/>
                    <a:pt x="314" y="1075"/>
                    <a:pt x="314" y="1075"/>
                  </a:cubicBezTo>
                  <a:cubicBezTo>
                    <a:pt x="314" y="1075"/>
                    <a:pt x="314" y="1075"/>
                    <a:pt x="314" y="1075"/>
                  </a:cubicBezTo>
                  <a:cubicBezTo>
                    <a:pt x="313" y="1076"/>
                    <a:pt x="312" y="1076"/>
                    <a:pt x="311" y="1076"/>
                  </a:cubicBezTo>
                  <a:cubicBezTo>
                    <a:pt x="309" y="1077"/>
                    <a:pt x="308" y="1077"/>
                    <a:pt x="307" y="1077"/>
                  </a:cubicBezTo>
                  <a:cubicBezTo>
                    <a:pt x="306" y="1077"/>
                    <a:pt x="305" y="1077"/>
                    <a:pt x="304" y="1077"/>
                  </a:cubicBezTo>
                  <a:cubicBezTo>
                    <a:pt x="303" y="1077"/>
                    <a:pt x="302" y="1077"/>
                    <a:pt x="301" y="1077"/>
                  </a:cubicBezTo>
                  <a:cubicBezTo>
                    <a:pt x="300" y="1077"/>
                    <a:pt x="300" y="1077"/>
                    <a:pt x="299" y="1077"/>
                  </a:cubicBezTo>
                  <a:cubicBezTo>
                    <a:pt x="298" y="1076"/>
                    <a:pt x="297" y="1076"/>
                    <a:pt x="297" y="1076"/>
                  </a:cubicBezTo>
                  <a:cubicBezTo>
                    <a:pt x="295" y="1075"/>
                    <a:pt x="294" y="1075"/>
                    <a:pt x="293" y="1074"/>
                  </a:cubicBezTo>
                  <a:cubicBezTo>
                    <a:pt x="293" y="1074"/>
                    <a:pt x="292" y="1073"/>
                    <a:pt x="292" y="1073"/>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lose/>
                  <a:moveTo>
                    <a:pt x="305" y="1034"/>
                  </a:moveTo>
                  <a:cubicBezTo>
                    <a:pt x="306" y="1034"/>
                    <a:pt x="307" y="1035"/>
                    <a:pt x="308" y="1036"/>
                  </a:cubicBezTo>
                  <a:cubicBezTo>
                    <a:pt x="310" y="1036"/>
                    <a:pt x="311" y="1037"/>
                    <a:pt x="313" y="1037"/>
                  </a:cubicBezTo>
                  <a:cubicBezTo>
                    <a:pt x="313" y="1037"/>
                    <a:pt x="314" y="1037"/>
                    <a:pt x="315" y="1037"/>
                  </a:cubicBezTo>
                  <a:cubicBezTo>
                    <a:pt x="316" y="1037"/>
                    <a:pt x="317" y="1037"/>
                    <a:pt x="318" y="1037"/>
                  </a:cubicBezTo>
                  <a:cubicBezTo>
                    <a:pt x="319" y="1037"/>
                    <a:pt x="320" y="1036"/>
                    <a:pt x="321" y="1036"/>
                  </a:cubicBezTo>
                  <a:cubicBezTo>
                    <a:pt x="322" y="1036"/>
                    <a:pt x="324" y="1035"/>
                    <a:pt x="325" y="1035"/>
                  </a:cubicBezTo>
                  <a:cubicBezTo>
                    <a:pt x="325" y="1035"/>
                    <a:pt x="325" y="1035"/>
                    <a:pt x="325" y="1035"/>
                  </a:cubicBezTo>
                  <a:cubicBezTo>
                    <a:pt x="325" y="1035"/>
                    <a:pt x="325" y="1035"/>
                    <a:pt x="325" y="1035"/>
                  </a:cubicBezTo>
                  <a:cubicBezTo>
                    <a:pt x="325" y="1035"/>
                    <a:pt x="325" y="1035"/>
                    <a:pt x="325" y="1035"/>
                  </a:cubicBezTo>
                  <a:cubicBezTo>
                    <a:pt x="325" y="1035"/>
                    <a:pt x="326" y="1035"/>
                    <a:pt x="326" y="1035"/>
                  </a:cubicBezTo>
                  <a:cubicBezTo>
                    <a:pt x="326" y="1035"/>
                    <a:pt x="326" y="1035"/>
                    <a:pt x="326" y="1035"/>
                  </a:cubicBezTo>
                  <a:cubicBezTo>
                    <a:pt x="326" y="1035"/>
                    <a:pt x="326" y="1035"/>
                    <a:pt x="326" y="1035"/>
                  </a:cubicBezTo>
                  <a:cubicBezTo>
                    <a:pt x="326" y="1035"/>
                    <a:pt x="321" y="1054"/>
                    <a:pt x="321" y="1054"/>
                  </a:cubicBezTo>
                  <a:cubicBezTo>
                    <a:pt x="321" y="1054"/>
                    <a:pt x="320" y="1054"/>
                    <a:pt x="320" y="1054"/>
                  </a:cubicBezTo>
                  <a:cubicBezTo>
                    <a:pt x="320" y="1054"/>
                    <a:pt x="320" y="1054"/>
                    <a:pt x="320" y="1054"/>
                  </a:cubicBezTo>
                  <a:cubicBezTo>
                    <a:pt x="318" y="1055"/>
                    <a:pt x="316" y="1055"/>
                    <a:pt x="314" y="1056"/>
                  </a:cubicBezTo>
                  <a:cubicBezTo>
                    <a:pt x="313" y="1056"/>
                    <a:pt x="311" y="1056"/>
                    <a:pt x="310" y="1056"/>
                  </a:cubicBezTo>
                  <a:cubicBezTo>
                    <a:pt x="308" y="1056"/>
                    <a:pt x="307" y="1056"/>
                    <a:pt x="306" y="1056"/>
                  </a:cubicBezTo>
                  <a:cubicBezTo>
                    <a:pt x="304" y="1055"/>
                    <a:pt x="302" y="1054"/>
                    <a:pt x="300" y="1053"/>
                  </a:cubicBezTo>
                  <a:cubicBezTo>
                    <a:pt x="300" y="1053"/>
                    <a:pt x="299" y="1053"/>
                    <a:pt x="299" y="1052"/>
                  </a:cubicBezTo>
                  <a:cubicBezTo>
                    <a:pt x="299" y="1052"/>
                    <a:pt x="299" y="1052"/>
                    <a:pt x="299" y="1052"/>
                  </a:cubicBezTo>
                  <a:cubicBezTo>
                    <a:pt x="299" y="1052"/>
                    <a:pt x="299" y="1052"/>
                    <a:pt x="299" y="1052"/>
                  </a:cubicBezTo>
                  <a:cubicBezTo>
                    <a:pt x="299" y="1052"/>
                    <a:pt x="299" y="1052"/>
                    <a:pt x="299" y="1052"/>
                  </a:cubicBezTo>
                  <a:cubicBezTo>
                    <a:pt x="299" y="1052"/>
                    <a:pt x="299" y="1052"/>
                    <a:pt x="299" y="1052"/>
                  </a:cubicBezTo>
                  <a:cubicBezTo>
                    <a:pt x="299" y="1052"/>
                    <a:pt x="304" y="1034"/>
                    <a:pt x="304" y="1034"/>
                  </a:cubicBezTo>
                  <a:cubicBezTo>
                    <a:pt x="304" y="1034"/>
                    <a:pt x="304" y="1034"/>
                    <a:pt x="304" y="1034"/>
                  </a:cubicBezTo>
                  <a:cubicBezTo>
                    <a:pt x="304" y="1034"/>
                    <a:pt x="304" y="1034"/>
                    <a:pt x="304" y="1034"/>
                  </a:cubicBezTo>
                  <a:cubicBezTo>
                    <a:pt x="304" y="1034"/>
                    <a:pt x="304" y="1034"/>
                    <a:pt x="304" y="1034"/>
                  </a:cubicBezTo>
                  <a:cubicBezTo>
                    <a:pt x="304" y="1034"/>
                    <a:pt x="304" y="1034"/>
                    <a:pt x="304" y="1034"/>
                  </a:cubicBezTo>
                  <a:cubicBezTo>
                    <a:pt x="304" y="1034"/>
                    <a:pt x="304" y="1034"/>
                    <a:pt x="304" y="1034"/>
                  </a:cubicBezTo>
                  <a:cubicBezTo>
                    <a:pt x="304" y="1033"/>
                    <a:pt x="304" y="1033"/>
                    <a:pt x="305" y="1034"/>
                  </a:cubicBezTo>
                  <a:close/>
                  <a:moveTo>
                    <a:pt x="292" y="1028"/>
                  </a:moveTo>
                  <a:cubicBezTo>
                    <a:pt x="295" y="1028"/>
                    <a:pt x="297" y="1029"/>
                    <a:pt x="299" y="1030"/>
                  </a:cubicBezTo>
                  <a:cubicBezTo>
                    <a:pt x="299" y="1030"/>
                    <a:pt x="299" y="1030"/>
                    <a:pt x="299" y="1030"/>
                  </a:cubicBezTo>
                  <a:cubicBezTo>
                    <a:pt x="300" y="1030"/>
                    <a:pt x="301" y="1031"/>
                    <a:pt x="302" y="1032"/>
                  </a:cubicBezTo>
                  <a:cubicBezTo>
                    <a:pt x="302" y="1032"/>
                    <a:pt x="302" y="1032"/>
                    <a:pt x="302" y="1032"/>
                  </a:cubicBezTo>
                  <a:cubicBezTo>
                    <a:pt x="302" y="1032"/>
                    <a:pt x="302" y="1032"/>
                    <a:pt x="302" y="1032"/>
                  </a:cubicBezTo>
                  <a:cubicBezTo>
                    <a:pt x="302" y="1032"/>
                    <a:pt x="302" y="1032"/>
                    <a:pt x="302" y="1032"/>
                  </a:cubicBezTo>
                  <a:cubicBezTo>
                    <a:pt x="302" y="1032"/>
                    <a:pt x="302" y="1032"/>
                    <a:pt x="302" y="1032"/>
                  </a:cubicBezTo>
                  <a:cubicBezTo>
                    <a:pt x="302" y="1032"/>
                    <a:pt x="302" y="1032"/>
                    <a:pt x="302" y="1032"/>
                  </a:cubicBezTo>
                  <a:cubicBezTo>
                    <a:pt x="302" y="1033"/>
                    <a:pt x="302" y="1033"/>
                    <a:pt x="302" y="1033"/>
                  </a:cubicBezTo>
                  <a:cubicBezTo>
                    <a:pt x="300" y="1039"/>
                    <a:pt x="300" y="1039"/>
                    <a:pt x="300" y="1039"/>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5" y="1049"/>
                    <a:pt x="294" y="1049"/>
                    <a:pt x="292" y="1048"/>
                  </a:cubicBezTo>
                  <a:cubicBezTo>
                    <a:pt x="291" y="1048"/>
                    <a:pt x="290" y="1047"/>
                    <a:pt x="288" y="1047"/>
                  </a:cubicBezTo>
                  <a:cubicBezTo>
                    <a:pt x="285" y="1047"/>
                    <a:pt x="281" y="1047"/>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6" y="1049"/>
                    <a:pt x="276" y="1049"/>
                    <a:pt x="276" y="1049"/>
                  </a:cubicBezTo>
                  <a:cubicBezTo>
                    <a:pt x="276" y="1049"/>
                    <a:pt x="276" y="1049"/>
                    <a:pt x="276" y="1049"/>
                  </a:cubicBezTo>
                  <a:cubicBezTo>
                    <a:pt x="276" y="1049"/>
                    <a:pt x="276" y="1049"/>
                    <a:pt x="276" y="1049"/>
                  </a:cubicBezTo>
                  <a:cubicBezTo>
                    <a:pt x="276" y="1049"/>
                    <a:pt x="276" y="1049"/>
                    <a:pt x="276" y="1049"/>
                  </a:cubicBezTo>
                  <a:cubicBezTo>
                    <a:pt x="276" y="1049"/>
                    <a:pt x="276" y="1049"/>
                    <a:pt x="276" y="1049"/>
                  </a:cubicBezTo>
                  <a:cubicBezTo>
                    <a:pt x="276" y="1049"/>
                    <a:pt x="276" y="1049"/>
                    <a:pt x="276" y="1049"/>
                  </a:cubicBezTo>
                  <a:cubicBezTo>
                    <a:pt x="281" y="1032"/>
                    <a:pt x="281" y="1032"/>
                    <a:pt x="281" y="1032"/>
                  </a:cubicBezTo>
                  <a:cubicBezTo>
                    <a:pt x="281" y="1031"/>
                    <a:pt x="281" y="1031"/>
                    <a:pt x="281" y="1031"/>
                  </a:cubicBezTo>
                  <a:cubicBezTo>
                    <a:pt x="281" y="1030"/>
                    <a:pt x="282" y="1030"/>
                    <a:pt x="282" y="1030"/>
                  </a:cubicBezTo>
                  <a:cubicBezTo>
                    <a:pt x="282" y="1030"/>
                    <a:pt x="282" y="1030"/>
                    <a:pt x="282" y="1030"/>
                  </a:cubicBezTo>
                  <a:cubicBezTo>
                    <a:pt x="284" y="1030"/>
                    <a:pt x="286" y="1029"/>
                    <a:pt x="287" y="1029"/>
                  </a:cubicBezTo>
                  <a:cubicBezTo>
                    <a:pt x="289" y="1028"/>
                    <a:pt x="291" y="1028"/>
                    <a:pt x="292" y="1028"/>
                  </a:cubicBezTo>
                  <a:close/>
                  <a:moveTo>
                    <a:pt x="478" y="1033"/>
                  </a:moveTo>
                  <a:cubicBezTo>
                    <a:pt x="469" y="1033"/>
                    <a:pt x="462" y="1040"/>
                    <a:pt x="462" y="1048"/>
                  </a:cubicBezTo>
                  <a:cubicBezTo>
                    <a:pt x="462" y="1052"/>
                    <a:pt x="464" y="1056"/>
                    <a:pt x="467" y="1059"/>
                  </a:cubicBezTo>
                  <a:cubicBezTo>
                    <a:pt x="460" y="1068"/>
                    <a:pt x="460" y="1068"/>
                    <a:pt x="460" y="1068"/>
                  </a:cubicBezTo>
                  <a:cubicBezTo>
                    <a:pt x="463" y="1070"/>
                    <a:pt x="463" y="1070"/>
                    <a:pt x="463" y="1070"/>
                  </a:cubicBezTo>
                  <a:cubicBezTo>
                    <a:pt x="470" y="1061"/>
                    <a:pt x="470" y="1061"/>
                    <a:pt x="470" y="1061"/>
                  </a:cubicBezTo>
                  <a:cubicBezTo>
                    <a:pt x="472" y="1063"/>
                    <a:pt x="475" y="1064"/>
                    <a:pt x="478" y="1064"/>
                  </a:cubicBezTo>
                  <a:cubicBezTo>
                    <a:pt x="486" y="1064"/>
                    <a:pt x="493" y="1057"/>
                    <a:pt x="493" y="1048"/>
                  </a:cubicBezTo>
                  <a:cubicBezTo>
                    <a:pt x="493" y="1040"/>
                    <a:pt x="486" y="1033"/>
                    <a:pt x="478" y="1033"/>
                  </a:cubicBezTo>
                  <a:close/>
                  <a:moveTo>
                    <a:pt x="478" y="1060"/>
                  </a:moveTo>
                  <a:cubicBezTo>
                    <a:pt x="471" y="1060"/>
                    <a:pt x="466" y="1055"/>
                    <a:pt x="466" y="1048"/>
                  </a:cubicBezTo>
                  <a:cubicBezTo>
                    <a:pt x="466" y="1042"/>
                    <a:pt x="471" y="1037"/>
                    <a:pt x="478" y="1037"/>
                  </a:cubicBezTo>
                  <a:cubicBezTo>
                    <a:pt x="484" y="1037"/>
                    <a:pt x="489" y="1042"/>
                    <a:pt x="489" y="1048"/>
                  </a:cubicBezTo>
                  <a:cubicBezTo>
                    <a:pt x="489" y="1055"/>
                    <a:pt x="484" y="1060"/>
                    <a:pt x="478" y="1060"/>
                  </a:cubicBezTo>
                  <a:close/>
                  <a:moveTo>
                    <a:pt x="602" y="1116"/>
                  </a:moveTo>
                  <a:cubicBezTo>
                    <a:pt x="602" y="1139"/>
                    <a:pt x="584" y="1156"/>
                    <a:pt x="562" y="1156"/>
                  </a:cubicBezTo>
                  <a:cubicBezTo>
                    <a:pt x="40" y="1156"/>
                    <a:pt x="40" y="1156"/>
                    <a:pt x="40" y="1156"/>
                  </a:cubicBezTo>
                  <a:cubicBezTo>
                    <a:pt x="18" y="1156"/>
                    <a:pt x="0" y="1139"/>
                    <a:pt x="0" y="1116"/>
                  </a:cubicBezTo>
                  <a:cubicBezTo>
                    <a:pt x="0" y="40"/>
                    <a:pt x="0" y="40"/>
                    <a:pt x="0" y="40"/>
                  </a:cubicBezTo>
                  <a:cubicBezTo>
                    <a:pt x="0" y="18"/>
                    <a:pt x="18" y="0"/>
                    <a:pt x="40" y="0"/>
                  </a:cubicBezTo>
                  <a:cubicBezTo>
                    <a:pt x="562" y="0"/>
                    <a:pt x="562" y="0"/>
                    <a:pt x="562" y="0"/>
                  </a:cubicBezTo>
                  <a:cubicBezTo>
                    <a:pt x="584" y="0"/>
                    <a:pt x="602" y="18"/>
                    <a:pt x="602" y="40"/>
                  </a:cubicBezTo>
                  <a:lnTo>
                    <a:pt x="602" y="1116"/>
                  </a:lnTo>
                  <a:close/>
                  <a:moveTo>
                    <a:pt x="273" y="379"/>
                  </a:moveTo>
                  <a:cubicBezTo>
                    <a:pt x="95" y="379"/>
                    <a:pt x="95" y="379"/>
                    <a:pt x="95" y="379"/>
                  </a:cubicBezTo>
                  <a:cubicBezTo>
                    <a:pt x="95" y="202"/>
                    <a:pt x="95" y="202"/>
                    <a:pt x="95" y="202"/>
                  </a:cubicBezTo>
                  <a:cubicBezTo>
                    <a:pt x="273" y="202"/>
                    <a:pt x="273" y="202"/>
                    <a:pt x="273" y="202"/>
                  </a:cubicBezTo>
                  <a:lnTo>
                    <a:pt x="273" y="379"/>
                  </a:lnTo>
                  <a:close/>
                  <a:moveTo>
                    <a:pt x="95" y="769"/>
                  </a:moveTo>
                  <a:cubicBezTo>
                    <a:pt x="273" y="769"/>
                    <a:pt x="273" y="769"/>
                    <a:pt x="273" y="769"/>
                  </a:cubicBezTo>
                  <a:cubicBezTo>
                    <a:pt x="273" y="911"/>
                    <a:pt x="273" y="911"/>
                    <a:pt x="273" y="911"/>
                  </a:cubicBezTo>
                  <a:cubicBezTo>
                    <a:pt x="95" y="911"/>
                    <a:pt x="95" y="911"/>
                    <a:pt x="95" y="911"/>
                  </a:cubicBezTo>
                  <a:lnTo>
                    <a:pt x="95" y="769"/>
                  </a:lnTo>
                  <a:close/>
                  <a:moveTo>
                    <a:pt x="95" y="581"/>
                  </a:moveTo>
                  <a:cubicBezTo>
                    <a:pt x="462" y="581"/>
                    <a:pt x="462" y="581"/>
                    <a:pt x="462" y="581"/>
                  </a:cubicBezTo>
                  <a:cubicBezTo>
                    <a:pt x="462" y="758"/>
                    <a:pt x="462" y="758"/>
                    <a:pt x="462" y="758"/>
                  </a:cubicBezTo>
                  <a:cubicBezTo>
                    <a:pt x="95" y="758"/>
                    <a:pt x="95" y="758"/>
                    <a:pt x="95" y="758"/>
                  </a:cubicBezTo>
                  <a:lnTo>
                    <a:pt x="95" y="581"/>
                  </a:lnTo>
                  <a:close/>
                  <a:moveTo>
                    <a:pt x="284" y="391"/>
                  </a:moveTo>
                  <a:cubicBezTo>
                    <a:pt x="462" y="391"/>
                    <a:pt x="462" y="391"/>
                    <a:pt x="462" y="391"/>
                  </a:cubicBezTo>
                  <a:cubicBezTo>
                    <a:pt x="462" y="568"/>
                    <a:pt x="462" y="568"/>
                    <a:pt x="462" y="568"/>
                  </a:cubicBezTo>
                  <a:cubicBezTo>
                    <a:pt x="284" y="568"/>
                    <a:pt x="284" y="568"/>
                    <a:pt x="284" y="568"/>
                  </a:cubicBezTo>
                  <a:lnTo>
                    <a:pt x="284" y="391"/>
                  </a:lnTo>
                  <a:close/>
                  <a:moveTo>
                    <a:pt x="273" y="568"/>
                  </a:moveTo>
                  <a:cubicBezTo>
                    <a:pt x="95" y="568"/>
                    <a:pt x="95" y="568"/>
                    <a:pt x="95" y="568"/>
                  </a:cubicBezTo>
                  <a:cubicBezTo>
                    <a:pt x="95" y="391"/>
                    <a:pt x="95" y="391"/>
                    <a:pt x="95" y="391"/>
                  </a:cubicBezTo>
                  <a:cubicBezTo>
                    <a:pt x="273" y="391"/>
                    <a:pt x="273" y="391"/>
                    <a:pt x="273" y="391"/>
                  </a:cubicBezTo>
                  <a:lnTo>
                    <a:pt x="273" y="568"/>
                  </a:lnTo>
                  <a:close/>
                  <a:moveTo>
                    <a:pt x="284" y="769"/>
                  </a:moveTo>
                  <a:cubicBezTo>
                    <a:pt x="462" y="769"/>
                    <a:pt x="462" y="769"/>
                    <a:pt x="462" y="769"/>
                  </a:cubicBezTo>
                  <a:cubicBezTo>
                    <a:pt x="462" y="911"/>
                    <a:pt x="462" y="911"/>
                    <a:pt x="462" y="911"/>
                  </a:cubicBezTo>
                  <a:cubicBezTo>
                    <a:pt x="284" y="911"/>
                    <a:pt x="284" y="911"/>
                    <a:pt x="284" y="911"/>
                  </a:cubicBezTo>
                  <a:lnTo>
                    <a:pt x="284" y="769"/>
                  </a:lnTo>
                  <a:close/>
                  <a:moveTo>
                    <a:pt x="462" y="202"/>
                  </a:moveTo>
                  <a:cubicBezTo>
                    <a:pt x="462" y="379"/>
                    <a:pt x="462" y="379"/>
                    <a:pt x="462" y="379"/>
                  </a:cubicBezTo>
                  <a:cubicBezTo>
                    <a:pt x="284" y="379"/>
                    <a:pt x="284" y="379"/>
                    <a:pt x="284" y="379"/>
                  </a:cubicBezTo>
                  <a:cubicBezTo>
                    <a:pt x="284" y="202"/>
                    <a:pt x="284" y="202"/>
                    <a:pt x="284" y="202"/>
                  </a:cubicBezTo>
                  <a:lnTo>
                    <a:pt x="462" y="202"/>
                  </a:lnTo>
                  <a:close/>
                </a:path>
              </a:pathLst>
            </a:custGeom>
            <a:solidFill>
              <a:schemeClr val="accent1"/>
            </a:solidFill>
            <a:ln>
              <a:noFill/>
            </a:ln>
          </p:spPr>
          <p:txBody>
            <a:bodyPr vert="horz" wrap="square" lIns="67226" tIns="33613" rIns="67226" bIns="336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788">
                <a:solidFill>
                  <a:srgbClr val="505050"/>
                </a:solidFill>
              </a:endParaRPr>
            </a:p>
          </p:txBody>
        </p:sp>
        <p:sp>
          <p:nvSpPr>
            <p:cNvPr id="347" name="TextBox 256"/>
            <p:cNvSpPr txBox="1"/>
            <p:nvPr/>
          </p:nvSpPr>
          <p:spPr>
            <a:xfrm>
              <a:off x="10219510" y="6110838"/>
              <a:ext cx="1518439" cy="203196"/>
            </a:xfrm>
            <a:prstGeom prst="rect">
              <a:avLst/>
            </a:prstGeom>
            <a:noFill/>
          </p:spPr>
          <p:txBody>
            <a:bodyPr wrap="non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675" dirty="0">
                  <a:solidFill>
                    <a:srgbClr val="505050"/>
                  </a:solidFill>
                </a:rPr>
                <a:t>Devices to take action</a:t>
              </a:r>
            </a:p>
          </p:txBody>
        </p:sp>
        <p:sp>
          <p:nvSpPr>
            <p:cNvPr id="348" name="Oval 347"/>
            <p:cNvSpPr/>
            <p:nvPr/>
          </p:nvSpPr>
          <p:spPr bwMode="auto">
            <a:xfrm>
              <a:off x="4417559" y="2520289"/>
              <a:ext cx="1463473" cy="1507080"/>
            </a:xfrm>
            <a:prstGeom prst="ellips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0" tIns="33613" rIns="0" bIns="0"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675" dirty="0">
                  <a:gradFill>
                    <a:gsLst>
                      <a:gs pos="0">
                        <a:srgbClr val="FFFFFF"/>
                      </a:gs>
                      <a:gs pos="100000">
                        <a:srgbClr val="FFFFFF"/>
                      </a:gs>
                    </a:gsLst>
                    <a:lin ang="5400000" scaled="1"/>
                  </a:gradFill>
                  <a:ea typeface="Segoe UI" pitchFamily="34" charset="0"/>
                  <a:cs typeface="Segoe UI" pitchFamily="34" charset="0"/>
                </a:rPr>
                <a:t>Kafka /</a:t>
              </a:r>
              <a:endParaRPr lang="en-US" sz="675" i="1" dirty="0">
                <a:solidFill>
                  <a:srgbClr val="FFFFFF"/>
                </a:solidFill>
              </a:endParaRPr>
            </a:p>
            <a:p>
              <a:pPr algn="ctr"/>
              <a:r>
                <a:rPr lang="en-US" sz="675" i="1" dirty="0" err="1">
                  <a:solidFill>
                    <a:srgbClr val="FFFFFF"/>
                  </a:solidFill>
                </a:rPr>
                <a:t>RabbitMQ</a:t>
              </a:r>
              <a:r>
                <a:rPr lang="en-US" sz="675" i="1" dirty="0">
                  <a:solidFill>
                    <a:srgbClr val="FFFFFF"/>
                  </a:solidFill>
                </a:rPr>
                <a:t> /</a:t>
              </a:r>
            </a:p>
            <a:p>
              <a:pPr algn="ctr"/>
              <a:r>
                <a:rPr lang="en-US" sz="675" i="1" dirty="0" err="1">
                  <a:solidFill>
                    <a:srgbClr val="FFFFFF"/>
                  </a:solidFill>
                </a:rPr>
                <a:t>ActiveMQ</a:t>
              </a:r>
              <a:endParaRPr lang="en-US" sz="675" dirty="0">
                <a:gradFill>
                  <a:gsLst>
                    <a:gs pos="0">
                      <a:srgbClr val="FFFFFF"/>
                    </a:gs>
                    <a:gs pos="100000">
                      <a:srgbClr val="FFFFFF"/>
                    </a:gs>
                  </a:gsLst>
                  <a:lin ang="5400000" scaled="1"/>
                </a:gradFill>
                <a:ea typeface="Segoe UI" pitchFamily="34" charset="0"/>
                <a:cs typeface="Segoe UI" pitchFamily="34" charset="0"/>
              </a:endParaRPr>
            </a:p>
          </p:txBody>
        </p:sp>
        <p:sp>
          <p:nvSpPr>
            <p:cNvPr id="349" name="TextBox 258"/>
            <p:cNvSpPr txBox="1"/>
            <p:nvPr/>
          </p:nvSpPr>
          <p:spPr>
            <a:xfrm>
              <a:off x="344738" y="6232828"/>
              <a:ext cx="1640541" cy="182875"/>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90000"/>
                </a:lnSpc>
              </a:pPr>
              <a:r>
                <a:rPr lang="en-US" sz="675" dirty="0">
                  <a:gradFill>
                    <a:gsLst>
                      <a:gs pos="2917">
                        <a:srgbClr val="002050"/>
                      </a:gs>
                      <a:gs pos="30000">
                        <a:srgbClr val="002050"/>
                      </a:gs>
                    </a:gsLst>
                    <a:lin ang="5400000" scaled="0"/>
                  </a:gradFill>
                </a:rPr>
                <a:t>Web and Social</a:t>
              </a:r>
            </a:p>
          </p:txBody>
        </p:sp>
        <p:grpSp>
          <p:nvGrpSpPr>
            <p:cNvPr id="350" name="Group 349"/>
            <p:cNvGrpSpPr/>
            <p:nvPr/>
          </p:nvGrpSpPr>
          <p:grpSpPr>
            <a:xfrm>
              <a:off x="682782" y="5611975"/>
              <a:ext cx="951572" cy="548358"/>
              <a:chOff x="1157890" y="5857031"/>
              <a:chExt cx="731059" cy="356127"/>
            </a:xfrm>
          </p:grpSpPr>
          <p:sp>
            <p:nvSpPr>
              <p:cNvPr id="380" name="Freeform 113"/>
              <p:cNvSpPr>
                <a:spLocks noChangeAspect="1" noEditPoints="1"/>
              </p:cNvSpPr>
              <p:nvPr/>
            </p:nvSpPr>
            <p:spPr bwMode="auto">
              <a:xfrm>
                <a:off x="1157890" y="5870448"/>
                <a:ext cx="291077" cy="342710"/>
              </a:xfrm>
              <a:custGeom>
                <a:avLst/>
                <a:gdLst>
                  <a:gd name="T0" fmla="*/ 115 w 191"/>
                  <a:gd name="T1" fmla="*/ 158 h 225"/>
                  <a:gd name="T2" fmla="*/ 132 w 191"/>
                  <a:gd name="T3" fmla="*/ 185 h 225"/>
                  <a:gd name="T4" fmla="*/ 21 w 191"/>
                  <a:gd name="T5" fmla="*/ 185 h 225"/>
                  <a:gd name="T6" fmla="*/ 0 w 191"/>
                  <a:gd name="T7" fmla="*/ 164 h 225"/>
                  <a:gd name="T8" fmla="*/ 0 w 191"/>
                  <a:gd name="T9" fmla="*/ 21 h 225"/>
                  <a:gd name="T10" fmla="*/ 21 w 191"/>
                  <a:gd name="T11" fmla="*/ 0 h 225"/>
                  <a:gd name="T12" fmla="*/ 163 w 191"/>
                  <a:gd name="T13" fmla="*/ 0 h 225"/>
                  <a:gd name="T14" fmla="*/ 185 w 191"/>
                  <a:gd name="T15" fmla="*/ 21 h 225"/>
                  <a:gd name="T16" fmla="*/ 185 w 191"/>
                  <a:gd name="T17" fmla="*/ 164 h 225"/>
                  <a:gd name="T18" fmla="*/ 181 w 191"/>
                  <a:gd name="T19" fmla="*/ 175 h 225"/>
                  <a:gd name="T20" fmla="*/ 154 w 191"/>
                  <a:gd name="T21" fmla="*/ 133 h 225"/>
                  <a:gd name="T22" fmla="*/ 157 w 191"/>
                  <a:gd name="T23" fmla="*/ 63 h 225"/>
                  <a:gd name="T24" fmla="*/ 70 w 191"/>
                  <a:gd name="T25" fmla="*/ 43 h 225"/>
                  <a:gd name="T26" fmla="*/ 51 w 191"/>
                  <a:gd name="T27" fmla="*/ 130 h 225"/>
                  <a:gd name="T28" fmla="*/ 115 w 191"/>
                  <a:gd name="T29" fmla="*/ 158 h 225"/>
                  <a:gd name="T30" fmla="*/ 183 w 191"/>
                  <a:gd name="T31" fmla="*/ 221 h 225"/>
                  <a:gd name="T32" fmla="*/ 165 w 191"/>
                  <a:gd name="T33" fmla="*/ 217 h 225"/>
                  <a:gd name="T34" fmla="*/ 120 w 191"/>
                  <a:gd name="T35" fmla="*/ 146 h 225"/>
                  <a:gd name="T36" fmla="*/ 59 w 191"/>
                  <a:gd name="T37" fmla="*/ 124 h 225"/>
                  <a:gd name="T38" fmla="*/ 75 w 191"/>
                  <a:gd name="T39" fmla="*/ 52 h 225"/>
                  <a:gd name="T40" fmla="*/ 148 w 191"/>
                  <a:gd name="T41" fmla="*/ 68 h 225"/>
                  <a:gd name="T42" fmla="*/ 142 w 191"/>
                  <a:gd name="T43" fmla="*/ 132 h 225"/>
                  <a:gd name="T44" fmla="*/ 187 w 191"/>
                  <a:gd name="T45" fmla="*/ 203 h 225"/>
                  <a:gd name="T46" fmla="*/ 183 w 191"/>
                  <a:gd name="T47" fmla="*/ 221 h 225"/>
                  <a:gd name="T48" fmla="*/ 144 w 191"/>
                  <a:gd name="T49" fmla="*/ 71 h 225"/>
                  <a:gd name="T50" fmla="*/ 78 w 191"/>
                  <a:gd name="T51" fmla="*/ 56 h 225"/>
                  <a:gd name="T52" fmla="*/ 64 w 191"/>
                  <a:gd name="T53" fmla="*/ 122 h 225"/>
                  <a:gd name="T54" fmla="*/ 129 w 191"/>
                  <a:gd name="T55" fmla="*/ 136 h 225"/>
                  <a:gd name="T56" fmla="*/ 144 w 191"/>
                  <a:gd name="T57" fmla="*/ 71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91" h="225">
                    <a:moveTo>
                      <a:pt x="115" y="158"/>
                    </a:moveTo>
                    <a:cubicBezTo>
                      <a:pt x="132" y="185"/>
                      <a:pt x="132" y="185"/>
                      <a:pt x="132" y="185"/>
                    </a:cubicBezTo>
                    <a:cubicBezTo>
                      <a:pt x="21" y="185"/>
                      <a:pt x="21" y="185"/>
                      <a:pt x="21" y="185"/>
                    </a:cubicBezTo>
                    <a:cubicBezTo>
                      <a:pt x="9" y="185"/>
                      <a:pt x="0" y="175"/>
                      <a:pt x="0" y="164"/>
                    </a:cubicBezTo>
                    <a:cubicBezTo>
                      <a:pt x="0" y="21"/>
                      <a:pt x="0" y="21"/>
                      <a:pt x="0" y="21"/>
                    </a:cubicBezTo>
                    <a:cubicBezTo>
                      <a:pt x="0" y="9"/>
                      <a:pt x="9" y="0"/>
                      <a:pt x="21" y="0"/>
                    </a:cubicBezTo>
                    <a:cubicBezTo>
                      <a:pt x="163" y="0"/>
                      <a:pt x="163" y="0"/>
                      <a:pt x="163" y="0"/>
                    </a:cubicBezTo>
                    <a:cubicBezTo>
                      <a:pt x="175" y="0"/>
                      <a:pt x="185" y="9"/>
                      <a:pt x="185" y="21"/>
                    </a:cubicBezTo>
                    <a:cubicBezTo>
                      <a:pt x="185" y="164"/>
                      <a:pt x="185" y="164"/>
                      <a:pt x="185" y="164"/>
                    </a:cubicBezTo>
                    <a:cubicBezTo>
                      <a:pt x="185" y="168"/>
                      <a:pt x="183" y="172"/>
                      <a:pt x="181" y="175"/>
                    </a:cubicBezTo>
                    <a:cubicBezTo>
                      <a:pt x="154" y="133"/>
                      <a:pt x="154" y="133"/>
                      <a:pt x="154" y="133"/>
                    </a:cubicBezTo>
                    <a:cubicBezTo>
                      <a:pt x="169" y="112"/>
                      <a:pt x="170" y="84"/>
                      <a:pt x="157" y="63"/>
                    </a:cubicBezTo>
                    <a:cubicBezTo>
                      <a:pt x="138" y="33"/>
                      <a:pt x="99" y="25"/>
                      <a:pt x="70" y="43"/>
                    </a:cubicBezTo>
                    <a:cubicBezTo>
                      <a:pt x="41" y="62"/>
                      <a:pt x="32" y="101"/>
                      <a:pt x="51" y="130"/>
                    </a:cubicBezTo>
                    <a:cubicBezTo>
                      <a:pt x="65" y="152"/>
                      <a:pt x="90" y="163"/>
                      <a:pt x="115" y="158"/>
                    </a:cubicBezTo>
                    <a:close/>
                    <a:moveTo>
                      <a:pt x="183" y="221"/>
                    </a:moveTo>
                    <a:cubicBezTo>
                      <a:pt x="177" y="225"/>
                      <a:pt x="169" y="223"/>
                      <a:pt x="165" y="217"/>
                    </a:cubicBezTo>
                    <a:cubicBezTo>
                      <a:pt x="120" y="146"/>
                      <a:pt x="120" y="146"/>
                      <a:pt x="120" y="146"/>
                    </a:cubicBezTo>
                    <a:cubicBezTo>
                      <a:pt x="98" y="153"/>
                      <a:pt x="72" y="145"/>
                      <a:pt x="59" y="124"/>
                    </a:cubicBezTo>
                    <a:cubicBezTo>
                      <a:pt x="44" y="100"/>
                      <a:pt x="51" y="67"/>
                      <a:pt x="75" y="52"/>
                    </a:cubicBezTo>
                    <a:cubicBezTo>
                      <a:pt x="100" y="36"/>
                      <a:pt x="132" y="44"/>
                      <a:pt x="148" y="68"/>
                    </a:cubicBezTo>
                    <a:cubicBezTo>
                      <a:pt x="161" y="89"/>
                      <a:pt x="158" y="115"/>
                      <a:pt x="142" y="132"/>
                    </a:cubicBezTo>
                    <a:cubicBezTo>
                      <a:pt x="187" y="203"/>
                      <a:pt x="187" y="203"/>
                      <a:pt x="187" y="203"/>
                    </a:cubicBezTo>
                    <a:cubicBezTo>
                      <a:pt x="191" y="209"/>
                      <a:pt x="189" y="217"/>
                      <a:pt x="183" y="221"/>
                    </a:cubicBezTo>
                    <a:close/>
                    <a:moveTo>
                      <a:pt x="144" y="71"/>
                    </a:moveTo>
                    <a:cubicBezTo>
                      <a:pt x="129" y="49"/>
                      <a:pt x="100" y="42"/>
                      <a:pt x="78" y="56"/>
                    </a:cubicBezTo>
                    <a:cubicBezTo>
                      <a:pt x="56" y="70"/>
                      <a:pt x="50" y="100"/>
                      <a:pt x="64" y="122"/>
                    </a:cubicBezTo>
                    <a:cubicBezTo>
                      <a:pt x="78" y="144"/>
                      <a:pt x="107" y="150"/>
                      <a:pt x="129" y="136"/>
                    </a:cubicBezTo>
                    <a:cubicBezTo>
                      <a:pt x="151" y="122"/>
                      <a:pt x="158" y="93"/>
                      <a:pt x="144" y="71"/>
                    </a:cubicBezTo>
                    <a:close/>
                  </a:path>
                </a:pathLst>
              </a:custGeom>
              <a:solidFill>
                <a:srgbClr val="A5A5A5"/>
              </a:solidFill>
              <a:ln>
                <a:noFill/>
              </a:ln>
            </p:spPr>
            <p:txBody>
              <a:bodyPr vert="horz" wrap="square" lIns="68574" tIns="34287" rIns="68574" bIns="34287"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553"/>
                <a:endParaRPr lang="en-US" sz="788">
                  <a:solidFill>
                    <a:srgbClr val="000000"/>
                  </a:solidFill>
                </a:endParaRPr>
              </a:p>
            </p:txBody>
          </p:sp>
          <p:sp>
            <p:nvSpPr>
              <p:cNvPr id="381" name="Freeform 114"/>
              <p:cNvSpPr>
                <a:spLocks noChangeAspect="1" noEditPoints="1"/>
              </p:cNvSpPr>
              <p:nvPr/>
            </p:nvSpPr>
            <p:spPr bwMode="black">
              <a:xfrm>
                <a:off x="1479671" y="5857031"/>
                <a:ext cx="409278" cy="348471"/>
              </a:xfrm>
              <a:custGeom>
                <a:avLst/>
                <a:gdLst>
                  <a:gd name="T0" fmla="*/ 344 w 414"/>
                  <a:gd name="T1" fmla="*/ 55 h 353"/>
                  <a:gd name="T2" fmla="*/ 296 w 414"/>
                  <a:gd name="T3" fmla="*/ 9 h 353"/>
                  <a:gd name="T4" fmla="*/ 206 w 414"/>
                  <a:gd name="T5" fmla="*/ 45 h 353"/>
                  <a:gd name="T6" fmla="*/ 0 w 414"/>
                  <a:gd name="T7" fmla="*/ 174 h 353"/>
                  <a:gd name="T8" fmla="*/ 158 w 414"/>
                  <a:gd name="T9" fmla="*/ 278 h 353"/>
                  <a:gd name="T10" fmla="*/ 160 w 414"/>
                  <a:gd name="T11" fmla="*/ 278 h 353"/>
                  <a:gd name="T12" fmla="*/ 160 w 414"/>
                  <a:gd name="T13" fmla="*/ 332 h 353"/>
                  <a:gd name="T14" fmla="*/ 133 w 414"/>
                  <a:gd name="T15" fmla="*/ 337 h 353"/>
                  <a:gd name="T16" fmla="*/ 128 w 414"/>
                  <a:gd name="T17" fmla="*/ 347 h 353"/>
                  <a:gd name="T18" fmla="*/ 137 w 414"/>
                  <a:gd name="T19" fmla="*/ 352 h 353"/>
                  <a:gd name="T20" fmla="*/ 137 w 414"/>
                  <a:gd name="T21" fmla="*/ 352 h 353"/>
                  <a:gd name="T22" fmla="*/ 176 w 414"/>
                  <a:gd name="T23" fmla="*/ 346 h 353"/>
                  <a:gd name="T24" fmla="*/ 215 w 414"/>
                  <a:gd name="T25" fmla="*/ 352 h 353"/>
                  <a:gd name="T26" fmla="*/ 218 w 414"/>
                  <a:gd name="T27" fmla="*/ 352 h 353"/>
                  <a:gd name="T28" fmla="*/ 224 w 414"/>
                  <a:gd name="T29" fmla="*/ 347 h 353"/>
                  <a:gd name="T30" fmla="*/ 245 w 414"/>
                  <a:gd name="T31" fmla="*/ 352 h 353"/>
                  <a:gd name="T32" fmla="*/ 248 w 414"/>
                  <a:gd name="T33" fmla="*/ 352 h 353"/>
                  <a:gd name="T34" fmla="*/ 255 w 414"/>
                  <a:gd name="T35" fmla="*/ 347 h 353"/>
                  <a:gd name="T36" fmla="*/ 250 w 414"/>
                  <a:gd name="T37" fmla="*/ 337 h 353"/>
                  <a:gd name="T38" fmla="*/ 207 w 414"/>
                  <a:gd name="T39" fmla="*/ 331 h 353"/>
                  <a:gd name="T40" fmla="*/ 207 w 414"/>
                  <a:gd name="T41" fmla="*/ 271 h 353"/>
                  <a:gd name="T42" fmla="*/ 343 w 414"/>
                  <a:gd name="T43" fmla="*/ 112 h 353"/>
                  <a:gd name="T44" fmla="*/ 414 w 414"/>
                  <a:gd name="T45" fmla="*/ 83 h 353"/>
                  <a:gd name="T46" fmla="*/ 344 w 414"/>
                  <a:gd name="T47" fmla="*/ 55 h 353"/>
                  <a:gd name="T48" fmla="*/ 192 w 414"/>
                  <a:gd name="T49" fmla="*/ 332 h 353"/>
                  <a:gd name="T50" fmla="*/ 192 w 414"/>
                  <a:gd name="T51" fmla="*/ 332 h 353"/>
                  <a:gd name="T52" fmla="*/ 191 w 414"/>
                  <a:gd name="T53" fmla="*/ 332 h 353"/>
                  <a:gd name="T54" fmla="*/ 176 w 414"/>
                  <a:gd name="T55" fmla="*/ 331 h 353"/>
                  <a:gd name="T56" fmla="*/ 175 w 414"/>
                  <a:gd name="T57" fmla="*/ 331 h 353"/>
                  <a:gd name="T58" fmla="*/ 175 w 414"/>
                  <a:gd name="T59" fmla="*/ 277 h 353"/>
                  <a:gd name="T60" fmla="*/ 192 w 414"/>
                  <a:gd name="T61" fmla="*/ 275 h 353"/>
                  <a:gd name="T62" fmla="*/ 192 w 414"/>
                  <a:gd name="T63" fmla="*/ 332 h 353"/>
                  <a:gd name="T64" fmla="*/ 286 w 414"/>
                  <a:gd name="T65" fmla="*/ 82 h 353"/>
                  <a:gd name="T66" fmla="*/ 271 w 414"/>
                  <a:gd name="T67" fmla="*/ 67 h 353"/>
                  <a:gd name="T68" fmla="*/ 286 w 414"/>
                  <a:gd name="T69" fmla="*/ 52 h 353"/>
                  <a:gd name="T70" fmla="*/ 301 w 414"/>
                  <a:gd name="T71" fmla="*/ 67 h 353"/>
                  <a:gd name="T72" fmla="*/ 286 w 414"/>
                  <a:gd name="T73" fmla="*/ 82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14" h="353">
                    <a:moveTo>
                      <a:pt x="344" y="55"/>
                    </a:moveTo>
                    <a:cubicBezTo>
                      <a:pt x="336" y="33"/>
                      <a:pt x="319" y="16"/>
                      <a:pt x="296" y="9"/>
                    </a:cubicBezTo>
                    <a:cubicBezTo>
                      <a:pt x="263" y="0"/>
                      <a:pt x="228" y="11"/>
                      <a:pt x="206" y="45"/>
                    </a:cubicBezTo>
                    <a:cubicBezTo>
                      <a:pt x="145" y="140"/>
                      <a:pt x="71" y="200"/>
                      <a:pt x="0" y="174"/>
                    </a:cubicBezTo>
                    <a:cubicBezTo>
                      <a:pt x="0" y="174"/>
                      <a:pt x="50" y="278"/>
                      <a:pt x="158" y="278"/>
                    </a:cubicBezTo>
                    <a:cubicBezTo>
                      <a:pt x="159" y="278"/>
                      <a:pt x="160" y="278"/>
                      <a:pt x="160" y="278"/>
                    </a:cubicBezTo>
                    <a:cubicBezTo>
                      <a:pt x="160" y="332"/>
                      <a:pt x="160" y="332"/>
                      <a:pt x="160" y="332"/>
                    </a:cubicBezTo>
                    <a:cubicBezTo>
                      <a:pt x="150" y="333"/>
                      <a:pt x="140" y="335"/>
                      <a:pt x="133" y="337"/>
                    </a:cubicBezTo>
                    <a:cubicBezTo>
                      <a:pt x="129" y="339"/>
                      <a:pt x="127" y="343"/>
                      <a:pt x="128" y="347"/>
                    </a:cubicBezTo>
                    <a:cubicBezTo>
                      <a:pt x="129" y="351"/>
                      <a:pt x="134" y="353"/>
                      <a:pt x="137" y="352"/>
                    </a:cubicBezTo>
                    <a:cubicBezTo>
                      <a:pt x="137" y="352"/>
                      <a:pt x="137" y="352"/>
                      <a:pt x="137" y="352"/>
                    </a:cubicBezTo>
                    <a:cubicBezTo>
                      <a:pt x="147" y="348"/>
                      <a:pt x="161" y="346"/>
                      <a:pt x="176" y="346"/>
                    </a:cubicBezTo>
                    <a:cubicBezTo>
                      <a:pt x="192" y="346"/>
                      <a:pt x="206" y="348"/>
                      <a:pt x="215" y="352"/>
                    </a:cubicBezTo>
                    <a:cubicBezTo>
                      <a:pt x="216" y="352"/>
                      <a:pt x="217" y="352"/>
                      <a:pt x="218" y="352"/>
                    </a:cubicBezTo>
                    <a:cubicBezTo>
                      <a:pt x="221" y="352"/>
                      <a:pt x="223" y="350"/>
                      <a:pt x="224" y="347"/>
                    </a:cubicBezTo>
                    <a:cubicBezTo>
                      <a:pt x="232" y="348"/>
                      <a:pt x="240" y="350"/>
                      <a:pt x="245" y="352"/>
                    </a:cubicBezTo>
                    <a:cubicBezTo>
                      <a:pt x="246" y="352"/>
                      <a:pt x="247" y="352"/>
                      <a:pt x="248" y="352"/>
                    </a:cubicBezTo>
                    <a:cubicBezTo>
                      <a:pt x="251" y="352"/>
                      <a:pt x="254" y="350"/>
                      <a:pt x="255" y="347"/>
                    </a:cubicBezTo>
                    <a:cubicBezTo>
                      <a:pt x="256" y="343"/>
                      <a:pt x="254" y="339"/>
                      <a:pt x="250" y="337"/>
                    </a:cubicBezTo>
                    <a:cubicBezTo>
                      <a:pt x="239" y="334"/>
                      <a:pt x="224" y="331"/>
                      <a:pt x="207" y="331"/>
                    </a:cubicBezTo>
                    <a:cubicBezTo>
                      <a:pt x="207" y="271"/>
                      <a:pt x="207" y="271"/>
                      <a:pt x="207" y="271"/>
                    </a:cubicBezTo>
                    <a:cubicBezTo>
                      <a:pt x="283" y="251"/>
                      <a:pt x="323" y="185"/>
                      <a:pt x="343" y="112"/>
                    </a:cubicBezTo>
                    <a:cubicBezTo>
                      <a:pt x="414" y="83"/>
                      <a:pt x="414" y="83"/>
                      <a:pt x="414" y="83"/>
                    </a:cubicBezTo>
                    <a:lnTo>
                      <a:pt x="344" y="55"/>
                    </a:lnTo>
                    <a:close/>
                    <a:moveTo>
                      <a:pt x="192" y="332"/>
                    </a:moveTo>
                    <a:cubicBezTo>
                      <a:pt x="192" y="332"/>
                      <a:pt x="192" y="332"/>
                      <a:pt x="192" y="332"/>
                    </a:cubicBezTo>
                    <a:cubicBezTo>
                      <a:pt x="192" y="332"/>
                      <a:pt x="192" y="332"/>
                      <a:pt x="191" y="332"/>
                    </a:cubicBezTo>
                    <a:cubicBezTo>
                      <a:pt x="187" y="331"/>
                      <a:pt x="181" y="331"/>
                      <a:pt x="176" y="331"/>
                    </a:cubicBezTo>
                    <a:cubicBezTo>
                      <a:pt x="176" y="331"/>
                      <a:pt x="176" y="331"/>
                      <a:pt x="175" y="331"/>
                    </a:cubicBezTo>
                    <a:cubicBezTo>
                      <a:pt x="175" y="277"/>
                      <a:pt x="175" y="277"/>
                      <a:pt x="175" y="277"/>
                    </a:cubicBezTo>
                    <a:cubicBezTo>
                      <a:pt x="181" y="276"/>
                      <a:pt x="187" y="276"/>
                      <a:pt x="192" y="275"/>
                    </a:cubicBezTo>
                    <a:lnTo>
                      <a:pt x="192" y="332"/>
                    </a:lnTo>
                    <a:close/>
                    <a:moveTo>
                      <a:pt x="286" y="82"/>
                    </a:moveTo>
                    <a:cubicBezTo>
                      <a:pt x="278" y="82"/>
                      <a:pt x="271" y="75"/>
                      <a:pt x="271" y="67"/>
                    </a:cubicBezTo>
                    <a:cubicBezTo>
                      <a:pt x="271" y="59"/>
                      <a:pt x="278" y="52"/>
                      <a:pt x="286" y="52"/>
                    </a:cubicBezTo>
                    <a:cubicBezTo>
                      <a:pt x="294" y="52"/>
                      <a:pt x="301" y="59"/>
                      <a:pt x="301" y="67"/>
                    </a:cubicBezTo>
                    <a:cubicBezTo>
                      <a:pt x="301" y="75"/>
                      <a:pt x="294" y="82"/>
                      <a:pt x="286" y="82"/>
                    </a:cubicBezTo>
                    <a:close/>
                  </a:path>
                </a:pathLst>
              </a:custGeom>
              <a:solidFill>
                <a:srgbClr val="A5A5A5"/>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61721" tIns="30861" rIns="61721" bIns="30861" numCol="1" rtlCol="0" anchor="ctr" anchorCtr="0" compatLnSpc="1">
                <a:prstTxWarp prst="textNoShape">
                  <a:avLst/>
                </a:prstTxWarp>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defTabSz="555486"/>
                <a:endParaRPr lang="en-US" sz="788" spc="-92">
                  <a:solidFill>
                    <a:srgbClr val="505050">
                      <a:lumMod val="50000"/>
                    </a:srgbClr>
                  </a:solidFill>
                  <a:latin typeface="Segoe Light" pitchFamily="34" charset="0"/>
                </a:endParaRPr>
              </a:p>
            </p:txBody>
          </p:sp>
        </p:grpSp>
        <p:sp>
          <p:nvSpPr>
            <p:cNvPr id="351" name="Rectangle 350">
              <a:hlinkClick r:id="" action="ppaction://noaction"/>
            </p:cNvPr>
            <p:cNvSpPr/>
            <p:nvPr/>
          </p:nvSpPr>
          <p:spPr bwMode="auto">
            <a:xfrm>
              <a:off x="519971" y="3703833"/>
              <a:ext cx="1450513" cy="1028159"/>
            </a:xfrm>
            <a:prstGeom prst="rect">
              <a:avLst/>
            </a:prstGeom>
            <a:noFill/>
            <a:ln w="19050" cap="flat" cmpd="sng" algn="ctr">
              <a:noFill/>
              <a:prstDash val="solid"/>
              <a:miter lim="800000"/>
              <a:headEnd type="none" w="med" len="med"/>
              <a:tailEnd type="none" w="med" len="med"/>
            </a:ln>
            <a:effectLst/>
          </p:spPr>
          <p:txBody>
            <a:bodyPr rot="0" spcFirstLastPara="0" vert="horz" wrap="square" lIns="68574" tIns="109718" rIns="0" bIns="109718"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582623">
                <a:lnSpc>
                  <a:spcPct val="90000"/>
                </a:lnSpc>
              </a:pPr>
              <a:endParaRPr lang="en-US" sz="825" kern="0" dirty="0">
                <a:ln>
                  <a:solidFill>
                    <a:srgbClr val="FFFFFF">
                      <a:alpha val="0"/>
                    </a:srgbClr>
                  </a:solidFill>
                </a:ln>
                <a:gradFill>
                  <a:gsLst>
                    <a:gs pos="56637">
                      <a:srgbClr val="FFFFFF"/>
                    </a:gs>
                    <a:gs pos="11000">
                      <a:srgbClr val="FFFFFF"/>
                    </a:gs>
                  </a:gsLst>
                  <a:lin ang="5400000" scaled="0"/>
                </a:gradFill>
              </a:endParaRPr>
            </a:p>
          </p:txBody>
        </p:sp>
        <p:grpSp>
          <p:nvGrpSpPr>
            <p:cNvPr id="352" name="Group 351"/>
            <p:cNvGrpSpPr/>
            <p:nvPr/>
          </p:nvGrpSpPr>
          <p:grpSpPr>
            <a:xfrm>
              <a:off x="682780" y="3568542"/>
              <a:ext cx="1051375" cy="661144"/>
              <a:chOff x="681416" y="4028239"/>
              <a:chExt cx="634251" cy="379977"/>
            </a:xfrm>
          </p:grpSpPr>
          <p:sp>
            <p:nvSpPr>
              <p:cNvPr id="377" name="Freeform 110"/>
              <p:cNvSpPr>
                <a:spLocks noEditPoints="1"/>
              </p:cNvSpPr>
              <p:nvPr/>
            </p:nvSpPr>
            <p:spPr bwMode="auto">
              <a:xfrm rot="5400000">
                <a:off x="1007591" y="4130249"/>
                <a:ext cx="190964" cy="291561"/>
              </a:xfrm>
              <a:custGeom>
                <a:avLst/>
                <a:gdLst>
                  <a:gd name="T0" fmla="*/ 448 w 448"/>
                  <a:gd name="T1" fmla="*/ 0 h 684"/>
                  <a:gd name="T2" fmla="*/ 448 w 448"/>
                  <a:gd name="T3" fmla="*/ 207 h 684"/>
                  <a:gd name="T4" fmla="*/ 241 w 448"/>
                  <a:gd name="T5" fmla="*/ 207 h 684"/>
                  <a:gd name="T6" fmla="*/ 241 w 448"/>
                  <a:gd name="T7" fmla="*/ 0 h 684"/>
                  <a:gd name="T8" fmla="*/ 448 w 448"/>
                  <a:gd name="T9" fmla="*/ 0 h 684"/>
                  <a:gd name="T10" fmla="*/ 241 w 448"/>
                  <a:gd name="T11" fmla="*/ 238 h 684"/>
                  <a:gd name="T12" fmla="*/ 241 w 448"/>
                  <a:gd name="T13" fmla="*/ 446 h 684"/>
                  <a:gd name="T14" fmla="*/ 448 w 448"/>
                  <a:gd name="T15" fmla="*/ 446 h 684"/>
                  <a:gd name="T16" fmla="*/ 448 w 448"/>
                  <a:gd name="T17" fmla="*/ 238 h 684"/>
                  <a:gd name="T18" fmla="*/ 241 w 448"/>
                  <a:gd name="T19" fmla="*/ 238 h 684"/>
                  <a:gd name="T20" fmla="*/ 0 w 448"/>
                  <a:gd name="T21" fmla="*/ 0 h 684"/>
                  <a:gd name="T22" fmla="*/ 0 w 448"/>
                  <a:gd name="T23" fmla="*/ 207 h 684"/>
                  <a:gd name="T24" fmla="*/ 210 w 448"/>
                  <a:gd name="T25" fmla="*/ 207 h 684"/>
                  <a:gd name="T26" fmla="*/ 210 w 448"/>
                  <a:gd name="T27" fmla="*/ 0 h 684"/>
                  <a:gd name="T28" fmla="*/ 0 w 448"/>
                  <a:gd name="T29" fmla="*/ 0 h 684"/>
                  <a:gd name="T30" fmla="*/ 0 w 448"/>
                  <a:gd name="T31" fmla="*/ 238 h 684"/>
                  <a:gd name="T32" fmla="*/ 0 w 448"/>
                  <a:gd name="T33" fmla="*/ 446 h 684"/>
                  <a:gd name="T34" fmla="*/ 210 w 448"/>
                  <a:gd name="T35" fmla="*/ 446 h 684"/>
                  <a:gd name="T36" fmla="*/ 210 w 448"/>
                  <a:gd name="T37" fmla="*/ 238 h 684"/>
                  <a:gd name="T38" fmla="*/ 0 w 448"/>
                  <a:gd name="T39" fmla="*/ 238 h 684"/>
                  <a:gd name="T40" fmla="*/ 0 w 448"/>
                  <a:gd name="T41" fmla="*/ 477 h 684"/>
                  <a:gd name="T42" fmla="*/ 0 w 448"/>
                  <a:gd name="T43" fmla="*/ 684 h 684"/>
                  <a:gd name="T44" fmla="*/ 448 w 448"/>
                  <a:gd name="T45" fmla="*/ 684 h 684"/>
                  <a:gd name="T46" fmla="*/ 448 w 448"/>
                  <a:gd name="T47" fmla="*/ 477 h 684"/>
                  <a:gd name="T48" fmla="*/ 0 w 448"/>
                  <a:gd name="T49" fmla="*/ 477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48" h="684">
                    <a:moveTo>
                      <a:pt x="448" y="0"/>
                    </a:moveTo>
                    <a:lnTo>
                      <a:pt x="448" y="207"/>
                    </a:lnTo>
                    <a:lnTo>
                      <a:pt x="241" y="207"/>
                    </a:lnTo>
                    <a:lnTo>
                      <a:pt x="241" y="0"/>
                    </a:lnTo>
                    <a:lnTo>
                      <a:pt x="448" y="0"/>
                    </a:lnTo>
                    <a:close/>
                    <a:moveTo>
                      <a:pt x="241" y="238"/>
                    </a:moveTo>
                    <a:lnTo>
                      <a:pt x="241" y="446"/>
                    </a:lnTo>
                    <a:lnTo>
                      <a:pt x="448" y="446"/>
                    </a:lnTo>
                    <a:lnTo>
                      <a:pt x="448" y="238"/>
                    </a:lnTo>
                    <a:lnTo>
                      <a:pt x="241" y="238"/>
                    </a:lnTo>
                    <a:close/>
                    <a:moveTo>
                      <a:pt x="0" y="0"/>
                    </a:moveTo>
                    <a:lnTo>
                      <a:pt x="0" y="207"/>
                    </a:lnTo>
                    <a:lnTo>
                      <a:pt x="210" y="207"/>
                    </a:lnTo>
                    <a:lnTo>
                      <a:pt x="210" y="0"/>
                    </a:lnTo>
                    <a:lnTo>
                      <a:pt x="0" y="0"/>
                    </a:lnTo>
                    <a:close/>
                    <a:moveTo>
                      <a:pt x="0" y="238"/>
                    </a:moveTo>
                    <a:lnTo>
                      <a:pt x="0" y="446"/>
                    </a:lnTo>
                    <a:lnTo>
                      <a:pt x="210" y="446"/>
                    </a:lnTo>
                    <a:lnTo>
                      <a:pt x="210" y="238"/>
                    </a:lnTo>
                    <a:lnTo>
                      <a:pt x="0" y="238"/>
                    </a:lnTo>
                    <a:close/>
                    <a:moveTo>
                      <a:pt x="0" y="477"/>
                    </a:moveTo>
                    <a:lnTo>
                      <a:pt x="0" y="684"/>
                    </a:lnTo>
                    <a:lnTo>
                      <a:pt x="448" y="684"/>
                    </a:lnTo>
                    <a:lnTo>
                      <a:pt x="448" y="477"/>
                    </a:lnTo>
                    <a:lnTo>
                      <a:pt x="0" y="477"/>
                    </a:lnTo>
                    <a:close/>
                  </a:path>
                </a:pathLst>
              </a:custGeom>
              <a:solidFill>
                <a:srgbClr val="A5A5A5"/>
              </a:solidFill>
              <a:ln>
                <a:noFill/>
              </a:ln>
            </p:spPr>
            <p:txBody>
              <a:bodyPr vert="horz" wrap="square" lIns="68571" tIns="34286" rIns="68571" bIns="3428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553"/>
                <a:endParaRPr lang="en-US" sz="788" dirty="0">
                  <a:solidFill>
                    <a:srgbClr val="000000"/>
                  </a:solidFill>
                </a:endParaRPr>
              </a:p>
            </p:txBody>
          </p:sp>
          <p:sp>
            <p:nvSpPr>
              <p:cNvPr id="378" name="Freeform 111"/>
              <p:cNvSpPr>
                <a:spLocks noChangeAspect="1" noEditPoints="1"/>
              </p:cNvSpPr>
              <p:nvPr/>
            </p:nvSpPr>
            <p:spPr bwMode="black">
              <a:xfrm>
                <a:off x="681416" y="4028239"/>
                <a:ext cx="196604" cy="378995"/>
              </a:xfrm>
              <a:custGeom>
                <a:avLst/>
                <a:gdLst>
                  <a:gd name="T0" fmla="*/ 544 w 602"/>
                  <a:gd name="T1" fmla="*/ 95 h 1156"/>
                  <a:gd name="T2" fmla="*/ 119 w 602"/>
                  <a:gd name="T3" fmla="*/ 1068 h 1156"/>
                  <a:gd name="T4" fmla="*/ 112 w 602"/>
                  <a:gd name="T5" fmla="*/ 1048 h 1156"/>
                  <a:gd name="T6" fmla="*/ 288 w 602"/>
                  <a:gd name="T7" fmla="*/ 1050 h 1156"/>
                  <a:gd name="T8" fmla="*/ 296 w 602"/>
                  <a:gd name="T9" fmla="*/ 1053 h 1156"/>
                  <a:gd name="T10" fmla="*/ 291 w 602"/>
                  <a:gd name="T11" fmla="*/ 1071 h 1156"/>
                  <a:gd name="T12" fmla="*/ 290 w 602"/>
                  <a:gd name="T13" fmla="*/ 1072 h 1156"/>
                  <a:gd name="T14" fmla="*/ 290 w 602"/>
                  <a:gd name="T15" fmla="*/ 1072 h 1156"/>
                  <a:gd name="T16" fmla="*/ 276 w 602"/>
                  <a:gd name="T17" fmla="*/ 1069 h 1156"/>
                  <a:gd name="T18" fmla="*/ 271 w 602"/>
                  <a:gd name="T19" fmla="*/ 1071 h 1156"/>
                  <a:gd name="T20" fmla="*/ 275 w 602"/>
                  <a:gd name="T21" fmla="*/ 1052 h 1156"/>
                  <a:gd name="T22" fmla="*/ 285 w 602"/>
                  <a:gd name="T23" fmla="*/ 1050 h 1156"/>
                  <a:gd name="T24" fmla="*/ 298 w 602"/>
                  <a:gd name="T25" fmla="*/ 1055 h 1156"/>
                  <a:gd name="T26" fmla="*/ 315 w 602"/>
                  <a:gd name="T27" fmla="*/ 1058 h 1156"/>
                  <a:gd name="T28" fmla="*/ 319 w 602"/>
                  <a:gd name="T29" fmla="*/ 1057 h 1156"/>
                  <a:gd name="T30" fmla="*/ 320 w 602"/>
                  <a:gd name="T31" fmla="*/ 1057 h 1156"/>
                  <a:gd name="T32" fmla="*/ 314 w 602"/>
                  <a:gd name="T33" fmla="*/ 1075 h 1156"/>
                  <a:gd name="T34" fmla="*/ 301 w 602"/>
                  <a:gd name="T35" fmla="*/ 1077 h 1156"/>
                  <a:gd name="T36" fmla="*/ 292 w 602"/>
                  <a:gd name="T37" fmla="*/ 1073 h 1156"/>
                  <a:gd name="T38" fmla="*/ 298 w 602"/>
                  <a:gd name="T39" fmla="*/ 1055 h 1156"/>
                  <a:gd name="T40" fmla="*/ 298 w 602"/>
                  <a:gd name="T41" fmla="*/ 1055 h 1156"/>
                  <a:gd name="T42" fmla="*/ 298 w 602"/>
                  <a:gd name="T43" fmla="*/ 1055 h 1156"/>
                  <a:gd name="T44" fmla="*/ 305 w 602"/>
                  <a:gd name="T45" fmla="*/ 1034 h 1156"/>
                  <a:gd name="T46" fmla="*/ 318 w 602"/>
                  <a:gd name="T47" fmla="*/ 1037 h 1156"/>
                  <a:gd name="T48" fmla="*/ 325 w 602"/>
                  <a:gd name="T49" fmla="*/ 1035 h 1156"/>
                  <a:gd name="T50" fmla="*/ 326 w 602"/>
                  <a:gd name="T51" fmla="*/ 1035 h 1156"/>
                  <a:gd name="T52" fmla="*/ 314 w 602"/>
                  <a:gd name="T53" fmla="*/ 1056 h 1156"/>
                  <a:gd name="T54" fmla="*/ 299 w 602"/>
                  <a:gd name="T55" fmla="*/ 1052 h 1156"/>
                  <a:gd name="T56" fmla="*/ 299 w 602"/>
                  <a:gd name="T57" fmla="*/ 1052 h 1156"/>
                  <a:gd name="T58" fmla="*/ 304 w 602"/>
                  <a:gd name="T59" fmla="*/ 1034 h 1156"/>
                  <a:gd name="T60" fmla="*/ 292 w 602"/>
                  <a:gd name="T61" fmla="*/ 1028 h 1156"/>
                  <a:gd name="T62" fmla="*/ 302 w 602"/>
                  <a:gd name="T63" fmla="*/ 1032 h 1156"/>
                  <a:gd name="T64" fmla="*/ 302 w 602"/>
                  <a:gd name="T65" fmla="*/ 1032 h 1156"/>
                  <a:gd name="T66" fmla="*/ 297 w 602"/>
                  <a:gd name="T67" fmla="*/ 1050 h 1156"/>
                  <a:gd name="T68" fmla="*/ 297 w 602"/>
                  <a:gd name="T69" fmla="*/ 1050 h 1156"/>
                  <a:gd name="T70" fmla="*/ 296 w 602"/>
                  <a:gd name="T71" fmla="*/ 1050 h 1156"/>
                  <a:gd name="T72" fmla="*/ 296 w 602"/>
                  <a:gd name="T73" fmla="*/ 1050 h 1156"/>
                  <a:gd name="T74" fmla="*/ 296 w 602"/>
                  <a:gd name="T75" fmla="*/ 1050 h 1156"/>
                  <a:gd name="T76" fmla="*/ 277 w 602"/>
                  <a:gd name="T77" fmla="*/ 1049 h 1156"/>
                  <a:gd name="T78" fmla="*/ 277 w 602"/>
                  <a:gd name="T79" fmla="*/ 1049 h 1156"/>
                  <a:gd name="T80" fmla="*/ 277 w 602"/>
                  <a:gd name="T81" fmla="*/ 1049 h 1156"/>
                  <a:gd name="T82" fmla="*/ 276 w 602"/>
                  <a:gd name="T83" fmla="*/ 1049 h 1156"/>
                  <a:gd name="T84" fmla="*/ 281 w 602"/>
                  <a:gd name="T85" fmla="*/ 1032 h 1156"/>
                  <a:gd name="T86" fmla="*/ 287 w 602"/>
                  <a:gd name="T87" fmla="*/ 1029 h 1156"/>
                  <a:gd name="T88" fmla="*/ 467 w 602"/>
                  <a:gd name="T89" fmla="*/ 1059 h 1156"/>
                  <a:gd name="T90" fmla="*/ 478 w 602"/>
                  <a:gd name="T91" fmla="*/ 1064 h 1156"/>
                  <a:gd name="T92" fmla="*/ 466 w 602"/>
                  <a:gd name="T93" fmla="*/ 1048 h 1156"/>
                  <a:gd name="T94" fmla="*/ 602 w 602"/>
                  <a:gd name="T95" fmla="*/ 1116 h 1156"/>
                  <a:gd name="T96" fmla="*/ 0 w 602"/>
                  <a:gd name="T97" fmla="*/ 40 h 1156"/>
                  <a:gd name="T98" fmla="*/ 602 w 602"/>
                  <a:gd name="T99" fmla="*/ 1116 h 1156"/>
                  <a:gd name="T100" fmla="*/ 273 w 602"/>
                  <a:gd name="T101" fmla="*/ 202 h 1156"/>
                  <a:gd name="T102" fmla="*/ 273 w 602"/>
                  <a:gd name="T103" fmla="*/ 911 h 1156"/>
                  <a:gd name="T104" fmla="*/ 462 w 602"/>
                  <a:gd name="T105" fmla="*/ 581 h 1156"/>
                  <a:gd name="T106" fmla="*/ 284 w 602"/>
                  <a:gd name="T107" fmla="*/ 391 h 1156"/>
                  <a:gd name="T108" fmla="*/ 284 w 602"/>
                  <a:gd name="T109" fmla="*/ 391 h 1156"/>
                  <a:gd name="T110" fmla="*/ 273 w 602"/>
                  <a:gd name="T111" fmla="*/ 391 h 1156"/>
                  <a:gd name="T112" fmla="*/ 462 w 602"/>
                  <a:gd name="T113" fmla="*/ 911 h 1156"/>
                  <a:gd name="T114" fmla="*/ 462 w 602"/>
                  <a:gd name="T115" fmla="*/ 379 h 1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02" h="1156">
                    <a:moveTo>
                      <a:pt x="54" y="95"/>
                    </a:moveTo>
                    <a:cubicBezTo>
                      <a:pt x="54" y="367"/>
                      <a:pt x="54" y="639"/>
                      <a:pt x="54" y="911"/>
                    </a:cubicBezTo>
                    <a:cubicBezTo>
                      <a:pt x="217" y="911"/>
                      <a:pt x="381" y="911"/>
                      <a:pt x="544" y="911"/>
                    </a:cubicBezTo>
                    <a:cubicBezTo>
                      <a:pt x="544" y="639"/>
                      <a:pt x="544" y="367"/>
                      <a:pt x="544" y="95"/>
                    </a:cubicBezTo>
                    <a:cubicBezTo>
                      <a:pt x="381" y="95"/>
                      <a:pt x="217" y="95"/>
                      <a:pt x="54" y="95"/>
                    </a:cubicBezTo>
                    <a:close/>
                    <a:moveTo>
                      <a:pt x="112" y="1053"/>
                    </a:moveTo>
                    <a:cubicBezTo>
                      <a:pt x="126" y="1068"/>
                      <a:pt x="126" y="1068"/>
                      <a:pt x="126" y="1068"/>
                    </a:cubicBezTo>
                    <a:cubicBezTo>
                      <a:pt x="119" y="1068"/>
                      <a:pt x="119" y="1068"/>
                      <a:pt x="119" y="1068"/>
                    </a:cubicBezTo>
                    <a:cubicBezTo>
                      <a:pt x="103" y="1050"/>
                      <a:pt x="103" y="1050"/>
                      <a:pt x="103" y="1050"/>
                    </a:cubicBezTo>
                    <a:cubicBezTo>
                      <a:pt x="119" y="1034"/>
                      <a:pt x="119" y="1034"/>
                      <a:pt x="119" y="1034"/>
                    </a:cubicBezTo>
                    <a:cubicBezTo>
                      <a:pt x="126" y="1034"/>
                      <a:pt x="126" y="1034"/>
                      <a:pt x="126" y="1034"/>
                    </a:cubicBezTo>
                    <a:cubicBezTo>
                      <a:pt x="112" y="1048"/>
                      <a:pt x="112" y="1048"/>
                      <a:pt x="112" y="1048"/>
                    </a:cubicBezTo>
                    <a:cubicBezTo>
                      <a:pt x="137" y="1048"/>
                      <a:pt x="137" y="1048"/>
                      <a:pt x="137" y="1048"/>
                    </a:cubicBezTo>
                    <a:cubicBezTo>
                      <a:pt x="137" y="1053"/>
                      <a:pt x="137" y="1053"/>
                      <a:pt x="137" y="1053"/>
                    </a:cubicBezTo>
                    <a:lnTo>
                      <a:pt x="112" y="1053"/>
                    </a:lnTo>
                    <a:close/>
                    <a:moveTo>
                      <a:pt x="288" y="1050"/>
                    </a:moveTo>
                    <a:cubicBezTo>
                      <a:pt x="291" y="1050"/>
                      <a:pt x="294" y="1052"/>
                      <a:pt x="296" y="1053"/>
                    </a:cubicBezTo>
                    <a:cubicBezTo>
                      <a:pt x="296" y="1053"/>
                      <a:pt x="296" y="1053"/>
                      <a:pt x="296" y="1053"/>
                    </a:cubicBezTo>
                    <a:cubicBezTo>
                      <a:pt x="296" y="1053"/>
                      <a:pt x="296" y="1053"/>
                      <a:pt x="296" y="1053"/>
                    </a:cubicBezTo>
                    <a:cubicBezTo>
                      <a:pt x="296" y="1053"/>
                      <a:pt x="296" y="1053"/>
                      <a:pt x="296" y="1053"/>
                    </a:cubicBezTo>
                    <a:cubicBezTo>
                      <a:pt x="296" y="1053"/>
                      <a:pt x="296" y="1053"/>
                      <a:pt x="296" y="1053"/>
                    </a:cubicBezTo>
                    <a:cubicBezTo>
                      <a:pt x="296" y="1054"/>
                      <a:pt x="296" y="1054"/>
                      <a:pt x="296" y="1054"/>
                    </a:cubicBezTo>
                    <a:cubicBezTo>
                      <a:pt x="296" y="1054"/>
                      <a:pt x="291" y="1071"/>
                      <a:pt x="291" y="1072"/>
                    </a:cubicBezTo>
                    <a:cubicBezTo>
                      <a:pt x="291" y="1071"/>
                      <a:pt x="291" y="1071"/>
                      <a:pt x="291" y="1071"/>
                    </a:cubicBezTo>
                    <a:cubicBezTo>
                      <a:pt x="291" y="1072"/>
                      <a:pt x="291" y="1072"/>
                      <a:pt x="291"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89" y="1071"/>
                      <a:pt x="288" y="1071"/>
                      <a:pt x="286" y="1070"/>
                    </a:cubicBezTo>
                    <a:cubicBezTo>
                      <a:pt x="285" y="1069"/>
                      <a:pt x="285" y="1069"/>
                      <a:pt x="284" y="1069"/>
                    </a:cubicBezTo>
                    <a:cubicBezTo>
                      <a:pt x="283" y="1069"/>
                      <a:pt x="281" y="1069"/>
                      <a:pt x="280" y="1069"/>
                    </a:cubicBezTo>
                    <a:cubicBezTo>
                      <a:pt x="279" y="1069"/>
                      <a:pt x="278" y="1069"/>
                      <a:pt x="276" y="1069"/>
                    </a:cubicBezTo>
                    <a:cubicBezTo>
                      <a:pt x="274" y="1069"/>
                      <a:pt x="273" y="1070"/>
                      <a:pt x="271" y="1071"/>
                    </a:cubicBezTo>
                    <a:cubicBezTo>
                      <a:pt x="271" y="1071"/>
                      <a:pt x="271" y="1071"/>
                      <a:pt x="271" y="1071"/>
                    </a:cubicBezTo>
                    <a:cubicBezTo>
                      <a:pt x="271" y="1071"/>
                      <a:pt x="271" y="1071"/>
                      <a:pt x="271" y="1071"/>
                    </a:cubicBezTo>
                    <a:cubicBezTo>
                      <a:pt x="271" y="1071"/>
                      <a:pt x="271" y="1071"/>
                      <a:pt x="271" y="1071"/>
                    </a:cubicBezTo>
                    <a:cubicBezTo>
                      <a:pt x="270" y="1070"/>
                      <a:pt x="270" y="1070"/>
                      <a:pt x="270" y="1070"/>
                    </a:cubicBezTo>
                    <a:cubicBezTo>
                      <a:pt x="270" y="1070"/>
                      <a:pt x="270" y="1070"/>
                      <a:pt x="270" y="1070"/>
                    </a:cubicBezTo>
                    <a:cubicBezTo>
                      <a:pt x="275" y="1052"/>
                      <a:pt x="275" y="1052"/>
                      <a:pt x="275" y="1052"/>
                    </a:cubicBezTo>
                    <a:cubicBezTo>
                      <a:pt x="275" y="1052"/>
                      <a:pt x="275" y="1052"/>
                      <a:pt x="275" y="1052"/>
                    </a:cubicBezTo>
                    <a:cubicBezTo>
                      <a:pt x="275" y="1052"/>
                      <a:pt x="275" y="1052"/>
                      <a:pt x="275" y="1052"/>
                    </a:cubicBezTo>
                    <a:cubicBezTo>
                      <a:pt x="277" y="1051"/>
                      <a:pt x="278" y="1051"/>
                      <a:pt x="279" y="1051"/>
                    </a:cubicBezTo>
                    <a:cubicBezTo>
                      <a:pt x="280" y="1050"/>
                      <a:pt x="281" y="1050"/>
                      <a:pt x="282" y="1050"/>
                    </a:cubicBezTo>
                    <a:cubicBezTo>
                      <a:pt x="283" y="1050"/>
                      <a:pt x="284" y="1050"/>
                      <a:pt x="285" y="1050"/>
                    </a:cubicBezTo>
                    <a:cubicBezTo>
                      <a:pt x="286" y="1050"/>
                      <a:pt x="287" y="1050"/>
                      <a:pt x="288" y="1050"/>
                    </a:cubicBezTo>
                    <a:close/>
                    <a:moveTo>
                      <a:pt x="298" y="1055"/>
                    </a:moveTo>
                    <a:cubicBezTo>
                      <a:pt x="298" y="1055"/>
                      <a:pt x="298" y="1055"/>
                      <a:pt x="298" y="1055"/>
                    </a:cubicBezTo>
                    <a:cubicBezTo>
                      <a:pt x="298" y="1055"/>
                      <a:pt x="298" y="1055"/>
                      <a:pt x="298" y="1055"/>
                    </a:cubicBezTo>
                    <a:cubicBezTo>
                      <a:pt x="300" y="1056"/>
                      <a:pt x="301" y="1056"/>
                      <a:pt x="302" y="1057"/>
                    </a:cubicBezTo>
                    <a:cubicBezTo>
                      <a:pt x="303" y="1058"/>
                      <a:pt x="305" y="1058"/>
                      <a:pt x="306" y="1058"/>
                    </a:cubicBezTo>
                    <a:cubicBezTo>
                      <a:pt x="308" y="1058"/>
                      <a:pt x="310" y="1058"/>
                      <a:pt x="312" y="1058"/>
                    </a:cubicBezTo>
                    <a:cubicBezTo>
                      <a:pt x="313" y="1058"/>
                      <a:pt x="314" y="1058"/>
                      <a:pt x="315" y="1058"/>
                    </a:cubicBezTo>
                    <a:cubicBezTo>
                      <a:pt x="316" y="1057"/>
                      <a:pt x="317" y="1057"/>
                      <a:pt x="319" y="1056"/>
                    </a:cubicBezTo>
                    <a:cubicBezTo>
                      <a:pt x="319" y="1056"/>
                      <a:pt x="319" y="1057"/>
                      <a:pt x="319" y="1057"/>
                    </a:cubicBezTo>
                    <a:cubicBezTo>
                      <a:pt x="319" y="1057"/>
                      <a:pt x="319" y="1057"/>
                      <a:pt x="319" y="1057"/>
                    </a:cubicBezTo>
                    <a:cubicBezTo>
                      <a:pt x="319" y="1057"/>
                      <a:pt x="319" y="1057"/>
                      <a:pt x="319" y="1057"/>
                    </a:cubicBezTo>
                    <a:cubicBezTo>
                      <a:pt x="319" y="1057"/>
                      <a:pt x="319" y="1057"/>
                      <a:pt x="319" y="1057"/>
                    </a:cubicBezTo>
                    <a:cubicBezTo>
                      <a:pt x="319" y="1057"/>
                      <a:pt x="320" y="1057"/>
                      <a:pt x="320" y="1057"/>
                    </a:cubicBezTo>
                    <a:cubicBezTo>
                      <a:pt x="320" y="1057"/>
                      <a:pt x="320" y="1057"/>
                      <a:pt x="320" y="1057"/>
                    </a:cubicBezTo>
                    <a:cubicBezTo>
                      <a:pt x="320" y="1057"/>
                      <a:pt x="320" y="1057"/>
                      <a:pt x="320" y="1057"/>
                    </a:cubicBezTo>
                    <a:cubicBezTo>
                      <a:pt x="320" y="1057"/>
                      <a:pt x="320" y="1057"/>
                      <a:pt x="320" y="1057"/>
                    </a:cubicBezTo>
                    <a:cubicBezTo>
                      <a:pt x="320" y="1057"/>
                      <a:pt x="315" y="1075"/>
                      <a:pt x="315" y="1075"/>
                    </a:cubicBezTo>
                    <a:cubicBezTo>
                      <a:pt x="314" y="1075"/>
                      <a:pt x="314" y="1075"/>
                      <a:pt x="314" y="1075"/>
                    </a:cubicBezTo>
                    <a:cubicBezTo>
                      <a:pt x="314" y="1075"/>
                      <a:pt x="314" y="1075"/>
                      <a:pt x="314" y="1075"/>
                    </a:cubicBezTo>
                    <a:cubicBezTo>
                      <a:pt x="313" y="1076"/>
                      <a:pt x="312" y="1076"/>
                      <a:pt x="311" y="1076"/>
                    </a:cubicBezTo>
                    <a:cubicBezTo>
                      <a:pt x="309" y="1077"/>
                      <a:pt x="308" y="1077"/>
                      <a:pt x="307" y="1077"/>
                    </a:cubicBezTo>
                    <a:cubicBezTo>
                      <a:pt x="306" y="1077"/>
                      <a:pt x="305" y="1077"/>
                      <a:pt x="304" y="1077"/>
                    </a:cubicBezTo>
                    <a:cubicBezTo>
                      <a:pt x="303" y="1077"/>
                      <a:pt x="302" y="1077"/>
                      <a:pt x="301" y="1077"/>
                    </a:cubicBezTo>
                    <a:cubicBezTo>
                      <a:pt x="300" y="1077"/>
                      <a:pt x="300" y="1077"/>
                      <a:pt x="299" y="1077"/>
                    </a:cubicBezTo>
                    <a:cubicBezTo>
                      <a:pt x="298" y="1076"/>
                      <a:pt x="297" y="1076"/>
                      <a:pt x="297" y="1076"/>
                    </a:cubicBezTo>
                    <a:cubicBezTo>
                      <a:pt x="295" y="1075"/>
                      <a:pt x="294" y="1075"/>
                      <a:pt x="293" y="1074"/>
                    </a:cubicBezTo>
                    <a:cubicBezTo>
                      <a:pt x="293" y="1074"/>
                      <a:pt x="292" y="1073"/>
                      <a:pt x="292" y="1073"/>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lose/>
                    <a:moveTo>
                      <a:pt x="305" y="1034"/>
                    </a:moveTo>
                    <a:cubicBezTo>
                      <a:pt x="306" y="1034"/>
                      <a:pt x="307" y="1035"/>
                      <a:pt x="308" y="1036"/>
                    </a:cubicBezTo>
                    <a:cubicBezTo>
                      <a:pt x="310" y="1036"/>
                      <a:pt x="311" y="1037"/>
                      <a:pt x="313" y="1037"/>
                    </a:cubicBezTo>
                    <a:cubicBezTo>
                      <a:pt x="313" y="1037"/>
                      <a:pt x="314" y="1037"/>
                      <a:pt x="315" y="1037"/>
                    </a:cubicBezTo>
                    <a:cubicBezTo>
                      <a:pt x="316" y="1037"/>
                      <a:pt x="317" y="1037"/>
                      <a:pt x="318" y="1037"/>
                    </a:cubicBezTo>
                    <a:cubicBezTo>
                      <a:pt x="319" y="1037"/>
                      <a:pt x="320" y="1036"/>
                      <a:pt x="321" y="1036"/>
                    </a:cubicBezTo>
                    <a:cubicBezTo>
                      <a:pt x="322" y="1036"/>
                      <a:pt x="324" y="1035"/>
                      <a:pt x="325" y="1035"/>
                    </a:cubicBezTo>
                    <a:cubicBezTo>
                      <a:pt x="325" y="1035"/>
                      <a:pt x="325" y="1035"/>
                      <a:pt x="325" y="1035"/>
                    </a:cubicBezTo>
                    <a:cubicBezTo>
                      <a:pt x="325" y="1035"/>
                      <a:pt x="325" y="1035"/>
                      <a:pt x="325" y="1035"/>
                    </a:cubicBezTo>
                    <a:cubicBezTo>
                      <a:pt x="325" y="1035"/>
                      <a:pt x="325" y="1035"/>
                      <a:pt x="325" y="1035"/>
                    </a:cubicBezTo>
                    <a:cubicBezTo>
                      <a:pt x="325" y="1035"/>
                      <a:pt x="326" y="1035"/>
                      <a:pt x="326" y="1035"/>
                    </a:cubicBezTo>
                    <a:cubicBezTo>
                      <a:pt x="326" y="1035"/>
                      <a:pt x="326" y="1035"/>
                      <a:pt x="326" y="1035"/>
                    </a:cubicBezTo>
                    <a:cubicBezTo>
                      <a:pt x="326" y="1035"/>
                      <a:pt x="326" y="1035"/>
                      <a:pt x="326" y="1035"/>
                    </a:cubicBezTo>
                    <a:cubicBezTo>
                      <a:pt x="326" y="1035"/>
                      <a:pt x="321" y="1054"/>
                      <a:pt x="321" y="1054"/>
                    </a:cubicBezTo>
                    <a:cubicBezTo>
                      <a:pt x="321" y="1054"/>
                      <a:pt x="320" y="1054"/>
                      <a:pt x="320" y="1054"/>
                    </a:cubicBezTo>
                    <a:cubicBezTo>
                      <a:pt x="320" y="1054"/>
                      <a:pt x="320" y="1054"/>
                      <a:pt x="320" y="1054"/>
                    </a:cubicBezTo>
                    <a:cubicBezTo>
                      <a:pt x="318" y="1055"/>
                      <a:pt x="316" y="1055"/>
                      <a:pt x="314" y="1056"/>
                    </a:cubicBezTo>
                    <a:cubicBezTo>
                      <a:pt x="313" y="1056"/>
                      <a:pt x="311" y="1056"/>
                      <a:pt x="310" y="1056"/>
                    </a:cubicBezTo>
                    <a:cubicBezTo>
                      <a:pt x="308" y="1056"/>
                      <a:pt x="307" y="1056"/>
                      <a:pt x="306" y="1056"/>
                    </a:cubicBezTo>
                    <a:cubicBezTo>
                      <a:pt x="304" y="1055"/>
                      <a:pt x="302" y="1054"/>
                      <a:pt x="300" y="1053"/>
                    </a:cubicBezTo>
                    <a:cubicBezTo>
                      <a:pt x="300" y="1053"/>
                      <a:pt x="299" y="1053"/>
                      <a:pt x="299" y="1052"/>
                    </a:cubicBezTo>
                    <a:cubicBezTo>
                      <a:pt x="299" y="1052"/>
                      <a:pt x="299" y="1052"/>
                      <a:pt x="299" y="1052"/>
                    </a:cubicBezTo>
                    <a:cubicBezTo>
                      <a:pt x="299" y="1052"/>
                      <a:pt x="299" y="1052"/>
                      <a:pt x="299" y="1052"/>
                    </a:cubicBezTo>
                    <a:cubicBezTo>
                      <a:pt x="299" y="1052"/>
                      <a:pt x="299" y="1052"/>
                      <a:pt x="299" y="1052"/>
                    </a:cubicBezTo>
                    <a:cubicBezTo>
                      <a:pt x="299" y="1052"/>
                      <a:pt x="299" y="1052"/>
                      <a:pt x="299" y="1052"/>
                    </a:cubicBezTo>
                    <a:cubicBezTo>
                      <a:pt x="299" y="1052"/>
                      <a:pt x="304" y="1034"/>
                      <a:pt x="304" y="1034"/>
                    </a:cubicBezTo>
                    <a:cubicBezTo>
                      <a:pt x="304" y="1034"/>
                      <a:pt x="304" y="1034"/>
                      <a:pt x="304" y="1034"/>
                    </a:cubicBezTo>
                    <a:cubicBezTo>
                      <a:pt x="304" y="1034"/>
                      <a:pt x="304" y="1034"/>
                      <a:pt x="304" y="1034"/>
                    </a:cubicBezTo>
                    <a:cubicBezTo>
                      <a:pt x="304" y="1034"/>
                      <a:pt x="304" y="1034"/>
                      <a:pt x="304" y="1034"/>
                    </a:cubicBezTo>
                    <a:cubicBezTo>
                      <a:pt x="304" y="1034"/>
                      <a:pt x="304" y="1034"/>
                      <a:pt x="304" y="1034"/>
                    </a:cubicBezTo>
                    <a:cubicBezTo>
                      <a:pt x="304" y="1034"/>
                      <a:pt x="304" y="1034"/>
                      <a:pt x="304" y="1034"/>
                    </a:cubicBezTo>
                    <a:cubicBezTo>
                      <a:pt x="304" y="1033"/>
                      <a:pt x="304" y="1033"/>
                      <a:pt x="305" y="1034"/>
                    </a:cubicBezTo>
                    <a:close/>
                    <a:moveTo>
                      <a:pt x="292" y="1028"/>
                    </a:moveTo>
                    <a:cubicBezTo>
                      <a:pt x="295" y="1028"/>
                      <a:pt x="297" y="1029"/>
                      <a:pt x="299" y="1030"/>
                    </a:cubicBezTo>
                    <a:cubicBezTo>
                      <a:pt x="299" y="1030"/>
                      <a:pt x="299" y="1030"/>
                      <a:pt x="299" y="1030"/>
                    </a:cubicBezTo>
                    <a:cubicBezTo>
                      <a:pt x="300" y="1030"/>
                      <a:pt x="301" y="1031"/>
                      <a:pt x="302" y="1032"/>
                    </a:cubicBezTo>
                    <a:cubicBezTo>
                      <a:pt x="302" y="1032"/>
                      <a:pt x="302" y="1032"/>
                      <a:pt x="302" y="1032"/>
                    </a:cubicBezTo>
                    <a:cubicBezTo>
                      <a:pt x="302" y="1032"/>
                      <a:pt x="302" y="1032"/>
                      <a:pt x="302" y="1032"/>
                    </a:cubicBezTo>
                    <a:cubicBezTo>
                      <a:pt x="302" y="1032"/>
                      <a:pt x="302" y="1032"/>
                      <a:pt x="302" y="1032"/>
                    </a:cubicBezTo>
                    <a:cubicBezTo>
                      <a:pt x="302" y="1032"/>
                      <a:pt x="302" y="1032"/>
                      <a:pt x="302" y="1032"/>
                    </a:cubicBezTo>
                    <a:cubicBezTo>
                      <a:pt x="302" y="1032"/>
                      <a:pt x="302" y="1032"/>
                      <a:pt x="302" y="1032"/>
                    </a:cubicBezTo>
                    <a:cubicBezTo>
                      <a:pt x="302" y="1033"/>
                      <a:pt x="302" y="1033"/>
                      <a:pt x="302" y="1033"/>
                    </a:cubicBezTo>
                    <a:cubicBezTo>
                      <a:pt x="300" y="1039"/>
                      <a:pt x="300" y="1039"/>
                      <a:pt x="300" y="1039"/>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5" y="1049"/>
                      <a:pt x="294" y="1049"/>
                      <a:pt x="292" y="1048"/>
                    </a:cubicBezTo>
                    <a:cubicBezTo>
                      <a:pt x="291" y="1048"/>
                      <a:pt x="290" y="1047"/>
                      <a:pt x="288" y="1047"/>
                    </a:cubicBezTo>
                    <a:cubicBezTo>
                      <a:pt x="285" y="1047"/>
                      <a:pt x="281" y="1047"/>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6" y="1049"/>
                      <a:pt x="276" y="1049"/>
                      <a:pt x="276" y="1049"/>
                    </a:cubicBezTo>
                    <a:cubicBezTo>
                      <a:pt x="276" y="1049"/>
                      <a:pt x="276" y="1049"/>
                      <a:pt x="276" y="1049"/>
                    </a:cubicBezTo>
                    <a:cubicBezTo>
                      <a:pt x="276" y="1049"/>
                      <a:pt x="276" y="1049"/>
                      <a:pt x="276" y="1049"/>
                    </a:cubicBezTo>
                    <a:cubicBezTo>
                      <a:pt x="276" y="1049"/>
                      <a:pt x="276" y="1049"/>
                      <a:pt x="276" y="1049"/>
                    </a:cubicBezTo>
                    <a:cubicBezTo>
                      <a:pt x="276" y="1049"/>
                      <a:pt x="276" y="1049"/>
                      <a:pt x="276" y="1049"/>
                    </a:cubicBezTo>
                    <a:cubicBezTo>
                      <a:pt x="276" y="1049"/>
                      <a:pt x="276" y="1049"/>
                      <a:pt x="276" y="1049"/>
                    </a:cubicBezTo>
                    <a:cubicBezTo>
                      <a:pt x="281" y="1032"/>
                      <a:pt x="281" y="1032"/>
                      <a:pt x="281" y="1032"/>
                    </a:cubicBezTo>
                    <a:cubicBezTo>
                      <a:pt x="281" y="1031"/>
                      <a:pt x="281" y="1031"/>
                      <a:pt x="281" y="1031"/>
                    </a:cubicBezTo>
                    <a:cubicBezTo>
                      <a:pt x="281" y="1030"/>
                      <a:pt x="282" y="1030"/>
                      <a:pt x="282" y="1030"/>
                    </a:cubicBezTo>
                    <a:cubicBezTo>
                      <a:pt x="282" y="1030"/>
                      <a:pt x="282" y="1030"/>
                      <a:pt x="282" y="1030"/>
                    </a:cubicBezTo>
                    <a:cubicBezTo>
                      <a:pt x="284" y="1030"/>
                      <a:pt x="286" y="1029"/>
                      <a:pt x="287" y="1029"/>
                    </a:cubicBezTo>
                    <a:cubicBezTo>
                      <a:pt x="289" y="1028"/>
                      <a:pt x="291" y="1028"/>
                      <a:pt x="292" y="1028"/>
                    </a:cubicBezTo>
                    <a:close/>
                    <a:moveTo>
                      <a:pt x="478" y="1033"/>
                    </a:moveTo>
                    <a:cubicBezTo>
                      <a:pt x="469" y="1033"/>
                      <a:pt x="462" y="1040"/>
                      <a:pt x="462" y="1048"/>
                    </a:cubicBezTo>
                    <a:cubicBezTo>
                      <a:pt x="462" y="1052"/>
                      <a:pt x="464" y="1056"/>
                      <a:pt x="467" y="1059"/>
                    </a:cubicBezTo>
                    <a:cubicBezTo>
                      <a:pt x="460" y="1068"/>
                      <a:pt x="460" y="1068"/>
                      <a:pt x="460" y="1068"/>
                    </a:cubicBezTo>
                    <a:cubicBezTo>
                      <a:pt x="463" y="1070"/>
                      <a:pt x="463" y="1070"/>
                      <a:pt x="463" y="1070"/>
                    </a:cubicBezTo>
                    <a:cubicBezTo>
                      <a:pt x="470" y="1061"/>
                      <a:pt x="470" y="1061"/>
                      <a:pt x="470" y="1061"/>
                    </a:cubicBezTo>
                    <a:cubicBezTo>
                      <a:pt x="472" y="1063"/>
                      <a:pt x="475" y="1064"/>
                      <a:pt x="478" y="1064"/>
                    </a:cubicBezTo>
                    <a:cubicBezTo>
                      <a:pt x="486" y="1064"/>
                      <a:pt x="493" y="1057"/>
                      <a:pt x="493" y="1048"/>
                    </a:cubicBezTo>
                    <a:cubicBezTo>
                      <a:pt x="493" y="1040"/>
                      <a:pt x="486" y="1033"/>
                      <a:pt x="478" y="1033"/>
                    </a:cubicBezTo>
                    <a:close/>
                    <a:moveTo>
                      <a:pt x="478" y="1060"/>
                    </a:moveTo>
                    <a:cubicBezTo>
                      <a:pt x="471" y="1060"/>
                      <a:pt x="466" y="1055"/>
                      <a:pt x="466" y="1048"/>
                    </a:cubicBezTo>
                    <a:cubicBezTo>
                      <a:pt x="466" y="1042"/>
                      <a:pt x="471" y="1037"/>
                      <a:pt x="478" y="1037"/>
                    </a:cubicBezTo>
                    <a:cubicBezTo>
                      <a:pt x="484" y="1037"/>
                      <a:pt x="489" y="1042"/>
                      <a:pt x="489" y="1048"/>
                    </a:cubicBezTo>
                    <a:cubicBezTo>
                      <a:pt x="489" y="1055"/>
                      <a:pt x="484" y="1060"/>
                      <a:pt x="478" y="1060"/>
                    </a:cubicBezTo>
                    <a:close/>
                    <a:moveTo>
                      <a:pt x="602" y="1116"/>
                    </a:moveTo>
                    <a:cubicBezTo>
                      <a:pt x="602" y="1139"/>
                      <a:pt x="584" y="1156"/>
                      <a:pt x="562" y="1156"/>
                    </a:cubicBezTo>
                    <a:cubicBezTo>
                      <a:pt x="40" y="1156"/>
                      <a:pt x="40" y="1156"/>
                      <a:pt x="40" y="1156"/>
                    </a:cubicBezTo>
                    <a:cubicBezTo>
                      <a:pt x="18" y="1156"/>
                      <a:pt x="0" y="1139"/>
                      <a:pt x="0" y="1116"/>
                    </a:cubicBezTo>
                    <a:cubicBezTo>
                      <a:pt x="0" y="40"/>
                      <a:pt x="0" y="40"/>
                      <a:pt x="0" y="40"/>
                    </a:cubicBezTo>
                    <a:cubicBezTo>
                      <a:pt x="0" y="18"/>
                      <a:pt x="18" y="0"/>
                      <a:pt x="40" y="0"/>
                    </a:cubicBezTo>
                    <a:cubicBezTo>
                      <a:pt x="562" y="0"/>
                      <a:pt x="562" y="0"/>
                      <a:pt x="562" y="0"/>
                    </a:cubicBezTo>
                    <a:cubicBezTo>
                      <a:pt x="584" y="0"/>
                      <a:pt x="602" y="18"/>
                      <a:pt x="602" y="40"/>
                    </a:cubicBezTo>
                    <a:lnTo>
                      <a:pt x="602" y="1116"/>
                    </a:lnTo>
                    <a:close/>
                    <a:moveTo>
                      <a:pt x="273" y="379"/>
                    </a:moveTo>
                    <a:cubicBezTo>
                      <a:pt x="95" y="379"/>
                      <a:pt x="95" y="379"/>
                      <a:pt x="95" y="379"/>
                    </a:cubicBezTo>
                    <a:cubicBezTo>
                      <a:pt x="95" y="202"/>
                      <a:pt x="95" y="202"/>
                      <a:pt x="95" y="202"/>
                    </a:cubicBezTo>
                    <a:cubicBezTo>
                      <a:pt x="273" y="202"/>
                      <a:pt x="273" y="202"/>
                      <a:pt x="273" y="202"/>
                    </a:cubicBezTo>
                    <a:lnTo>
                      <a:pt x="273" y="379"/>
                    </a:lnTo>
                    <a:close/>
                    <a:moveTo>
                      <a:pt x="95" y="769"/>
                    </a:moveTo>
                    <a:cubicBezTo>
                      <a:pt x="273" y="769"/>
                      <a:pt x="273" y="769"/>
                      <a:pt x="273" y="769"/>
                    </a:cubicBezTo>
                    <a:cubicBezTo>
                      <a:pt x="273" y="911"/>
                      <a:pt x="273" y="911"/>
                      <a:pt x="273" y="911"/>
                    </a:cubicBezTo>
                    <a:cubicBezTo>
                      <a:pt x="95" y="911"/>
                      <a:pt x="95" y="911"/>
                      <a:pt x="95" y="911"/>
                    </a:cubicBezTo>
                    <a:lnTo>
                      <a:pt x="95" y="769"/>
                    </a:lnTo>
                    <a:close/>
                    <a:moveTo>
                      <a:pt x="95" y="581"/>
                    </a:moveTo>
                    <a:cubicBezTo>
                      <a:pt x="462" y="581"/>
                      <a:pt x="462" y="581"/>
                      <a:pt x="462" y="581"/>
                    </a:cubicBezTo>
                    <a:cubicBezTo>
                      <a:pt x="462" y="758"/>
                      <a:pt x="462" y="758"/>
                      <a:pt x="462" y="758"/>
                    </a:cubicBezTo>
                    <a:cubicBezTo>
                      <a:pt x="95" y="758"/>
                      <a:pt x="95" y="758"/>
                      <a:pt x="95" y="758"/>
                    </a:cubicBezTo>
                    <a:lnTo>
                      <a:pt x="95" y="581"/>
                    </a:lnTo>
                    <a:close/>
                    <a:moveTo>
                      <a:pt x="284" y="391"/>
                    </a:moveTo>
                    <a:cubicBezTo>
                      <a:pt x="462" y="391"/>
                      <a:pt x="462" y="391"/>
                      <a:pt x="462" y="391"/>
                    </a:cubicBezTo>
                    <a:cubicBezTo>
                      <a:pt x="462" y="568"/>
                      <a:pt x="462" y="568"/>
                      <a:pt x="462" y="568"/>
                    </a:cubicBezTo>
                    <a:cubicBezTo>
                      <a:pt x="284" y="568"/>
                      <a:pt x="284" y="568"/>
                      <a:pt x="284" y="568"/>
                    </a:cubicBezTo>
                    <a:lnTo>
                      <a:pt x="284" y="391"/>
                    </a:lnTo>
                    <a:close/>
                    <a:moveTo>
                      <a:pt x="273" y="568"/>
                    </a:moveTo>
                    <a:cubicBezTo>
                      <a:pt x="95" y="568"/>
                      <a:pt x="95" y="568"/>
                      <a:pt x="95" y="568"/>
                    </a:cubicBezTo>
                    <a:cubicBezTo>
                      <a:pt x="95" y="391"/>
                      <a:pt x="95" y="391"/>
                      <a:pt x="95" y="391"/>
                    </a:cubicBezTo>
                    <a:cubicBezTo>
                      <a:pt x="273" y="391"/>
                      <a:pt x="273" y="391"/>
                      <a:pt x="273" y="391"/>
                    </a:cubicBezTo>
                    <a:lnTo>
                      <a:pt x="273" y="568"/>
                    </a:lnTo>
                    <a:close/>
                    <a:moveTo>
                      <a:pt x="284" y="769"/>
                    </a:moveTo>
                    <a:cubicBezTo>
                      <a:pt x="462" y="769"/>
                      <a:pt x="462" y="769"/>
                      <a:pt x="462" y="769"/>
                    </a:cubicBezTo>
                    <a:cubicBezTo>
                      <a:pt x="462" y="911"/>
                      <a:pt x="462" y="911"/>
                      <a:pt x="462" y="911"/>
                    </a:cubicBezTo>
                    <a:cubicBezTo>
                      <a:pt x="284" y="911"/>
                      <a:pt x="284" y="911"/>
                      <a:pt x="284" y="911"/>
                    </a:cubicBezTo>
                    <a:lnTo>
                      <a:pt x="284" y="769"/>
                    </a:lnTo>
                    <a:close/>
                    <a:moveTo>
                      <a:pt x="462" y="202"/>
                    </a:moveTo>
                    <a:cubicBezTo>
                      <a:pt x="462" y="379"/>
                      <a:pt x="462" y="379"/>
                      <a:pt x="462" y="379"/>
                    </a:cubicBezTo>
                    <a:cubicBezTo>
                      <a:pt x="284" y="379"/>
                      <a:pt x="284" y="379"/>
                      <a:pt x="284" y="379"/>
                    </a:cubicBezTo>
                    <a:cubicBezTo>
                      <a:pt x="284" y="202"/>
                      <a:pt x="284" y="202"/>
                      <a:pt x="284" y="202"/>
                    </a:cubicBezTo>
                    <a:lnTo>
                      <a:pt x="462" y="202"/>
                    </a:lnTo>
                    <a:close/>
                  </a:path>
                </a:pathLst>
              </a:custGeom>
              <a:solidFill>
                <a:srgbClr val="A5A5A5"/>
              </a:solidFill>
              <a:ln>
                <a:noFill/>
              </a:ln>
            </p:spPr>
            <p:txBody>
              <a:bodyPr vert="horz" wrap="square" lIns="68574" tIns="34287" rIns="68574" bIns="34287"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788">
                  <a:solidFill>
                    <a:srgbClr val="505050"/>
                  </a:solidFill>
                </a:endParaRPr>
              </a:p>
            </p:txBody>
          </p:sp>
          <p:sp>
            <p:nvSpPr>
              <p:cNvPr id="379" name="Rounded Rectangle 6"/>
              <p:cNvSpPr>
                <a:spLocks noChangeAspect="1"/>
              </p:cNvSpPr>
              <p:nvPr/>
            </p:nvSpPr>
            <p:spPr bwMode="black">
              <a:xfrm rot="16200000">
                <a:off x="965318" y="4057868"/>
                <a:ext cx="289825" cy="410872"/>
              </a:xfrm>
              <a:custGeom>
                <a:avLst/>
                <a:gdLst/>
                <a:ahLst/>
                <a:cxnLst/>
                <a:rect l="l" t="t" r="r" b="b"/>
                <a:pathLst>
                  <a:path w="3286897" h="4658497">
                    <a:moveTo>
                      <a:pt x="1600200" y="4382531"/>
                    </a:moveTo>
                    <a:cubicBezTo>
                      <a:pt x="1600200" y="4367744"/>
                      <a:pt x="1588213" y="4355757"/>
                      <a:pt x="1573426" y="4355757"/>
                    </a:cubicBezTo>
                    <a:lnTo>
                      <a:pt x="811428" y="4355757"/>
                    </a:lnTo>
                    <a:cubicBezTo>
                      <a:pt x="796641" y="4355757"/>
                      <a:pt x="784654" y="4367744"/>
                      <a:pt x="784654" y="4382531"/>
                    </a:cubicBezTo>
                    <a:lnTo>
                      <a:pt x="784654" y="4489621"/>
                    </a:lnTo>
                    <a:cubicBezTo>
                      <a:pt x="784654" y="4504408"/>
                      <a:pt x="796641" y="4516395"/>
                      <a:pt x="811428" y="4516395"/>
                    </a:cubicBezTo>
                    <a:lnTo>
                      <a:pt x="1573426" y="4516395"/>
                    </a:lnTo>
                    <a:cubicBezTo>
                      <a:pt x="1588213" y="4516395"/>
                      <a:pt x="1600200" y="4504408"/>
                      <a:pt x="1600200" y="4489621"/>
                    </a:cubicBezTo>
                    <a:close/>
                    <a:moveTo>
                      <a:pt x="2502243" y="4382531"/>
                    </a:moveTo>
                    <a:cubicBezTo>
                      <a:pt x="2502243" y="4367744"/>
                      <a:pt x="2490256" y="4355757"/>
                      <a:pt x="2475469" y="4355757"/>
                    </a:cubicBezTo>
                    <a:lnTo>
                      <a:pt x="1713471" y="4355757"/>
                    </a:lnTo>
                    <a:cubicBezTo>
                      <a:pt x="1698684" y="4355757"/>
                      <a:pt x="1686697" y="4367744"/>
                      <a:pt x="1686697" y="4382531"/>
                    </a:cubicBezTo>
                    <a:lnTo>
                      <a:pt x="1686697" y="4489621"/>
                    </a:lnTo>
                    <a:cubicBezTo>
                      <a:pt x="1686697" y="4504408"/>
                      <a:pt x="1698684" y="4516395"/>
                      <a:pt x="1713471" y="4516395"/>
                    </a:cubicBezTo>
                    <a:lnTo>
                      <a:pt x="2475469" y="4516395"/>
                    </a:lnTo>
                    <a:cubicBezTo>
                      <a:pt x="2490256" y="4516395"/>
                      <a:pt x="2502243" y="4504408"/>
                      <a:pt x="2502243" y="4489621"/>
                    </a:cubicBezTo>
                    <a:close/>
                    <a:moveTo>
                      <a:pt x="3021231" y="480896"/>
                    </a:moveTo>
                    <a:cubicBezTo>
                      <a:pt x="3021231" y="375524"/>
                      <a:pt x="2935811" y="290104"/>
                      <a:pt x="2830439" y="290104"/>
                    </a:cubicBezTo>
                    <a:lnTo>
                      <a:pt x="444108" y="290104"/>
                    </a:lnTo>
                    <a:cubicBezTo>
                      <a:pt x="338736" y="290104"/>
                      <a:pt x="253316" y="375524"/>
                      <a:pt x="253316" y="480896"/>
                    </a:cubicBezTo>
                    <a:lnTo>
                      <a:pt x="253316" y="4029043"/>
                    </a:lnTo>
                    <a:cubicBezTo>
                      <a:pt x="253316" y="4134415"/>
                      <a:pt x="338736" y="4219835"/>
                      <a:pt x="444108" y="4219835"/>
                    </a:cubicBezTo>
                    <a:lnTo>
                      <a:pt x="2830439" y="4219835"/>
                    </a:lnTo>
                    <a:cubicBezTo>
                      <a:pt x="2935811" y="4219835"/>
                      <a:pt x="3021231" y="4134415"/>
                      <a:pt x="3021231" y="4029043"/>
                    </a:cubicBezTo>
                    <a:close/>
                    <a:moveTo>
                      <a:pt x="3286897" y="226566"/>
                    </a:moveTo>
                    <a:lnTo>
                      <a:pt x="3286897" y="4431931"/>
                    </a:lnTo>
                    <a:cubicBezTo>
                      <a:pt x="3286897" y="4557060"/>
                      <a:pt x="3185460" y="4658497"/>
                      <a:pt x="3060331" y="4658497"/>
                    </a:cubicBezTo>
                    <a:lnTo>
                      <a:pt x="226566" y="4658497"/>
                    </a:lnTo>
                    <a:cubicBezTo>
                      <a:pt x="101437" y="4658497"/>
                      <a:pt x="0" y="4557060"/>
                      <a:pt x="0" y="4431931"/>
                    </a:cubicBezTo>
                    <a:lnTo>
                      <a:pt x="0" y="226566"/>
                    </a:lnTo>
                    <a:cubicBezTo>
                      <a:pt x="0" y="101437"/>
                      <a:pt x="101437" y="0"/>
                      <a:pt x="226566" y="0"/>
                    </a:cubicBezTo>
                    <a:lnTo>
                      <a:pt x="3060331" y="0"/>
                    </a:lnTo>
                    <a:cubicBezTo>
                      <a:pt x="3185460" y="0"/>
                      <a:pt x="3286897" y="101437"/>
                      <a:pt x="3286897" y="226566"/>
                    </a:cubicBezTo>
                    <a:close/>
                  </a:path>
                </a:pathLst>
              </a:custGeom>
              <a:solidFill>
                <a:srgbClr val="A5A5A5"/>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61721" tIns="30861" rIns="61721" bIns="30861" numCol="1" rtlCol="0" anchor="ctr" anchorCtr="0" compatLnSpc="1">
                <a:prstTxWarp prst="textNoShape">
                  <a:avLst/>
                </a:prstTxWarp>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defTabSz="555486"/>
                <a:endParaRPr lang="en-US" sz="788" spc="-92" dirty="0">
                  <a:solidFill>
                    <a:srgbClr val="505050">
                      <a:lumMod val="50000"/>
                    </a:srgbClr>
                  </a:solidFill>
                  <a:latin typeface="Segoe Light" pitchFamily="34" charset="0"/>
                </a:endParaRPr>
              </a:p>
            </p:txBody>
          </p:sp>
        </p:grpSp>
        <p:sp>
          <p:nvSpPr>
            <p:cNvPr id="353" name="TextBox 271"/>
            <p:cNvSpPr txBox="1"/>
            <p:nvPr/>
          </p:nvSpPr>
          <p:spPr>
            <a:xfrm>
              <a:off x="856674" y="4343918"/>
              <a:ext cx="526509" cy="182875"/>
            </a:xfrm>
            <a:prstGeom prst="rect">
              <a:avLst/>
            </a:prstGeom>
            <a:noFill/>
          </p:spPr>
          <p:txBody>
            <a:bodyPr wrap="non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90000"/>
                </a:lnSpc>
                <a:spcAft>
                  <a:spcPts val="441"/>
                </a:spcAft>
              </a:pPr>
              <a:r>
                <a:rPr lang="en-US" sz="675" dirty="0">
                  <a:gradFill>
                    <a:gsLst>
                      <a:gs pos="2917">
                        <a:srgbClr val="002050"/>
                      </a:gs>
                      <a:gs pos="30000">
                        <a:srgbClr val="002050"/>
                      </a:gs>
                    </a:gsLst>
                    <a:lin ang="5400000" scaled="0"/>
                  </a:gradFill>
                </a:rPr>
                <a:t>Devices</a:t>
              </a:r>
            </a:p>
          </p:txBody>
        </p:sp>
        <p:sp>
          <p:nvSpPr>
            <p:cNvPr id="354" name="TextBox 272"/>
            <p:cNvSpPr txBox="1"/>
            <p:nvPr/>
          </p:nvSpPr>
          <p:spPr>
            <a:xfrm>
              <a:off x="846978" y="5211274"/>
              <a:ext cx="548639" cy="182875"/>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90000"/>
                </a:lnSpc>
              </a:pPr>
              <a:r>
                <a:rPr lang="en-US" sz="675" dirty="0">
                  <a:gradFill>
                    <a:gsLst>
                      <a:gs pos="2917">
                        <a:srgbClr val="002050"/>
                      </a:gs>
                      <a:gs pos="30000">
                        <a:srgbClr val="002050"/>
                      </a:gs>
                    </a:gsLst>
                    <a:lin ang="5400000" scaled="0"/>
                  </a:gradFill>
                </a:rPr>
                <a:t>Sensors</a:t>
              </a:r>
            </a:p>
          </p:txBody>
        </p:sp>
        <p:grpSp>
          <p:nvGrpSpPr>
            <p:cNvPr id="355" name="Group 354"/>
            <p:cNvGrpSpPr/>
            <p:nvPr/>
          </p:nvGrpSpPr>
          <p:grpSpPr>
            <a:xfrm>
              <a:off x="702726" y="4734794"/>
              <a:ext cx="862790" cy="429878"/>
              <a:chOff x="5416547" y="3144838"/>
              <a:chExt cx="1352553" cy="565150"/>
            </a:xfrm>
            <a:solidFill>
              <a:srgbClr val="A5A5A5"/>
            </a:solidFill>
          </p:grpSpPr>
          <p:sp>
            <p:nvSpPr>
              <p:cNvPr id="373" name="Freeform 106"/>
              <p:cNvSpPr>
                <a:spLocks/>
              </p:cNvSpPr>
              <p:nvPr/>
            </p:nvSpPr>
            <p:spPr bwMode="auto">
              <a:xfrm>
                <a:off x="5435600" y="3144838"/>
                <a:ext cx="1333500" cy="561975"/>
              </a:xfrm>
              <a:custGeom>
                <a:avLst/>
                <a:gdLst>
                  <a:gd name="T0" fmla="*/ 316 w 353"/>
                  <a:gd name="T1" fmla="*/ 100 h 147"/>
                  <a:gd name="T2" fmla="*/ 314 w 353"/>
                  <a:gd name="T3" fmla="*/ 97 h 147"/>
                  <a:gd name="T4" fmla="*/ 351 w 353"/>
                  <a:gd name="T5" fmla="*/ 74 h 147"/>
                  <a:gd name="T6" fmla="*/ 47 w 353"/>
                  <a:gd name="T7" fmla="*/ 0 h 147"/>
                  <a:gd name="T8" fmla="*/ 0 w 353"/>
                  <a:gd name="T9" fmla="*/ 16 h 147"/>
                  <a:gd name="T10" fmla="*/ 1 w 353"/>
                  <a:gd name="T11" fmla="*/ 17 h 147"/>
                  <a:gd name="T12" fmla="*/ 304 w 353"/>
                  <a:gd name="T13" fmla="*/ 98 h 147"/>
                  <a:gd name="T14" fmla="*/ 312 w 353"/>
                  <a:gd name="T15" fmla="*/ 108 h 147"/>
                  <a:gd name="T16" fmla="*/ 312 w 353"/>
                  <a:gd name="T17" fmla="*/ 144 h 147"/>
                  <a:gd name="T18" fmla="*/ 312 w 353"/>
                  <a:gd name="T19" fmla="*/ 147 h 147"/>
                  <a:gd name="T20" fmla="*/ 353 w 353"/>
                  <a:gd name="T21" fmla="*/ 77 h 147"/>
                  <a:gd name="T22" fmla="*/ 316 w 353"/>
                  <a:gd name="T23" fmla="*/ 100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53" h="147">
                    <a:moveTo>
                      <a:pt x="316" y="100"/>
                    </a:moveTo>
                    <a:cubicBezTo>
                      <a:pt x="314" y="97"/>
                      <a:pt x="314" y="97"/>
                      <a:pt x="314" y="97"/>
                    </a:cubicBezTo>
                    <a:cubicBezTo>
                      <a:pt x="351" y="74"/>
                      <a:pt x="351" y="74"/>
                      <a:pt x="351" y="74"/>
                    </a:cubicBezTo>
                    <a:cubicBezTo>
                      <a:pt x="47" y="0"/>
                      <a:pt x="47" y="0"/>
                      <a:pt x="47" y="0"/>
                    </a:cubicBezTo>
                    <a:cubicBezTo>
                      <a:pt x="0" y="16"/>
                      <a:pt x="0" y="16"/>
                      <a:pt x="0" y="16"/>
                    </a:cubicBezTo>
                    <a:cubicBezTo>
                      <a:pt x="1" y="16"/>
                      <a:pt x="1" y="16"/>
                      <a:pt x="1" y="17"/>
                    </a:cubicBezTo>
                    <a:cubicBezTo>
                      <a:pt x="304" y="98"/>
                      <a:pt x="304" y="98"/>
                      <a:pt x="304" y="98"/>
                    </a:cubicBezTo>
                    <a:cubicBezTo>
                      <a:pt x="309" y="99"/>
                      <a:pt x="312" y="104"/>
                      <a:pt x="312" y="108"/>
                    </a:cubicBezTo>
                    <a:cubicBezTo>
                      <a:pt x="312" y="144"/>
                      <a:pt x="312" y="144"/>
                      <a:pt x="312" y="144"/>
                    </a:cubicBezTo>
                    <a:cubicBezTo>
                      <a:pt x="312" y="145"/>
                      <a:pt x="312" y="146"/>
                      <a:pt x="312" y="147"/>
                    </a:cubicBezTo>
                    <a:cubicBezTo>
                      <a:pt x="347" y="128"/>
                      <a:pt x="352" y="86"/>
                      <a:pt x="353" y="77"/>
                    </a:cubicBezTo>
                    <a:lnTo>
                      <a:pt x="316" y="1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4" tIns="34287" rIns="68574" bIns="34287"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553"/>
                <a:endParaRPr lang="en-US" sz="788">
                  <a:solidFill>
                    <a:srgbClr val="000000"/>
                  </a:solidFill>
                </a:endParaRPr>
              </a:p>
            </p:txBody>
          </p:sp>
          <p:sp>
            <p:nvSpPr>
              <p:cNvPr id="374" name="Freeform 107"/>
              <p:cNvSpPr>
                <a:spLocks noEditPoints="1"/>
              </p:cNvSpPr>
              <p:nvPr/>
            </p:nvSpPr>
            <p:spPr bwMode="auto">
              <a:xfrm>
                <a:off x="5416547" y="3216276"/>
                <a:ext cx="1185862" cy="493712"/>
              </a:xfrm>
              <a:custGeom>
                <a:avLst/>
                <a:gdLst>
                  <a:gd name="T0" fmla="*/ 308 w 314"/>
                  <a:gd name="T1" fmla="*/ 82 h 129"/>
                  <a:gd name="T2" fmla="*/ 5 w 314"/>
                  <a:gd name="T3" fmla="*/ 0 h 129"/>
                  <a:gd name="T4" fmla="*/ 4 w 314"/>
                  <a:gd name="T5" fmla="*/ 0 h 129"/>
                  <a:gd name="T6" fmla="*/ 0 w 314"/>
                  <a:gd name="T7" fmla="*/ 4 h 129"/>
                  <a:gd name="T8" fmla="*/ 0 w 314"/>
                  <a:gd name="T9" fmla="*/ 40 h 129"/>
                  <a:gd name="T10" fmla="*/ 6 w 314"/>
                  <a:gd name="T11" fmla="*/ 48 h 129"/>
                  <a:gd name="T12" fmla="*/ 309 w 314"/>
                  <a:gd name="T13" fmla="*/ 129 h 129"/>
                  <a:gd name="T14" fmla="*/ 313 w 314"/>
                  <a:gd name="T15" fmla="*/ 128 h 129"/>
                  <a:gd name="T16" fmla="*/ 314 w 314"/>
                  <a:gd name="T17" fmla="*/ 125 h 129"/>
                  <a:gd name="T18" fmla="*/ 314 w 314"/>
                  <a:gd name="T19" fmla="*/ 89 h 129"/>
                  <a:gd name="T20" fmla="*/ 308 w 314"/>
                  <a:gd name="T21" fmla="*/ 82 h 129"/>
                  <a:gd name="T22" fmla="*/ 72 w 314"/>
                  <a:gd name="T23" fmla="*/ 54 h 129"/>
                  <a:gd name="T24" fmla="*/ 60 w 314"/>
                  <a:gd name="T25" fmla="*/ 39 h 129"/>
                  <a:gd name="T26" fmla="*/ 72 w 314"/>
                  <a:gd name="T27" fmla="*/ 30 h 129"/>
                  <a:gd name="T28" fmla="*/ 84 w 314"/>
                  <a:gd name="T29" fmla="*/ 45 h 129"/>
                  <a:gd name="T30" fmla="*/ 72 w 314"/>
                  <a:gd name="T31" fmla="*/ 54 h 129"/>
                  <a:gd name="T32" fmla="*/ 139 w 314"/>
                  <a:gd name="T33" fmla="*/ 72 h 129"/>
                  <a:gd name="T34" fmla="*/ 127 w 314"/>
                  <a:gd name="T35" fmla="*/ 57 h 129"/>
                  <a:gd name="T36" fmla="*/ 139 w 314"/>
                  <a:gd name="T37" fmla="*/ 48 h 129"/>
                  <a:gd name="T38" fmla="*/ 151 w 314"/>
                  <a:gd name="T39" fmla="*/ 63 h 129"/>
                  <a:gd name="T40" fmla="*/ 139 w 314"/>
                  <a:gd name="T41" fmla="*/ 72 h 129"/>
                  <a:gd name="T42" fmla="*/ 175 w 314"/>
                  <a:gd name="T43" fmla="*/ 82 h 129"/>
                  <a:gd name="T44" fmla="*/ 163 w 314"/>
                  <a:gd name="T45" fmla="*/ 66 h 129"/>
                  <a:gd name="T46" fmla="*/ 175 w 314"/>
                  <a:gd name="T47" fmla="*/ 57 h 129"/>
                  <a:gd name="T48" fmla="*/ 188 w 314"/>
                  <a:gd name="T49" fmla="*/ 73 h 129"/>
                  <a:gd name="T50" fmla="*/ 175 w 314"/>
                  <a:gd name="T51" fmla="*/ 82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14" h="129">
                    <a:moveTo>
                      <a:pt x="308" y="82"/>
                    </a:moveTo>
                    <a:cubicBezTo>
                      <a:pt x="5" y="0"/>
                      <a:pt x="5" y="0"/>
                      <a:pt x="5" y="0"/>
                    </a:cubicBezTo>
                    <a:cubicBezTo>
                      <a:pt x="5" y="0"/>
                      <a:pt x="4" y="0"/>
                      <a:pt x="4" y="0"/>
                    </a:cubicBezTo>
                    <a:cubicBezTo>
                      <a:pt x="2" y="0"/>
                      <a:pt x="0" y="2"/>
                      <a:pt x="0" y="4"/>
                    </a:cubicBezTo>
                    <a:cubicBezTo>
                      <a:pt x="0" y="40"/>
                      <a:pt x="0" y="40"/>
                      <a:pt x="0" y="40"/>
                    </a:cubicBezTo>
                    <a:cubicBezTo>
                      <a:pt x="0" y="43"/>
                      <a:pt x="3" y="47"/>
                      <a:pt x="6" y="48"/>
                    </a:cubicBezTo>
                    <a:cubicBezTo>
                      <a:pt x="309" y="129"/>
                      <a:pt x="309" y="129"/>
                      <a:pt x="309" y="129"/>
                    </a:cubicBezTo>
                    <a:cubicBezTo>
                      <a:pt x="311" y="129"/>
                      <a:pt x="312" y="129"/>
                      <a:pt x="313" y="128"/>
                    </a:cubicBezTo>
                    <a:cubicBezTo>
                      <a:pt x="314" y="127"/>
                      <a:pt x="314" y="126"/>
                      <a:pt x="314" y="125"/>
                    </a:cubicBezTo>
                    <a:cubicBezTo>
                      <a:pt x="314" y="89"/>
                      <a:pt x="314" y="89"/>
                      <a:pt x="314" y="89"/>
                    </a:cubicBezTo>
                    <a:cubicBezTo>
                      <a:pt x="314" y="86"/>
                      <a:pt x="311" y="82"/>
                      <a:pt x="308" y="82"/>
                    </a:cubicBezTo>
                    <a:close/>
                    <a:moveTo>
                      <a:pt x="72" y="54"/>
                    </a:moveTo>
                    <a:cubicBezTo>
                      <a:pt x="65" y="52"/>
                      <a:pt x="60" y="45"/>
                      <a:pt x="60" y="39"/>
                    </a:cubicBezTo>
                    <a:cubicBezTo>
                      <a:pt x="60" y="32"/>
                      <a:pt x="65" y="28"/>
                      <a:pt x="72" y="30"/>
                    </a:cubicBezTo>
                    <a:cubicBezTo>
                      <a:pt x="79" y="31"/>
                      <a:pt x="84" y="38"/>
                      <a:pt x="84" y="45"/>
                    </a:cubicBezTo>
                    <a:cubicBezTo>
                      <a:pt x="84" y="52"/>
                      <a:pt x="79" y="56"/>
                      <a:pt x="72" y="54"/>
                    </a:cubicBezTo>
                    <a:close/>
                    <a:moveTo>
                      <a:pt x="139" y="72"/>
                    </a:moveTo>
                    <a:cubicBezTo>
                      <a:pt x="132" y="70"/>
                      <a:pt x="127" y="63"/>
                      <a:pt x="127" y="57"/>
                    </a:cubicBezTo>
                    <a:cubicBezTo>
                      <a:pt x="127" y="50"/>
                      <a:pt x="132" y="46"/>
                      <a:pt x="139" y="48"/>
                    </a:cubicBezTo>
                    <a:cubicBezTo>
                      <a:pt x="146" y="49"/>
                      <a:pt x="151" y="56"/>
                      <a:pt x="151" y="63"/>
                    </a:cubicBezTo>
                    <a:cubicBezTo>
                      <a:pt x="151" y="70"/>
                      <a:pt x="146" y="74"/>
                      <a:pt x="139" y="72"/>
                    </a:cubicBezTo>
                    <a:close/>
                    <a:moveTo>
                      <a:pt x="175" y="82"/>
                    </a:moveTo>
                    <a:cubicBezTo>
                      <a:pt x="169" y="80"/>
                      <a:pt x="163" y="73"/>
                      <a:pt x="163" y="66"/>
                    </a:cubicBezTo>
                    <a:cubicBezTo>
                      <a:pt x="163" y="60"/>
                      <a:pt x="169" y="56"/>
                      <a:pt x="175" y="57"/>
                    </a:cubicBezTo>
                    <a:cubicBezTo>
                      <a:pt x="182" y="59"/>
                      <a:pt x="188" y="66"/>
                      <a:pt x="188" y="73"/>
                    </a:cubicBezTo>
                    <a:cubicBezTo>
                      <a:pt x="188" y="80"/>
                      <a:pt x="182" y="84"/>
                      <a:pt x="175" y="8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4" tIns="34287" rIns="68574" bIns="34287"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553"/>
                <a:endParaRPr lang="en-US" sz="788">
                  <a:solidFill>
                    <a:srgbClr val="000000"/>
                  </a:solidFill>
                </a:endParaRPr>
              </a:p>
            </p:txBody>
          </p:sp>
          <p:sp>
            <p:nvSpPr>
              <p:cNvPr id="375" name="Freeform 108"/>
              <p:cNvSpPr>
                <a:spLocks/>
              </p:cNvSpPr>
              <p:nvPr/>
            </p:nvSpPr>
            <p:spPr bwMode="auto">
              <a:xfrm>
                <a:off x="6046788" y="3576638"/>
                <a:ext cx="188913" cy="117475"/>
              </a:xfrm>
              <a:custGeom>
                <a:avLst/>
                <a:gdLst>
                  <a:gd name="T0" fmla="*/ 0 w 119"/>
                  <a:gd name="T1" fmla="*/ 0 h 74"/>
                  <a:gd name="T2" fmla="*/ 0 w 119"/>
                  <a:gd name="T3" fmla="*/ 12 h 74"/>
                  <a:gd name="T4" fmla="*/ 88 w 119"/>
                  <a:gd name="T5" fmla="*/ 74 h 74"/>
                  <a:gd name="T6" fmla="*/ 119 w 119"/>
                  <a:gd name="T7" fmla="*/ 50 h 74"/>
                  <a:gd name="T8" fmla="*/ 43 w 119"/>
                  <a:gd name="T9" fmla="*/ 12 h 74"/>
                  <a:gd name="T10" fmla="*/ 0 w 119"/>
                  <a:gd name="T11" fmla="*/ 0 h 74"/>
                </a:gdLst>
                <a:ahLst/>
                <a:cxnLst>
                  <a:cxn ang="0">
                    <a:pos x="T0" y="T1"/>
                  </a:cxn>
                  <a:cxn ang="0">
                    <a:pos x="T2" y="T3"/>
                  </a:cxn>
                  <a:cxn ang="0">
                    <a:pos x="T4" y="T5"/>
                  </a:cxn>
                  <a:cxn ang="0">
                    <a:pos x="T6" y="T7"/>
                  </a:cxn>
                  <a:cxn ang="0">
                    <a:pos x="T8" y="T9"/>
                  </a:cxn>
                  <a:cxn ang="0">
                    <a:pos x="T10" y="T11"/>
                  </a:cxn>
                </a:cxnLst>
                <a:rect l="0" t="0" r="r" b="b"/>
                <a:pathLst>
                  <a:path w="119" h="74">
                    <a:moveTo>
                      <a:pt x="0" y="0"/>
                    </a:moveTo>
                    <a:lnTo>
                      <a:pt x="0" y="12"/>
                    </a:lnTo>
                    <a:lnTo>
                      <a:pt x="88" y="74"/>
                    </a:lnTo>
                    <a:lnTo>
                      <a:pt x="119" y="50"/>
                    </a:lnTo>
                    <a:lnTo>
                      <a:pt x="43" y="12"/>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4" tIns="34287" rIns="68574" bIns="34287"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553"/>
                <a:endParaRPr lang="en-US" sz="788">
                  <a:solidFill>
                    <a:srgbClr val="000000"/>
                  </a:solidFill>
                </a:endParaRPr>
              </a:p>
            </p:txBody>
          </p:sp>
          <p:sp>
            <p:nvSpPr>
              <p:cNvPr id="376" name="Freeform 109"/>
              <p:cNvSpPr>
                <a:spLocks/>
              </p:cNvSpPr>
              <p:nvPr/>
            </p:nvSpPr>
            <p:spPr bwMode="auto">
              <a:xfrm>
                <a:off x="5808663" y="3549651"/>
                <a:ext cx="374650" cy="149225"/>
              </a:xfrm>
              <a:custGeom>
                <a:avLst/>
                <a:gdLst>
                  <a:gd name="T0" fmla="*/ 148 w 236"/>
                  <a:gd name="T1" fmla="*/ 31 h 94"/>
                  <a:gd name="T2" fmla="*/ 148 w 236"/>
                  <a:gd name="T3" fmla="*/ 17 h 94"/>
                  <a:gd name="T4" fmla="*/ 91 w 236"/>
                  <a:gd name="T5" fmla="*/ 0 h 94"/>
                  <a:gd name="T6" fmla="*/ 91 w 236"/>
                  <a:gd name="T7" fmla="*/ 5 h 94"/>
                  <a:gd name="T8" fmla="*/ 53 w 236"/>
                  <a:gd name="T9" fmla="*/ 7 h 94"/>
                  <a:gd name="T10" fmla="*/ 0 w 236"/>
                  <a:gd name="T11" fmla="*/ 29 h 94"/>
                  <a:gd name="T12" fmla="*/ 91 w 236"/>
                  <a:gd name="T13" fmla="*/ 12 h 94"/>
                  <a:gd name="T14" fmla="*/ 91 w 236"/>
                  <a:gd name="T15" fmla="*/ 14 h 94"/>
                  <a:gd name="T16" fmla="*/ 60 w 236"/>
                  <a:gd name="T17" fmla="*/ 19 h 94"/>
                  <a:gd name="T18" fmla="*/ 0 w 236"/>
                  <a:gd name="T19" fmla="*/ 29 h 94"/>
                  <a:gd name="T20" fmla="*/ 119 w 236"/>
                  <a:gd name="T21" fmla="*/ 63 h 94"/>
                  <a:gd name="T22" fmla="*/ 236 w 236"/>
                  <a:gd name="T23" fmla="*/ 94 h 94"/>
                  <a:gd name="T24" fmla="*/ 176 w 236"/>
                  <a:gd name="T25" fmla="*/ 50 h 94"/>
                  <a:gd name="T26" fmla="*/ 148 w 236"/>
                  <a:gd name="T27" fmla="*/ 31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36" h="94">
                    <a:moveTo>
                      <a:pt x="148" y="31"/>
                    </a:moveTo>
                    <a:lnTo>
                      <a:pt x="148" y="17"/>
                    </a:lnTo>
                    <a:lnTo>
                      <a:pt x="91" y="0"/>
                    </a:lnTo>
                    <a:lnTo>
                      <a:pt x="91" y="5"/>
                    </a:lnTo>
                    <a:lnTo>
                      <a:pt x="53" y="7"/>
                    </a:lnTo>
                    <a:lnTo>
                      <a:pt x="0" y="29"/>
                    </a:lnTo>
                    <a:lnTo>
                      <a:pt x="91" y="12"/>
                    </a:lnTo>
                    <a:lnTo>
                      <a:pt x="91" y="14"/>
                    </a:lnTo>
                    <a:lnTo>
                      <a:pt x="60" y="19"/>
                    </a:lnTo>
                    <a:lnTo>
                      <a:pt x="0" y="29"/>
                    </a:lnTo>
                    <a:lnTo>
                      <a:pt x="119" y="63"/>
                    </a:lnTo>
                    <a:lnTo>
                      <a:pt x="236" y="94"/>
                    </a:lnTo>
                    <a:lnTo>
                      <a:pt x="176" y="50"/>
                    </a:lnTo>
                    <a:lnTo>
                      <a:pt x="148"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4" tIns="34287" rIns="68574" bIns="34287"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553"/>
                <a:endParaRPr lang="en-US" sz="788">
                  <a:solidFill>
                    <a:srgbClr val="000000"/>
                  </a:solidFill>
                </a:endParaRPr>
              </a:p>
            </p:txBody>
          </p:sp>
        </p:grpSp>
        <p:pic>
          <p:nvPicPr>
            <p:cNvPr id="356" name="Picture 355"/>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6827084" y="3168223"/>
              <a:ext cx="775646" cy="256913"/>
            </a:xfrm>
            <a:prstGeom prst="rect">
              <a:avLst/>
            </a:prstGeom>
            <a:solidFill>
              <a:schemeClr val="bg1"/>
            </a:solidFill>
          </p:spPr>
        </p:pic>
        <p:pic>
          <p:nvPicPr>
            <p:cNvPr id="357" name="Picture 356"/>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6591025" y="3168223"/>
              <a:ext cx="243110" cy="256913"/>
            </a:xfrm>
            <a:prstGeom prst="rect">
              <a:avLst/>
            </a:prstGeom>
          </p:spPr>
        </p:pic>
        <p:pic>
          <p:nvPicPr>
            <p:cNvPr id="358" name="Picture 357"/>
            <p:cNvPicPr>
              <a:picLocks noChangeAspect="1"/>
            </p:cNvPicPr>
            <p:nvPr/>
          </p:nvPicPr>
          <p:blipFill>
            <a:blip r:embed="rId5" cstate="screen">
              <a:lum bright="70000" contrast="-70000"/>
              <a:extLst>
                <a:ext uri="{28A0092B-C50C-407E-A947-70E740481C1C}">
                  <a14:useLocalDpi xmlns:a14="http://schemas.microsoft.com/office/drawing/2010/main"/>
                </a:ext>
              </a:extLst>
            </a:blip>
            <a:stretch>
              <a:fillRect/>
            </a:stretch>
          </p:blipFill>
          <p:spPr>
            <a:xfrm>
              <a:off x="5004162" y="3410733"/>
              <a:ext cx="296976" cy="463283"/>
            </a:xfrm>
            <a:prstGeom prst="rect">
              <a:avLst/>
            </a:prstGeom>
          </p:spPr>
        </p:pic>
        <p:sp>
          <p:nvSpPr>
            <p:cNvPr id="359" name="Oval 358"/>
            <p:cNvSpPr/>
            <p:nvPr/>
          </p:nvSpPr>
          <p:spPr bwMode="auto">
            <a:xfrm>
              <a:off x="6296805" y="4050040"/>
              <a:ext cx="1554480" cy="1554480"/>
            </a:xfrm>
            <a:prstGeom prst="ellipse">
              <a:avLst/>
            </a:prstGeom>
            <a:solidFill>
              <a:srgbClr val="4E195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0" tIns="33613" rIns="0" bIns="0"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685491" fontAlgn="base">
                <a:lnSpc>
                  <a:spcPct val="90000"/>
                </a:lnSpc>
                <a:spcBef>
                  <a:spcPct val="0"/>
                </a:spcBef>
                <a:spcAft>
                  <a:spcPct val="0"/>
                </a:spcAft>
              </a:pPr>
              <a:r>
                <a:rPr lang="en-US" sz="675" dirty="0">
                  <a:gradFill>
                    <a:gsLst>
                      <a:gs pos="0">
                        <a:srgbClr val="FFFFFF"/>
                      </a:gs>
                      <a:gs pos="100000">
                        <a:srgbClr val="FFFFFF"/>
                      </a:gs>
                    </a:gsLst>
                    <a:lin ang="5400000" scaled="1"/>
                  </a:gradFill>
                  <a:ea typeface="Segoe UI" pitchFamily="34" charset="0"/>
                  <a:cs typeface="Segoe UI" pitchFamily="34" charset="0"/>
                </a:rPr>
                <a:t>Azure Stream Analytics</a:t>
              </a:r>
              <a:endParaRPr lang="en-US" sz="675" b="1" dirty="0">
                <a:gradFill>
                  <a:gsLst>
                    <a:gs pos="0">
                      <a:srgbClr val="FFFFFF"/>
                    </a:gs>
                    <a:gs pos="100000">
                      <a:srgbClr val="FFFFFF"/>
                    </a:gs>
                  </a:gsLst>
                  <a:lin ang="5400000" scaled="1"/>
                </a:gradFill>
                <a:ea typeface="Segoe UI" pitchFamily="34" charset="0"/>
                <a:cs typeface="Segoe UI" pitchFamily="34" charset="0"/>
              </a:endParaRPr>
            </a:p>
          </p:txBody>
        </p:sp>
        <p:pic>
          <p:nvPicPr>
            <p:cNvPr id="360" name="Picture 359"/>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6599617" y="4615255"/>
              <a:ext cx="856568" cy="856568"/>
            </a:xfrm>
            <a:prstGeom prst="rect">
              <a:avLst/>
            </a:prstGeom>
          </p:spPr>
        </p:pic>
        <p:cxnSp>
          <p:nvCxnSpPr>
            <p:cNvPr id="361" name="Straight Arrow Connector 360"/>
            <p:cNvCxnSpPr/>
            <p:nvPr/>
          </p:nvCxnSpPr>
          <p:spPr>
            <a:xfrm>
              <a:off x="5691956" y="5289956"/>
              <a:ext cx="672862" cy="496603"/>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362" name="Freeform 95"/>
            <p:cNvSpPr>
              <a:spLocks noEditPoints="1"/>
            </p:cNvSpPr>
            <p:nvPr/>
          </p:nvSpPr>
          <p:spPr bwMode="auto">
            <a:xfrm>
              <a:off x="9242102" y="2345826"/>
              <a:ext cx="568456" cy="2649076"/>
            </a:xfrm>
            <a:custGeom>
              <a:avLst/>
              <a:gdLst>
                <a:gd name="T0" fmla="*/ 792 w 792"/>
                <a:gd name="T1" fmla="*/ 144 h 2588"/>
                <a:gd name="T2" fmla="*/ 396 w 792"/>
                <a:gd name="T3" fmla="*/ 0 h 2588"/>
                <a:gd name="T4" fmla="*/ 0 w 792"/>
                <a:gd name="T5" fmla="*/ 144 h 2588"/>
                <a:gd name="T6" fmla="*/ 0 w 792"/>
                <a:gd name="T7" fmla="*/ 792 h 2588"/>
                <a:gd name="T8" fmla="*/ 396 w 792"/>
                <a:gd name="T9" fmla="*/ 936 h 2588"/>
                <a:gd name="T10" fmla="*/ 792 w 792"/>
                <a:gd name="T11" fmla="*/ 792 h 2588"/>
                <a:gd name="T12" fmla="*/ 792 w 792"/>
                <a:gd name="T13" fmla="*/ 792 h 2588"/>
                <a:gd name="T14" fmla="*/ 792 w 792"/>
                <a:gd name="T15" fmla="*/ 144 h 2588"/>
                <a:gd name="T16" fmla="*/ 396 w 792"/>
                <a:gd name="T17" fmla="*/ 241 h 2588"/>
                <a:gd name="T18" fmla="*/ 65 w 792"/>
                <a:gd name="T19" fmla="*/ 144 h 2588"/>
                <a:gd name="T20" fmla="*/ 396 w 792"/>
                <a:gd name="T21" fmla="*/ 47 h 2588"/>
                <a:gd name="T22" fmla="*/ 728 w 792"/>
                <a:gd name="T23" fmla="*/ 144 h 2588"/>
                <a:gd name="T24" fmla="*/ 396 w 792"/>
                <a:gd name="T25" fmla="*/ 241 h 2588"/>
                <a:gd name="T26" fmla="*/ 792 w 792"/>
                <a:gd name="T27" fmla="*/ 970 h 2588"/>
                <a:gd name="T28" fmla="*/ 792 w 792"/>
                <a:gd name="T29" fmla="*/ 970 h 2588"/>
                <a:gd name="T30" fmla="*/ 792 w 792"/>
                <a:gd name="T31" fmla="*/ 1618 h 2588"/>
                <a:gd name="T32" fmla="*/ 792 w 792"/>
                <a:gd name="T33" fmla="*/ 1618 h 2588"/>
                <a:gd name="T34" fmla="*/ 396 w 792"/>
                <a:gd name="T35" fmla="*/ 1762 h 2588"/>
                <a:gd name="T36" fmla="*/ 0 w 792"/>
                <a:gd name="T37" fmla="*/ 1618 h 2588"/>
                <a:gd name="T38" fmla="*/ 0 w 792"/>
                <a:gd name="T39" fmla="*/ 970 h 2588"/>
                <a:gd name="T40" fmla="*/ 30 w 792"/>
                <a:gd name="T41" fmla="*/ 915 h 2588"/>
                <a:gd name="T42" fmla="*/ 97 w 792"/>
                <a:gd name="T43" fmla="*/ 946 h 2588"/>
                <a:gd name="T44" fmla="*/ 396 w 792"/>
                <a:gd name="T45" fmla="*/ 992 h 2588"/>
                <a:gd name="T46" fmla="*/ 696 w 792"/>
                <a:gd name="T47" fmla="*/ 946 h 2588"/>
                <a:gd name="T48" fmla="*/ 763 w 792"/>
                <a:gd name="T49" fmla="*/ 915 h 2588"/>
                <a:gd name="T50" fmla="*/ 792 w 792"/>
                <a:gd name="T51" fmla="*/ 970 h 2588"/>
                <a:gd name="T52" fmla="*/ 792 w 792"/>
                <a:gd name="T53" fmla="*/ 1796 h 2588"/>
                <a:gd name="T54" fmla="*/ 792 w 792"/>
                <a:gd name="T55" fmla="*/ 1796 h 2588"/>
                <a:gd name="T56" fmla="*/ 792 w 792"/>
                <a:gd name="T57" fmla="*/ 2444 h 2588"/>
                <a:gd name="T58" fmla="*/ 792 w 792"/>
                <a:gd name="T59" fmla="*/ 2444 h 2588"/>
                <a:gd name="T60" fmla="*/ 396 w 792"/>
                <a:gd name="T61" fmla="*/ 2588 h 2588"/>
                <a:gd name="T62" fmla="*/ 0 w 792"/>
                <a:gd name="T63" fmla="*/ 2444 h 2588"/>
                <a:gd name="T64" fmla="*/ 0 w 792"/>
                <a:gd name="T65" fmla="*/ 1796 h 2588"/>
                <a:gd name="T66" fmla="*/ 30 w 792"/>
                <a:gd name="T67" fmla="*/ 1741 h 2588"/>
                <a:gd name="T68" fmla="*/ 97 w 792"/>
                <a:gd name="T69" fmla="*/ 1772 h 2588"/>
                <a:gd name="T70" fmla="*/ 396 w 792"/>
                <a:gd name="T71" fmla="*/ 1818 h 2588"/>
                <a:gd name="T72" fmla="*/ 696 w 792"/>
                <a:gd name="T73" fmla="*/ 1772 h 2588"/>
                <a:gd name="T74" fmla="*/ 763 w 792"/>
                <a:gd name="T75" fmla="*/ 1741 h 2588"/>
                <a:gd name="T76" fmla="*/ 792 w 792"/>
                <a:gd name="T77" fmla="*/ 1796 h 25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92" h="2588">
                  <a:moveTo>
                    <a:pt x="792" y="144"/>
                  </a:moveTo>
                  <a:cubicBezTo>
                    <a:pt x="792" y="64"/>
                    <a:pt x="615" y="0"/>
                    <a:pt x="396" y="0"/>
                  </a:cubicBezTo>
                  <a:cubicBezTo>
                    <a:pt x="178" y="0"/>
                    <a:pt x="0" y="64"/>
                    <a:pt x="0" y="144"/>
                  </a:cubicBezTo>
                  <a:cubicBezTo>
                    <a:pt x="0" y="792"/>
                    <a:pt x="0" y="792"/>
                    <a:pt x="0" y="792"/>
                  </a:cubicBezTo>
                  <a:cubicBezTo>
                    <a:pt x="0" y="872"/>
                    <a:pt x="178" y="936"/>
                    <a:pt x="396" y="936"/>
                  </a:cubicBezTo>
                  <a:cubicBezTo>
                    <a:pt x="615" y="936"/>
                    <a:pt x="792" y="872"/>
                    <a:pt x="792" y="792"/>
                  </a:cubicBezTo>
                  <a:cubicBezTo>
                    <a:pt x="792" y="792"/>
                    <a:pt x="792" y="792"/>
                    <a:pt x="792" y="792"/>
                  </a:cubicBezTo>
                  <a:cubicBezTo>
                    <a:pt x="792" y="144"/>
                    <a:pt x="792" y="144"/>
                    <a:pt x="792" y="144"/>
                  </a:cubicBezTo>
                  <a:close/>
                  <a:moveTo>
                    <a:pt x="396" y="241"/>
                  </a:moveTo>
                  <a:cubicBezTo>
                    <a:pt x="214" y="241"/>
                    <a:pt x="65" y="198"/>
                    <a:pt x="65" y="144"/>
                  </a:cubicBezTo>
                  <a:cubicBezTo>
                    <a:pt x="65" y="90"/>
                    <a:pt x="214" y="47"/>
                    <a:pt x="396" y="47"/>
                  </a:cubicBezTo>
                  <a:cubicBezTo>
                    <a:pt x="579" y="47"/>
                    <a:pt x="728" y="90"/>
                    <a:pt x="728" y="144"/>
                  </a:cubicBezTo>
                  <a:cubicBezTo>
                    <a:pt x="728" y="198"/>
                    <a:pt x="579" y="241"/>
                    <a:pt x="396" y="241"/>
                  </a:cubicBezTo>
                  <a:close/>
                  <a:moveTo>
                    <a:pt x="792" y="970"/>
                  </a:moveTo>
                  <a:cubicBezTo>
                    <a:pt x="792" y="970"/>
                    <a:pt x="792" y="970"/>
                    <a:pt x="792" y="970"/>
                  </a:cubicBezTo>
                  <a:cubicBezTo>
                    <a:pt x="792" y="1618"/>
                    <a:pt x="792" y="1618"/>
                    <a:pt x="792" y="1618"/>
                  </a:cubicBezTo>
                  <a:cubicBezTo>
                    <a:pt x="792" y="1618"/>
                    <a:pt x="792" y="1618"/>
                    <a:pt x="792" y="1618"/>
                  </a:cubicBezTo>
                  <a:cubicBezTo>
                    <a:pt x="792" y="1698"/>
                    <a:pt x="615" y="1762"/>
                    <a:pt x="396" y="1762"/>
                  </a:cubicBezTo>
                  <a:cubicBezTo>
                    <a:pt x="178" y="1762"/>
                    <a:pt x="0" y="1698"/>
                    <a:pt x="0" y="1618"/>
                  </a:cubicBezTo>
                  <a:cubicBezTo>
                    <a:pt x="0" y="970"/>
                    <a:pt x="0" y="970"/>
                    <a:pt x="0" y="970"/>
                  </a:cubicBezTo>
                  <a:cubicBezTo>
                    <a:pt x="0" y="951"/>
                    <a:pt x="11" y="932"/>
                    <a:pt x="30" y="915"/>
                  </a:cubicBezTo>
                  <a:cubicBezTo>
                    <a:pt x="48" y="926"/>
                    <a:pt x="71" y="937"/>
                    <a:pt x="97" y="946"/>
                  </a:cubicBezTo>
                  <a:cubicBezTo>
                    <a:pt x="178" y="976"/>
                    <a:pt x="284" y="992"/>
                    <a:pt x="396" y="992"/>
                  </a:cubicBezTo>
                  <a:cubicBezTo>
                    <a:pt x="509" y="992"/>
                    <a:pt x="615" y="976"/>
                    <a:pt x="696" y="946"/>
                  </a:cubicBezTo>
                  <a:cubicBezTo>
                    <a:pt x="722" y="937"/>
                    <a:pt x="744" y="926"/>
                    <a:pt x="763" y="915"/>
                  </a:cubicBezTo>
                  <a:cubicBezTo>
                    <a:pt x="782" y="932"/>
                    <a:pt x="792" y="951"/>
                    <a:pt x="792" y="970"/>
                  </a:cubicBezTo>
                  <a:close/>
                  <a:moveTo>
                    <a:pt x="792" y="1796"/>
                  </a:moveTo>
                  <a:cubicBezTo>
                    <a:pt x="792" y="1796"/>
                    <a:pt x="792" y="1796"/>
                    <a:pt x="792" y="1796"/>
                  </a:cubicBezTo>
                  <a:cubicBezTo>
                    <a:pt x="792" y="2444"/>
                    <a:pt x="792" y="2444"/>
                    <a:pt x="792" y="2444"/>
                  </a:cubicBezTo>
                  <a:cubicBezTo>
                    <a:pt x="792" y="2444"/>
                    <a:pt x="792" y="2444"/>
                    <a:pt x="792" y="2444"/>
                  </a:cubicBezTo>
                  <a:cubicBezTo>
                    <a:pt x="792" y="2524"/>
                    <a:pt x="615" y="2588"/>
                    <a:pt x="396" y="2588"/>
                  </a:cubicBezTo>
                  <a:cubicBezTo>
                    <a:pt x="178" y="2588"/>
                    <a:pt x="0" y="2524"/>
                    <a:pt x="0" y="2444"/>
                  </a:cubicBezTo>
                  <a:cubicBezTo>
                    <a:pt x="0" y="1796"/>
                    <a:pt x="0" y="1796"/>
                    <a:pt x="0" y="1796"/>
                  </a:cubicBezTo>
                  <a:cubicBezTo>
                    <a:pt x="0" y="1777"/>
                    <a:pt x="11" y="1758"/>
                    <a:pt x="30" y="1741"/>
                  </a:cubicBezTo>
                  <a:cubicBezTo>
                    <a:pt x="48" y="1752"/>
                    <a:pt x="71" y="1763"/>
                    <a:pt x="97" y="1772"/>
                  </a:cubicBezTo>
                  <a:cubicBezTo>
                    <a:pt x="178" y="1802"/>
                    <a:pt x="284" y="1818"/>
                    <a:pt x="396" y="1818"/>
                  </a:cubicBezTo>
                  <a:cubicBezTo>
                    <a:pt x="509" y="1818"/>
                    <a:pt x="615" y="1802"/>
                    <a:pt x="696" y="1772"/>
                  </a:cubicBezTo>
                  <a:cubicBezTo>
                    <a:pt x="722" y="1763"/>
                    <a:pt x="744" y="1752"/>
                    <a:pt x="763" y="1741"/>
                  </a:cubicBezTo>
                  <a:cubicBezTo>
                    <a:pt x="782" y="1758"/>
                    <a:pt x="792" y="1777"/>
                    <a:pt x="792" y="1796"/>
                  </a:cubicBezTo>
                  <a:close/>
                </a:path>
              </a:pathLst>
            </a:custGeom>
            <a:solidFill>
              <a:schemeClr val="accent1"/>
            </a:solidFill>
            <a:ln>
              <a:noFill/>
            </a:ln>
            <a:extLst/>
          </p:spPr>
          <p:txBody>
            <a:bodyPr vert="horz" wrap="square" lIns="68574" tIns="34287" rIns="68574" bIns="34287"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788">
                <a:solidFill>
                  <a:srgbClr val="505050"/>
                </a:solidFill>
              </a:endParaRPr>
            </a:p>
          </p:txBody>
        </p:sp>
        <p:cxnSp>
          <p:nvCxnSpPr>
            <p:cNvPr id="363" name="Straight Arrow Connector 362"/>
            <p:cNvCxnSpPr/>
            <p:nvPr/>
          </p:nvCxnSpPr>
          <p:spPr>
            <a:xfrm flipH="1">
              <a:off x="5790349" y="4792016"/>
              <a:ext cx="489063" cy="866"/>
            </a:xfrm>
            <a:prstGeom prst="straightConnector1">
              <a:avLst/>
            </a:prstGeom>
            <a:ln>
              <a:solidFill>
                <a:schemeClr val="bg1">
                  <a:lumMod val="50000"/>
                </a:schemeClr>
              </a:solidFill>
              <a:headEnd type="triangle"/>
              <a:tailEnd type="triangle"/>
            </a:ln>
          </p:spPr>
          <p:style>
            <a:lnRef idx="3">
              <a:schemeClr val="accent3"/>
            </a:lnRef>
            <a:fillRef idx="0">
              <a:schemeClr val="accent3"/>
            </a:fillRef>
            <a:effectRef idx="2">
              <a:schemeClr val="accent3"/>
            </a:effectRef>
            <a:fontRef idx="minor">
              <a:schemeClr val="tx1"/>
            </a:fontRef>
          </p:style>
        </p:cxnSp>
        <p:grpSp>
          <p:nvGrpSpPr>
            <p:cNvPr id="364" name="Group 363"/>
            <p:cNvGrpSpPr/>
            <p:nvPr/>
          </p:nvGrpSpPr>
          <p:grpSpPr>
            <a:xfrm>
              <a:off x="8049355" y="2501648"/>
              <a:ext cx="1149418" cy="2415434"/>
              <a:chOff x="7913170" y="3312282"/>
              <a:chExt cx="1149418" cy="2415434"/>
            </a:xfrm>
          </p:grpSpPr>
          <p:grpSp>
            <p:nvGrpSpPr>
              <p:cNvPr id="365" name="Group 364"/>
              <p:cNvGrpSpPr/>
              <p:nvPr/>
            </p:nvGrpSpPr>
            <p:grpSpPr>
              <a:xfrm>
                <a:off x="7913170" y="3312282"/>
                <a:ext cx="1149418" cy="2415434"/>
                <a:chOff x="7913170" y="3312282"/>
                <a:chExt cx="1149418" cy="2415434"/>
              </a:xfrm>
            </p:grpSpPr>
            <p:grpSp>
              <p:nvGrpSpPr>
                <p:cNvPr id="368" name="Group 367"/>
                <p:cNvGrpSpPr/>
                <p:nvPr/>
              </p:nvGrpSpPr>
              <p:grpSpPr>
                <a:xfrm>
                  <a:off x="7916635" y="3918422"/>
                  <a:ext cx="1145953" cy="1809294"/>
                  <a:chOff x="8138456" y="2948621"/>
                  <a:chExt cx="1188720" cy="1981190"/>
                </a:xfrm>
                <a:solidFill>
                  <a:schemeClr val="accent1"/>
                </a:solidFill>
              </p:grpSpPr>
              <p:sp>
                <p:nvSpPr>
                  <p:cNvPr id="370" name="Right Arrow 103"/>
                  <p:cNvSpPr/>
                  <p:nvPr/>
                </p:nvSpPr>
                <p:spPr bwMode="auto">
                  <a:xfrm>
                    <a:off x="8138456" y="2948621"/>
                    <a:ext cx="1188720" cy="640080"/>
                  </a:xfrm>
                  <a:prstGeom prst="rightArrow">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68574" tIns="0" rIns="0" bIns="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defTabSz="699266" fontAlgn="base">
                      <a:lnSpc>
                        <a:spcPct val="90000"/>
                      </a:lnSpc>
                      <a:spcBef>
                        <a:spcPct val="0"/>
                      </a:spcBef>
                      <a:spcAft>
                        <a:spcPct val="0"/>
                      </a:spcAft>
                    </a:pPr>
                    <a:r>
                      <a:rPr lang="en-US" sz="600" dirty="0">
                        <a:gradFill>
                          <a:gsLst>
                            <a:gs pos="0">
                              <a:srgbClr val="FFFFFF"/>
                            </a:gs>
                            <a:gs pos="100000">
                              <a:srgbClr val="FFFFFF"/>
                            </a:gs>
                          </a:gsLst>
                          <a:lin ang="5400000" scaled="1"/>
                        </a:gradFill>
                        <a:ea typeface="Segoe UI" pitchFamily="34" charset="0"/>
                        <a:cs typeface="Segoe UI" pitchFamily="34" charset="0"/>
                      </a:rPr>
                      <a:t>HDFS</a:t>
                    </a:r>
                  </a:p>
                </p:txBody>
              </p:sp>
              <p:sp>
                <p:nvSpPr>
                  <p:cNvPr id="371" name="Right Arrow 104"/>
                  <p:cNvSpPr/>
                  <p:nvPr/>
                </p:nvSpPr>
                <p:spPr bwMode="auto">
                  <a:xfrm>
                    <a:off x="8138456" y="3619176"/>
                    <a:ext cx="1188720" cy="640080"/>
                  </a:xfrm>
                  <a:prstGeom prst="rightArrow">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68574" tIns="0" rIns="0" bIns="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defTabSz="699266">
                      <a:lnSpc>
                        <a:spcPct val="90000"/>
                      </a:lnSpc>
                    </a:pPr>
                    <a:r>
                      <a:rPr lang="en-US" sz="600" dirty="0">
                        <a:gradFill>
                          <a:gsLst>
                            <a:gs pos="0">
                              <a:srgbClr val="FFFFFF"/>
                            </a:gs>
                            <a:gs pos="100000">
                              <a:srgbClr val="FFFFFF"/>
                            </a:gs>
                          </a:gsLst>
                          <a:lin ang="5400000" scaled="1"/>
                        </a:gradFill>
                        <a:ea typeface="Segoe UI" pitchFamily="34" charset="0"/>
                        <a:cs typeface="Segoe UI" pitchFamily="34" charset="0"/>
                      </a:rPr>
                      <a:t>Azure DBs</a:t>
                    </a:r>
                  </a:p>
                </p:txBody>
              </p:sp>
              <p:sp>
                <p:nvSpPr>
                  <p:cNvPr id="372" name="Right Arrow 105"/>
                  <p:cNvSpPr/>
                  <p:nvPr/>
                </p:nvSpPr>
                <p:spPr bwMode="auto">
                  <a:xfrm>
                    <a:off x="8138456" y="4289731"/>
                    <a:ext cx="1188720" cy="640080"/>
                  </a:xfrm>
                  <a:prstGeom prst="rightArrow">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68574" tIns="0" rIns="0" bIns="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defTabSz="699266">
                      <a:lnSpc>
                        <a:spcPct val="90000"/>
                      </a:lnSpc>
                    </a:pPr>
                    <a:r>
                      <a:rPr lang="en-US" sz="600" dirty="0">
                        <a:gradFill>
                          <a:gsLst>
                            <a:gs pos="0">
                              <a:srgbClr val="FFFFFF"/>
                            </a:gs>
                            <a:gs pos="100000">
                              <a:srgbClr val="FFFFFF"/>
                            </a:gs>
                          </a:gsLst>
                          <a:lin ang="5400000" scaled="1"/>
                        </a:gradFill>
                        <a:ea typeface="Segoe UI" pitchFamily="34" charset="0"/>
                        <a:cs typeface="Segoe UI" pitchFamily="34" charset="0"/>
                      </a:rPr>
                      <a:t>Azure storage</a:t>
                    </a:r>
                  </a:p>
                </p:txBody>
              </p:sp>
            </p:grpSp>
            <p:sp>
              <p:nvSpPr>
                <p:cNvPr id="369" name="Right Arrow 102"/>
                <p:cNvSpPr/>
                <p:nvPr/>
              </p:nvSpPr>
              <p:spPr bwMode="auto">
                <a:xfrm>
                  <a:off x="7913170" y="3312282"/>
                  <a:ext cx="1145953" cy="584544"/>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68574" tIns="0" rIns="0" bIns="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defTabSz="699266" fontAlgn="base">
                    <a:lnSpc>
                      <a:spcPct val="90000"/>
                    </a:lnSpc>
                    <a:spcBef>
                      <a:spcPct val="0"/>
                    </a:spcBef>
                    <a:spcAft>
                      <a:spcPct val="0"/>
                    </a:spcAft>
                  </a:pPr>
                  <a:r>
                    <a:rPr lang="en-US" sz="600" dirty="0" err="1">
                      <a:gradFill>
                        <a:gsLst>
                          <a:gs pos="0">
                            <a:srgbClr val="FFFFFF"/>
                          </a:gs>
                          <a:gs pos="100000">
                            <a:srgbClr val="FFFFFF"/>
                          </a:gs>
                        </a:gsLst>
                        <a:lin ang="5400000" scaled="1"/>
                      </a:gradFill>
                      <a:ea typeface="Segoe UI" pitchFamily="34" charset="0"/>
                      <a:cs typeface="Segoe UI" pitchFamily="34" charset="0"/>
                    </a:rPr>
                    <a:t>HBase</a:t>
                  </a:r>
                  <a:endParaRPr lang="en-US" sz="600" dirty="0">
                    <a:gradFill>
                      <a:gsLst>
                        <a:gs pos="0">
                          <a:srgbClr val="FFFFFF"/>
                        </a:gs>
                        <a:gs pos="100000">
                          <a:srgbClr val="FFFFFF"/>
                        </a:gs>
                      </a:gsLst>
                      <a:lin ang="5400000" scaled="1"/>
                    </a:gradFill>
                    <a:ea typeface="Segoe UI" pitchFamily="34" charset="0"/>
                    <a:cs typeface="Segoe UI" pitchFamily="34" charset="0"/>
                  </a:endParaRPr>
                </a:p>
              </p:txBody>
            </p:sp>
          </p:grpSp>
          <p:pic>
            <p:nvPicPr>
              <p:cNvPr id="366" name="Picture 365"/>
              <p:cNvPicPr>
                <a:picLocks noChangeAspect="1"/>
              </p:cNvPicPr>
              <p:nvPr/>
            </p:nvPicPr>
            <p:blipFill>
              <a:blip r:embed="rId7" cstate="screen">
                <a:clrChange>
                  <a:clrFrom>
                    <a:srgbClr val="89C33F"/>
                  </a:clrFrom>
                  <a:clrTo>
                    <a:srgbClr val="89C33F">
                      <a:alpha val="0"/>
                    </a:srgbClr>
                  </a:clrTo>
                </a:clrChange>
                <a:extLst>
                  <a:ext uri="{28A0092B-C50C-407E-A947-70E740481C1C}">
                    <a14:useLocalDpi xmlns:a14="http://schemas.microsoft.com/office/drawing/2010/main"/>
                  </a:ext>
                </a:extLst>
              </a:blip>
              <a:stretch>
                <a:fillRect/>
              </a:stretch>
            </p:blipFill>
            <p:spPr>
              <a:xfrm>
                <a:off x="8577883" y="3438824"/>
                <a:ext cx="308864" cy="326402"/>
              </a:xfrm>
              <a:prstGeom prst="rect">
                <a:avLst/>
              </a:prstGeom>
            </p:spPr>
          </p:pic>
          <p:pic>
            <p:nvPicPr>
              <p:cNvPr id="367" name="Picture 366"/>
              <p:cNvPicPr>
                <a:picLocks noChangeAspect="1"/>
              </p:cNvPicPr>
              <p:nvPr/>
            </p:nvPicPr>
            <p:blipFill>
              <a:blip r:embed="rId7" cstate="screen">
                <a:clrChange>
                  <a:clrFrom>
                    <a:srgbClr val="89C33F"/>
                  </a:clrFrom>
                  <a:clrTo>
                    <a:srgbClr val="89C33F">
                      <a:alpha val="0"/>
                    </a:srgbClr>
                  </a:clrTo>
                </a:clrChange>
                <a:extLst>
                  <a:ext uri="{28A0092B-C50C-407E-A947-70E740481C1C}">
                    <a14:useLocalDpi xmlns:a14="http://schemas.microsoft.com/office/drawing/2010/main"/>
                  </a:ext>
                </a:extLst>
              </a:blip>
              <a:stretch>
                <a:fillRect/>
              </a:stretch>
            </p:blipFill>
            <p:spPr>
              <a:xfrm>
                <a:off x="8551455" y="4046735"/>
                <a:ext cx="308864" cy="326402"/>
              </a:xfrm>
              <a:prstGeom prst="rect">
                <a:avLst/>
              </a:prstGeom>
            </p:spPr>
          </p:pic>
        </p:grpSp>
      </p:grpSp>
    </p:spTree>
    <p:extLst>
      <p:ext uri="{BB962C8B-B14F-4D97-AF65-F5344CB8AC3E}">
        <p14:creationId xmlns:p14="http://schemas.microsoft.com/office/powerpoint/2010/main" val="195409881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316"/>
                                        </p:tgtEl>
                                        <p:attrNameLst>
                                          <p:attrName>style.visibility</p:attrName>
                                        </p:attrNameLst>
                                      </p:cBhvr>
                                      <p:to>
                                        <p:strVal val="visible"/>
                                      </p:to>
                                    </p:set>
                                    <p:animEffect transition="in" filter="fade">
                                      <p:cBhvr>
                                        <p:cTn id="7" dur="500"/>
                                        <p:tgtEl>
                                          <p:spTgt spid="3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8.xml><?xml version="1.0" encoding="utf-8"?>
<p:sld xmlns:a="http://schemas.openxmlformats.org/drawingml/2006/main" xmlns:r="http://schemas.openxmlformats.org/officeDocument/2006/relationships" xmlns:p="http://schemas.openxmlformats.org/presentationml/2006/main">
  <p:cSld>
    <p:bg>
      <p:bgPr>
        <a:solidFill>
          <a:srgbClr val="6F6F6F"/>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Machine Learning</a:t>
            </a:r>
          </a:p>
        </p:txBody>
      </p:sp>
      <p:sp>
        <p:nvSpPr>
          <p:cNvPr id="3" name="Rectangle 2">
            <a:extLst>
              <a:ext uri="{FF2B5EF4-FFF2-40B4-BE49-F238E27FC236}">
                <a16:creationId xmlns:a16="http://schemas.microsoft.com/office/drawing/2014/main" id="{AB99B020-EDF2-40CE-98C9-3A5EAE22CB6E}"/>
              </a:ext>
            </a:extLst>
          </p:cNvPr>
          <p:cNvSpPr/>
          <p:nvPr/>
        </p:nvSpPr>
        <p:spPr>
          <a:xfrm>
            <a:off x="491079" y="6360597"/>
            <a:ext cx="1956177" cy="369332"/>
          </a:xfrm>
          <a:prstGeom prst="rect">
            <a:avLst/>
          </a:prstGeom>
        </p:spPr>
        <p:txBody>
          <a:bodyPr wrap="none">
            <a:spAutoFit/>
          </a:bodyPr>
          <a:lstStyle/>
          <a:p>
            <a:r>
              <a:rPr lang="en-US" dirty="0"/>
              <a:t>aka.ms/Azure/ML</a:t>
            </a:r>
          </a:p>
        </p:txBody>
      </p:sp>
    </p:spTree>
    <p:extLst>
      <p:ext uri="{BB962C8B-B14F-4D97-AF65-F5344CB8AC3E}">
        <p14:creationId xmlns:p14="http://schemas.microsoft.com/office/powerpoint/2010/main" val="317236121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A5D78EE-0557-43BF-8CD0-5769DE244F9C}"/>
              </a:ext>
            </a:extLst>
          </p:cNvPr>
          <p:cNvSpPr>
            <a:spLocks noGrp="1"/>
          </p:cNvSpPr>
          <p:nvPr>
            <p:ph type="title"/>
          </p:nvPr>
        </p:nvSpPr>
        <p:spPr/>
        <p:txBody>
          <a:bodyPr/>
          <a:lstStyle/>
          <a:p>
            <a:r>
              <a:rPr lang="en-US" sz="4800" dirty="0"/>
              <a:t>Azure Machine Learning Services - Overview</a:t>
            </a:r>
          </a:p>
        </p:txBody>
      </p:sp>
      <p:cxnSp>
        <p:nvCxnSpPr>
          <p:cNvPr id="5" name="Straight Connector 4">
            <a:extLst>
              <a:ext uri="{FF2B5EF4-FFF2-40B4-BE49-F238E27FC236}">
                <a16:creationId xmlns:a16="http://schemas.microsoft.com/office/drawing/2014/main" id="{B3A069A8-54FC-47E9-8C76-5DC9F9A189D4}"/>
              </a:ext>
            </a:extLst>
          </p:cNvPr>
          <p:cNvCxnSpPr>
            <a:cxnSpLocks/>
          </p:cNvCxnSpPr>
          <p:nvPr/>
        </p:nvCxnSpPr>
        <p:spPr>
          <a:xfrm flipH="1">
            <a:off x="3979482" y="4249841"/>
            <a:ext cx="3669563" cy="0"/>
          </a:xfrm>
          <a:prstGeom prst="line">
            <a:avLst/>
          </a:prstGeom>
          <a:ln w="12700">
            <a:prstDash val="dash"/>
          </a:ln>
        </p:spPr>
        <p:style>
          <a:lnRef idx="1">
            <a:schemeClr val="accent1"/>
          </a:lnRef>
          <a:fillRef idx="0">
            <a:schemeClr val="accent1"/>
          </a:fillRef>
          <a:effectRef idx="0">
            <a:schemeClr val="accent1"/>
          </a:effectRef>
          <a:fontRef idx="minor">
            <a:schemeClr val="tx1"/>
          </a:fontRef>
        </p:style>
      </p:cxnSp>
      <p:sp>
        <p:nvSpPr>
          <p:cNvPr id="6" name="Freeform 128">
            <a:extLst>
              <a:ext uri="{FF2B5EF4-FFF2-40B4-BE49-F238E27FC236}">
                <a16:creationId xmlns:a16="http://schemas.microsoft.com/office/drawing/2014/main" id="{7BEEA7BF-2B93-4F00-A328-77A4C435544A}"/>
              </a:ext>
            </a:extLst>
          </p:cNvPr>
          <p:cNvSpPr>
            <a:spLocks noChangeAspect="1"/>
          </p:cNvSpPr>
          <p:nvPr/>
        </p:nvSpPr>
        <p:spPr bwMode="auto">
          <a:xfrm>
            <a:off x="1671675" y="3142639"/>
            <a:ext cx="1589930" cy="878300"/>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8" tIns="46624" rIns="93248" bIns="46624" numCol="1" anchor="t" anchorCtr="0" compatLnSpc="1">
            <a:prstTxWarp prst="textNoShape">
              <a:avLst/>
            </a:prstTxWarp>
          </a:bodyPr>
          <a:lstStyle/>
          <a:p>
            <a:pPr defTabSz="932649">
              <a:defRPr/>
            </a:pPr>
            <a:endParaRPr lang="en-US" sz="1020">
              <a:solidFill>
                <a:srgbClr val="505050"/>
              </a:solidFill>
              <a:latin typeface="Segoe UI"/>
            </a:endParaRPr>
          </a:p>
        </p:txBody>
      </p:sp>
      <p:grpSp>
        <p:nvGrpSpPr>
          <p:cNvPr id="7" name="Group 326">
            <a:extLst>
              <a:ext uri="{FF2B5EF4-FFF2-40B4-BE49-F238E27FC236}">
                <a16:creationId xmlns:a16="http://schemas.microsoft.com/office/drawing/2014/main" id="{E6980E3C-9424-41D5-9252-86DD1BE6DEC7}"/>
              </a:ext>
            </a:extLst>
          </p:cNvPr>
          <p:cNvGrpSpPr>
            <a:grpSpLocks noChangeAspect="1"/>
          </p:cNvGrpSpPr>
          <p:nvPr/>
        </p:nvGrpSpPr>
        <p:grpSpPr bwMode="auto">
          <a:xfrm>
            <a:off x="2573587" y="3863913"/>
            <a:ext cx="1543827" cy="742865"/>
            <a:chOff x="6816" y="2557"/>
            <a:chExt cx="259" cy="136"/>
          </a:xfrm>
          <a:noFill/>
        </p:grpSpPr>
        <p:sp useBgFill="1">
          <p:nvSpPr>
            <p:cNvPr id="8" name="Freeform 328">
              <a:extLst>
                <a:ext uri="{FF2B5EF4-FFF2-40B4-BE49-F238E27FC236}">
                  <a16:creationId xmlns:a16="http://schemas.microsoft.com/office/drawing/2014/main" id="{AD5085BB-7347-4559-B5AE-C4F0B497A8DD}"/>
                </a:ext>
              </a:extLst>
            </p:cNvPr>
            <p:cNvSpPr>
              <a:spLocks/>
            </p:cNvSpPr>
            <p:nvPr/>
          </p:nvSpPr>
          <p:spPr bwMode="auto">
            <a:xfrm>
              <a:off x="6816" y="2664"/>
              <a:ext cx="259" cy="29"/>
            </a:xfrm>
            <a:custGeom>
              <a:avLst/>
              <a:gdLst>
                <a:gd name="T0" fmla="*/ 212 w 257"/>
                <a:gd name="T1" fmla="*/ 1 h 46"/>
                <a:gd name="T2" fmla="*/ 257 w 257"/>
                <a:gd name="T3" fmla="*/ 46 h 46"/>
                <a:gd name="T4" fmla="*/ 0 w 257"/>
                <a:gd name="T5" fmla="*/ 46 h 46"/>
                <a:gd name="T6" fmla="*/ 47 w 257"/>
                <a:gd name="T7" fmla="*/ 0 h 46"/>
              </a:gdLst>
              <a:ahLst/>
              <a:cxnLst>
                <a:cxn ang="0">
                  <a:pos x="T0" y="T1"/>
                </a:cxn>
                <a:cxn ang="0">
                  <a:pos x="T2" y="T3"/>
                </a:cxn>
                <a:cxn ang="0">
                  <a:pos x="T4" y="T5"/>
                </a:cxn>
                <a:cxn ang="0">
                  <a:pos x="T6" y="T7"/>
                </a:cxn>
              </a:cxnLst>
              <a:rect l="0" t="0" r="r" b="b"/>
              <a:pathLst>
                <a:path w="257" h="46">
                  <a:moveTo>
                    <a:pt x="212" y="1"/>
                  </a:moveTo>
                  <a:lnTo>
                    <a:pt x="257" y="46"/>
                  </a:lnTo>
                  <a:lnTo>
                    <a:pt x="0" y="46"/>
                  </a:lnTo>
                  <a:lnTo>
                    <a:pt x="47" y="0"/>
                  </a:lnTo>
                </a:path>
              </a:pathLst>
            </a:custGeom>
            <a:ln w="12700" cap="flat">
              <a:solidFill>
                <a:schemeClr val="tx1"/>
              </a:solidFill>
              <a:prstDash val="solid"/>
              <a:miter lim="800000"/>
              <a:headEnd/>
              <a:tailEnd/>
            </a:ln>
            <a:extLst/>
          </p:spPr>
          <p:txBody>
            <a:bodyPr vert="horz" wrap="square" lIns="93248" tIns="46624" rIns="93248" bIns="46624" numCol="1" anchor="t" anchorCtr="0" compatLnSpc="1">
              <a:prstTxWarp prst="textNoShape">
                <a:avLst/>
              </a:prstTxWarp>
            </a:bodyPr>
            <a:lstStyle/>
            <a:p>
              <a:pPr defTabSz="932649">
                <a:defRPr/>
              </a:pPr>
              <a:endParaRPr lang="en-US" sz="1836">
                <a:solidFill>
                  <a:srgbClr val="000000"/>
                </a:solidFill>
                <a:latin typeface="Segoe UI Semilight"/>
              </a:endParaRPr>
            </a:p>
          </p:txBody>
        </p:sp>
        <p:sp useBgFill="1">
          <p:nvSpPr>
            <p:cNvPr id="9" name="Rectangle 327">
              <a:extLst>
                <a:ext uri="{FF2B5EF4-FFF2-40B4-BE49-F238E27FC236}">
                  <a16:creationId xmlns:a16="http://schemas.microsoft.com/office/drawing/2014/main" id="{476C6F93-1B62-4C4D-8C45-8DFED3950CF3}"/>
                </a:ext>
              </a:extLst>
            </p:cNvPr>
            <p:cNvSpPr>
              <a:spLocks noChangeArrowheads="1"/>
            </p:cNvSpPr>
            <p:nvPr/>
          </p:nvSpPr>
          <p:spPr bwMode="auto">
            <a:xfrm>
              <a:off x="6861" y="2557"/>
              <a:ext cx="169" cy="107"/>
            </a:xfrm>
            <a:prstGeom prst="rect">
              <a:avLst/>
            </a:prstGeom>
            <a:ln w="12700" cap="flat">
              <a:solidFill>
                <a:schemeClr val="tx1"/>
              </a:solidFill>
              <a:prstDash val="solid"/>
              <a:miter lim="800000"/>
              <a:headEnd/>
              <a:tailEnd/>
            </a:ln>
            <a:extLst/>
          </p:spPr>
          <p:txBody>
            <a:bodyPr vert="horz" wrap="square" lIns="93248" tIns="46624" rIns="93248" bIns="46624" numCol="1" anchor="t" anchorCtr="0" compatLnSpc="1">
              <a:prstTxWarp prst="textNoShape">
                <a:avLst/>
              </a:prstTxWarp>
            </a:bodyPr>
            <a:lstStyle/>
            <a:p>
              <a:pPr defTabSz="932649">
                <a:defRPr/>
              </a:pPr>
              <a:endParaRPr lang="en-US" sz="1836">
                <a:solidFill>
                  <a:srgbClr val="000000"/>
                </a:solidFill>
                <a:latin typeface="Segoe UI Semilight"/>
              </a:endParaRPr>
            </a:p>
          </p:txBody>
        </p:sp>
      </p:grpSp>
      <p:sp>
        <p:nvSpPr>
          <p:cNvPr id="10" name="Rectangle 9">
            <a:extLst>
              <a:ext uri="{FF2B5EF4-FFF2-40B4-BE49-F238E27FC236}">
                <a16:creationId xmlns:a16="http://schemas.microsoft.com/office/drawing/2014/main" id="{4CB61D2F-26E9-4977-98B5-89B36BD38C50}"/>
              </a:ext>
            </a:extLst>
          </p:cNvPr>
          <p:cNvSpPr/>
          <p:nvPr/>
        </p:nvSpPr>
        <p:spPr bwMode="auto">
          <a:xfrm>
            <a:off x="8416980" y="2218566"/>
            <a:ext cx="1621556" cy="110375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8" tIns="46624" rIns="93248" bIns="46624" numCol="1" spcCol="0" rtlCol="0" fromWordArt="0" anchor="t" anchorCtr="0" forceAA="0" compatLnSpc="1">
            <a:prstTxWarp prst="textNoShape">
              <a:avLst/>
            </a:prstTxWarp>
            <a:spAutoFit/>
          </a:bodyPr>
          <a:lstStyle/>
          <a:p>
            <a:pPr defTabSz="950386">
              <a:spcAft>
                <a:spcPts val="408"/>
              </a:spcAft>
              <a:defRPr/>
            </a:pPr>
            <a:r>
              <a:rPr lang="en-US" sz="1020" b="1" kern="0" spc="50">
                <a:solidFill>
                  <a:srgbClr val="505050"/>
                </a:solidFill>
                <a:latin typeface="Segoe UI Semibold" charset="0"/>
                <a:cs typeface="Segoe UI Semibold" charset="0"/>
              </a:rPr>
              <a:t>Spark</a:t>
            </a:r>
          </a:p>
          <a:p>
            <a:pPr defTabSz="950386">
              <a:spcAft>
                <a:spcPts val="408"/>
              </a:spcAft>
              <a:defRPr/>
            </a:pPr>
            <a:r>
              <a:rPr lang="en-US" sz="1020" b="1" kern="0" spc="50">
                <a:solidFill>
                  <a:srgbClr val="505050"/>
                </a:solidFill>
                <a:latin typeface="Segoe UI Semibold" charset="0"/>
                <a:cs typeface="Segoe UI Semibold" charset="0"/>
              </a:rPr>
              <a:t>SQL Server </a:t>
            </a:r>
          </a:p>
          <a:p>
            <a:pPr defTabSz="950386">
              <a:spcAft>
                <a:spcPts val="408"/>
              </a:spcAft>
              <a:defRPr/>
            </a:pPr>
            <a:r>
              <a:rPr lang="en-US" sz="1020" b="1" kern="0" spc="50">
                <a:solidFill>
                  <a:srgbClr val="505050"/>
                </a:solidFill>
                <a:latin typeface="Segoe UI Semibold" charset="0"/>
                <a:cs typeface="Segoe UI Semibold" charset="0"/>
              </a:rPr>
              <a:t>Virtual machines </a:t>
            </a:r>
          </a:p>
          <a:p>
            <a:pPr defTabSz="950386">
              <a:spcAft>
                <a:spcPts val="408"/>
              </a:spcAft>
              <a:defRPr/>
            </a:pPr>
            <a:r>
              <a:rPr lang="en-US" sz="1020" b="1" kern="0" spc="50">
                <a:solidFill>
                  <a:srgbClr val="505050"/>
                </a:solidFill>
                <a:latin typeface="Segoe UI Semibold" charset="0"/>
                <a:cs typeface="Segoe UI Semibold" charset="0"/>
              </a:rPr>
              <a:t>GPUs</a:t>
            </a:r>
          </a:p>
          <a:p>
            <a:pPr defTabSz="950386">
              <a:spcAft>
                <a:spcPts val="408"/>
              </a:spcAft>
              <a:defRPr/>
            </a:pPr>
            <a:r>
              <a:rPr lang="en-US" sz="1020" b="1" kern="0" spc="50">
                <a:solidFill>
                  <a:srgbClr val="505050"/>
                </a:solidFill>
                <a:latin typeface="Segoe UI Semibold" charset="0"/>
                <a:cs typeface="Segoe UI Semibold" charset="0"/>
              </a:rPr>
              <a:t>Container services</a:t>
            </a:r>
          </a:p>
        </p:txBody>
      </p:sp>
      <p:sp>
        <p:nvSpPr>
          <p:cNvPr id="11" name="Rectangle 10">
            <a:extLst>
              <a:ext uri="{FF2B5EF4-FFF2-40B4-BE49-F238E27FC236}">
                <a16:creationId xmlns:a16="http://schemas.microsoft.com/office/drawing/2014/main" id="{134AB889-35CB-45F4-86D2-316DAD1072FE}"/>
              </a:ext>
            </a:extLst>
          </p:cNvPr>
          <p:cNvSpPr/>
          <p:nvPr/>
        </p:nvSpPr>
        <p:spPr bwMode="auto">
          <a:xfrm>
            <a:off x="1972043" y="4650907"/>
            <a:ext cx="2626131" cy="80035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8" tIns="46624" rIns="93248" bIns="46624" numCol="1" spcCol="0" rtlCol="0" fromWordArt="0" anchor="t" anchorCtr="0" forceAA="0" compatLnSpc="1">
            <a:prstTxWarp prst="textNoShape">
              <a:avLst/>
            </a:prstTxWarp>
            <a:spAutoFit/>
          </a:bodyPr>
          <a:lstStyle/>
          <a:p>
            <a:pPr algn="ctr" defTabSz="950386">
              <a:lnSpc>
                <a:spcPct val="90000"/>
              </a:lnSpc>
              <a:defRPr/>
            </a:pPr>
            <a:r>
              <a:rPr lang="en-US" sz="1020" b="1" kern="0" spc="50" dirty="0">
                <a:solidFill>
                  <a:srgbClr val="505050"/>
                </a:solidFill>
                <a:latin typeface="Segoe UI Semibold" charset="0"/>
                <a:cs typeface="Segoe UI Semibold" charset="0"/>
              </a:rPr>
              <a:t>Notebooks</a:t>
            </a:r>
          </a:p>
          <a:p>
            <a:pPr algn="ctr" defTabSz="950386">
              <a:lnSpc>
                <a:spcPct val="90000"/>
              </a:lnSpc>
              <a:defRPr/>
            </a:pPr>
            <a:r>
              <a:rPr lang="en-US" sz="1020" b="1" kern="0" spc="50" dirty="0">
                <a:solidFill>
                  <a:srgbClr val="505050"/>
                </a:solidFill>
                <a:latin typeface="Segoe UI Semibold" charset="0"/>
                <a:cs typeface="Segoe UI Semibold" charset="0"/>
              </a:rPr>
              <a:t>Azure Machine Learning Workbench</a:t>
            </a:r>
          </a:p>
          <a:p>
            <a:pPr algn="ctr" defTabSz="950386">
              <a:lnSpc>
                <a:spcPct val="90000"/>
              </a:lnSpc>
              <a:defRPr/>
            </a:pPr>
            <a:r>
              <a:rPr lang="en-US" sz="1020" b="1" kern="0" spc="50" dirty="0">
                <a:solidFill>
                  <a:srgbClr val="505050"/>
                </a:solidFill>
                <a:latin typeface="Segoe UI Semibold" charset="0"/>
                <a:cs typeface="Segoe UI Semibold" charset="0"/>
              </a:rPr>
              <a:t>Visual Studio Code Tools for AI</a:t>
            </a:r>
          </a:p>
          <a:p>
            <a:pPr algn="ctr" defTabSz="950386">
              <a:lnSpc>
                <a:spcPct val="90000"/>
              </a:lnSpc>
              <a:defRPr/>
            </a:pPr>
            <a:r>
              <a:rPr lang="en-US" sz="1020" b="1" kern="0" spc="50" dirty="0">
                <a:solidFill>
                  <a:srgbClr val="505050"/>
                </a:solidFill>
                <a:latin typeface="Segoe UI Semibold" charset="0"/>
                <a:cs typeface="Segoe UI Semibold" charset="0"/>
              </a:rPr>
              <a:t>Visual Studio Tools for AI</a:t>
            </a:r>
          </a:p>
          <a:p>
            <a:pPr algn="ctr" defTabSz="950386">
              <a:lnSpc>
                <a:spcPct val="90000"/>
              </a:lnSpc>
              <a:defRPr/>
            </a:pPr>
            <a:r>
              <a:rPr lang="en-US" sz="1020" b="1" kern="0" spc="50" dirty="0">
                <a:solidFill>
                  <a:srgbClr val="505050"/>
                </a:solidFill>
                <a:latin typeface="Segoe UI Semibold" charset="0"/>
                <a:cs typeface="Segoe UI Semibold" charset="0"/>
              </a:rPr>
              <a:t>PyCharm</a:t>
            </a:r>
          </a:p>
        </p:txBody>
      </p:sp>
      <p:sp>
        <p:nvSpPr>
          <p:cNvPr id="12" name="Rectangle 11">
            <a:extLst>
              <a:ext uri="{FF2B5EF4-FFF2-40B4-BE49-F238E27FC236}">
                <a16:creationId xmlns:a16="http://schemas.microsoft.com/office/drawing/2014/main" id="{9E9E42B8-C156-43BA-9DCB-9F9FBA558640}"/>
              </a:ext>
            </a:extLst>
          </p:cNvPr>
          <p:cNvSpPr/>
          <p:nvPr/>
        </p:nvSpPr>
        <p:spPr bwMode="auto">
          <a:xfrm>
            <a:off x="2842878" y="3884563"/>
            <a:ext cx="939947" cy="55501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8" tIns="46624" rIns="93248" bIns="46624" numCol="1" spcCol="0" rtlCol="0" fromWordArt="0" anchor="t" anchorCtr="0" forceAA="0" compatLnSpc="1">
            <a:prstTxWarp prst="textNoShape">
              <a:avLst/>
            </a:prstTxWarp>
            <a:spAutoFit/>
          </a:bodyPr>
          <a:lstStyle/>
          <a:p>
            <a:pPr defTabSz="950386">
              <a:lnSpc>
                <a:spcPct val="90000"/>
              </a:lnSpc>
              <a:defRPr/>
            </a:pPr>
            <a:r>
              <a:rPr lang="en-US" sz="816" kern="0">
                <a:gradFill>
                  <a:gsLst>
                    <a:gs pos="5970">
                      <a:srgbClr val="505050"/>
                    </a:gs>
                    <a:gs pos="21000">
                      <a:srgbClr val="505050"/>
                    </a:gs>
                  </a:gsLst>
                  <a:lin ang="5400000" scaled="1"/>
                </a:gradFill>
                <a:latin typeface="Segoe UI Semilight"/>
                <a:ea typeface="Segoe UI" pitchFamily="34" charset="0"/>
                <a:cs typeface="Segoe UI Semibold" panose="020B0702040204020203" pitchFamily="34" charset="0"/>
              </a:rPr>
              <a:t>AI dev /</a:t>
            </a:r>
          </a:p>
          <a:p>
            <a:pPr defTabSz="950386">
              <a:lnSpc>
                <a:spcPct val="90000"/>
              </a:lnSpc>
              <a:defRPr/>
            </a:pPr>
            <a:r>
              <a:rPr lang="en-US" sz="816" kern="0">
                <a:gradFill>
                  <a:gsLst>
                    <a:gs pos="5970">
                      <a:srgbClr val="505050"/>
                    </a:gs>
                    <a:gs pos="21000">
                      <a:srgbClr val="505050"/>
                    </a:gs>
                  </a:gsLst>
                  <a:lin ang="5400000" scaled="1"/>
                </a:gradFill>
                <a:latin typeface="Segoe UI Semilight"/>
                <a:ea typeface="Segoe UI" pitchFamily="34" charset="0"/>
                <a:cs typeface="Segoe UI Semibold" panose="020B0702040204020203" pitchFamily="34" charset="0"/>
              </a:rPr>
              <a:t>data scientist </a:t>
            </a:r>
          </a:p>
          <a:p>
            <a:pPr defTabSz="950386">
              <a:lnSpc>
                <a:spcPct val="90000"/>
              </a:lnSpc>
              <a:defRPr/>
            </a:pPr>
            <a:r>
              <a:rPr lang="en-US" sz="816" kern="0">
                <a:gradFill>
                  <a:gsLst>
                    <a:gs pos="5970">
                      <a:srgbClr val="505050"/>
                    </a:gs>
                    <a:gs pos="21000">
                      <a:srgbClr val="505050"/>
                    </a:gs>
                  </a:gsLst>
                  <a:lin ang="5400000" scaled="1"/>
                </a:gradFill>
                <a:latin typeface="Segoe UI Semilight"/>
                <a:ea typeface="Segoe UI" pitchFamily="34" charset="0"/>
                <a:cs typeface="Segoe UI Semibold" panose="020B0702040204020203" pitchFamily="34" charset="0"/>
              </a:rPr>
              <a:t>workstation</a:t>
            </a:r>
          </a:p>
          <a:p>
            <a:pPr defTabSz="950386">
              <a:lnSpc>
                <a:spcPct val="90000"/>
              </a:lnSpc>
              <a:defRPr/>
            </a:pPr>
            <a:r>
              <a:rPr lang="en-US" sz="816" kern="0">
                <a:gradFill>
                  <a:gsLst>
                    <a:gs pos="5970">
                      <a:srgbClr val="505050"/>
                    </a:gs>
                    <a:gs pos="21000">
                      <a:srgbClr val="505050"/>
                    </a:gs>
                  </a:gsLst>
                  <a:lin ang="5400000" scaled="1"/>
                </a:gradFill>
                <a:latin typeface="Segoe UI Semilight"/>
                <a:ea typeface="Segoe UI" pitchFamily="34" charset="0"/>
                <a:cs typeface="Segoe UI Semibold" panose="020B0702040204020203" pitchFamily="34" charset="0"/>
              </a:rPr>
              <a:t>CPU/GPU</a:t>
            </a:r>
          </a:p>
        </p:txBody>
      </p:sp>
      <p:sp>
        <p:nvSpPr>
          <p:cNvPr id="13" name="Rectangle 12">
            <a:extLst>
              <a:ext uri="{FF2B5EF4-FFF2-40B4-BE49-F238E27FC236}">
                <a16:creationId xmlns:a16="http://schemas.microsoft.com/office/drawing/2014/main" id="{AE9A5E30-CE77-470B-AA59-4EE8758A8C7C}"/>
              </a:ext>
            </a:extLst>
          </p:cNvPr>
          <p:cNvSpPr/>
          <p:nvPr/>
        </p:nvSpPr>
        <p:spPr bwMode="auto">
          <a:xfrm>
            <a:off x="8416980" y="4005755"/>
            <a:ext cx="2088644" cy="47681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8" tIns="46624" rIns="93248" bIns="46624" numCol="1" spcCol="0" rtlCol="0" fromWordArt="0" anchor="t" anchorCtr="0" forceAA="0" compatLnSpc="1">
            <a:prstTxWarp prst="textNoShape">
              <a:avLst/>
            </a:prstTxWarp>
            <a:spAutoFit/>
          </a:bodyPr>
          <a:lstStyle/>
          <a:p>
            <a:pPr defTabSz="950386">
              <a:lnSpc>
                <a:spcPct val="95000"/>
              </a:lnSpc>
              <a:spcAft>
                <a:spcPts val="600"/>
              </a:spcAft>
              <a:defRPr/>
            </a:pPr>
            <a:r>
              <a:rPr lang="en-US" sz="1020" b="1" kern="0" spc="50">
                <a:solidFill>
                  <a:srgbClr val="505050"/>
                </a:solidFill>
                <a:latin typeface="Segoe UI Semibold" charset="0"/>
                <a:cs typeface="Segoe UI Semibold" charset="0"/>
              </a:rPr>
              <a:t>SQL Server</a:t>
            </a:r>
          </a:p>
          <a:p>
            <a:pPr defTabSz="950386">
              <a:lnSpc>
                <a:spcPct val="95000"/>
              </a:lnSpc>
              <a:spcAft>
                <a:spcPts val="600"/>
              </a:spcAft>
              <a:defRPr/>
            </a:pPr>
            <a:r>
              <a:rPr lang="en-US" sz="1020" b="1" kern="0" spc="50">
                <a:solidFill>
                  <a:srgbClr val="505050"/>
                </a:solidFill>
                <a:latin typeface="Segoe UI Semibold" charset="0"/>
                <a:cs typeface="Segoe UI Semibold" charset="0"/>
              </a:rPr>
              <a:t>Machine Learning Server</a:t>
            </a:r>
          </a:p>
        </p:txBody>
      </p:sp>
      <p:sp>
        <p:nvSpPr>
          <p:cNvPr id="14" name="Rectangle 13">
            <a:extLst>
              <a:ext uri="{FF2B5EF4-FFF2-40B4-BE49-F238E27FC236}">
                <a16:creationId xmlns:a16="http://schemas.microsoft.com/office/drawing/2014/main" id="{E099D533-0BBF-4F67-ACAA-2314C2099880}"/>
              </a:ext>
            </a:extLst>
          </p:cNvPr>
          <p:cNvSpPr/>
          <p:nvPr/>
        </p:nvSpPr>
        <p:spPr bwMode="auto">
          <a:xfrm>
            <a:off x="5428971" y="3945848"/>
            <a:ext cx="1709789" cy="2526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8" tIns="46624" rIns="93248" bIns="46624" numCol="1" spcCol="0" rtlCol="0" fromWordArt="0" anchor="t" anchorCtr="0" forceAA="0" compatLnSpc="1">
            <a:prstTxWarp prst="textNoShape">
              <a:avLst/>
            </a:prstTxWarp>
            <a:spAutoFit/>
          </a:bodyPr>
          <a:lstStyle/>
          <a:p>
            <a:pPr defTabSz="950386">
              <a:lnSpc>
                <a:spcPct val="90000"/>
              </a:lnSpc>
              <a:defRPr/>
            </a:pPr>
            <a:r>
              <a:rPr lang="en-US" sz="1122" spc="204">
                <a:solidFill>
                  <a:srgbClr val="0078D7"/>
                </a:solidFill>
                <a:latin typeface="Segoe UI Semilight" charset="0"/>
                <a:cs typeface="Segoe UI Semilight" charset="0"/>
              </a:rPr>
              <a:t>ON-PREMISES</a:t>
            </a:r>
          </a:p>
        </p:txBody>
      </p:sp>
      <p:sp>
        <p:nvSpPr>
          <p:cNvPr id="15" name="Rectangle 14">
            <a:extLst>
              <a:ext uri="{FF2B5EF4-FFF2-40B4-BE49-F238E27FC236}">
                <a16:creationId xmlns:a16="http://schemas.microsoft.com/office/drawing/2014/main" id="{5E235903-9E8C-4F27-AD25-8AA090043BCE}"/>
              </a:ext>
            </a:extLst>
          </p:cNvPr>
          <p:cNvSpPr/>
          <p:nvPr/>
        </p:nvSpPr>
        <p:spPr bwMode="auto">
          <a:xfrm>
            <a:off x="5428971" y="5331322"/>
            <a:ext cx="1739695" cy="24956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8" tIns="46624" rIns="93248" bIns="46624" numCol="1" spcCol="0" rtlCol="0" fromWordArt="0" anchor="t" anchorCtr="0" forceAA="0" compatLnSpc="1">
            <a:prstTxWarp prst="textNoShape">
              <a:avLst/>
            </a:prstTxWarp>
            <a:spAutoFit/>
          </a:bodyPr>
          <a:lstStyle/>
          <a:p>
            <a:pPr defTabSz="950386">
              <a:lnSpc>
                <a:spcPct val="90000"/>
              </a:lnSpc>
              <a:defRPr/>
            </a:pPr>
            <a:r>
              <a:rPr lang="en-US" sz="1122" spc="204">
                <a:solidFill>
                  <a:srgbClr val="0078D7"/>
                </a:solidFill>
                <a:latin typeface="Segoe UI Semilight" charset="0"/>
                <a:cs typeface="Segoe UI Semilight" charset="0"/>
              </a:rPr>
              <a:t>EDGE COMPUTING</a:t>
            </a:r>
          </a:p>
        </p:txBody>
      </p:sp>
      <p:sp>
        <p:nvSpPr>
          <p:cNvPr id="16" name="Rectangle 15">
            <a:extLst>
              <a:ext uri="{FF2B5EF4-FFF2-40B4-BE49-F238E27FC236}">
                <a16:creationId xmlns:a16="http://schemas.microsoft.com/office/drawing/2014/main" id="{021ED09F-1369-440C-BB9E-8A833E2059BF}"/>
              </a:ext>
            </a:extLst>
          </p:cNvPr>
          <p:cNvSpPr/>
          <p:nvPr/>
        </p:nvSpPr>
        <p:spPr bwMode="auto">
          <a:xfrm>
            <a:off x="8416980" y="5513693"/>
            <a:ext cx="1740843" cy="24625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8" tIns="46624" rIns="93248" bIns="46624" numCol="1" spcCol="0" rtlCol="0" fromWordArt="0" anchor="t" anchorCtr="0" forceAA="0" compatLnSpc="1">
            <a:prstTxWarp prst="textNoShape">
              <a:avLst/>
            </a:prstTxWarp>
            <a:spAutoFit/>
          </a:bodyPr>
          <a:lstStyle/>
          <a:p>
            <a:pPr defTabSz="950386">
              <a:lnSpc>
                <a:spcPct val="95000"/>
              </a:lnSpc>
              <a:spcAft>
                <a:spcPts val="600"/>
              </a:spcAft>
              <a:defRPr/>
            </a:pPr>
            <a:r>
              <a:rPr lang="en-US" sz="1020" b="1" kern="0" spc="50">
                <a:solidFill>
                  <a:srgbClr val="505050"/>
                </a:solidFill>
                <a:latin typeface="Segoe UI Semibold" charset="0"/>
                <a:cs typeface="Segoe UI Semibold" charset="0"/>
              </a:rPr>
              <a:t>Azure IoT Edge</a:t>
            </a:r>
          </a:p>
        </p:txBody>
      </p:sp>
      <p:sp>
        <p:nvSpPr>
          <p:cNvPr id="17" name="Rectangle 16">
            <a:extLst>
              <a:ext uri="{FF2B5EF4-FFF2-40B4-BE49-F238E27FC236}">
                <a16:creationId xmlns:a16="http://schemas.microsoft.com/office/drawing/2014/main" id="{CCBB6356-DD8C-431F-9BC9-4D3B1649C37F}"/>
              </a:ext>
            </a:extLst>
          </p:cNvPr>
          <p:cNvSpPr/>
          <p:nvPr/>
        </p:nvSpPr>
        <p:spPr>
          <a:xfrm>
            <a:off x="1238022" y="4037144"/>
            <a:ext cx="1551296" cy="408051"/>
          </a:xfrm>
          <a:prstGeom prst="rect">
            <a:avLst/>
          </a:prstGeom>
        </p:spPr>
        <p:txBody>
          <a:bodyPr wrap="square" lIns="93248" tIns="46624" rIns="93248" bIns="46624">
            <a:spAutoFit/>
          </a:bodyPr>
          <a:lstStyle/>
          <a:p>
            <a:pPr algn="r" defTabSz="950386">
              <a:spcAft>
                <a:spcPts val="600"/>
              </a:spcAft>
              <a:defRPr/>
            </a:pPr>
            <a:r>
              <a:rPr lang="en-US" sz="1020" b="1" kern="0" spc="50">
                <a:solidFill>
                  <a:srgbClr val="505050"/>
                </a:solidFill>
                <a:latin typeface="Segoe UI Semibold" charset="0"/>
                <a:cs typeface="Segoe UI Semibold" charset="0"/>
              </a:rPr>
              <a:t>Experimentation and Model Management</a:t>
            </a:r>
          </a:p>
        </p:txBody>
      </p:sp>
      <p:sp>
        <p:nvSpPr>
          <p:cNvPr id="18" name="Rectangle 17">
            <a:extLst>
              <a:ext uri="{FF2B5EF4-FFF2-40B4-BE49-F238E27FC236}">
                <a16:creationId xmlns:a16="http://schemas.microsoft.com/office/drawing/2014/main" id="{2F2DA8DA-B4FC-4C9A-920A-D615314FEB2E}"/>
              </a:ext>
            </a:extLst>
          </p:cNvPr>
          <p:cNvSpPr/>
          <p:nvPr/>
        </p:nvSpPr>
        <p:spPr bwMode="auto">
          <a:xfrm>
            <a:off x="1068084" y="1665748"/>
            <a:ext cx="3635922" cy="26367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8" tIns="46624" rIns="93248" bIns="46624" numCol="1" spcCol="0" rtlCol="0" fromWordArt="0" anchor="t" anchorCtr="0" forceAA="0" compatLnSpc="1">
            <a:prstTxWarp prst="textNoShape">
              <a:avLst/>
            </a:prstTxWarp>
            <a:spAutoFit/>
          </a:bodyPr>
          <a:lstStyle/>
          <a:p>
            <a:pPr algn="ctr" defTabSz="950386">
              <a:lnSpc>
                <a:spcPct val="90000"/>
              </a:lnSpc>
              <a:defRPr/>
            </a:pPr>
            <a:r>
              <a:rPr lang="en-US" sz="1224" spc="204">
                <a:solidFill>
                  <a:srgbClr val="0078D7"/>
                </a:solidFill>
                <a:latin typeface="Segoe UI Semilight" charset="0"/>
                <a:cs typeface="Segoe UI Semilight" charset="0"/>
              </a:rPr>
              <a:t>AZURE MACHINE LEARNING SERVICES</a:t>
            </a:r>
          </a:p>
        </p:txBody>
      </p:sp>
      <p:sp>
        <p:nvSpPr>
          <p:cNvPr id="19" name="Rectangle 18">
            <a:extLst>
              <a:ext uri="{FF2B5EF4-FFF2-40B4-BE49-F238E27FC236}">
                <a16:creationId xmlns:a16="http://schemas.microsoft.com/office/drawing/2014/main" id="{3BAC6528-90E0-4D36-9BC2-5F1674C82BB1}"/>
              </a:ext>
            </a:extLst>
          </p:cNvPr>
          <p:cNvSpPr/>
          <p:nvPr/>
        </p:nvSpPr>
        <p:spPr bwMode="auto">
          <a:xfrm>
            <a:off x="7570192" y="1665749"/>
            <a:ext cx="2844761" cy="26704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8" tIns="46624" rIns="93248" bIns="46624" numCol="1" spcCol="0" rtlCol="0" fromWordArt="0" anchor="t" anchorCtr="0" forceAA="0" compatLnSpc="1">
            <a:prstTxWarp prst="textNoShape">
              <a:avLst/>
            </a:prstTxWarp>
            <a:spAutoFit/>
          </a:bodyPr>
          <a:lstStyle/>
          <a:p>
            <a:pPr algn="ctr" defTabSz="950386">
              <a:lnSpc>
                <a:spcPct val="90000"/>
              </a:lnSpc>
              <a:defRPr/>
            </a:pPr>
            <a:r>
              <a:rPr lang="en-US" sz="1224" spc="204">
                <a:solidFill>
                  <a:srgbClr val="0078D7"/>
                </a:solidFill>
                <a:latin typeface="Segoe UI Semilight" charset="0"/>
                <a:cs typeface="Segoe UI Semilight" charset="0"/>
              </a:rPr>
              <a:t>TRAIN &amp; DEPLOY OPTIONS</a:t>
            </a:r>
          </a:p>
        </p:txBody>
      </p:sp>
      <p:sp>
        <p:nvSpPr>
          <p:cNvPr id="20" name="Rectangle 19">
            <a:extLst>
              <a:ext uri="{FF2B5EF4-FFF2-40B4-BE49-F238E27FC236}">
                <a16:creationId xmlns:a16="http://schemas.microsoft.com/office/drawing/2014/main" id="{256273FE-55F1-4037-B808-A4D232F71B7F}"/>
              </a:ext>
            </a:extLst>
          </p:cNvPr>
          <p:cNvSpPr/>
          <p:nvPr/>
        </p:nvSpPr>
        <p:spPr bwMode="auto">
          <a:xfrm>
            <a:off x="5428971" y="2513075"/>
            <a:ext cx="1739695" cy="2526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8" tIns="46624" rIns="93248" bIns="46624" numCol="1" spcCol="0" rtlCol="0" fromWordArt="0" anchor="t" anchorCtr="0" forceAA="0" compatLnSpc="1">
            <a:prstTxWarp prst="textNoShape">
              <a:avLst/>
            </a:prstTxWarp>
            <a:spAutoFit/>
          </a:bodyPr>
          <a:lstStyle/>
          <a:p>
            <a:pPr defTabSz="950386">
              <a:lnSpc>
                <a:spcPct val="90000"/>
              </a:lnSpc>
              <a:defRPr/>
            </a:pPr>
            <a:r>
              <a:rPr lang="en-US" sz="1122" spc="204">
                <a:solidFill>
                  <a:srgbClr val="0078D7"/>
                </a:solidFill>
                <a:latin typeface="Segoe UI Semilight" charset="0"/>
                <a:cs typeface="Segoe UI Semilight" charset="0"/>
              </a:rPr>
              <a:t>AZURE</a:t>
            </a:r>
          </a:p>
        </p:txBody>
      </p:sp>
      <p:sp>
        <p:nvSpPr>
          <p:cNvPr id="21" name="Right Bracket 20">
            <a:extLst>
              <a:ext uri="{FF2B5EF4-FFF2-40B4-BE49-F238E27FC236}">
                <a16:creationId xmlns:a16="http://schemas.microsoft.com/office/drawing/2014/main" id="{85760776-F127-45CF-9BD9-E347910B7E1E}"/>
              </a:ext>
            </a:extLst>
          </p:cNvPr>
          <p:cNvSpPr/>
          <p:nvPr/>
        </p:nvSpPr>
        <p:spPr>
          <a:xfrm flipH="1">
            <a:off x="5391479" y="2805299"/>
            <a:ext cx="2253883" cy="2830017"/>
          </a:xfrm>
          <a:prstGeom prst="rightBracket">
            <a:avLst>
              <a:gd name="adj" fmla="val 0"/>
            </a:avLst>
          </a:prstGeom>
          <a:ln w="12700">
            <a:prstDash val="dash"/>
          </a:ln>
        </p:spPr>
        <p:style>
          <a:lnRef idx="1">
            <a:schemeClr val="accent1"/>
          </a:lnRef>
          <a:fillRef idx="0">
            <a:schemeClr val="accent1"/>
          </a:fillRef>
          <a:effectRef idx="0">
            <a:schemeClr val="accent1"/>
          </a:effectRef>
          <a:fontRef idx="minor">
            <a:schemeClr val="tx1"/>
          </a:fontRef>
        </p:style>
        <p:txBody>
          <a:bodyPr rtlCol="0" anchor="ctr"/>
          <a:lstStyle/>
          <a:p>
            <a:pPr algn="ctr" defTabSz="932504">
              <a:defRPr/>
            </a:pPr>
            <a:endParaRPr lang="en-US" sz="1020">
              <a:solidFill>
                <a:srgbClr val="505050"/>
              </a:solidFill>
              <a:latin typeface="Segoe UI"/>
            </a:endParaRPr>
          </a:p>
        </p:txBody>
      </p:sp>
      <p:grpSp>
        <p:nvGrpSpPr>
          <p:cNvPr id="22" name="Group 21">
            <a:extLst>
              <a:ext uri="{FF2B5EF4-FFF2-40B4-BE49-F238E27FC236}">
                <a16:creationId xmlns:a16="http://schemas.microsoft.com/office/drawing/2014/main" id="{8BF189F5-B091-43C8-8187-1ADB04671308}"/>
              </a:ext>
            </a:extLst>
          </p:cNvPr>
          <p:cNvGrpSpPr/>
          <p:nvPr/>
        </p:nvGrpSpPr>
        <p:grpSpPr>
          <a:xfrm>
            <a:off x="7947421" y="4005756"/>
            <a:ext cx="247424" cy="470797"/>
            <a:chOff x="8078776" y="2897184"/>
            <a:chExt cx="196535" cy="373965"/>
          </a:xfrm>
          <a:solidFill>
            <a:srgbClr val="EEEEEE"/>
          </a:solidFill>
        </p:grpSpPr>
        <p:sp>
          <p:nvSpPr>
            <p:cNvPr id="23" name="Rectangle 22">
              <a:extLst>
                <a:ext uri="{FF2B5EF4-FFF2-40B4-BE49-F238E27FC236}">
                  <a16:creationId xmlns:a16="http://schemas.microsoft.com/office/drawing/2014/main" id="{03F8BCB5-E452-4FF6-A2C6-FFF93858EBA0}"/>
                </a:ext>
              </a:extLst>
            </p:cNvPr>
            <p:cNvSpPr/>
            <p:nvPr/>
          </p:nvSpPr>
          <p:spPr bwMode="auto">
            <a:xfrm>
              <a:off x="8078776" y="2897184"/>
              <a:ext cx="196535" cy="373965"/>
            </a:xfrm>
            <a:prstGeom prst="rect">
              <a:avLst/>
            </a:prstGeom>
            <a:grp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ctr" defTabSz="950933" fontAlgn="base">
                <a:lnSpc>
                  <a:spcPct val="90000"/>
                </a:lnSpc>
                <a:spcBef>
                  <a:spcPct val="0"/>
                </a:spcBef>
                <a:spcAft>
                  <a:spcPct val="0"/>
                </a:spcAft>
                <a:defRPr/>
              </a:pPr>
              <a:endParaRPr lang="en-US" sz="2448"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cxnSp>
          <p:nvCxnSpPr>
            <p:cNvPr id="24" name="Straight Connector 23">
              <a:extLst>
                <a:ext uri="{FF2B5EF4-FFF2-40B4-BE49-F238E27FC236}">
                  <a16:creationId xmlns:a16="http://schemas.microsoft.com/office/drawing/2014/main" id="{8FDF609F-284B-418D-97F6-8AA8155EF288}"/>
                </a:ext>
              </a:extLst>
            </p:cNvPr>
            <p:cNvCxnSpPr>
              <a:cxnSpLocks/>
            </p:cNvCxnSpPr>
            <p:nvPr/>
          </p:nvCxnSpPr>
          <p:spPr>
            <a:xfrm>
              <a:off x="8130362" y="2964411"/>
              <a:ext cx="93362" cy="0"/>
            </a:xfrm>
            <a:prstGeom prst="line">
              <a:avLst/>
            </a:prstGeom>
            <a:grpFill/>
            <a:ln w="12700">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C68A1D21-038D-4054-87E9-13B34BCE615D}"/>
                </a:ext>
              </a:extLst>
            </p:cNvPr>
            <p:cNvCxnSpPr>
              <a:cxnSpLocks/>
            </p:cNvCxnSpPr>
            <p:nvPr/>
          </p:nvCxnSpPr>
          <p:spPr>
            <a:xfrm>
              <a:off x="8122179" y="3147034"/>
              <a:ext cx="109728" cy="0"/>
            </a:xfrm>
            <a:prstGeom prst="line">
              <a:avLst/>
            </a:prstGeom>
            <a:grpFill/>
            <a:ln w="12700">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0BD6DAC1-19EF-4CAA-889F-6CAD310F5B0E}"/>
                </a:ext>
              </a:extLst>
            </p:cNvPr>
            <p:cNvCxnSpPr>
              <a:cxnSpLocks/>
            </p:cNvCxnSpPr>
            <p:nvPr/>
          </p:nvCxnSpPr>
          <p:spPr>
            <a:xfrm>
              <a:off x="8122179" y="3198956"/>
              <a:ext cx="109728" cy="0"/>
            </a:xfrm>
            <a:prstGeom prst="line">
              <a:avLst/>
            </a:prstGeom>
            <a:grpFill/>
            <a:ln w="12700">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27" name="Group 26">
            <a:extLst>
              <a:ext uri="{FF2B5EF4-FFF2-40B4-BE49-F238E27FC236}">
                <a16:creationId xmlns:a16="http://schemas.microsoft.com/office/drawing/2014/main" id="{44D5F113-1794-4D81-8E76-1FEC0F4C3A43}"/>
              </a:ext>
            </a:extLst>
          </p:cNvPr>
          <p:cNvGrpSpPr/>
          <p:nvPr/>
        </p:nvGrpSpPr>
        <p:grpSpPr>
          <a:xfrm>
            <a:off x="7845601" y="5402523"/>
            <a:ext cx="451067" cy="478267"/>
            <a:chOff x="6985001" y="2809178"/>
            <a:chExt cx="1545156" cy="1486376"/>
          </a:xfrm>
          <a:noFill/>
        </p:grpSpPr>
        <p:sp>
          <p:nvSpPr>
            <p:cNvPr id="28" name="Rectangle 13">
              <a:extLst>
                <a:ext uri="{FF2B5EF4-FFF2-40B4-BE49-F238E27FC236}">
                  <a16:creationId xmlns:a16="http://schemas.microsoft.com/office/drawing/2014/main" id="{FC79FC2A-C5E8-4C8B-A202-7F2162EEA3E4}"/>
                </a:ext>
              </a:extLst>
            </p:cNvPr>
            <p:cNvSpPr/>
            <p:nvPr/>
          </p:nvSpPr>
          <p:spPr bwMode="auto">
            <a:xfrm>
              <a:off x="6985001" y="2902857"/>
              <a:ext cx="450552" cy="1146098"/>
            </a:xfrm>
            <a:custGeom>
              <a:avLst/>
              <a:gdLst>
                <a:gd name="connsiteX0" fmla="*/ 0 w 450552"/>
                <a:gd name="connsiteY0" fmla="*/ 0 h 1146098"/>
                <a:gd name="connsiteX1" fmla="*/ 450552 w 450552"/>
                <a:gd name="connsiteY1" fmla="*/ 0 h 1146098"/>
                <a:gd name="connsiteX2" fmla="*/ 450552 w 450552"/>
                <a:gd name="connsiteY2" fmla="*/ 1146098 h 1146098"/>
                <a:gd name="connsiteX3" fmla="*/ 0 w 450552"/>
                <a:gd name="connsiteY3" fmla="*/ 1146098 h 1146098"/>
                <a:gd name="connsiteX4" fmla="*/ 0 w 450552"/>
                <a:gd name="connsiteY4" fmla="*/ 0 h 1146098"/>
                <a:gd name="connsiteX0" fmla="*/ 0 w 450552"/>
                <a:gd name="connsiteY0" fmla="*/ 0 h 1146098"/>
                <a:gd name="connsiteX1" fmla="*/ 450552 w 450552"/>
                <a:gd name="connsiteY1" fmla="*/ 0 h 1146098"/>
                <a:gd name="connsiteX2" fmla="*/ 450552 w 450552"/>
                <a:gd name="connsiteY2" fmla="*/ 1146098 h 1146098"/>
                <a:gd name="connsiteX3" fmla="*/ 210456 w 450552"/>
                <a:gd name="connsiteY3" fmla="*/ 1143000 h 1146098"/>
                <a:gd name="connsiteX4" fmla="*/ 0 w 450552"/>
                <a:gd name="connsiteY4" fmla="*/ 1146098 h 1146098"/>
                <a:gd name="connsiteX5" fmla="*/ 0 w 450552"/>
                <a:gd name="connsiteY5" fmla="*/ 0 h 1146098"/>
                <a:gd name="connsiteX0" fmla="*/ 450552 w 541992"/>
                <a:gd name="connsiteY0" fmla="*/ 1146098 h 1237538"/>
                <a:gd name="connsiteX1" fmla="*/ 210456 w 541992"/>
                <a:gd name="connsiteY1" fmla="*/ 1143000 h 1237538"/>
                <a:gd name="connsiteX2" fmla="*/ 0 w 541992"/>
                <a:gd name="connsiteY2" fmla="*/ 1146098 h 1237538"/>
                <a:gd name="connsiteX3" fmla="*/ 0 w 541992"/>
                <a:gd name="connsiteY3" fmla="*/ 0 h 1237538"/>
                <a:gd name="connsiteX4" fmla="*/ 450552 w 541992"/>
                <a:gd name="connsiteY4" fmla="*/ 0 h 1237538"/>
                <a:gd name="connsiteX5" fmla="*/ 541992 w 541992"/>
                <a:gd name="connsiteY5" fmla="*/ 1237538 h 1237538"/>
                <a:gd name="connsiteX0" fmla="*/ 210456 w 541992"/>
                <a:gd name="connsiteY0" fmla="*/ 1143000 h 1237538"/>
                <a:gd name="connsiteX1" fmla="*/ 0 w 541992"/>
                <a:gd name="connsiteY1" fmla="*/ 1146098 h 1237538"/>
                <a:gd name="connsiteX2" fmla="*/ 0 w 541992"/>
                <a:gd name="connsiteY2" fmla="*/ 0 h 1237538"/>
                <a:gd name="connsiteX3" fmla="*/ 450552 w 541992"/>
                <a:gd name="connsiteY3" fmla="*/ 0 h 1237538"/>
                <a:gd name="connsiteX4" fmla="*/ 541992 w 541992"/>
                <a:gd name="connsiteY4" fmla="*/ 1237538 h 1237538"/>
                <a:gd name="connsiteX0" fmla="*/ 210456 w 450552"/>
                <a:gd name="connsiteY0" fmla="*/ 1143000 h 1146098"/>
                <a:gd name="connsiteX1" fmla="*/ 0 w 450552"/>
                <a:gd name="connsiteY1" fmla="*/ 1146098 h 1146098"/>
                <a:gd name="connsiteX2" fmla="*/ 0 w 450552"/>
                <a:gd name="connsiteY2" fmla="*/ 0 h 1146098"/>
                <a:gd name="connsiteX3" fmla="*/ 450552 w 450552"/>
                <a:gd name="connsiteY3" fmla="*/ 0 h 1146098"/>
              </a:gdLst>
              <a:ahLst/>
              <a:cxnLst>
                <a:cxn ang="0">
                  <a:pos x="connsiteX0" y="connsiteY0"/>
                </a:cxn>
                <a:cxn ang="0">
                  <a:pos x="connsiteX1" y="connsiteY1"/>
                </a:cxn>
                <a:cxn ang="0">
                  <a:pos x="connsiteX2" y="connsiteY2"/>
                </a:cxn>
                <a:cxn ang="0">
                  <a:pos x="connsiteX3" y="connsiteY3"/>
                </a:cxn>
              </a:cxnLst>
              <a:rect l="l" t="t" r="r" b="b"/>
              <a:pathLst>
                <a:path w="450552" h="1146098">
                  <a:moveTo>
                    <a:pt x="210456" y="1143000"/>
                  </a:moveTo>
                  <a:lnTo>
                    <a:pt x="0" y="1146098"/>
                  </a:lnTo>
                  <a:lnTo>
                    <a:pt x="0" y="0"/>
                  </a:lnTo>
                  <a:lnTo>
                    <a:pt x="450552" y="0"/>
                  </a:lnTo>
                </a:path>
              </a:pathLst>
            </a:custGeom>
            <a:grp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ctr" defTabSz="950933" fontAlgn="base">
                <a:lnSpc>
                  <a:spcPct val="90000"/>
                </a:lnSpc>
                <a:spcBef>
                  <a:spcPct val="0"/>
                </a:spcBef>
                <a:spcAft>
                  <a:spcPct val="0"/>
                </a:spcAft>
                <a:defRPr/>
              </a:pPr>
              <a:endParaRPr lang="en-US" sz="2448"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9" name="Rectangle 160">
              <a:extLst>
                <a:ext uri="{FF2B5EF4-FFF2-40B4-BE49-F238E27FC236}">
                  <a16:creationId xmlns:a16="http://schemas.microsoft.com/office/drawing/2014/main" id="{871E6CAE-7FE5-444E-A447-07F06D60A4D7}"/>
                </a:ext>
              </a:extLst>
            </p:cNvPr>
            <p:cNvSpPr/>
            <p:nvPr/>
          </p:nvSpPr>
          <p:spPr bwMode="auto">
            <a:xfrm>
              <a:off x="7787492" y="2899229"/>
              <a:ext cx="742665" cy="1149726"/>
            </a:xfrm>
            <a:custGeom>
              <a:avLst/>
              <a:gdLst>
                <a:gd name="connsiteX0" fmla="*/ 0 w 742665"/>
                <a:gd name="connsiteY0" fmla="*/ 0 h 1146098"/>
                <a:gd name="connsiteX1" fmla="*/ 742665 w 742665"/>
                <a:gd name="connsiteY1" fmla="*/ 0 h 1146098"/>
                <a:gd name="connsiteX2" fmla="*/ 742665 w 742665"/>
                <a:gd name="connsiteY2" fmla="*/ 1146098 h 1146098"/>
                <a:gd name="connsiteX3" fmla="*/ 0 w 742665"/>
                <a:gd name="connsiteY3" fmla="*/ 1146098 h 1146098"/>
                <a:gd name="connsiteX4" fmla="*/ 0 w 742665"/>
                <a:gd name="connsiteY4" fmla="*/ 0 h 1146098"/>
                <a:gd name="connsiteX0" fmla="*/ 0 w 742665"/>
                <a:gd name="connsiteY0" fmla="*/ 3628 h 1149726"/>
                <a:gd name="connsiteX1" fmla="*/ 427594 w 742665"/>
                <a:gd name="connsiteY1" fmla="*/ 0 h 1149726"/>
                <a:gd name="connsiteX2" fmla="*/ 742665 w 742665"/>
                <a:gd name="connsiteY2" fmla="*/ 3628 h 1149726"/>
                <a:gd name="connsiteX3" fmla="*/ 742665 w 742665"/>
                <a:gd name="connsiteY3" fmla="*/ 1149726 h 1149726"/>
                <a:gd name="connsiteX4" fmla="*/ 0 w 742665"/>
                <a:gd name="connsiteY4" fmla="*/ 1149726 h 1149726"/>
                <a:gd name="connsiteX5" fmla="*/ 0 w 742665"/>
                <a:gd name="connsiteY5" fmla="*/ 3628 h 1149726"/>
                <a:gd name="connsiteX0" fmla="*/ 0 w 742665"/>
                <a:gd name="connsiteY0" fmla="*/ 3628 h 1149726"/>
                <a:gd name="connsiteX1" fmla="*/ 427594 w 742665"/>
                <a:gd name="connsiteY1" fmla="*/ 0 h 1149726"/>
                <a:gd name="connsiteX2" fmla="*/ 742665 w 742665"/>
                <a:gd name="connsiteY2" fmla="*/ 3628 h 1149726"/>
                <a:gd name="connsiteX3" fmla="*/ 742665 w 742665"/>
                <a:gd name="connsiteY3" fmla="*/ 1149726 h 1149726"/>
                <a:gd name="connsiteX4" fmla="*/ 0 w 742665"/>
                <a:gd name="connsiteY4" fmla="*/ 1149726 h 1149726"/>
                <a:gd name="connsiteX5" fmla="*/ 91440 w 742665"/>
                <a:gd name="connsiteY5" fmla="*/ 95068 h 1149726"/>
                <a:gd name="connsiteX0" fmla="*/ 0 w 742665"/>
                <a:gd name="connsiteY0" fmla="*/ 3628 h 1149726"/>
                <a:gd name="connsiteX1" fmla="*/ 427594 w 742665"/>
                <a:gd name="connsiteY1" fmla="*/ 0 h 1149726"/>
                <a:gd name="connsiteX2" fmla="*/ 742665 w 742665"/>
                <a:gd name="connsiteY2" fmla="*/ 3628 h 1149726"/>
                <a:gd name="connsiteX3" fmla="*/ 742665 w 742665"/>
                <a:gd name="connsiteY3" fmla="*/ 1149726 h 1149726"/>
                <a:gd name="connsiteX4" fmla="*/ 0 w 742665"/>
                <a:gd name="connsiteY4" fmla="*/ 1149726 h 1149726"/>
                <a:gd name="connsiteX0" fmla="*/ 427594 w 742665"/>
                <a:gd name="connsiteY0" fmla="*/ 0 h 1149726"/>
                <a:gd name="connsiteX1" fmla="*/ 742665 w 742665"/>
                <a:gd name="connsiteY1" fmla="*/ 3628 h 1149726"/>
                <a:gd name="connsiteX2" fmla="*/ 742665 w 742665"/>
                <a:gd name="connsiteY2" fmla="*/ 1149726 h 1149726"/>
                <a:gd name="connsiteX3" fmla="*/ 0 w 742665"/>
                <a:gd name="connsiteY3" fmla="*/ 1149726 h 1149726"/>
              </a:gdLst>
              <a:ahLst/>
              <a:cxnLst>
                <a:cxn ang="0">
                  <a:pos x="connsiteX0" y="connsiteY0"/>
                </a:cxn>
                <a:cxn ang="0">
                  <a:pos x="connsiteX1" y="connsiteY1"/>
                </a:cxn>
                <a:cxn ang="0">
                  <a:pos x="connsiteX2" y="connsiteY2"/>
                </a:cxn>
                <a:cxn ang="0">
                  <a:pos x="connsiteX3" y="connsiteY3"/>
                </a:cxn>
              </a:cxnLst>
              <a:rect l="l" t="t" r="r" b="b"/>
              <a:pathLst>
                <a:path w="742665" h="1149726">
                  <a:moveTo>
                    <a:pt x="427594" y="0"/>
                  </a:moveTo>
                  <a:lnTo>
                    <a:pt x="742665" y="3628"/>
                  </a:lnTo>
                  <a:lnTo>
                    <a:pt x="742665" y="1149726"/>
                  </a:lnTo>
                  <a:lnTo>
                    <a:pt x="0" y="1149726"/>
                  </a:lnTo>
                </a:path>
              </a:pathLst>
            </a:custGeom>
            <a:grp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ctr" defTabSz="950933" fontAlgn="base">
                <a:lnSpc>
                  <a:spcPct val="90000"/>
                </a:lnSpc>
                <a:spcBef>
                  <a:spcPct val="0"/>
                </a:spcBef>
                <a:spcAft>
                  <a:spcPct val="0"/>
                </a:spcAft>
                <a:defRPr/>
              </a:pPr>
              <a:endParaRPr lang="en-US" sz="2448"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30" name="Freeform: Shape 29">
              <a:extLst>
                <a:ext uri="{FF2B5EF4-FFF2-40B4-BE49-F238E27FC236}">
                  <a16:creationId xmlns:a16="http://schemas.microsoft.com/office/drawing/2014/main" id="{9E2B111E-77B0-42EE-AF8A-12259012FD41}"/>
                </a:ext>
              </a:extLst>
            </p:cNvPr>
            <p:cNvSpPr/>
            <p:nvPr/>
          </p:nvSpPr>
          <p:spPr bwMode="auto">
            <a:xfrm flipH="1">
              <a:off x="7200583" y="2809178"/>
              <a:ext cx="1126006" cy="1486376"/>
            </a:xfrm>
            <a:custGeom>
              <a:avLst/>
              <a:gdLst>
                <a:gd name="connsiteX0" fmla="*/ 109362 w 183891"/>
                <a:gd name="connsiteY0" fmla="*/ 0 h 242744"/>
                <a:gd name="connsiteX1" fmla="*/ 33578 w 183891"/>
                <a:gd name="connsiteY1" fmla="*/ 0 h 242744"/>
                <a:gd name="connsiteX2" fmla="*/ 82156 w 183891"/>
                <a:gd name="connsiteY2" fmla="*/ 95787 h 242744"/>
                <a:gd name="connsiteX3" fmla="*/ 0 w 183891"/>
                <a:gd name="connsiteY3" fmla="*/ 95787 h 242744"/>
                <a:gd name="connsiteX4" fmla="*/ 147085 w 183891"/>
                <a:gd name="connsiteY4" fmla="*/ 242744 h 242744"/>
                <a:gd name="connsiteX5" fmla="*/ 179893 w 183891"/>
                <a:gd name="connsiteY5" fmla="*/ 242744 h 242744"/>
                <a:gd name="connsiteX6" fmla="*/ 131315 w 183891"/>
                <a:gd name="connsiteY6" fmla="*/ 146957 h 242744"/>
                <a:gd name="connsiteX7" fmla="*/ 183891 w 183891"/>
                <a:gd name="connsiteY7" fmla="*/ 146957 h 242744"/>
                <a:gd name="connsiteX0" fmla="*/ 109362 w 183891"/>
                <a:gd name="connsiteY0" fmla="*/ 0 h 242744"/>
                <a:gd name="connsiteX1" fmla="*/ 33578 w 183891"/>
                <a:gd name="connsiteY1" fmla="*/ 0 h 242744"/>
                <a:gd name="connsiteX2" fmla="*/ 82156 w 183891"/>
                <a:gd name="connsiteY2" fmla="*/ 95787 h 242744"/>
                <a:gd name="connsiteX3" fmla="*/ 0 w 183891"/>
                <a:gd name="connsiteY3" fmla="*/ 95787 h 242744"/>
                <a:gd name="connsiteX4" fmla="*/ 179893 w 183891"/>
                <a:gd name="connsiteY4" fmla="*/ 242744 h 242744"/>
                <a:gd name="connsiteX5" fmla="*/ 131315 w 183891"/>
                <a:gd name="connsiteY5" fmla="*/ 146957 h 242744"/>
                <a:gd name="connsiteX6" fmla="*/ 183891 w 183891"/>
                <a:gd name="connsiteY6" fmla="*/ 146957 h 242744"/>
                <a:gd name="connsiteX7" fmla="*/ 109362 w 183891"/>
                <a:gd name="connsiteY7" fmla="*/ 0 h 242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3891" h="242744">
                  <a:moveTo>
                    <a:pt x="109362" y="0"/>
                  </a:moveTo>
                  <a:lnTo>
                    <a:pt x="33578" y="0"/>
                  </a:lnTo>
                  <a:lnTo>
                    <a:pt x="82156" y="95787"/>
                  </a:lnTo>
                  <a:lnTo>
                    <a:pt x="0" y="95787"/>
                  </a:lnTo>
                  <a:lnTo>
                    <a:pt x="179893" y="242744"/>
                  </a:lnTo>
                  <a:lnTo>
                    <a:pt x="131315" y="146957"/>
                  </a:lnTo>
                  <a:lnTo>
                    <a:pt x="183891" y="146957"/>
                  </a:lnTo>
                  <a:lnTo>
                    <a:pt x="109362" y="0"/>
                  </a:lnTo>
                  <a:close/>
                </a:path>
              </a:pathLst>
            </a:custGeom>
            <a:grp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ctr" defTabSz="950933" fontAlgn="base">
                <a:lnSpc>
                  <a:spcPct val="90000"/>
                </a:lnSpc>
                <a:spcBef>
                  <a:spcPct val="0"/>
                </a:spcBef>
                <a:spcAft>
                  <a:spcPct val="0"/>
                </a:spcAft>
                <a:defRPr/>
              </a:pPr>
              <a:endParaRPr lang="en-US" sz="2448"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sp>
        <p:nvSpPr>
          <p:cNvPr id="31" name="Freeform 146">
            <a:extLst>
              <a:ext uri="{FF2B5EF4-FFF2-40B4-BE49-F238E27FC236}">
                <a16:creationId xmlns:a16="http://schemas.microsoft.com/office/drawing/2014/main" id="{C56FC727-64BF-4122-A57F-B08BA60F6420}"/>
              </a:ext>
            </a:extLst>
          </p:cNvPr>
          <p:cNvSpPr>
            <a:spLocks noChangeAspect="1"/>
          </p:cNvSpPr>
          <p:nvPr/>
        </p:nvSpPr>
        <p:spPr bwMode="auto">
          <a:xfrm>
            <a:off x="7808040" y="2575662"/>
            <a:ext cx="526185" cy="333236"/>
          </a:xfrm>
          <a:custGeom>
            <a:avLst/>
            <a:gdLst>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246680 w 878349"/>
              <a:gd name="connsiteY17" fmla="*/ 161619 h 545581"/>
              <a:gd name="connsiteX18" fmla="*/ 490507 w 878349"/>
              <a:gd name="connsiteY18"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12 h 545593"/>
              <a:gd name="connsiteX1" fmla="*/ 755129 w 878349"/>
              <a:gd name="connsiteY1" fmla="*/ 264634 h 545593"/>
              <a:gd name="connsiteX2" fmla="*/ 753041 w 878349"/>
              <a:gd name="connsiteY2" fmla="*/ 285343 h 545593"/>
              <a:gd name="connsiteX3" fmla="*/ 798544 w 878349"/>
              <a:gd name="connsiteY3" fmla="*/ 294530 h 545593"/>
              <a:gd name="connsiteX4" fmla="*/ 878349 w 878349"/>
              <a:gd name="connsiteY4" fmla="*/ 414927 h 545593"/>
              <a:gd name="connsiteX5" fmla="*/ 798544 w 878349"/>
              <a:gd name="connsiteY5" fmla="*/ 535325 h 545593"/>
              <a:gd name="connsiteX6" fmla="*/ 759827 w 878349"/>
              <a:gd name="connsiteY6" fmla="*/ 543141 h 545593"/>
              <a:gd name="connsiteX7" fmla="*/ 753908 w 878349"/>
              <a:gd name="connsiteY7" fmla="*/ 545593 h 545593"/>
              <a:gd name="connsiteX8" fmla="*/ 747683 w 878349"/>
              <a:gd name="connsiteY8" fmla="*/ 545593 h 545593"/>
              <a:gd name="connsiteX9" fmla="*/ 190471 w 878349"/>
              <a:gd name="connsiteY9" fmla="*/ 545593 h 545593"/>
              <a:gd name="connsiteX10" fmla="*/ 166602 w 878349"/>
              <a:gd name="connsiteY10" fmla="*/ 545593 h 545593"/>
              <a:gd name="connsiteX11" fmla="*/ 158924 w 878349"/>
              <a:gd name="connsiteY11" fmla="*/ 542413 h 545593"/>
              <a:gd name="connsiteX12" fmla="*/ 152084 w 878349"/>
              <a:gd name="connsiteY12" fmla="*/ 541724 h 545593"/>
              <a:gd name="connsiteX13" fmla="*/ 0 w 878349"/>
              <a:gd name="connsiteY13" fmla="*/ 355122 h 545593"/>
              <a:gd name="connsiteX14" fmla="*/ 190471 w 878349"/>
              <a:gd name="connsiteY14" fmla="*/ 164651 h 545593"/>
              <a:gd name="connsiteX15" fmla="*/ 228858 w 878349"/>
              <a:gd name="connsiteY15" fmla="*/ 168521 h 545593"/>
              <a:gd name="connsiteX16" fmla="*/ 244320 w 878349"/>
              <a:gd name="connsiteY16" fmla="*/ 173321 h 545593"/>
              <a:gd name="connsiteX17" fmla="*/ 490507 w 878349"/>
              <a:gd name="connsiteY17" fmla="*/ 12 h 545593"/>
              <a:gd name="connsiteX0" fmla="*/ 490507 w 878349"/>
              <a:gd name="connsiteY0" fmla="*/ 13 h 545594"/>
              <a:gd name="connsiteX1" fmla="*/ 755129 w 878349"/>
              <a:gd name="connsiteY1" fmla="*/ 264635 h 545594"/>
              <a:gd name="connsiteX2" fmla="*/ 753041 w 878349"/>
              <a:gd name="connsiteY2" fmla="*/ 285344 h 545594"/>
              <a:gd name="connsiteX3" fmla="*/ 798544 w 878349"/>
              <a:gd name="connsiteY3" fmla="*/ 294531 h 545594"/>
              <a:gd name="connsiteX4" fmla="*/ 878349 w 878349"/>
              <a:gd name="connsiteY4" fmla="*/ 414928 h 545594"/>
              <a:gd name="connsiteX5" fmla="*/ 798544 w 878349"/>
              <a:gd name="connsiteY5" fmla="*/ 535326 h 545594"/>
              <a:gd name="connsiteX6" fmla="*/ 759827 w 878349"/>
              <a:gd name="connsiteY6" fmla="*/ 543142 h 545594"/>
              <a:gd name="connsiteX7" fmla="*/ 753908 w 878349"/>
              <a:gd name="connsiteY7" fmla="*/ 545594 h 545594"/>
              <a:gd name="connsiteX8" fmla="*/ 747683 w 878349"/>
              <a:gd name="connsiteY8" fmla="*/ 545594 h 545594"/>
              <a:gd name="connsiteX9" fmla="*/ 190471 w 878349"/>
              <a:gd name="connsiteY9" fmla="*/ 545594 h 545594"/>
              <a:gd name="connsiteX10" fmla="*/ 166602 w 878349"/>
              <a:gd name="connsiteY10" fmla="*/ 545594 h 545594"/>
              <a:gd name="connsiteX11" fmla="*/ 158924 w 878349"/>
              <a:gd name="connsiteY11" fmla="*/ 542414 h 545594"/>
              <a:gd name="connsiteX12" fmla="*/ 152084 w 878349"/>
              <a:gd name="connsiteY12" fmla="*/ 541725 h 545594"/>
              <a:gd name="connsiteX13" fmla="*/ 0 w 878349"/>
              <a:gd name="connsiteY13" fmla="*/ 355123 h 545594"/>
              <a:gd name="connsiteX14" fmla="*/ 190471 w 878349"/>
              <a:gd name="connsiteY14" fmla="*/ 164652 h 545594"/>
              <a:gd name="connsiteX15" fmla="*/ 228858 w 878349"/>
              <a:gd name="connsiteY15" fmla="*/ 168522 h 545594"/>
              <a:gd name="connsiteX16" fmla="*/ 244320 w 878349"/>
              <a:gd name="connsiteY16" fmla="*/ 173322 h 545594"/>
              <a:gd name="connsiteX17" fmla="*/ 490507 w 878349"/>
              <a:gd name="connsiteY17" fmla="*/ 13 h 545594"/>
              <a:gd name="connsiteX0" fmla="*/ 490507 w 878349"/>
              <a:gd name="connsiteY0" fmla="*/ 471 h 546052"/>
              <a:gd name="connsiteX1" fmla="*/ 755129 w 878349"/>
              <a:gd name="connsiteY1" fmla="*/ 265093 h 546052"/>
              <a:gd name="connsiteX2" fmla="*/ 753041 w 878349"/>
              <a:gd name="connsiteY2" fmla="*/ 285802 h 546052"/>
              <a:gd name="connsiteX3" fmla="*/ 798544 w 878349"/>
              <a:gd name="connsiteY3" fmla="*/ 294989 h 546052"/>
              <a:gd name="connsiteX4" fmla="*/ 878349 w 878349"/>
              <a:gd name="connsiteY4" fmla="*/ 415386 h 546052"/>
              <a:gd name="connsiteX5" fmla="*/ 798544 w 878349"/>
              <a:gd name="connsiteY5" fmla="*/ 535784 h 546052"/>
              <a:gd name="connsiteX6" fmla="*/ 759827 w 878349"/>
              <a:gd name="connsiteY6" fmla="*/ 543600 h 546052"/>
              <a:gd name="connsiteX7" fmla="*/ 753908 w 878349"/>
              <a:gd name="connsiteY7" fmla="*/ 546052 h 546052"/>
              <a:gd name="connsiteX8" fmla="*/ 747683 w 878349"/>
              <a:gd name="connsiteY8" fmla="*/ 546052 h 546052"/>
              <a:gd name="connsiteX9" fmla="*/ 190471 w 878349"/>
              <a:gd name="connsiteY9" fmla="*/ 546052 h 546052"/>
              <a:gd name="connsiteX10" fmla="*/ 166602 w 878349"/>
              <a:gd name="connsiteY10" fmla="*/ 546052 h 546052"/>
              <a:gd name="connsiteX11" fmla="*/ 158924 w 878349"/>
              <a:gd name="connsiteY11" fmla="*/ 542872 h 546052"/>
              <a:gd name="connsiteX12" fmla="*/ 152084 w 878349"/>
              <a:gd name="connsiteY12" fmla="*/ 542183 h 546052"/>
              <a:gd name="connsiteX13" fmla="*/ 0 w 878349"/>
              <a:gd name="connsiteY13" fmla="*/ 355581 h 546052"/>
              <a:gd name="connsiteX14" fmla="*/ 190471 w 878349"/>
              <a:gd name="connsiteY14" fmla="*/ 165110 h 546052"/>
              <a:gd name="connsiteX15" fmla="*/ 228858 w 878349"/>
              <a:gd name="connsiteY15" fmla="*/ 168980 h 546052"/>
              <a:gd name="connsiteX16" fmla="*/ 244320 w 878349"/>
              <a:gd name="connsiteY16" fmla="*/ 173780 h 546052"/>
              <a:gd name="connsiteX17" fmla="*/ 490507 w 878349"/>
              <a:gd name="connsiteY17" fmla="*/ 471 h 546052"/>
              <a:gd name="connsiteX0" fmla="*/ 490507 w 878349"/>
              <a:gd name="connsiteY0" fmla="*/ 2380 h 547961"/>
              <a:gd name="connsiteX1" fmla="*/ 753041 w 878349"/>
              <a:gd name="connsiteY1" fmla="*/ 287711 h 547961"/>
              <a:gd name="connsiteX2" fmla="*/ 798544 w 878349"/>
              <a:gd name="connsiteY2" fmla="*/ 296898 h 547961"/>
              <a:gd name="connsiteX3" fmla="*/ 878349 w 878349"/>
              <a:gd name="connsiteY3" fmla="*/ 417295 h 547961"/>
              <a:gd name="connsiteX4" fmla="*/ 798544 w 878349"/>
              <a:gd name="connsiteY4" fmla="*/ 537693 h 547961"/>
              <a:gd name="connsiteX5" fmla="*/ 759827 w 878349"/>
              <a:gd name="connsiteY5" fmla="*/ 545509 h 547961"/>
              <a:gd name="connsiteX6" fmla="*/ 753908 w 878349"/>
              <a:gd name="connsiteY6" fmla="*/ 547961 h 547961"/>
              <a:gd name="connsiteX7" fmla="*/ 747683 w 878349"/>
              <a:gd name="connsiteY7" fmla="*/ 547961 h 547961"/>
              <a:gd name="connsiteX8" fmla="*/ 190471 w 878349"/>
              <a:gd name="connsiteY8" fmla="*/ 547961 h 547961"/>
              <a:gd name="connsiteX9" fmla="*/ 166602 w 878349"/>
              <a:gd name="connsiteY9" fmla="*/ 547961 h 547961"/>
              <a:gd name="connsiteX10" fmla="*/ 158924 w 878349"/>
              <a:gd name="connsiteY10" fmla="*/ 544781 h 547961"/>
              <a:gd name="connsiteX11" fmla="*/ 152084 w 878349"/>
              <a:gd name="connsiteY11" fmla="*/ 544092 h 547961"/>
              <a:gd name="connsiteX12" fmla="*/ 0 w 878349"/>
              <a:gd name="connsiteY12" fmla="*/ 357490 h 547961"/>
              <a:gd name="connsiteX13" fmla="*/ 190471 w 878349"/>
              <a:gd name="connsiteY13" fmla="*/ 167019 h 547961"/>
              <a:gd name="connsiteX14" fmla="*/ 228858 w 878349"/>
              <a:gd name="connsiteY14" fmla="*/ 170889 h 547961"/>
              <a:gd name="connsiteX15" fmla="*/ 244320 w 878349"/>
              <a:gd name="connsiteY15" fmla="*/ 175689 h 547961"/>
              <a:gd name="connsiteX16" fmla="*/ 490507 w 878349"/>
              <a:gd name="connsiteY16" fmla="*/ 2380 h 547961"/>
              <a:gd name="connsiteX0" fmla="*/ 490507 w 878349"/>
              <a:gd name="connsiteY0" fmla="*/ 30 h 545611"/>
              <a:gd name="connsiteX1" fmla="*/ 753041 w 878349"/>
              <a:gd name="connsiteY1" fmla="*/ 285361 h 545611"/>
              <a:gd name="connsiteX2" fmla="*/ 798544 w 878349"/>
              <a:gd name="connsiteY2" fmla="*/ 294548 h 545611"/>
              <a:gd name="connsiteX3" fmla="*/ 878349 w 878349"/>
              <a:gd name="connsiteY3" fmla="*/ 414945 h 545611"/>
              <a:gd name="connsiteX4" fmla="*/ 798544 w 878349"/>
              <a:gd name="connsiteY4" fmla="*/ 535343 h 545611"/>
              <a:gd name="connsiteX5" fmla="*/ 759827 w 878349"/>
              <a:gd name="connsiteY5" fmla="*/ 543159 h 545611"/>
              <a:gd name="connsiteX6" fmla="*/ 753908 w 878349"/>
              <a:gd name="connsiteY6" fmla="*/ 545611 h 545611"/>
              <a:gd name="connsiteX7" fmla="*/ 747683 w 878349"/>
              <a:gd name="connsiteY7" fmla="*/ 545611 h 545611"/>
              <a:gd name="connsiteX8" fmla="*/ 190471 w 878349"/>
              <a:gd name="connsiteY8" fmla="*/ 545611 h 545611"/>
              <a:gd name="connsiteX9" fmla="*/ 166602 w 878349"/>
              <a:gd name="connsiteY9" fmla="*/ 545611 h 545611"/>
              <a:gd name="connsiteX10" fmla="*/ 158924 w 878349"/>
              <a:gd name="connsiteY10" fmla="*/ 542431 h 545611"/>
              <a:gd name="connsiteX11" fmla="*/ 152084 w 878349"/>
              <a:gd name="connsiteY11" fmla="*/ 541742 h 545611"/>
              <a:gd name="connsiteX12" fmla="*/ 0 w 878349"/>
              <a:gd name="connsiteY12" fmla="*/ 355140 h 545611"/>
              <a:gd name="connsiteX13" fmla="*/ 190471 w 878349"/>
              <a:gd name="connsiteY13" fmla="*/ 164669 h 545611"/>
              <a:gd name="connsiteX14" fmla="*/ 228858 w 878349"/>
              <a:gd name="connsiteY14" fmla="*/ 168539 h 545611"/>
              <a:gd name="connsiteX15" fmla="*/ 244320 w 878349"/>
              <a:gd name="connsiteY15" fmla="*/ 173339 h 545611"/>
              <a:gd name="connsiteX16" fmla="*/ 490507 w 878349"/>
              <a:gd name="connsiteY16" fmla="*/ 30 h 545611"/>
              <a:gd name="connsiteX0" fmla="*/ 490507 w 878349"/>
              <a:gd name="connsiteY0" fmla="*/ 30 h 545611"/>
              <a:gd name="connsiteX1" fmla="*/ 753041 w 878349"/>
              <a:gd name="connsiteY1" fmla="*/ 285361 h 545611"/>
              <a:gd name="connsiteX2" fmla="*/ 798544 w 878349"/>
              <a:gd name="connsiteY2" fmla="*/ 294548 h 545611"/>
              <a:gd name="connsiteX3" fmla="*/ 878349 w 878349"/>
              <a:gd name="connsiteY3" fmla="*/ 414945 h 545611"/>
              <a:gd name="connsiteX4" fmla="*/ 798544 w 878349"/>
              <a:gd name="connsiteY4" fmla="*/ 535343 h 545611"/>
              <a:gd name="connsiteX5" fmla="*/ 759827 w 878349"/>
              <a:gd name="connsiteY5" fmla="*/ 543159 h 545611"/>
              <a:gd name="connsiteX6" fmla="*/ 753908 w 878349"/>
              <a:gd name="connsiteY6" fmla="*/ 545611 h 545611"/>
              <a:gd name="connsiteX7" fmla="*/ 747683 w 878349"/>
              <a:gd name="connsiteY7" fmla="*/ 545611 h 545611"/>
              <a:gd name="connsiteX8" fmla="*/ 190471 w 878349"/>
              <a:gd name="connsiteY8" fmla="*/ 545611 h 545611"/>
              <a:gd name="connsiteX9" fmla="*/ 166602 w 878349"/>
              <a:gd name="connsiteY9" fmla="*/ 545611 h 545611"/>
              <a:gd name="connsiteX10" fmla="*/ 158924 w 878349"/>
              <a:gd name="connsiteY10" fmla="*/ 542431 h 545611"/>
              <a:gd name="connsiteX11" fmla="*/ 152084 w 878349"/>
              <a:gd name="connsiteY11" fmla="*/ 541742 h 545611"/>
              <a:gd name="connsiteX12" fmla="*/ 0 w 878349"/>
              <a:gd name="connsiteY12" fmla="*/ 355140 h 545611"/>
              <a:gd name="connsiteX13" fmla="*/ 190471 w 878349"/>
              <a:gd name="connsiteY13" fmla="*/ 164669 h 545611"/>
              <a:gd name="connsiteX14" fmla="*/ 228858 w 878349"/>
              <a:gd name="connsiteY14" fmla="*/ 168539 h 545611"/>
              <a:gd name="connsiteX15" fmla="*/ 244320 w 878349"/>
              <a:gd name="connsiteY15" fmla="*/ 173339 h 545611"/>
              <a:gd name="connsiteX16" fmla="*/ 490507 w 878349"/>
              <a:gd name="connsiteY16" fmla="*/ 30 h 545611"/>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526204 w 878349"/>
              <a:gd name="connsiteY0" fmla="*/ 25 h 542852"/>
              <a:gd name="connsiteX1" fmla="*/ 753041 w 878349"/>
              <a:gd name="connsiteY1" fmla="*/ 282602 h 542852"/>
              <a:gd name="connsiteX2" fmla="*/ 798544 w 878349"/>
              <a:gd name="connsiteY2" fmla="*/ 291789 h 542852"/>
              <a:gd name="connsiteX3" fmla="*/ 878349 w 878349"/>
              <a:gd name="connsiteY3" fmla="*/ 412186 h 542852"/>
              <a:gd name="connsiteX4" fmla="*/ 798544 w 878349"/>
              <a:gd name="connsiteY4" fmla="*/ 532584 h 542852"/>
              <a:gd name="connsiteX5" fmla="*/ 759827 w 878349"/>
              <a:gd name="connsiteY5" fmla="*/ 540400 h 542852"/>
              <a:gd name="connsiteX6" fmla="*/ 753908 w 878349"/>
              <a:gd name="connsiteY6" fmla="*/ 542852 h 542852"/>
              <a:gd name="connsiteX7" fmla="*/ 747683 w 878349"/>
              <a:gd name="connsiteY7" fmla="*/ 542852 h 542852"/>
              <a:gd name="connsiteX8" fmla="*/ 190471 w 878349"/>
              <a:gd name="connsiteY8" fmla="*/ 542852 h 542852"/>
              <a:gd name="connsiteX9" fmla="*/ 166602 w 878349"/>
              <a:gd name="connsiteY9" fmla="*/ 542852 h 542852"/>
              <a:gd name="connsiteX10" fmla="*/ 158924 w 878349"/>
              <a:gd name="connsiteY10" fmla="*/ 539672 h 542852"/>
              <a:gd name="connsiteX11" fmla="*/ 152084 w 878349"/>
              <a:gd name="connsiteY11" fmla="*/ 538983 h 542852"/>
              <a:gd name="connsiteX12" fmla="*/ 0 w 878349"/>
              <a:gd name="connsiteY12" fmla="*/ 352381 h 542852"/>
              <a:gd name="connsiteX13" fmla="*/ 190471 w 878349"/>
              <a:gd name="connsiteY13" fmla="*/ 161910 h 542852"/>
              <a:gd name="connsiteX14" fmla="*/ 228858 w 878349"/>
              <a:gd name="connsiteY14" fmla="*/ 165780 h 542852"/>
              <a:gd name="connsiteX15" fmla="*/ 244320 w 878349"/>
              <a:gd name="connsiteY15" fmla="*/ 170580 h 542852"/>
              <a:gd name="connsiteX16" fmla="*/ 526204 w 878349"/>
              <a:gd name="connsiteY16" fmla="*/ 25 h 542852"/>
              <a:gd name="connsiteX0" fmla="*/ 526204 w 878349"/>
              <a:gd name="connsiteY0" fmla="*/ 3284 h 546111"/>
              <a:gd name="connsiteX1" fmla="*/ 753041 w 878349"/>
              <a:gd name="connsiteY1" fmla="*/ 285861 h 546111"/>
              <a:gd name="connsiteX2" fmla="*/ 798544 w 878349"/>
              <a:gd name="connsiteY2" fmla="*/ 295048 h 546111"/>
              <a:gd name="connsiteX3" fmla="*/ 878349 w 878349"/>
              <a:gd name="connsiteY3" fmla="*/ 415445 h 546111"/>
              <a:gd name="connsiteX4" fmla="*/ 798544 w 878349"/>
              <a:gd name="connsiteY4" fmla="*/ 535843 h 546111"/>
              <a:gd name="connsiteX5" fmla="*/ 759827 w 878349"/>
              <a:gd name="connsiteY5" fmla="*/ 543659 h 546111"/>
              <a:gd name="connsiteX6" fmla="*/ 753908 w 878349"/>
              <a:gd name="connsiteY6" fmla="*/ 546111 h 546111"/>
              <a:gd name="connsiteX7" fmla="*/ 747683 w 878349"/>
              <a:gd name="connsiteY7" fmla="*/ 546111 h 546111"/>
              <a:gd name="connsiteX8" fmla="*/ 190471 w 878349"/>
              <a:gd name="connsiteY8" fmla="*/ 546111 h 546111"/>
              <a:gd name="connsiteX9" fmla="*/ 166602 w 878349"/>
              <a:gd name="connsiteY9" fmla="*/ 546111 h 546111"/>
              <a:gd name="connsiteX10" fmla="*/ 158924 w 878349"/>
              <a:gd name="connsiteY10" fmla="*/ 542931 h 546111"/>
              <a:gd name="connsiteX11" fmla="*/ 152084 w 878349"/>
              <a:gd name="connsiteY11" fmla="*/ 542242 h 546111"/>
              <a:gd name="connsiteX12" fmla="*/ 0 w 878349"/>
              <a:gd name="connsiteY12" fmla="*/ 355640 h 546111"/>
              <a:gd name="connsiteX13" fmla="*/ 190471 w 878349"/>
              <a:gd name="connsiteY13" fmla="*/ 165169 h 546111"/>
              <a:gd name="connsiteX14" fmla="*/ 228858 w 878349"/>
              <a:gd name="connsiteY14" fmla="*/ 169039 h 546111"/>
              <a:gd name="connsiteX15" fmla="*/ 244320 w 878349"/>
              <a:gd name="connsiteY15" fmla="*/ 173839 h 546111"/>
              <a:gd name="connsiteX16" fmla="*/ 526204 w 878349"/>
              <a:gd name="connsiteY16" fmla="*/ 3284 h 546111"/>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912 h 543739"/>
              <a:gd name="connsiteX1" fmla="*/ 753041 w 878349"/>
              <a:gd name="connsiteY1" fmla="*/ 283489 h 543739"/>
              <a:gd name="connsiteX2" fmla="*/ 798544 w 878349"/>
              <a:gd name="connsiteY2" fmla="*/ 292676 h 543739"/>
              <a:gd name="connsiteX3" fmla="*/ 878349 w 878349"/>
              <a:gd name="connsiteY3" fmla="*/ 413073 h 543739"/>
              <a:gd name="connsiteX4" fmla="*/ 798544 w 878349"/>
              <a:gd name="connsiteY4" fmla="*/ 533471 h 543739"/>
              <a:gd name="connsiteX5" fmla="*/ 759827 w 878349"/>
              <a:gd name="connsiteY5" fmla="*/ 541287 h 543739"/>
              <a:gd name="connsiteX6" fmla="*/ 753908 w 878349"/>
              <a:gd name="connsiteY6" fmla="*/ 543739 h 543739"/>
              <a:gd name="connsiteX7" fmla="*/ 747683 w 878349"/>
              <a:gd name="connsiteY7" fmla="*/ 543739 h 543739"/>
              <a:gd name="connsiteX8" fmla="*/ 190471 w 878349"/>
              <a:gd name="connsiteY8" fmla="*/ 543739 h 543739"/>
              <a:gd name="connsiteX9" fmla="*/ 166602 w 878349"/>
              <a:gd name="connsiteY9" fmla="*/ 543739 h 543739"/>
              <a:gd name="connsiteX10" fmla="*/ 158924 w 878349"/>
              <a:gd name="connsiteY10" fmla="*/ 540559 h 543739"/>
              <a:gd name="connsiteX11" fmla="*/ 152084 w 878349"/>
              <a:gd name="connsiteY11" fmla="*/ 539870 h 543739"/>
              <a:gd name="connsiteX12" fmla="*/ 0 w 878349"/>
              <a:gd name="connsiteY12" fmla="*/ 353268 h 543739"/>
              <a:gd name="connsiteX13" fmla="*/ 190471 w 878349"/>
              <a:gd name="connsiteY13" fmla="*/ 162797 h 543739"/>
              <a:gd name="connsiteX14" fmla="*/ 228858 w 878349"/>
              <a:gd name="connsiteY14" fmla="*/ 166667 h 543739"/>
              <a:gd name="connsiteX15" fmla="*/ 244320 w 878349"/>
              <a:gd name="connsiteY15" fmla="*/ 171467 h 543739"/>
              <a:gd name="connsiteX16" fmla="*/ 526204 w 878349"/>
              <a:gd name="connsiteY16" fmla="*/ 912 h 543739"/>
              <a:gd name="connsiteX0" fmla="*/ 526204 w 878349"/>
              <a:gd name="connsiteY0" fmla="*/ 2110 h 544937"/>
              <a:gd name="connsiteX1" fmla="*/ 753041 w 878349"/>
              <a:gd name="connsiteY1" fmla="*/ 284687 h 544937"/>
              <a:gd name="connsiteX2" fmla="*/ 798544 w 878349"/>
              <a:gd name="connsiteY2" fmla="*/ 293874 h 544937"/>
              <a:gd name="connsiteX3" fmla="*/ 878349 w 878349"/>
              <a:gd name="connsiteY3" fmla="*/ 414271 h 544937"/>
              <a:gd name="connsiteX4" fmla="*/ 798544 w 878349"/>
              <a:gd name="connsiteY4" fmla="*/ 534669 h 544937"/>
              <a:gd name="connsiteX5" fmla="*/ 759827 w 878349"/>
              <a:gd name="connsiteY5" fmla="*/ 542485 h 544937"/>
              <a:gd name="connsiteX6" fmla="*/ 753908 w 878349"/>
              <a:gd name="connsiteY6" fmla="*/ 544937 h 544937"/>
              <a:gd name="connsiteX7" fmla="*/ 747683 w 878349"/>
              <a:gd name="connsiteY7" fmla="*/ 544937 h 544937"/>
              <a:gd name="connsiteX8" fmla="*/ 190471 w 878349"/>
              <a:gd name="connsiteY8" fmla="*/ 544937 h 544937"/>
              <a:gd name="connsiteX9" fmla="*/ 166602 w 878349"/>
              <a:gd name="connsiteY9" fmla="*/ 544937 h 544937"/>
              <a:gd name="connsiteX10" fmla="*/ 158924 w 878349"/>
              <a:gd name="connsiteY10" fmla="*/ 541757 h 544937"/>
              <a:gd name="connsiteX11" fmla="*/ 152084 w 878349"/>
              <a:gd name="connsiteY11" fmla="*/ 541068 h 544937"/>
              <a:gd name="connsiteX12" fmla="*/ 0 w 878349"/>
              <a:gd name="connsiteY12" fmla="*/ 354466 h 544937"/>
              <a:gd name="connsiteX13" fmla="*/ 190471 w 878349"/>
              <a:gd name="connsiteY13" fmla="*/ 163995 h 544937"/>
              <a:gd name="connsiteX14" fmla="*/ 228858 w 878349"/>
              <a:gd name="connsiteY14" fmla="*/ 167865 h 544937"/>
              <a:gd name="connsiteX15" fmla="*/ 244320 w 878349"/>
              <a:gd name="connsiteY15" fmla="*/ 172665 h 544937"/>
              <a:gd name="connsiteX16" fmla="*/ 526204 w 878349"/>
              <a:gd name="connsiteY16" fmla="*/ 2110 h 544937"/>
              <a:gd name="connsiteX0" fmla="*/ 526204 w 878349"/>
              <a:gd name="connsiteY0" fmla="*/ 2045 h 544872"/>
              <a:gd name="connsiteX1" fmla="*/ 753041 w 878349"/>
              <a:gd name="connsiteY1" fmla="*/ 284622 h 544872"/>
              <a:gd name="connsiteX2" fmla="*/ 798544 w 878349"/>
              <a:gd name="connsiteY2" fmla="*/ 293809 h 544872"/>
              <a:gd name="connsiteX3" fmla="*/ 878349 w 878349"/>
              <a:gd name="connsiteY3" fmla="*/ 414206 h 544872"/>
              <a:gd name="connsiteX4" fmla="*/ 798544 w 878349"/>
              <a:gd name="connsiteY4" fmla="*/ 534604 h 544872"/>
              <a:gd name="connsiteX5" fmla="*/ 759827 w 878349"/>
              <a:gd name="connsiteY5" fmla="*/ 542420 h 544872"/>
              <a:gd name="connsiteX6" fmla="*/ 753908 w 878349"/>
              <a:gd name="connsiteY6" fmla="*/ 544872 h 544872"/>
              <a:gd name="connsiteX7" fmla="*/ 747683 w 878349"/>
              <a:gd name="connsiteY7" fmla="*/ 544872 h 544872"/>
              <a:gd name="connsiteX8" fmla="*/ 190471 w 878349"/>
              <a:gd name="connsiteY8" fmla="*/ 544872 h 544872"/>
              <a:gd name="connsiteX9" fmla="*/ 166602 w 878349"/>
              <a:gd name="connsiteY9" fmla="*/ 544872 h 544872"/>
              <a:gd name="connsiteX10" fmla="*/ 158924 w 878349"/>
              <a:gd name="connsiteY10" fmla="*/ 541692 h 544872"/>
              <a:gd name="connsiteX11" fmla="*/ 152084 w 878349"/>
              <a:gd name="connsiteY11" fmla="*/ 541003 h 544872"/>
              <a:gd name="connsiteX12" fmla="*/ 0 w 878349"/>
              <a:gd name="connsiteY12" fmla="*/ 354401 h 544872"/>
              <a:gd name="connsiteX13" fmla="*/ 190471 w 878349"/>
              <a:gd name="connsiteY13" fmla="*/ 163930 h 544872"/>
              <a:gd name="connsiteX14" fmla="*/ 228858 w 878349"/>
              <a:gd name="connsiteY14" fmla="*/ 167800 h 544872"/>
              <a:gd name="connsiteX15" fmla="*/ 244320 w 878349"/>
              <a:gd name="connsiteY15" fmla="*/ 172600 h 544872"/>
              <a:gd name="connsiteX16" fmla="*/ 526204 w 878349"/>
              <a:gd name="connsiteY16" fmla="*/ 2045 h 544872"/>
              <a:gd name="connsiteX0" fmla="*/ 526204 w 878349"/>
              <a:gd name="connsiteY0" fmla="*/ 3099 h 545926"/>
              <a:gd name="connsiteX1" fmla="*/ 753041 w 878349"/>
              <a:gd name="connsiteY1" fmla="*/ 285676 h 545926"/>
              <a:gd name="connsiteX2" fmla="*/ 798544 w 878349"/>
              <a:gd name="connsiteY2" fmla="*/ 294863 h 545926"/>
              <a:gd name="connsiteX3" fmla="*/ 878349 w 878349"/>
              <a:gd name="connsiteY3" fmla="*/ 415260 h 545926"/>
              <a:gd name="connsiteX4" fmla="*/ 798544 w 878349"/>
              <a:gd name="connsiteY4" fmla="*/ 535658 h 545926"/>
              <a:gd name="connsiteX5" fmla="*/ 759827 w 878349"/>
              <a:gd name="connsiteY5" fmla="*/ 543474 h 545926"/>
              <a:gd name="connsiteX6" fmla="*/ 753908 w 878349"/>
              <a:gd name="connsiteY6" fmla="*/ 545926 h 545926"/>
              <a:gd name="connsiteX7" fmla="*/ 747683 w 878349"/>
              <a:gd name="connsiteY7" fmla="*/ 545926 h 545926"/>
              <a:gd name="connsiteX8" fmla="*/ 190471 w 878349"/>
              <a:gd name="connsiteY8" fmla="*/ 545926 h 545926"/>
              <a:gd name="connsiteX9" fmla="*/ 166602 w 878349"/>
              <a:gd name="connsiteY9" fmla="*/ 545926 h 545926"/>
              <a:gd name="connsiteX10" fmla="*/ 158924 w 878349"/>
              <a:gd name="connsiteY10" fmla="*/ 542746 h 545926"/>
              <a:gd name="connsiteX11" fmla="*/ 152084 w 878349"/>
              <a:gd name="connsiteY11" fmla="*/ 542057 h 545926"/>
              <a:gd name="connsiteX12" fmla="*/ 0 w 878349"/>
              <a:gd name="connsiteY12" fmla="*/ 355455 h 545926"/>
              <a:gd name="connsiteX13" fmla="*/ 190471 w 878349"/>
              <a:gd name="connsiteY13" fmla="*/ 164984 h 545926"/>
              <a:gd name="connsiteX14" fmla="*/ 228858 w 878349"/>
              <a:gd name="connsiteY14" fmla="*/ 168854 h 545926"/>
              <a:gd name="connsiteX15" fmla="*/ 244320 w 878349"/>
              <a:gd name="connsiteY15" fmla="*/ 173654 h 545926"/>
              <a:gd name="connsiteX16" fmla="*/ 526204 w 878349"/>
              <a:gd name="connsiteY16" fmla="*/ 3099 h 545926"/>
              <a:gd name="connsiteX0" fmla="*/ 526204 w 878349"/>
              <a:gd name="connsiteY0" fmla="*/ 2823 h 545650"/>
              <a:gd name="connsiteX1" fmla="*/ 753041 w 878349"/>
              <a:gd name="connsiteY1" fmla="*/ 285400 h 545650"/>
              <a:gd name="connsiteX2" fmla="*/ 798544 w 878349"/>
              <a:gd name="connsiteY2" fmla="*/ 294587 h 545650"/>
              <a:gd name="connsiteX3" fmla="*/ 878349 w 878349"/>
              <a:gd name="connsiteY3" fmla="*/ 414984 h 545650"/>
              <a:gd name="connsiteX4" fmla="*/ 798544 w 878349"/>
              <a:gd name="connsiteY4" fmla="*/ 535382 h 545650"/>
              <a:gd name="connsiteX5" fmla="*/ 759827 w 878349"/>
              <a:gd name="connsiteY5" fmla="*/ 543198 h 545650"/>
              <a:gd name="connsiteX6" fmla="*/ 753908 w 878349"/>
              <a:gd name="connsiteY6" fmla="*/ 545650 h 545650"/>
              <a:gd name="connsiteX7" fmla="*/ 747683 w 878349"/>
              <a:gd name="connsiteY7" fmla="*/ 545650 h 545650"/>
              <a:gd name="connsiteX8" fmla="*/ 190471 w 878349"/>
              <a:gd name="connsiteY8" fmla="*/ 545650 h 545650"/>
              <a:gd name="connsiteX9" fmla="*/ 166602 w 878349"/>
              <a:gd name="connsiteY9" fmla="*/ 545650 h 545650"/>
              <a:gd name="connsiteX10" fmla="*/ 158924 w 878349"/>
              <a:gd name="connsiteY10" fmla="*/ 542470 h 545650"/>
              <a:gd name="connsiteX11" fmla="*/ 152084 w 878349"/>
              <a:gd name="connsiteY11" fmla="*/ 541781 h 545650"/>
              <a:gd name="connsiteX12" fmla="*/ 0 w 878349"/>
              <a:gd name="connsiteY12" fmla="*/ 355179 h 545650"/>
              <a:gd name="connsiteX13" fmla="*/ 190471 w 878349"/>
              <a:gd name="connsiteY13" fmla="*/ 164708 h 545650"/>
              <a:gd name="connsiteX14" fmla="*/ 228858 w 878349"/>
              <a:gd name="connsiteY14" fmla="*/ 168578 h 545650"/>
              <a:gd name="connsiteX15" fmla="*/ 244320 w 878349"/>
              <a:gd name="connsiteY15" fmla="*/ 173378 h 545650"/>
              <a:gd name="connsiteX16" fmla="*/ 526204 w 878349"/>
              <a:gd name="connsiteY16"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59827 w 878349"/>
              <a:gd name="connsiteY4" fmla="*/ 543198 h 545650"/>
              <a:gd name="connsiteX5" fmla="*/ 753908 w 878349"/>
              <a:gd name="connsiteY5" fmla="*/ 545650 h 545650"/>
              <a:gd name="connsiteX6" fmla="*/ 747683 w 878349"/>
              <a:gd name="connsiteY6" fmla="*/ 545650 h 545650"/>
              <a:gd name="connsiteX7" fmla="*/ 190471 w 878349"/>
              <a:gd name="connsiteY7" fmla="*/ 545650 h 545650"/>
              <a:gd name="connsiteX8" fmla="*/ 166602 w 878349"/>
              <a:gd name="connsiteY8" fmla="*/ 545650 h 545650"/>
              <a:gd name="connsiteX9" fmla="*/ 158924 w 878349"/>
              <a:gd name="connsiteY9" fmla="*/ 542470 h 545650"/>
              <a:gd name="connsiteX10" fmla="*/ 152084 w 878349"/>
              <a:gd name="connsiteY10" fmla="*/ 541781 h 545650"/>
              <a:gd name="connsiteX11" fmla="*/ 0 w 878349"/>
              <a:gd name="connsiteY11" fmla="*/ 355179 h 545650"/>
              <a:gd name="connsiteX12" fmla="*/ 190471 w 878349"/>
              <a:gd name="connsiteY12" fmla="*/ 164708 h 545650"/>
              <a:gd name="connsiteX13" fmla="*/ 228858 w 878349"/>
              <a:gd name="connsiteY13" fmla="*/ 168578 h 545650"/>
              <a:gd name="connsiteX14" fmla="*/ 244320 w 878349"/>
              <a:gd name="connsiteY14" fmla="*/ 173378 h 545650"/>
              <a:gd name="connsiteX15" fmla="*/ 526204 w 878349"/>
              <a:gd name="connsiteY15"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59827 w 878349"/>
              <a:gd name="connsiteY4" fmla="*/ 543198 h 545650"/>
              <a:gd name="connsiteX5" fmla="*/ 747683 w 878349"/>
              <a:gd name="connsiteY5" fmla="*/ 545650 h 545650"/>
              <a:gd name="connsiteX6" fmla="*/ 190471 w 878349"/>
              <a:gd name="connsiteY6" fmla="*/ 545650 h 545650"/>
              <a:gd name="connsiteX7" fmla="*/ 166602 w 878349"/>
              <a:gd name="connsiteY7" fmla="*/ 545650 h 545650"/>
              <a:gd name="connsiteX8" fmla="*/ 158924 w 878349"/>
              <a:gd name="connsiteY8" fmla="*/ 542470 h 545650"/>
              <a:gd name="connsiteX9" fmla="*/ 152084 w 878349"/>
              <a:gd name="connsiteY9" fmla="*/ 541781 h 545650"/>
              <a:gd name="connsiteX10" fmla="*/ 0 w 878349"/>
              <a:gd name="connsiteY10" fmla="*/ 355179 h 545650"/>
              <a:gd name="connsiteX11" fmla="*/ 190471 w 878349"/>
              <a:gd name="connsiteY11" fmla="*/ 164708 h 545650"/>
              <a:gd name="connsiteX12" fmla="*/ 228858 w 878349"/>
              <a:gd name="connsiteY12" fmla="*/ 168578 h 545650"/>
              <a:gd name="connsiteX13" fmla="*/ 244320 w 878349"/>
              <a:gd name="connsiteY13" fmla="*/ 173378 h 545650"/>
              <a:gd name="connsiteX14" fmla="*/ 526204 w 878349"/>
              <a:gd name="connsiteY14"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47683 w 878349"/>
              <a:gd name="connsiteY4" fmla="*/ 545650 h 545650"/>
              <a:gd name="connsiteX5" fmla="*/ 190471 w 878349"/>
              <a:gd name="connsiteY5" fmla="*/ 545650 h 545650"/>
              <a:gd name="connsiteX6" fmla="*/ 166602 w 878349"/>
              <a:gd name="connsiteY6" fmla="*/ 545650 h 545650"/>
              <a:gd name="connsiteX7" fmla="*/ 158924 w 878349"/>
              <a:gd name="connsiteY7" fmla="*/ 542470 h 545650"/>
              <a:gd name="connsiteX8" fmla="*/ 152084 w 878349"/>
              <a:gd name="connsiteY8" fmla="*/ 541781 h 545650"/>
              <a:gd name="connsiteX9" fmla="*/ 0 w 878349"/>
              <a:gd name="connsiteY9" fmla="*/ 355179 h 545650"/>
              <a:gd name="connsiteX10" fmla="*/ 190471 w 878349"/>
              <a:gd name="connsiteY10" fmla="*/ 164708 h 545650"/>
              <a:gd name="connsiteX11" fmla="*/ 228858 w 878349"/>
              <a:gd name="connsiteY11" fmla="*/ 168578 h 545650"/>
              <a:gd name="connsiteX12" fmla="*/ 244320 w 878349"/>
              <a:gd name="connsiteY12" fmla="*/ 173378 h 545650"/>
              <a:gd name="connsiteX13" fmla="*/ 526204 w 878349"/>
              <a:gd name="connsiteY13"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47683 w 878349"/>
              <a:gd name="connsiteY3" fmla="*/ 545650 h 545650"/>
              <a:gd name="connsiteX4" fmla="*/ 190471 w 878349"/>
              <a:gd name="connsiteY4" fmla="*/ 545650 h 545650"/>
              <a:gd name="connsiteX5" fmla="*/ 166602 w 878349"/>
              <a:gd name="connsiteY5" fmla="*/ 545650 h 545650"/>
              <a:gd name="connsiteX6" fmla="*/ 158924 w 878349"/>
              <a:gd name="connsiteY6" fmla="*/ 542470 h 545650"/>
              <a:gd name="connsiteX7" fmla="*/ 152084 w 878349"/>
              <a:gd name="connsiteY7" fmla="*/ 541781 h 545650"/>
              <a:gd name="connsiteX8" fmla="*/ 0 w 878349"/>
              <a:gd name="connsiteY8" fmla="*/ 355179 h 545650"/>
              <a:gd name="connsiteX9" fmla="*/ 190471 w 878349"/>
              <a:gd name="connsiteY9" fmla="*/ 164708 h 545650"/>
              <a:gd name="connsiteX10" fmla="*/ 228858 w 878349"/>
              <a:gd name="connsiteY10" fmla="*/ 168578 h 545650"/>
              <a:gd name="connsiteX11" fmla="*/ 244320 w 878349"/>
              <a:gd name="connsiteY11" fmla="*/ 173378 h 545650"/>
              <a:gd name="connsiteX12" fmla="*/ 526204 w 878349"/>
              <a:gd name="connsiteY12"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47683 w 878349"/>
              <a:gd name="connsiteY3" fmla="*/ 545650 h 545650"/>
              <a:gd name="connsiteX4" fmla="*/ 190471 w 878349"/>
              <a:gd name="connsiteY4" fmla="*/ 545650 h 545650"/>
              <a:gd name="connsiteX5" fmla="*/ 166602 w 878349"/>
              <a:gd name="connsiteY5" fmla="*/ 545650 h 545650"/>
              <a:gd name="connsiteX6" fmla="*/ 158924 w 878349"/>
              <a:gd name="connsiteY6" fmla="*/ 542470 h 545650"/>
              <a:gd name="connsiteX7" fmla="*/ 152084 w 878349"/>
              <a:gd name="connsiteY7" fmla="*/ 541781 h 545650"/>
              <a:gd name="connsiteX8" fmla="*/ 0 w 878349"/>
              <a:gd name="connsiteY8" fmla="*/ 355179 h 545650"/>
              <a:gd name="connsiteX9" fmla="*/ 190471 w 878349"/>
              <a:gd name="connsiteY9" fmla="*/ 164708 h 545650"/>
              <a:gd name="connsiteX10" fmla="*/ 228858 w 878349"/>
              <a:gd name="connsiteY10" fmla="*/ 168578 h 545650"/>
              <a:gd name="connsiteX11" fmla="*/ 244320 w 878349"/>
              <a:gd name="connsiteY11" fmla="*/ 173378 h 545650"/>
              <a:gd name="connsiteX12" fmla="*/ 526204 w 878349"/>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60"/>
              <a:gd name="connsiteY0" fmla="*/ 2823 h 545650"/>
              <a:gd name="connsiteX1" fmla="*/ 753041 w 878360"/>
              <a:gd name="connsiteY1" fmla="*/ 285400 h 545650"/>
              <a:gd name="connsiteX2" fmla="*/ 878349 w 878360"/>
              <a:gd name="connsiteY2" fmla="*/ 414984 h 545650"/>
              <a:gd name="connsiteX3" fmla="*/ 747683 w 878360"/>
              <a:gd name="connsiteY3" fmla="*/ 545650 h 545650"/>
              <a:gd name="connsiteX4" fmla="*/ 190471 w 878360"/>
              <a:gd name="connsiteY4" fmla="*/ 545650 h 545650"/>
              <a:gd name="connsiteX5" fmla="*/ 166602 w 878360"/>
              <a:gd name="connsiteY5" fmla="*/ 545650 h 545650"/>
              <a:gd name="connsiteX6" fmla="*/ 158924 w 878360"/>
              <a:gd name="connsiteY6" fmla="*/ 542470 h 545650"/>
              <a:gd name="connsiteX7" fmla="*/ 152084 w 878360"/>
              <a:gd name="connsiteY7" fmla="*/ 541781 h 545650"/>
              <a:gd name="connsiteX8" fmla="*/ 0 w 878360"/>
              <a:gd name="connsiteY8" fmla="*/ 355179 h 545650"/>
              <a:gd name="connsiteX9" fmla="*/ 190471 w 878360"/>
              <a:gd name="connsiteY9" fmla="*/ 164708 h 545650"/>
              <a:gd name="connsiteX10" fmla="*/ 228858 w 878360"/>
              <a:gd name="connsiteY10" fmla="*/ 168578 h 545650"/>
              <a:gd name="connsiteX11" fmla="*/ 244320 w 878360"/>
              <a:gd name="connsiteY11" fmla="*/ 173378 h 545650"/>
              <a:gd name="connsiteX12" fmla="*/ 526204 w 878360"/>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51"/>
              <a:gd name="connsiteY0" fmla="*/ 2823 h 545650"/>
              <a:gd name="connsiteX1" fmla="*/ 753041 w 878351"/>
              <a:gd name="connsiteY1" fmla="*/ 285400 h 545650"/>
              <a:gd name="connsiteX2" fmla="*/ 878349 w 878351"/>
              <a:gd name="connsiteY2" fmla="*/ 414984 h 545650"/>
              <a:gd name="connsiteX3" fmla="*/ 747683 w 878351"/>
              <a:gd name="connsiteY3" fmla="*/ 545650 h 545650"/>
              <a:gd name="connsiteX4" fmla="*/ 190471 w 878351"/>
              <a:gd name="connsiteY4" fmla="*/ 545650 h 545650"/>
              <a:gd name="connsiteX5" fmla="*/ 166602 w 878351"/>
              <a:gd name="connsiteY5" fmla="*/ 545650 h 545650"/>
              <a:gd name="connsiteX6" fmla="*/ 158924 w 878351"/>
              <a:gd name="connsiteY6" fmla="*/ 542470 h 545650"/>
              <a:gd name="connsiteX7" fmla="*/ 152084 w 878351"/>
              <a:gd name="connsiteY7" fmla="*/ 541781 h 545650"/>
              <a:gd name="connsiteX8" fmla="*/ 0 w 878351"/>
              <a:gd name="connsiteY8" fmla="*/ 355179 h 545650"/>
              <a:gd name="connsiteX9" fmla="*/ 190471 w 878351"/>
              <a:gd name="connsiteY9" fmla="*/ 164708 h 545650"/>
              <a:gd name="connsiteX10" fmla="*/ 228858 w 878351"/>
              <a:gd name="connsiteY10" fmla="*/ 168578 h 545650"/>
              <a:gd name="connsiteX11" fmla="*/ 244320 w 878351"/>
              <a:gd name="connsiteY11" fmla="*/ 173378 h 545650"/>
              <a:gd name="connsiteX12" fmla="*/ 526204 w 878351"/>
              <a:gd name="connsiteY12" fmla="*/ 2823 h 545650"/>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7585 w 879730"/>
              <a:gd name="connsiteY0" fmla="*/ 2823 h 545651"/>
              <a:gd name="connsiteX1" fmla="*/ 754422 w 879730"/>
              <a:gd name="connsiteY1" fmla="*/ 285400 h 545651"/>
              <a:gd name="connsiteX2" fmla="*/ 879730 w 879730"/>
              <a:gd name="connsiteY2" fmla="*/ 414984 h 545651"/>
              <a:gd name="connsiteX3" fmla="*/ 749064 w 879730"/>
              <a:gd name="connsiteY3" fmla="*/ 545650 h 545651"/>
              <a:gd name="connsiteX4" fmla="*/ 191852 w 879730"/>
              <a:gd name="connsiteY4" fmla="*/ 545650 h 545651"/>
              <a:gd name="connsiteX5" fmla="*/ 167983 w 879730"/>
              <a:gd name="connsiteY5" fmla="*/ 545650 h 545651"/>
              <a:gd name="connsiteX6" fmla="*/ 160305 w 879730"/>
              <a:gd name="connsiteY6" fmla="*/ 542470 h 545651"/>
              <a:gd name="connsiteX7" fmla="*/ 153465 w 879730"/>
              <a:gd name="connsiteY7" fmla="*/ 541781 h 545651"/>
              <a:gd name="connsiteX8" fmla="*/ 1381 w 879730"/>
              <a:gd name="connsiteY8" fmla="*/ 355179 h 545651"/>
              <a:gd name="connsiteX9" fmla="*/ 230239 w 879730"/>
              <a:gd name="connsiteY9" fmla="*/ 168578 h 545651"/>
              <a:gd name="connsiteX10" fmla="*/ 245701 w 879730"/>
              <a:gd name="connsiteY10" fmla="*/ 173378 h 545651"/>
              <a:gd name="connsiteX11" fmla="*/ 527585 w 879730"/>
              <a:gd name="connsiteY11" fmla="*/ 2823 h 545651"/>
              <a:gd name="connsiteX0" fmla="*/ 528098 w 880243"/>
              <a:gd name="connsiteY0" fmla="*/ 2823 h 545651"/>
              <a:gd name="connsiteX1" fmla="*/ 754935 w 880243"/>
              <a:gd name="connsiteY1" fmla="*/ 285400 h 545651"/>
              <a:gd name="connsiteX2" fmla="*/ 880243 w 880243"/>
              <a:gd name="connsiteY2" fmla="*/ 414984 h 545651"/>
              <a:gd name="connsiteX3" fmla="*/ 749577 w 880243"/>
              <a:gd name="connsiteY3" fmla="*/ 545650 h 545651"/>
              <a:gd name="connsiteX4" fmla="*/ 192365 w 880243"/>
              <a:gd name="connsiteY4" fmla="*/ 545650 h 545651"/>
              <a:gd name="connsiteX5" fmla="*/ 168496 w 880243"/>
              <a:gd name="connsiteY5" fmla="*/ 545650 h 545651"/>
              <a:gd name="connsiteX6" fmla="*/ 160818 w 880243"/>
              <a:gd name="connsiteY6" fmla="*/ 542470 h 545651"/>
              <a:gd name="connsiteX7" fmla="*/ 153978 w 880243"/>
              <a:gd name="connsiteY7" fmla="*/ 541781 h 545651"/>
              <a:gd name="connsiteX8" fmla="*/ 1894 w 880243"/>
              <a:gd name="connsiteY8" fmla="*/ 355179 h 545651"/>
              <a:gd name="connsiteX9" fmla="*/ 246214 w 880243"/>
              <a:gd name="connsiteY9" fmla="*/ 173378 h 545651"/>
              <a:gd name="connsiteX10" fmla="*/ 528098 w 880243"/>
              <a:gd name="connsiteY10" fmla="*/ 2823 h 545651"/>
              <a:gd name="connsiteX0" fmla="*/ 528098 w 880243"/>
              <a:gd name="connsiteY0" fmla="*/ 2823 h 545651"/>
              <a:gd name="connsiteX1" fmla="*/ 754935 w 880243"/>
              <a:gd name="connsiteY1" fmla="*/ 285400 h 545651"/>
              <a:gd name="connsiteX2" fmla="*/ 880243 w 880243"/>
              <a:gd name="connsiteY2" fmla="*/ 414984 h 545651"/>
              <a:gd name="connsiteX3" fmla="*/ 749577 w 880243"/>
              <a:gd name="connsiteY3" fmla="*/ 545650 h 545651"/>
              <a:gd name="connsiteX4" fmla="*/ 192365 w 880243"/>
              <a:gd name="connsiteY4" fmla="*/ 545650 h 545651"/>
              <a:gd name="connsiteX5" fmla="*/ 168496 w 880243"/>
              <a:gd name="connsiteY5" fmla="*/ 545650 h 545651"/>
              <a:gd name="connsiteX6" fmla="*/ 160818 w 880243"/>
              <a:gd name="connsiteY6" fmla="*/ 542470 h 545651"/>
              <a:gd name="connsiteX7" fmla="*/ 153978 w 880243"/>
              <a:gd name="connsiteY7" fmla="*/ 541781 h 545651"/>
              <a:gd name="connsiteX8" fmla="*/ 1894 w 880243"/>
              <a:gd name="connsiteY8" fmla="*/ 355179 h 545651"/>
              <a:gd name="connsiteX9" fmla="*/ 246214 w 880243"/>
              <a:gd name="connsiteY9" fmla="*/ 173378 h 545651"/>
              <a:gd name="connsiteX10" fmla="*/ 528098 w 880243"/>
              <a:gd name="connsiteY10" fmla="*/ 2823 h 545651"/>
              <a:gd name="connsiteX0" fmla="*/ 526208 w 878353"/>
              <a:gd name="connsiteY0" fmla="*/ 2823 h 545651"/>
              <a:gd name="connsiteX1" fmla="*/ 753045 w 878353"/>
              <a:gd name="connsiteY1" fmla="*/ 285400 h 545651"/>
              <a:gd name="connsiteX2" fmla="*/ 878353 w 878353"/>
              <a:gd name="connsiteY2" fmla="*/ 414984 h 545651"/>
              <a:gd name="connsiteX3" fmla="*/ 747687 w 878353"/>
              <a:gd name="connsiteY3" fmla="*/ 545650 h 545651"/>
              <a:gd name="connsiteX4" fmla="*/ 190475 w 878353"/>
              <a:gd name="connsiteY4" fmla="*/ 545650 h 545651"/>
              <a:gd name="connsiteX5" fmla="*/ 166606 w 878353"/>
              <a:gd name="connsiteY5" fmla="*/ 545650 h 545651"/>
              <a:gd name="connsiteX6" fmla="*/ 158928 w 878353"/>
              <a:gd name="connsiteY6" fmla="*/ 542470 h 545651"/>
              <a:gd name="connsiteX7" fmla="*/ 152088 w 878353"/>
              <a:gd name="connsiteY7" fmla="*/ 541781 h 545651"/>
              <a:gd name="connsiteX8" fmla="*/ 4 w 878353"/>
              <a:gd name="connsiteY8" fmla="*/ 355179 h 545651"/>
              <a:gd name="connsiteX9" fmla="*/ 244324 w 878353"/>
              <a:gd name="connsiteY9" fmla="*/ 173378 h 545651"/>
              <a:gd name="connsiteX10" fmla="*/ 526208 w 878353"/>
              <a:gd name="connsiteY10"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66614 w 878361"/>
              <a:gd name="connsiteY5" fmla="*/ 545650 h 545651"/>
              <a:gd name="connsiteX6" fmla="*/ 158936 w 878361"/>
              <a:gd name="connsiteY6" fmla="*/ 542470 h 545651"/>
              <a:gd name="connsiteX7" fmla="*/ 152096 w 878361"/>
              <a:gd name="connsiteY7" fmla="*/ 541781 h 545651"/>
              <a:gd name="connsiteX8" fmla="*/ 12 w 878361"/>
              <a:gd name="connsiteY8" fmla="*/ 355179 h 545651"/>
              <a:gd name="connsiteX9" fmla="*/ 244332 w 878361"/>
              <a:gd name="connsiteY9" fmla="*/ 173378 h 545651"/>
              <a:gd name="connsiteX10" fmla="*/ 526216 w 878361"/>
              <a:gd name="connsiteY10"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58936 w 878361"/>
              <a:gd name="connsiteY5" fmla="*/ 542470 h 545651"/>
              <a:gd name="connsiteX6" fmla="*/ 152096 w 878361"/>
              <a:gd name="connsiteY6" fmla="*/ 541781 h 545651"/>
              <a:gd name="connsiteX7" fmla="*/ 12 w 878361"/>
              <a:gd name="connsiteY7" fmla="*/ 355179 h 545651"/>
              <a:gd name="connsiteX8" fmla="*/ 244332 w 878361"/>
              <a:gd name="connsiteY8" fmla="*/ 173378 h 545651"/>
              <a:gd name="connsiteX9" fmla="*/ 526216 w 878361"/>
              <a:gd name="connsiteY9"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52096 w 878361"/>
              <a:gd name="connsiteY5" fmla="*/ 541781 h 545651"/>
              <a:gd name="connsiteX6" fmla="*/ 12 w 878361"/>
              <a:gd name="connsiteY6" fmla="*/ 355179 h 545651"/>
              <a:gd name="connsiteX7" fmla="*/ 244332 w 878361"/>
              <a:gd name="connsiteY7" fmla="*/ 173378 h 545651"/>
              <a:gd name="connsiteX8" fmla="*/ 526216 w 878361"/>
              <a:gd name="connsiteY8"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2 w 878361"/>
              <a:gd name="connsiteY5" fmla="*/ 355179 h 545651"/>
              <a:gd name="connsiteX6" fmla="*/ 244332 w 878361"/>
              <a:gd name="connsiteY6" fmla="*/ 173378 h 545651"/>
              <a:gd name="connsiteX7" fmla="*/ 526216 w 878361"/>
              <a:gd name="connsiteY7" fmla="*/ 2823 h 545651"/>
              <a:gd name="connsiteX0" fmla="*/ 528231 w 880376"/>
              <a:gd name="connsiteY0" fmla="*/ 2823 h 545651"/>
              <a:gd name="connsiteX1" fmla="*/ 755068 w 880376"/>
              <a:gd name="connsiteY1" fmla="*/ 285400 h 545651"/>
              <a:gd name="connsiteX2" fmla="*/ 880376 w 880376"/>
              <a:gd name="connsiteY2" fmla="*/ 414984 h 545651"/>
              <a:gd name="connsiteX3" fmla="*/ 749710 w 880376"/>
              <a:gd name="connsiteY3" fmla="*/ 545650 h 545651"/>
              <a:gd name="connsiteX4" fmla="*/ 192498 w 880376"/>
              <a:gd name="connsiteY4" fmla="*/ 545650 h 545651"/>
              <a:gd name="connsiteX5" fmla="*/ 2027 w 880376"/>
              <a:gd name="connsiteY5" fmla="*/ 355179 h 545651"/>
              <a:gd name="connsiteX6" fmla="*/ 246347 w 880376"/>
              <a:gd name="connsiteY6" fmla="*/ 173378 h 545651"/>
              <a:gd name="connsiteX7" fmla="*/ 528231 w 880376"/>
              <a:gd name="connsiteY7" fmla="*/ 2823 h 545651"/>
              <a:gd name="connsiteX0" fmla="*/ 526217 w 878362"/>
              <a:gd name="connsiteY0" fmla="*/ 2823 h 545651"/>
              <a:gd name="connsiteX1" fmla="*/ 753054 w 878362"/>
              <a:gd name="connsiteY1" fmla="*/ 285400 h 545651"/>
              <a:gd name="connsiteX2" fmla="*/ 878362 w 878362"/>
              <a:gd name="connsiteY2" fmla="*/ 414984 h 545651"/>
              <a:gd name="connsiteX3" fmla="*/ 747696 w 878362"/>
              <a:gd name="connsiteY3" fmla="*/ 545650 h 545651"/>
              <a:gd name="connsiteX4" fmla="*/ 190484 w 878362"/>
              <a:gd name="connsiteY4" fmla="*/ 545650 h 545651"/>
              <a:gd name="connsiteX5" fmla="*/ 13 w 878362"/>
              <a:gd name="connsiteY5" fmla="*/ 355179 h 545651"/>
              <a:gd name="connsiteX6" fmla="*/ 244333 w 878362"/>
              <a:gd name="connsiteY6" fmla="*/ 173378 h 545651"/>
              <a:gd name="connsiteX7" fmla="*/ 526217 w 878362"/>
              <a:gd name="connsiteY7" fmla="*/ 2823 h 545651"/>
              <a:gd name="connsiteX0" fmla="*/ 526964 w 879109"/>
              <a:gd name="connsiteY0" fmla="*/ 2823 h 545651"/>
              <a:gd name="connsiteX1" fmla="*/ 753801 w 879109"/>
              <a:gd name="connsiteY1" fmla="*/ 285400 h 545651"/>
              <a:gd name="connsiteX2" fmla="*/ 879109 w 879109"/>
              <a:gd name="connsiteY2" fmla="*/ 414984 h 545651"/>
              <a:gd name="connsiteX3" fmla="*/ 748443 w 879109"/>
              <a:gd name="connsiteY3" fmla="*/ 545650 h 545651"/>
              <a:gd name="connsiteX4" fmla="*/ 191231 w 879109"/>
              <a:gd name="connsiteY4" fmla="*/ 545650 h 545651"/>
              <a:gd name="connsiteX5" fmla="*/ 760 w 879109"/>
              <a:gd name="connsiteY5" fmla="*/ 355179 h 545651"/>
              <a:gd name="connsiteX6" fmla="*/ 245080 w 879109"/>
              <a:gd name="connsiteY6" fmla="*/ 173378 h 545651"/>
              <a:gd name="connsiteX7" fmla="*/ 526964 w 879109"/>
              <a:gd name="connsiteY7" fmla="*/ 2823 h 545651"/>
              <a:gd name="connsiteX0" fmla="*/ 526217 w 878362"/>
              <a:gd name="connsiteY0" fmla="*/ 2823 h 545651"/>
              <a:gd name="connsiteX1" fmla="*/ 753054 w 878362"/>
              <a:gd name="connsiteY1" fmla="*/ 285400 h 545651"/>
              <a:gd name="connsiteX2" fmla="*/ 878362 w 878362"/>
              <a:gd name="connsiteY2" fmla="*/ 414984 h 545651"/>
              <a:gd name="connsiteX3" fmla="*/ 747696 w 878362"/>
              <a:gd name="connsiteY3" fmla="*/ 545650 h 545651"/>
              <a:gd name="connsiteX4" fmla="*/ 190484 w 878362"/>
              <a:gd name="connsiteY4" fmla="*/ 545650 h 545651"/>
              <a:gd name="connsiteX5" fmla="*/ 13 w 878362"/>
              <a:gd name="connsiteY5" fmla="*/ 355179 h 545651"/>
              <a:gd name="connsiteX6" fmla="*/ 244333 w 878362"/>
              <a:gd name="connsiteY6" fmla="*/ 173378 h 545651"/>
              <a:gd name="connsiteX7" fmla="*/ 526217 w 878362"/>
              <a:gd name="connsiteY7" fmla="*/ 2823 h 545651"/>
              <a:gd name="connsiteX0" fmla="*/ 526245 w 878390"/>
              <a:gd name="connsiteY0" fmla="*/ 2823 h 545651"/>
              <a:gd name="connsiteX1" fmla="*/ 753082 w 878390"/>
              <a:gd name="connsiteY1" fmla="*/ 285400 h 545651"/>
              <a:gd name="connsiteX2" fmla="*/ 878390 w 878390"/>
              <a:gd name="connsiteY2" fmla="*/ 414984 h 545651"/>
              <a:gd name="connsiteX3" fmla="*/ 747724 w 878390"/>
              <a:gd name="connsiteY3" fmla="*/ 545650 h 545651"/>
              <a:gd name="connsiteX4" fmla="*/ 190512 w 878390"/>
              <a:gd name="connsiteY4" fmla="*/ 545650 h 545651"/>
              <a:gd name="connsiteX5" fmla="*/ 41 w 878390"/>
              <a:gd name="connsiteY5" fmla="*/ 355179 h 545651"/>
              <a:gd name="connsiteX6" fmla="*/ 244361 w 878390"/>
              <a:gd name="connsiteY6" fmla="*/ 173378 h 545651"/>
              <a:gd name="connsiteX7" fmla="*/ 526245 w 878390"/>
              <a:gd name="connsiteY7" fmla="*/ 2823 h 545651"/>
              <a:gd name="connsiteX0" fmla="*/ 526964 w 879109"/>
              <a:gd name="connsiteY0" fmla="*/ 2823 h 545651"/>
              <a:gd name="connsiteX1" fmla="*/ 753801 w 879109"/>
              <a:gd name="connsiteY1" fmla="*/ 285400 h 545651"/>
              <a:gd name="connsiteX2" fmla="*/ 879109 w 879109"/>
              <a:gd name="connsiteY2" fmla="*/ 414984 h 545651"/>
              <a:gd name="connsiteX3" fmla="*/ 748443 w 879109"/>
              <a:gd name="connsiteY3" fmla="*/ 545650 h 545651"/>
              <a:gd name="connsiteX4" fmla="*/ 191231 w 879109"/>
              <a:gd name="connsiteY4" fmla="*/ 545650 h 545651"/>
              <a:gd name="connsiteX5" fmla="*/ 760 w 879109"/>
              <a:gd name="connsiteY5" fmla="*/ 355179 h 545651"/>
              <a:gd name="connsiteX6" fmla="*/ 245080 w 879109"/>
              <a:gd name="connsiteY6" fmla="*/ 173378 h 545651"/>
              <a:gd name="connsiteX7" fmla="*/ 526964 w 879109"/>
              <a:gd name="connsiteY7" fmla="*/ 2823 h 545651"/>
              <a:gd name="connsiteX0" fmla="*/ 526721 w 878866"/>
              <a:gd name="connsiteY0" fmla="*/ 2823 h 545651"/>
              <a:gd name="connsiteX1" fmla="*/ 753558 w 878866"/>
              <a:gd name="connsiteY1" fmla="*/ 285400 h 545651"/>
              <a:gd name="connsiteX2" fmla="*/ 878866 w 878866"/>
              <a:gd name="connsiteY2" fmla="*/ 414984 h 545651"/>
              <a:gd name="connsiteX3" fmla="*/ 748200 w 878866"/>
              <a:gd name="connsiteY3" fmla="*/ 545650 h 545651"/>
              <a:gd name="connsiteX4" fmla="*/ 190988 w 878866"/>
              <a:gd name="connsiteY4" fmla="*/ 545650 h 545651"/>
              <a:gd name="connsiteX5" fmla="*/ 517 w 878866"/>
              <a:gd name="connsiteY5" fmla="*/ 355179 h 545651"/>
              <a:gd name="connsiteX6" fmla="*/ 244837 w 878866"/>
              <a:gd name="connsiteY6" fmla="*/ 173378 h 545651"/>
              <a:gd name="connsiteX7" fmla="*/ 526721 w 878866"/>
              <a:gd name="connsiteY7" fmla="*/ 2823 h 545651"/>
              <a:gd name="connsiteX0" fmla="*/ 526246 w 878391"/>
              <a:gd name="connsiteY0" fmla="*/ 2823 h 545651"/>
              <a:gd name="connsiteX1" fmla="*/ 753083 w 878391"/>
              <a:gd name="connsiteY1" fmla="*/ 285400 h 545651"/>
              <a:gd name="connsiteX2" fmla="*/ 878391 w 878391"/>
              <a:gd name="connsiteY2" fmla="*/ 414984 h 545651"/>
              <a:gd name="connsiteX3" fmla="*/ 747725 w 878391"/>
              <a:gd name="connsiteY3" fmla="*/ 545650 h 545651"/>
              <a:gd name="connsiteX4" fmla="*/ 190513 w 878391"/>
              <a:gd name="connsiteY4" fmla="*/ 545650 h 545651"/>
              <a:gd name="connsiteX5" fmla="*/ 42 w 878391"/>
              <a:gd name="connsiteY5" fmla="*/ 355179 h 545651"/>
              <a:gd name="connsiteX6" fmla="*/ 244362 w 878391"/>
              <a:gd name="connsiteY6" fmla="*/ 173378 h 545651"/>
              <a:gd name="connsiteX7" fmla="*/ 526246 w 878391"/>
              <a:gd name="connsiteY7" fmla="*/ 2823 h 545651"/>
              <a:gd name="connsiteX0" fmla="*/ 526246 w 878391"/>
              <a:gd name="connsiteY0" fmla="*/ 2823 h 545651"/>
              <a:gd name="connsiteX1" fmla="*/ 753083 w 878391"/>
              <a:gd name="connsiteY1" fmla="*/ 285400 h 545651"/>
              <a:gd name="connsiteX2" fmla="*/ 878391 w 878391"/>
              <a:gd name="connsiteY2" fmla="*/ 414984 h 545651"/>
              <a:gd name="connsiteX3" fmla="*/ 747725 w 878391"/>
              <a:gd name="connsiteY3" fmla="*/ 545650 h 545651"/>
              <a:gd name="connsiteX4" fmla="*/ 190513 w 878391"/>
              <a:gd name="connsiteY4" fmla="*/ 545650 h 545651"/>
              <a:gd name="connsiteX5" fmla="*/ 42 w 878391"/>
              <a:gd name="connsiteY5" fmla="*/ 355179 h 545651"/>
              <a:gd name="connsiteX6" fmla="*/ 244362 w 878391"/>
              <a:gd name="connsiteY6" fmla="*/ 173378 h 545651"/>
              <a:gd name="connsiteX7" fmla="*/ 526246 w 878391"/>
              <a:gd name="connsiteY7" fmla="*/ 2823 h 545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8391" h="545651">
                <a:moveTo>
                  <a:pt x="526246" y="2823"/>
                </a:moveTo>
                <a:cubicBezTo>
                  <a:pt x="663881" y="24023"/>
                  <a:pt x="772336" y="152517"/>
                  <a:pt x="753083" y="285400"/>
                </a:cubicBezTo>
                <a:cubicBezTo>
                  <a:pt x="852208" y="299089"/>
                  <a:pt x="878212" y="375742"/>
                  <a:pt x="878391" y="414984"/>
                </a:cubicBezTo>
                <a:cubicBezTo>
                  <a:pt x="878627" y="466609"/>
                  <a:pt x="833938" y="546043"/>
                  <a:pt x="747725" y="545650"/>
                </a:cubicBezTo>
                <a:lnTo>
                  <a:pt x="190513" y="545650"/>
                </a:lnTo>
                <a:cubicBezTo>
                  <a:pt x="77130" y="544985"/>
                  <a:pt x="2268" y="445667"/>
                  <a:pt x="42" y="355179"/>
                </a:cubicBezTo>
                <a:cubicBezTo>
                  <a:pt x="-2184" y="264691"/>
                  <a:pt x="84465" y="123521"/>
                  <a:pt x="244362" y="173378"/>
                </a:cubicBezTo>
                <a:cubicBezTo>
                  <a:pt x="271526" y="75658"/>
                  <a:pt x="394045" y="-17540"/>
                  <a:pt x="526246" y="2823"/>
                </a:cubicBezTo>
                <a:close/>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8" tIns="46624" rIns="93248" bIns="46624" numCol="1" anchor="t" anchorCtr="0" compatLnSpc="1">
            <a:prstTxWarp prst="textNoShape">
              <a:avLst/>
            </a:prstTxWarp>
          </a:bodyPr>
          <a:lstStyle/>
          <a:p>
            <a:pPr defTabSz="932649">
              <a:defRPr/>
            </a:pPr>
            <a:endParaRPr lang="en-IN" sz="1020">
              <a:solidFill>
                <a:srgbClr val="505050"/>
              </a:solidFill>
              <a:latin typeface="Segoe UI"/>
            </a:endParaRPr>
          </a:p>
        </p:txBody>
      </p:sp>
    </p:spTree>
    <p:extLst>
      <p:ext uri="{BB962C8B-B14F-4D97-AF65-F5344CB8AC3E}">
        <p14:creationId xmlns:p14="http://schemas.microsoft.com/office/powerpoint/2010/main" val="35086735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z="4799">
                <a:solidFill>
                  <a:schemeClr val="tx1"/>
                </a:solidFill>
              </a:rPr>
              <a:t>Benefits of PaaS</a:t>
            </a:r>
            <a:br>
              <a:rPr lang="en-US" sz="4799">
                <a:solidFill>
                  <a:schemeClr val="tx1"/>
                </a:solidFill>
              </a:rPr>
            </a:br>
            <a:r>
              <a:rPr lang="en-US" sz="2800"/>
              <a:t>Forrester Total Economic Impact results</a:t>
            </a:r>
            <a:br>
              <a:rPr lang="en-US" sz="4799">
                <a:solidFill>
                  <a:schemeClr val="tx1"/>
                </a:solidFill>
              </a:rPr>
            </a:br>
            <a:br>
              <a:rPr lang="en-US" sz="4799">
                <a:solidFill>
                  <a:schemeClr val="tx1"/>
                </a:solidFill>
              </a:rPr>
            </a:br>
            <a:endParaRPr lang="en-US" sz="4799">
              <a:solidFill>
                <a:schemeClr val="tx1"/>
              </a:solidFill>
            </a:endParaRPr>
          </a:p>
        </p:txBody>
      </p:sp>
      <p:sp>
        <p:nvSpPr>
          <p:cNvPr id="3" name="Text Placeholder 2"/>
          <p:cNvSpPr txBox="1">
            <a:spLocks/>
          </p:cNvSpPr>
          <p:nvPr/>
        </p:nvSpPr>
        <p:spPr>
          <a:xfrm>
            <a:off x="276291" y="1967033"/>
            <a:ext cx="11931038" cy="837896"/>
          </a:xfrm>
          <a:prstGeom prst="rect">
            <a:avLst/>
          </a:prstGeom>
        </p:spPr>
        <p:txBody>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649" rtl="0" eaLnBrk="1" fontAlgn="auto" latinLnBrk="0" hangingPunct="1">
              <a:lnSpc>
                <a:spcPct val="90000"/>
              </a:lnSpc>
              <a:spcBef>
                <a:spcPct val="20000"/>
              </a:spcBef>
              <a:spcAft>
                <a:spcPts val="0"/>
              </a:spcAft>
              <a:buClrTx/>
              <a:buSzPct val="90000"/>
              <a:buFont typeface="Arial" pitchFamily="34" charset="0"/>
              <a:buNone/>
              <a:tabLst/>
              <a:defRPr/>
            </a:pPr>
            <a:r>
              <a:rPr kumimoji="0" lang="en-US" sz="2448" b="0" i="0" u="none" strike="noStrike" kern="1200" cap="none" spc="0" normalizeH="0" baseline="0" noProof="0">
                <a:ln>
                  <a:noFill/>
                </a:ln>
                <a:solidFill>
                  <a:srgbClr val="353535"/>
                </a:solidFill>
                <a:effectLst/>
                <a:uLnTx/>
                <a:uFillTx/>
                <a:latin typeface="Segoe UI Semilight" panose="020B0402040204020203" pitchFamily="34" charset="0"/>
                <a:ea typeface="+mn-ea"/>
                <a:cs typeface="Segoe UI Semilight" panose="020B0402040204020203" pitchFamily="34" charset="0"/>
              </a:rPr>
              <a:t>Interviewed organizations reported on the financial and business benefits of shifting application development and deployment from Azure IaaS to Azure PaaS</a:t>
            </a:r>
          </a:p>
        </p:txBody>
      </p:sp>
      <p:sp>
        <p:nvSpPr>
          <p:cNvPr id="5" name="Rectangle 4"/>
          <p:cNvSpPr/>
          <p:nvPr/>
        </p:nvSpPr>
        <p:spPr>
          <a:xfrm>
            <a:off x="191659" y="6535547"/>
            <a:ext cx="12015671" cy="407965"/>
          </a:xfrm>
          <a:prstGeom prst="rect">
            <a:avLst/>
          </a:prstGeom>
        </p:spPr>
        <p:txBody>
          <a:bodyPr wrap="square">
            <a:spAutoFit/>
          </a:bodyPr>
          <a:lstStyle/>
          <a:p>
            <a:pPr marL="0" marR="0" lvl="0" indent="0" algn="l" defTabSz="913958"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ysClr val="windowText" lastClr="000000"/>
                </a:solidFill>
                <a:effectLst/>
                <a:uLnTx/>
                <a:uFillTx/>
                <a:latin typeface="Segoe UI"/>
                <a:ea typeface="+mn-ea"/>
                <a:cs typeface="+mn-cs"/>
              </a:rPr>
              <a:t>Based on five-year, risk-adjusted figures for a composite organization constructed from aggregated interviews with eight Microsoft Azure IaaS customers.</a:t>
            </a:r>
          </a:p>
          <a:p>
            <a:pPr marL="0" marR="0" lvl="0" indent="0" algn="l" defTabSz="913958"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ysClr val="windowText" lastClr="000000"/>
                </a:solidFill>
                <a:effectLst/>
                <a:uLnTx/>
                <a:uFillTx/>
                <a:latin typeface="Segoe UI"/>
                <a:ea typeface="+mn-ea"/>
                <a:cs typeface="+mn-cs"/>
              </a:rPr>
              <a:t>Source:  “The Total Economic Impact Of Microsoft Azure PaaS,” a commissioned study conducted by Forrester Consulting, June 2016</a:t>
            </a:r>
          </a:p>
        </p:txBody>
      </p:sp>
      <p:sp>
        <p:nvSpPr>
          <p:cNvPr id="6" name="1_Text"/>
          <p:cNvSpPr/>
          <p:nvPr/>
        </p:nvSpPr>
        <p:spPr>
          <a:xfrm>
            <a:off x="741195" y="4957449"/>
            <a:ext cx="1474745" cy="1017822"/>
          </a:xfrm>
          <a:prstGeom prst="rect">
            <a:avLst/>
          </a:prstGeom>
          <a:noFill/>
          <a:ln w="25400" cap="flat" cmpd="sng" algn="ctr">
            <a:noFill/>
            <a:prstDash val="solid"/>
          </a:ln>
          <a:effectLst/>
        </p:spPr>
        <p:txBody>
          <a:bodyPr rot="0" spcFirstLastPara="0" vertOverflow="overflow" horzOverflow="overflow" vert="horz" wrap="square" lIns="44803" tIns="44803" rIns="44803" bIns="44803" numCol="1" spcCol="0" rtlCol="0" fromWordArt="0" anchor="t" anchorCtr="0" forceAA="0" compatLnSpc="1">
            <a:prstTxWarp prst="textNoShape">
              <a:avLst/>
            </a:prstTxWarp>
            <a:noAutofit/>
          </a:bodyPr>
          <a:lstStyle/>
          <a:p>
            <a:pPr marL="0" marR="0" lvl="0" indent="0" algn="ctr" defTabSz="932649" rtl="0" eaLnBrk="1" fontAlgn="auto" latinLnBrk="0" hangingPunct="1">
              <a:lnSpc>
                <a:spcPct val="90000"/>
              </a:lnSpc>
              <a:spcBef>
                <a:spcPct val="20000"/>
              </a:spcBef>
              <a:spcAft>
                <a:spcPts val="0"/>
              </a:spcAft>
              <a:buClrTx/>
              <a:buSzPct val="90000"/>
              <a:buFontTx/>
              <a:buNone/>
              <a:tabLst/>
              <a:defRPr/>
            </a:pPr>
            <a:r>
              <a:rPr kumimoji="0" lang="en-US" sz="2000" b="1" i="0" u="none" strike="noStrike" kern="1200" cap="none" spc="0" normalizeH="0" baseline="0" noProof="0">
                <a:ln>
                  <a:noFill/>
                </a:ln>
                <a:solidFill>
                  <a:srgbClr val="353535"/>
                </a:solidFill>
                <a:effectLst/>
                <a:uLnTx/>
                <a:uFillTx/>
                <a:latin typeface="Segoe UI Semilight" panose="020B0402040204020203" pitchFamily="34" charset="0"/>
                <a:ea typeface="+mn-ea"/>
                <a:cs typeface="Segoe UI Semilight" panose="020B0402040204020203" pitchFamily="34" charset="0"/>
              </a:rPr>
              <a:t>466% </a:t>
            </a:r>
            <a:r>
              <a:rPr kumimoji="0" lang="en-US" sz="2000" b="0" i="0" u="none" strike="noStrike" kern="1200" cap="none" spc="0" normalizeH="0" baseline="0" noProof="0">
                <a:ln>
                  <a:noFill/>
                </a:ln>
                <a:solidFill>
                  <a:srgbClr val="353535"/>
                </a:solidFill>
                <a:effectLst/>
                <a:uLnTx/>
                <a:uFillTx/>
                <a:latin typeface="Segoe UI Semilight" panose="020B0402040204020203" pitchFamily="34" charset="0"/>
                <a:ea typeface="+mn-ea"/>
                <a:cs typeface="Segoe UI Semilight" panose="020B0402040204020203" pitchFamily="34" charset="0"/>
              </a:rPr>
              <a:t>Return on Investment</a:t>
            </a:r>
          </a:p>
        </p:txBody>
      </p:sp>
      <p:sp>
        <p:nvSpPr>
          <p:cNvPr id="7" name="2_Text"/>
          <p:cNvSpPr/>
          <p:nvPr/>
        </p:nvSpPr>
        <p:spPr>
          <a:xfrm>
            <a:off x="3228711" y="4957449"/>
            <a:ext cx="2330778" cy="1017822"/>
          </a:xfrm>
          <a:prstGeom prst="rect">
            <a:avLst/>
          </a:prstGeom>
          <a:noFill/>
          <a:ln w="25400" cap="flat" cmpd="sng" algn="ctr">
            <a:noFill/>
            <a:prstDash val="solid"/>
          </a:ln>
          <a:effectLst/>
        </p:spPr>
        <p:txBody>
          <a:bodyPr rot="0" spcFirstLastPara="0" vertOverflow="overflow" horzOverflow="overflow" vert="horz" wrap="square" lIns="44803" tIns="44803" rIns="44803" bIns="44803" numCol="1" spcCol="0" rtlCol="0" fromWordArt="0" anchor="t" anchorCtr="0" forceAA="0" compatLnSpc="1">
            <a:prstTxWarp prst="textNoShape">
              <a:avLst/>
            </a:prstTxWarp>
            <a:noAutofit/>
          </a:bodyPr>
          <a:lstStyle/>
          <a:p>
            <a:pPr marL="0" marR="0" lvl="0" indent="0" algn="ctr" defTabSz="932649" rtl="0" eaLnBrk="1" fontAlgn="auto" latinLnBrk="0" hangingPunct="1">
              <a:lnSpc>
                <a:spcPct val="90000"/>
              </a:lnSpc>
              <a:spcBef>
                <a:spcPct val="20000"/>
              </a:spcBef>
              <a:spcAft>
                <a:spcPts val="0"/>
              </a:spcAft>
              <a:buClrTx/>
              <a:buSzPct val="90000"/>
              <a:buFontTx/>
              <a:buNone/>
              <a:tabLst/>
              <a:defRPr/>
            </a:pPr>
            <a:r>
              <a:rPr kumimoji="0" lang="en-US" sz="2000" b="1" i="0" u="none" strike="noStrike" kern="1200" cap="none" spc="0" normalizeH="0" baseline="0" noProof="0">
                <a:ln>
                  <a:noFill/>
                </a:ln>
                <a:solidFill>
                  <a:srgbClr val="353535"/>
                </a:solidFill>
                <a:effectLst/>
                <a:uLnTx/>
                <a:uFillTx/>
                <a:latin typeface="Segoe UI Semilight" panose="020B0402040204020203" pitchFamily="34" charset="0"/>
                <a:ea typeface="+mn-ea"/>
                <a:cs typeface="Segoe UI Semilight" panose="020B0402040204020203" pitchFamily="34" charset="0"/>
              </a:rPr>
              <a:t>$5.91M</a:t>
            </a:r>
          </a:p>
          <a:p>
            <a:pPr marL="0" marR="0" lvl="0" indent="0" algn="ctr" defTabSz="932649" rtl="0" eaLnBrk="1" fontAlgn="auto" latinLnBrk="0" hangingPunct="1">
              <a:lnSpc>
                <a:spcPct val="90000"/>
              </a:lnSpc>
              <a:spcBef>
                <a:spcPct val="20000"/>
              </a:spcBef>
              <a:spcAft>
                <a:spcPts val="0"/>
              </a:spcAft>
              <a:buClrTx/>
              <a:buSzPct val="90000"/>
              <a:buFontTx/>
              <a:buNone/>
              <a:tabLst/>
              <a:defRPr/>
            </a:pPr>
            <a:r>
              <a:rPr kumimoji="0" lang="en-US" sz="2000" b="0" i="0" u="none" strike="noStrike" kern="1200" cap="none" spc="0" normalizeH="0" baseline="0" noProof="0">
                <a:ln>
                  <a:noFill/>
                </a:ln>
                <a:solidFill>
                  <a:srgbClr val="353535"/>
                </a:solidFill>
                <a:effectLst/>
                <a:uLnTx/>
                <a:uFillTx/>
                <a:latin typeface="Segoe UI Semilight" panose="020B0402040204020203" pitchFamily="34" charset="0"/>
                <a:ea typeface="+mn-ea"/>
                <a:cs typeface="Segoe UI Semilight" panose="020B0402040204020203" pitchFamily="34" charset="0"/>
              </a:rPr>
              <a:t>Net Present</a:t>
            </a:r>
          </a:p>
          <a:p>
            <a:pPr marL="0" marR="0" lvl="0" indent="0" algn="ctr" defTabSz="932649" rtl="0" eaLnBrk="1" fontAlgn="auto" latinLnBrk="0" hangingPunct="1">
              <a:lnSpc>
                <a:spcPct val="90000"/>
              </a:lnSpc>
              <a:spcBef>
                <a:spcPct val="20000"/>
              </a:spcBef>
              <a:spcAft>
                <a:spcPts val="0"/>
              </a:spcAft>
              <a:buClrTx/>
              <a:buSzPct val="90000"/>
              <a:buFontTx/>
              <a:buNone/>
              <a:tabLst/>
              <a:defRPr/>
            </a:pPr>
            <a:r>
              <a:rPr kumimoji="0" lang="en-US" sz="2000" b="0" i="0" u="none" strike="noStrike" kern="1200" cap="none" spc="0" normalizeH="0" baseline="0" noProof="0">
                <a:ln>
                  <a:noFill/>
                </a:ln>
                <a:solidFill>
                  <a:srgbClr val="353535"/>
                </a:solidFill>
                <a:effectLst/>
                <a:uLnTx/>
                <a:uFillTx/>
                <a:latin typeface="Segoe UI Semilight" panose="020B0402040204020203" pitchFamily="34" charset="0"/>
                <a:ea typeface="+mn-ea"/>
                <a:cs typeface="Segoe UI Semilight" panose="020B0402040204020203" pitchFamily="34" charset="0"/>
              </a:rPr>
              <a:t>Value</a:t>
            </a:r>
          </a:p>
        </p:txBody>
      </p:sp>
      <p:sp>
        <p:nvSpPr>
          <p:cNvPr id="8" name="Oval 7"/>
          <p:cNvSpPr/>
          <p:nvPr/>
        </p:nvSpPr>
        <p:spPr bwMode="auto">
          <a:xfrm>
            <a:off x="692192" y="3211928"/>
            <a:ext cx="1572751" cy="1572751"/>
          </a:xfrm>
          <a:prstGeom prst="ellipse">
            <a:avLst/>
          </a:prstGeom>
          <a:solidFill>
            <a:schemeClr val="accent1"/>
          </a:solidFill>
          <a:ln w="38100" cap="flat" cmpd="sng" algn="ctr">
            <a:noFill/>
            <a:prstDash val="solid"/>
            <a:miter lim="800000"/>
            <a:headEnd type="none" w="med" len="med"/>
            <a:tailEnd type="none" w="med" len="med"/>
          </a:ln>
          <a:effectLst/>
        </p:spPr>
        <p:txBody>
          <a:bodyPr rot="0" spcFirstLastPara="0" vertOverflow="overflow" horzOverflow="overflow" vert="horz" wrap="square" lIns="179211" tIns="143370" rIns="179211" bIns="143370" numCol="1" spcCol="0" rtlCol="0" fromWordArt="0" anchor="t" anchorCtr="0" forceAA="0" compatLnSpc="1">
            <a:prstTxWarp prst="textNoShape">
              <a:avLst/>
            </a:prstTxWarp>
            <a:noAutofit/>
          </a:bodyPr>
          <a:lstStyle/>
          <a:p>
            <a:pPr marL="0" marR="0" lvl="0" indent="0" algn="ctr" defTabSz="913660"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grpSp>
        <p:nvGrpSpPr>
          <p:cNvPr id="9" name="Group 8"/>
          <p:cNvGrpSpPr/>
          <p:nvPr/>
        </p:nvGrpSpPr>
        <p:grpSpPr>
          <a:xfrm>
            <a:off x="1099714" y="3638650"/>
            <a:ext cx="757708" cy="719311"/>
            <a:chOff x="5761937" y="2576361"/>
            <a:chExt cx="773220" cy="734037"/>
          </a:xfrm>
        </p:grpSpPr>
        <p:sp>
          <p:nvSpPr>
            <p:cNvPr id="10" name="Line 10"/>
            <p:cNvSpPr>
              <a:spLocks noChangeShapeType="1"/>
            </p:cNvSpPr>
            <p:nvPr/>
          </p:nvSpPr>
          <p:spPr bwMode="auto">
            <a:xfrm>
              <a:off x="6166833" y="2764442"/>
              <a:ext cx="0" cy="357876"/>
            </a:xfrm>
            <a:prstGeom prst="line">
              <a:avLst/>
            </a:prstGeom>
            <a:noFill/>
            <a:ln w="26988" cap="flat">
              <a:solidFill>
                <a:sysClr val="window" lastClr="FFFFFF"/>
              </a:solidFill>
              <a:prstDash val="solid"/>
              <a:miter lim="800000"/>
              <a:headEnd/>
              <a:tailEnd/>
            </a:ln>
            <a:extLst>
              <a:ext uri="{909E8E84-426E-40DD-AFC4-6F175D3DCCD1}">
                <a14:hiddenFill xmlns:a14="http://schemas.microsoft.com/office/drawing/2010/main">
                  <a:noFill/>
                </a14:hiddenFill>
              </a:ext>
            </a:extLst>
          </p:spPr>
          <p:txBody>
            <a:bodyPr vert="horz" wrap="square" lIns="89605" tIns="44803" rIns="89605" bIns="44803" numCol="1" anchor="t" anchorCtr="0" compatLnSpc="1">
              <a:prstTxWarp prst="textNoShape">
                <a:avLst/>
              </a:prstTxWarp>
            </a:bodyPr>
            <a:lstStyle/>
            <a:p>
              <a:pPr marL="0" marR="0" lvl="0" indent="0" algn="l" defTabSz="895952" rtl="0" eaLnBrk="1" fontAlgn="auto" latinLnBrk="0" hangingPunct="1">
                <a:lnSpc>
                  <a:spcPct val="100000"/>
                </a:lnSpc>
                <a:spcBef>
                  <a:spcPts val="0"/>
                </a:spcBef>
                <a:spcAft>
                  <a:spcPts val="0"/>
                </a:spcAft>
                <a:buClrTx/>
                <a:buSzTx/>
                <a:buFontTx/>
                <a:buNone/>
                <a:tabLst/>
                <a:defRPr/>
              </a:pPr>
              <a:endParaRPr kumimoji="0" lang="en-US" sz="1763"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1" name="Freeform 11"/>
            <p:cNvSpPr>
              <a:spLocks/>
            </p:cNvSpPr>
            <p:nvPr/>
          </p:nvSpPr>
          <p:spPr bwMode="auto">
            <a:xfrm>
              <a:off x="5801120" y="2576361"/>
              <a:ext cx="734037" cy="734037"/>
            </a:xfrm>
            <a:custGeom>
              <a:avLst/>
              <a:gdLst>
                <a:gd name="T0" fmla="*/ 29 w 134"/>
                <a:gd name="T1" fmla="*/ 122 h 134"/>
                <a:gd name="T2" fmla="*/ 67 w 134"/>
                <a:gd name="T3" fmla="*/ 134 h 134"/>
                <a:gd name="T4" fmla="*/ 134 w 134"/>
                <a:gd name="T5" fmla="*/ 67 h 134"/>
                <a:gd name="T6" fmla="*/ 67 w 134"/>
                <a:gd name="T7" fmla="*/ 0 h 134"/>
                <a:gd name="T8" fmla="*/ 0 w 134"/>
                <a:gd name="T9" fmla="*/ 67 h 134"/>
                <a:gd name="T10" fmla="*/ 9 w 134"/>
                <a:gd name="T11" fmla="*/ 102 h 134"/>
              </a:gdLst>
              <a:ahLst/>
              <a:cxnLst>
                <a:cxn ang="0">
                  <a:pos x="T0" y="T1"/>
                </a:cxn>
                <a:cxn ang="0">
                  <a:pos x="T2" y="T3"/>
                </a:cxn>
                <a:cxn ang="0">
                  <a:pos x="T4" y="T5"/>
                </a:cxn>
                <a:cxn ang="0">
                  <a:pos x="T6" y="T7"/>
                </a:cxn>
                <a:cxn ang="0">
                  <a:pos x="T8" y="T9"/>
                </a:cxn>
                <a:cxn ang="0">
                  <a:pos x="T10" y="T11"/>
                </a:cxn>
              </a:cxnLst>
              <a:rect l="0" t="0" r="r" b="b"/>
              <a:pathLst>
                <a:path w="134" h="134">
                  <a:moveTo>
                    <a:pt x="29" y="122"/>
                  </a:moveTo>
                  <a:cubicBezTo>
                    <a:pt x="39" y="130"/>
                    <a:pt x="53" y="134"/>
                    <a:pt x="67" y="134"/>
                  </a:cubicBezTo>
                  <a:cubicBezTo>
                    <a:pt x="104" y="134"/>
                    <a:pt x="134" y="104"/>
                    <a:pt x="134" y="67"/>
                  </a:cubicBezTo>
                  <a:cubicBezTo>
                    <a:pt x="134" y="30"/>
                    <a:pt x="104" y="0"/>
                    <a:pt x="67" y="0"/>
                  </a:cubicBezTo>
                  <a:cubicBezTo>
                    <a:pt x="30" y="0"/>
                    <a:pt x="0" y="30"/>
                    <a:pt x="0" y="67"/>
                  </a:cubicBezTo>
                  <a:cubicBezTo>
                    <a:pt x="0" y="80"/>
                    <a:pt x="3" y="91"/>
                    <a:pt x="9" y="102"/>
                  </a:cubicBezTo>
                </a:path>
              </a:pathLst>
            </a:custGeom>
            <a:noFill/>
            <a:ln w="26988" cap="flat">
              <a:solidFill>
                <a:sysClr val="window" lastClr="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05" tIns="44803" rIns="89605" bIns="44803" numCol="1" anchor="t" anchorCtr="0" compatLnSpc="1">
              <a:prstTxWarp prst="textNoShape">
                <a:avLst/>
              </a:prstTxWarp>
            </a:bodyPr>
            <a:lstStyle/>
            <a:p>
              <a:pPr marL="0" marR="0" lvl="0" indent="0" algn="l" defTabSz="895952" rtl="0" eaLnBrk="1" fontAlgn="auto" latinLnBrk="0" hangingPunct="1">
                <a:lnSpc>
                  <a:spcPct val="100000"/>
                </a:lnSpc>
                <a:spcBef>
                  <a:spcPts val="0"/>
                </a:spcBef>
                <a:spcAft>
                  <a:spcPts val="0"/>
                </a:spcAft>
                <a:buClrTx/>
                <a:buSzTx/>
                <a:buFontTx/>
                <a:buNone/>
                <a:tabLst/>
                <a:defRPr/>
              </a:pPr>
              <a:endParaRPr kumimoji="0" lang="en-US" sz="1763"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2" name="Freeform 12"/>
            <p:cNvSpPr>
              <a:spLocks/>
            </p:cNvSpPr>
            <p:nvPr/>
          </p:nvSpPr>
          <p:spPr bwMode="auto">
            <a:xfrm>
              <a:off x="5761937" y="3051787"/>
              <a:ext cx="130611" cy="99265"/>
            </a:xfrm>
            <a:custGeom>
              <a:avLst/>
              <a:gdLst>
                <a:gd name="T0" fmla="*/ 50 w 50"/>
                <a:gd name="T1" fmla="*/ 0 h 38"/>
                <a:gd name="T2" fmla="*/ 36 w 50"/>
                <a:gd name="T3" fmla="*/ 38 h 38"/>
                <a:gd name="T4" fmla="*/ 0 w 50"/>
                <a:gd name="T5" fmla="*/ 25 h 38"/>
              </a:gdLst>
              <a:ahLst/>
              <a:cxnLst>
                <a:cxn ang="0">
                  <a:pos x="T0" y="T1"/>
                </a:cxn>
                <a:cxn ang="0">
                  <a:pos x="T2" y="T3"/>
                </a:cxn>
                <a:cxn ang="0">
                  <a:pos x="T4" y="T5"/>
                </a:cxn>
              </a:cxnLst>
              <a:rect l="0" t="0" r="r" b="b"/>
              <a:pathLst>
                <a:path w="50" h="38">
                  <a:moveTo>
                    <a:pt x="50" y="0"/>
                  </a:moveTo>
                  <a:lnTo>
                    <a:pt x="36" y="38"/>
                  </a:lnTo>
                  <a:lnTo>
                    <a:pt x="0" y="25"/>
                  </a:lnTo>
                </a:path>
              </a:pathLst>
            </a:custGeom>
            <a:noFill/>
            <a:ln w="26988" cap="flat">
              <a:solidFill>
                <a:sysClr val="window" lastClr="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05" tIns="44803" rIns="89605" bIns="44803" numCol="1" anchor="t" anchorCtr="0" compatLnSpc="1">
              <a:prstTxWarp prst="textNoShape">
                <a:avLst/>
              </a:prstTxWarp>
            </a:bodyPr>
            <a:lstStyle/>
            <a:p>
              <a:pPr marL="0" marR="0" lvl="0" indent="0" algn="l" defTabSz="895952" rtl="0" eaLnBrk="1" fontAlgn="auto" latinLnBrk="0" hangingPunct="1">
                <a:lnSpc>
                  <a:spcPct val="100000"/>
                </a:lnSpc>
                <a:spcBef>
                  <a:spcPts val="0"/>
                </a:spcBef>
                <a:spcAft>
                  <a:spcPts val="0"/>
                </a:spcAft>
                <a:buClrTx/>
                <a:buSzTx/>
                <a:buFontTx/>
                <a:buNone/>
                <a:tabLst/>
                <a:defRPr/>
              </a:pPr>
              <a:endParaRPr kumimoji="0" lang="en-US" sz="1763"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3" name="Freeform 13"/>
            <p:cNvSpPr>
              <a:spLocks/>
            </p:cNvSpPr>
            <p:nvPr/>
          </p:nvSpPr>
          <p:spPr bwMode="auto">
            <a:xfrm>
              <a:off x="6067568" y="2834972"/>
              <a:ext cx="198529" cy="222040"/>
            </a:xfrm>
            <a:custGeom>
              <a:avLst/>
              <a:gdLst>
                <a:gd name="T0" fmla="*/ 0 w 36"/>
                <a:gd name="T1" fmla="*/ 41 h 41"/>
                <a:gd name="T2" fmla="*/ 25 w 36"/>
                <a:gd name="T3" fmla="*/ 41 h 41"/>
                <a:gd name="T4" fmla="*/ 36 w 36"/>
                <a:gd name="T5" fmla="*/ 31 h 41"/>
                <a:gd name="T6" fmla="*/ 25 w 36"/>
                <a:gd name="T7" fmla="*/ 20 h 41"/>
                <a:gd name="T8" fmla="*/ 10 w 36"/>
                <a:gd name="T9" fmla="*/ 20 h 41"/>
                <a:gd name="T10" fmla="*/ 0 w 36"/>
                <a:gd name="T11" fmla="*/ 10 h 41"/>
                <a:gd name="T12" fmla="*/ 10 w 36"/>
                <a:gd name="T13" fmla="*/ 0 h 41"/>
                <a:gd name="T14" fmla="*/ 36 w 36"/>
                <a:gd name="T15" fmla="*/ 0 h 4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 h="41">
                  <a:moveTo>
                    <a:pt x="0" y="41"/>
                  </a:moveTo>
                  <a:cubicBezTo>
                    <a:pt x="25" y="41"/>
                    <a:pt x="25" y="41"/>
                    <a:pt x="25" y="41"/>
                  </a:cubicBezTo>
                  <a:cubicBezTo>
                    <a:pt x="31" y="41"/>
                    <a:pt x="36" y="36"/>
                    <a:pt x="36" y="31"/>
                  </a:cubicBezTo>
                  <a:cubicBezTo>
                    <a:pt x="36" y="25"/>
                    <a:pt x="31" y="20"/>
                    <a:pt x="25" y="20"/>
                  </a:cubicBezTo>
                  <a:cubicBezTo>
                    <a:pt x="10" y="20"/>
                    <a:pt x="10" y="20"/>
                    <a:pt x="10" y="20"/>
                  </a:cubicBezTo>
                  <a:cubicBezTo>
                    <a:pt x="5" y="20"/>
                    <a:pt x="0" y="16"/>
                    <a:pt x="0" y="10"/>
                  </a:cubicBezTo>
                  <a:cubicBezTo>
                    <a:pt x="0" y="4"/>
                    <a:pt x="5" y="0"/>
                    <a:pt x="10" y="0"/>
                  </a:cubicBezTo>
                  <a:cubicBezTo>
                    <a:pt x="36" y="0"/>
                    <a:pt x="36" y="0"/>
                    <a:pt x="36" y="0"/>
                  </a:cubicBezTo>
                </a:path>
              </a:pathLst>
            </a:custGeom>
            <a:noFill/>
            <a:ln w="26988" cap="flat">
              <a:solidFill>
                <a:sysClr val="window" lastClr="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05" tIns="44803" rIns="89605" bIns="44803" numCol="1" anchor="t" anchorCtr="0" compatLnSpc="1">
              <a:prstTxWarp prst="textNoShape">
                <a:avLst/>
              </a:prstTxWarp>
            </a:bodyPr>
            <a:lstStyle/>
            <a:p>
              <a:pPr marL="0" marR="0" lvl="0" indent="0" algn="l" defTabSz="895952" rtl="0" eaLnBrk="1" fontAlgn="auto" latinLnBrk="0" hangingPunct="1">
                <a:lnSpc>
                  <a:spcPct val="100000"/>
                </a:lnSpc>
                <a:spcBef>
                  <a:spcPts val="0"/>
                </a:spcBef>
                <a:spcAft>
                  <a:spcPts val="0"/>
                </a:spcAft>
                <a:buClrTx/>
                <a:buSzTx/>
                <a:buFontTx/>
                <a:buNone/>
                <a:tabLst/>
                <a:defRPr/>
              </a:pPr>
              <a:endParaRPr kumimoji="0" lang="en-US" sz="1763"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sp>
        <p:nvSpPr>
          <p:cNvPr id="14" name="Oval 13"/>
          <p:cNvSpPr/>
          <p:nvPr/>
        </p:nvSpPr>
        <p:spPr bwMode="auto">
          <a:xfrm>
            <a:off x="3607724" y="3211928"/>
            <a:ext cx="1572751" cy="1572751"/>
          </a:xfrm>
          <a:prstGeom prst="ellipse">
            <a:avLst/>
          </a:prstGeom>
          <a:solidFill>
            <a:schemeClr val="accent1"/>
          </a:solidFill>
          <a:ln w="38100" cap="flat" cmpd="sng" algn="ctr">
            <a:noFill/>
            <a:prstDash val="solid"/>
            <a:miter lim="800000"/>
            <a:headEnd type="none" w="med" len="med"/>
            <a:tailEnd type="none" w="med" len="med"/>
          </a:ln>
          <a:effectLst/>
        </p:spPr>
        <p:txBody>
          <a:bodyPr rot="0" spcFirstLastPara="0" vertOverflow="overflow" horzOverflow="overflow" vert="horz" wrap="square" lIns="179211" tIns="143370" rIns="179211" bIns="143370" numCol="1" spcCol="0" rtlCol="0" fromWordArt="0" anchor="t" anchorCtr="0" forceAA="0" compatLnSpc="1">
            <a:prstTxWarp prst="textNoShape">
              <a:avLst/>
            </a:prstTxWarp>
            <a:noAutofit/>
          </a:bodyPr>
          <a:lstStyle/>
          <a:p>
            <a:pPr marL="0" marR="0" lvl="0" indent="0" algn="ctr" defTabSz="913660"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grpSp>
        <p:nvGrpSpPr>
          <p:cNvPr id="15" name="Group 4"/>
          <p:cNvGrpSpPr>
            <a:grpSpLocks noChangeAspect="1"/>
          </p:cNvGrpSpPr>
          <p:nvPr/>
        </p:nvGrpSpPr>
        <p:grpSpPr bwMode="auto">
          <a:xfrm>
            <a:off x="4056214" y="3772208"/>
            <a:ext cx="675775" cy="452191"/>
            <a:chOff x="1" y="2"/>
            <a:chExt cx="269" cy="180"/>
          </a:xfrm>
          <a:solidFill>
            <a:sysClr val="window" lastClr="FFFFFF"/>
          </a:solidFill>
        </p:grpSpPr>
        <p:sp>
          <p:nvSpPr>
            <p:cNvPr id="16" name="Rectangle 5"/>
            <p:cNvSpPr>
              <a:spLocks noChangeArrowheads="1"/>
            </p:cNvSpPr>
            <p:nvPr/>
          </p:nvSpPr>
          <p:spPr bwMode="auto">
            <a:xfrm>
              <a:off x="1" y="165"/>
              <a:ext cx="269" cy="17"/>
            </a:xfrm>
            <a:prstGeom prst="rect">
              <a:avLst/>
            </a:prstGeom>
            <a:grpFill/>
            <a:ln w="15875">
              <a:noFill/>
              <a:miter lim="800000"/>
              <a:headEnd/>
              <a:tailEnd/>
            </a:ln>
          </p:spPr>
          <p:txBody>
            <a:bodyPr vert="horz" wrap="square" lIns="89605" tIns="44803" rIns="89605" bIns="44803" numCol="1" anchor="t" anchorCtr="0" compatLnSpc="1">
              <a:prstTxWarp prst="textNoShape">
                <a:avLst/>
              </a:prstTxWarp>
            </a:bodyPr>
            <a:lstStyle/>
            <a:p>
              <a:pPr marL="0" marR="0" lvl="0" indent="0" algn="l" defTabSz="895952" rtl="0" eaLnBrk="1" fontAlgn="auto" latinLnBrk="0" hangingPunct="1">
                <a:lnSpc>
                  <a:spcPct val="100000"/>
                </a:lnSpc>
                <a:spcBef>
                  <a:spcPts val="0"/>
                </a:spcBef>
                <a:spcAft>
                  <a:spcPts val="0"/>
                </a:spcAft>
                <a:buClrTx/>
                <a:buSzTx/>
                <a:buFontTx/>
                <a:buNone/>
                <a:tabLst/>
                <a:defRPr/>
              </a:pPr>
              <a:endParaRPr kumimoji="0" lang="en-US" sz="1763"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7" name="Rectangle 6"/>
            <p:cNvSpPr>
              <a:spLocks noChangeArrowheads="1"/>
            </p:cNvSpPr>
            <p:nvPr/>
          </p:nvSpPr>
          <p:spPr bwMode="auto">
            <a:xfrm>
              <a:off x="1" y="131"/>
              <a:ext cx="33" cy="17"/>
            </a:xfrm>
            <a:prstGeom prst="rect">
              <a:avLst/>
            </a:prstGeom>
            <a:grpFill/>
            <a:ln w="12700">
              <a:noFill/>
              <a:miter lim="800000"/>
              <a:headEnd/>
              <a:tailEnd/>
            </a:ln>
          </p:spPr>
          <p:txBody>
            <a:bodyPr vert="horz" wrap="square" lIns="89605" tIns="44803" rIns="89605" bIns="44803" numCol="1" anchor="t" anchorCtr="0" compatLnSpc="1">
              <a:prstTxWarp prst="textNoShape">
                <a:avLst/>
              </a:prstTxWarp>
            </a:bodyPr>
            <a:lstStyle/>
            <a:p>
              <a:pPr marL="0" marR="0" lvl="0" indent="0" algn="l" defTabSz="895952" rtl="0" eaLnBrk="1" fontAlgn="auto" latinLnBrk="0" hangingPunct="1">
                <a:lnSpc>
                  <a:spcPct val="100000"/>
                </a:lnSpc>
                <a:spcBef>
                  <a:spcPts val="0"/>
                </a:spcBef>
                <a:spcAft>
                  <a:spcPts val="0"/>
                </a:spcAft>
                <a:buClrTx/>
                <a:buSzTx/>
                <a:buFontTx/>
                <a:buNone/>
                <a:tabLst/>
                <a:defRPr/>
              </a:pPr>
              <a:endParaRPr kumimoji="0" lang="en-US" sz="1763"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8" name="Rectangle 7"/>
            <p:cNvSpPr>
              <a:spLocks noChangeArrowheads="1"/>
            </p:cNvSpPr>
            <p:nvPr/>
          </p:nvSpPr>
          <p:spPr bwMode="auto">
            <a:xfrm>
              <a:off x="51" y="131"/>
              <a:ext cx="34" cy="17"/>
            </a:xfrm>
            <a:prstGeom prst="rect">
              <a:avLst/>
            </a:prstGeom>
            <a:grpFill/>
            <a:ln w="12700">
              <a:noFill/>
              <a:miter lim="800000"/>
              <a:headEnd/>
              <a:tailEnd/>
            </a:ln>
          </p:spPr>
          <p:txBody>
            <a:bodyPr vert="horz" wrap="square" lIns="89605" tIns="44803" rIns="89605" bIns="44803" numCol="1" anchor="t" anchorCtr="0" compatLnSpc="1">
              <a:prstTxWarp prst="textNoShape">
                <a:avLst/>
              </a:prstTxWarp>
            </a:bodyPr>
            <a:lstStyle/>
            <a:p>
              <a:pPr marL="0" marR="0" lvl="0" indent="0" algn="l" defTabSz="895952" rtl="0" eaLnBrk="1" fontAlgn="auto" latinLnBrk="0" hangingPunct="1">
                <a:lnSpc>
                  <a:spcPct val="100000"/>
                </a:lnSpc>
                <a:spcBef>
                  <a:spcPts val="0"/>
                </a:spcBef>
                <a:spcAft>
                  <a:spcPts val="0"/>
                </a:spcAft>
                <a:buClrTx/>
                <a:buSzTx/>
                <a:buFontTx/>
                <a:buNone/>
                <a:tabLst/>
                <a:defRPr/>
              </a:pPr>
              <a:endParaRPr kumimoji="0" lang="en-US" sz="1763"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9" name="Freeform 8"/>
            <p:cNvSpPr>
              <a:spLocks/>
            </p:cNvSpPr>
            <p:nvPr/>
          </p:nvSpPr>
          <p:spPr bwMode="auto">
            <a:xfrm>
              <a:off x="102" y="13"/>
              <a:ext cx="168" cy="135"/>
            </a:xfrm>
            <a:custGeom>
              <a:avLst/>
              <a:gdLst>
                <a:gd name="T0" fmla="*/ 109 w 168"/>
                <a:gd name="T1" fmla="*/ 0 h 135"/>
                <a:gd name="T2" fmla="*/ 109 w 168"/>
                <a:gd name="T3" fmla="*/ 17 h 135"/>
                <a:gd name="T4" fmla="*/ 139 w 168"/>
                <a:gd name="T5" fmla="*/ 17 h 135"/>
                <a:gd name="T6" fmla="*/ 38 w 168"/>
                <a:gd name="T7" fmla="*/ 118 h 135"/>
                <a:gd name="T8" fmla="*/ 0 w 168"/>
                <a:gd name="T9" fmla="*/ 118 h 135"/>
                <a:gd name="T10" fmla="*/ 0 w 168"/>
                <a:gd name="T11" fmla="*/ 135 h 135"/>
                <a:gd name="T12" fmla="*/ 46 w 168"/>
                <a:gd name="T13" fmla="*/ 135 h 135"/>
                <a:gd name="T14" fmla="*/ 151 w 168"/>
                <a:gd name="T15" fmla="*/ 29 h 135"/>
                <a:gd name="T16" fmla="*/ 151 w 168"/>
                <a:gd name="T17" fmla="*/ 59 h 135"/>
                <a:gd name="T18" fmla="*/ 168 w 168"/>
                <a:gd name="T19" fmla="*/ 59 h 135"/>
                <a:gd name="T20" fmla="*/ 168 w 168"/>
                <a:gd name="T21" fmla="*/ 0 h 135"/>
                <a:gd name="T22" fmla="*/ 109 w 168"/>
                <a:gd name="T23" fmla="*/ 0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8" h="135">
                  <a:moveTo>
                    <a:pt x="109" y="0"/>
                  </a:moveTo>
                  <a:lnTo>
                    <a:pt x="109" y="17"/>
                  </a:lnTo>
                  <a:lnTo>
                    <a:pt x="139" y="17"/>
                  </a:lnTo>
                  <a:lnTo>
                    <a:pt x="38" y="118"/>
                  </a:lnTo>
                  <a:lnTo>
                    <a:pt x="0" y="118"/>
                  </a:lnTo>
                  <a:lnTo>
                    <a:pt x="0" y="135"/>
                  </a:lnTo>
                  <a:lnTo>
                    <a:pt x="46" y="135"/>
                  </a:lnTo>
                  <a:lnTo>
                    <a:pt x="151" y="29"/>
                  </a:lnTo>
                  <a:lnTo>
                    <a:pt x="151" y="59"/>
                  </a:lnTo>
                  <a:lnTo>
                    <a:pt x="168" y="59"/>
                  </a:lnTo>
                  <a:lnTo>
                    <a:pt x="168" y="0"/>
                  </a:lnTo>
                  <a:lnTo>
                    <a:pt x="109" y="0"/>
                  </a:lnTo>
                  <a:close/>
                </a:path>
              </a:pathLst>
            </a:custGeom>
            <a:grpFill/>
            <a:ln w="12700">
              <a:noFill/>
              <a:round/>
              <a:headEnd/>
              <a:tailEnd/>
            </a:ln>
          </p:spPr>
          <p:txBody>
            <a:bodyPr vert="horz" wrap="square" lIns="89605" tIns="44803" rIns="89605" bIns="44803" numCol="1" anchor="t" anchorCtr="0" compatLnSpc="1">
              <a:prstTxWarp prst="textNoShape">
                <a:avLst/>
              </a:prstTxWarp>
            </a:bodyPr>
            <a:lstStyle/>
            <a:p>
              <a:pPr marL="0" marR="0" lvl="0" indent="0" algn="l" defTabSz="895952" rtl="0" eaLnBrk="1" fontAlgn="auto" latinLnBrk="0" hangingPunct="1">
                <a:lnSpc>
                  <a:spcPct val="100000"/>
                </a:lnSpc>
                <a:spcBef>
                  <a:spcPts val="0"/>
                </a:spcBef>
                <a:spcAft>
                  <a:spcPts val="0"/>
                </a:spcAft>
                <a:buClrTx/>
                <a:buSzTx/>
                <a:buFontTx/>
                <a:buNone/>
                <a:tabLst/>
                <a:defRPr/>
              </a:pPr>
              <a:endParaRPr kumimoji="0" lang="en-US" sz="1763"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0" name="Freeform 9"/>
            <p:cNvSpPr>
              <a:spLocks noEditPoints="1"/>
            </p:cNvSpPr>
            <p:nvPr/>
          </p:nvSpPr>
          <p:spPr bwMode="auto">
            <a:xfrm>
              <a:off x="32" y="2"/>
              <a:ext cx="72" cy="100"/>
            </a:xfrm>
            <a:custGeom>
              <a:avLst/>
              <a:gdLst>
                <a:gd name="T0" fmla="*/ 22 w 34"/>
                <a:gd name="T1" fmla="*/ 19 h 47"/>
                <a:gd name="T2" fmla="*/ 21 w 34"/>
                <a:gd name="T3" fmla="*/ 19 h 47"/>
                <a:gd name="T4" fmla="*/ 21 w 34"/>
                <a:gd name="T5" fmla="*/ 12 h 47"/>
                <a:gd name="T6" fmla="*/ 30 w 34"/>
                <a:gd name="T7" fmla="*/ 12 h 47"/>
                <a:gd name="T8" fmla="*/ 30 w 34"/>
                <a:gd name="T9" fmla="*/ 4 h 47"/>
                <a:gd name="T10" fmla="*/ 21 w 34"/>
                <a:gd name="T11" fmla="*/ 4 h 47"/>
                <a:gd name="T12" fmla="*/ 21 w 34"/>
                <a:gd name="T13" fmla="*/ 0 h 47"/>
                <a:gd name="T14" fmla="*/ 13 w 34"/>
                <a:gd name="T15" fmla="*/ 0 h 47"/>
                <a:gd name="T16" fmla="*/ 13 w 34"/>
                <a:gd name="T17" fmla="*/ 4 h 47"/>
                <a:gd name="T18" fmla="*/ 12 w 34"/>
                <a:gd name="T19" fmla="*/ 4 h 47"/>
                <a:gd name="T20" fmla="*/ 0 w 34"/>
                <a:gd name="T21" fmla="*/ 16 h 47"/>
                <a:gd name="T22" fmla="*/ 12 w 34"/>
                <a:gd name="T23" fmla="*/ 27 h 47"/>
                <a:gd name="T24" fmla="*/ 13 w 34"/>
                <a:gd name="T25" fmla="*/ 27 h 47"/>
                <a:gd name="T26" fmla="*/ 13 w 34"/>
                <a:gd name="T27" fmla="*/ 34 h 47"/>
                <a:gd name="T28" fmla="*/ 4 w 34"/>
                <a:gd name="T29" fmla="*/ 34 h 47"/>
                <a:gd name="T30" fmla="*/ 4 w 34"/>
                <a:gd name="T31" fmla="*/ 42 h 47"/>
                <a:gd name="T32" fmla="*/ 13 w 34"/>
                <a:gd name="T33" fmla="*/ 42 h 47"/>
                <a:gd name="T34" fmla="*/ 13 w 34"/>
                <a:gd name="T35" fmla="*/ 47 h 47"/>
                <a:gd name="T36" fmla="*/ 21 w 34"/>
                <a:gd name="T37" fmla="*/ 47 h 47"/>
                <a:gd name="T38" fmla="*/ 21 w 34"/>
                <a:gd name="T39" fmla="*/ 42 h 47"/>
                <a:gd name="T40" fmla="*/ 22 w 34"/>
                <a:gd name="T41" fmla="*/ 42 h 47"/>
                <a:gd name="T42" fmla="*/ 34 w 34"/>
                <a:gd name="T43" fmla="*/ 31 h 47"/>
                <a:gd name="T44" fmla="*/ 22 w 34"/>
                <a:gd name="T45" fmla="*/ 19 h 47"/>
                <a:gd name="T46" fmla="*/ 12 w 34"/>
                <a:gd name="T47" fmla="*/ 19 h 47"/>
                <a:gd name="T48" fmla="*/ 8 w 34"/>
                <a:gd name="T49" fmla="*/ 16 h 47"/>
                <a:gd name="T50" fmla="*/ 12 w 34"/>
                <a:gd name="T51" fmla="*/ 12 h 47"/>
                <a:gd name="T52" fmla="*/ 13 w 34"/>
                <a:gd name="T53" fmla="*/ 12 h 47"/>
                <a:gd name="T54" fmla="*/ 13 w 34"/>
                <a:gd name="T55" fmla="*/ 19 h 47"/>
                <a:gd name="T56" fmla="*/ 12 w 34"/>
                <a:gd name="T57" fmla="*/ 19 h 47"/>
                <a:gd name="T58" fmla="*/ 22 w 34"/>
                <a:gd name="T59" fmla="*/ 34 h 47"/>
                <a:gd name="T60" fmla="*/ 21 w 34"/>
                <a:gd name="T61" fmla="*/ 34 h 47"/>
                <a:gd name="T62" fmla="*/ 21 w 34"/>
                <a:gd name="T63" fmla="*/ 27 h 47"/>
                <a:gd name="T64" fmla="*/ 22 w 34"/>
                <a:gd name="T65" fmla="*/ 27 h 47"/>
                <a:gd name="T66" fmla="*/ 26 w 34"/>
                <a:gd name="T67" fmla="*/ 31 h 47"/>
                <a:gd name="T68" fmla="*/ 22 w 34"/>
                <a:gd name="T69" fmla="*/ 3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4" h="47">
                  <a:moveTo>
                    <a:pt x="22" y="19"/>
                  </a:moveTo>
                  <a:cubicBezTo>
                    <a:pt x="21" y="19"/>
                    <a:pt x="21" y="19"/>
                    <a:pt x="21" y="19"/>
                  </a:cubicBezTo>
                  <a:cubicBezTo>
                    <a:pt x="21" y="12"/>
                    <a:pt x="21" y="12"/>
                    <a:pt x="21" y="12"/>
                  </a:cubicBezTo>
                  <a:cubicBezTo>
                    <a:pt x="30" y="12"/>
                    <a:pt x="30" y="12"/>
                    <a:pt x="30" y="12"/>
                  </a:cubicBezTo>
                  <a:cubicBezTo>
                    <a:pt x="30" y="4"/>
                    <a:pt x="30" y="4"/>
                    <a:pt x="30" y="4"/>
                  </a:cubicBezTo>
                  <a:cubicBezTo>
                    <a:pt x="21" y="4"/>
                    <a:pt x="21" y="4"/>
                    <a:pt x="21" y="4"/>
                  </a:cubicBezTo>
                  <a:cubicBezTo>
                    <a:pt x="21" y="0"/>
                    <a:pt x="21" y="0"/>
                    <a:pt x="21" y="0"/>
                  </a:cubicBezTo>
                  <a:cubicBezTo>
                    <a:pt x="13" y="0"/>
                    <a:pt x="13" y="0"/>
                    <a:pt x="13" y="0"/>
                  </a:cubicBezTo>
                  <a:cubicBezTo>
                    <a:pt x="13" y="4"/>
                    <a:pt x="13" y="4"/>
                    <a:pt x="13" y="4"/>
                  </a:cubicBezTo>
                  <a:cubicBezTo>
                    <a:pt x="12" y="4"/>
                    <a:pt x="12" y="4"/>
                    <a:pt x="12" y="4"/>
                  </a:cubicBezTo>
                  <a:cubicBezTo>
                    <a:pt x="5" y="4"/>
                    <a:pt x="0" y="10"/>
                    <a:pt x="0" y="16"/>
                  </a:cubicBezTo>
                  <a:cubicBezTo>
                    <a:pt x="0" y="22"/>
                    <a:pt x="5" y="27"/>
                    <a:pt x="12" y="27"/>
                  </a:cubicBezTo>
                  <a:cubicBezTo>
                    <a:pt x="13" y="27"/>
                    <a:pt x="13" y="27"/>
                    <a:pt x="13" y="27"/>
                  </a:cubicBezTo>
                  <a:cubicBezTo>
                    <a:pt x="13" y="34"/>
                    <a:pt x="13" y="34"/>
                    <a:pt x="13" y="34"/>
                  </a:cubicBezTo>
                  <a:cubicBezTo>
                    <a:pt x="4" y="34"/>
                    <a:pt x="4" y="34"/>
                    <a:pt x="4" y="34"/>
                  </a:cubicBezTo>
                  <a:cubicBezTo>
                    <a:pt x="4" y="42"/>
                    <a:pt x="4" y="42"/>
                    <a:pt x="4" y="42"/>
                  </a:cubicBezTo>
                  <a:cubicBezTo>
                    <a:pt x="13" y="42"/>
                    <a:pt x="13" y="42"/>
                    <a:pt x="13" y="42"/>
                  </a:cubicBezTo>
                  <a:cubicBezTo>
                    <a:pt x="13" y="47"/>
                    <a:pt x="13" y="47"/>
                    <a:pt x="13" y="47"/>
                  </a:cubicBezTo>
                  <a:cubicBezTo>
                    <a:pt x="21" y="47"/>
                    <a:pt x="21" y="47"/>
                    <a:pt x="21" y="47"/>
                  </a:cubicBezTo>
                  <a:cubicBezTo>
                    <a:pt x="21" y="42"/>
                    <a:pt x="21" y="42"/>
                    <a:pt x="21" y="42"/>
                  </a:cubicBezTo>
                  <a:cubicBezTo>
                    <a:pt x="22" y="42"/>
                    <a:pt x="22" y="42"/>
                    <a:pt x="22" y="42"/>
                  </a:cubicBezTo>
                  <a:cubicBezTo>
                    <a:pt x="29" y="42"/>
                    <a:pt x="34" y="37"/>
                    <a:pt x="34" y="31"/>
                  </a:cubicBezTo>
                  <a:cubicBezTo>
                    <a:pt x="34" y="24"/>
                    <a:pt x="29" y="19"/>
                    <a:pt x="22" y="19"/>
                  </a:cubicBezTo>
                  <a:close/>
                  <a:moveTo>
                    <a:pt x="12" y="19"/>
                  </a:moveTo>
                  <a:cubicBezTo>
                    <a:pt x="10" y="19"/>
                    <a:pt x="8" y="18"/>
                    <a:pt x="8" y="16"/>
                  </a:cubicBezTo>
                  <a:cubicBezTo>
                    <a:pt x="8" y="14"/>
                    <a:pt x="10" y="12"/>
                    <a:pt x="12" y="12"/>
                  </a:cubicBezTo>
                  <a:cubicBezTo>
                    <a:pt x="13" y="12"/>
                    <a:pt x="13" y="12"/>
                    <a:pt x="13" y="12"/>
                  </a:cubicBezTo>
                  <a:cubicBezTo>
                    <a:pt x="13" y="19"/>
                    <a:pt x="13" y="19"/>
                    <a:pt x="13" y="19"/>
                  </a:cubicBezTo>
                  <a:lnTo>
                    <a:pt x="12" y="19"/>
                  </a:lnTo>
                  <a:close/>
                  <a:moveTo>
                    <a:pt x="22" y="34"/>
                  </a:moveTo>
                  <a:cubicBezTo>
                    <a:pt x="21" y="34"/>
                    <a:pt x="21" y="34"/>
                    <a:pt x="21" y="34"/>
                  </a:cubicBezTo>
                  <a:cubicBezTo>
                    <a:pt x="21" y="27"/>
                    <a:pt x="21" y="27"/>
                    <a:pt x="21" y="27"/>
                  </a:cubicBezTo>
                  <a:cubicBezTo>
                    <a:pt x="22" y="27"/>
                    <a:pt x="22" y="27"/>
                    <a:pt x="22" y="27"/>
                  </a:cubicBezTo>
                  <a:cubicBezTo>
                    <a:pt x="24" y="27"/>
                    <a:pt x="26" y="29"/>
                    <a:pt x="26" y="31"/>
                  </a:cubicBezTo>
                  <a:cubicBezTo>
                    <a:pt x="26" y="33"/>
                    <a:pt x="24" y="34"/>
                    <a:pt x="22" y="34"/>
                  </a:cubicBezTo>
                  <a:close/>
                </a:path>
              </a:pathLst>
            </a:custGeom>
            <a:grpFill/>
            <a:ln w="12700">
              <a:noFill/>
              <a:round/>
              <a:headEnd/>
              <a:tailEnd/>
            </a:ln>
          </p:spPr>
          <p:txBody>
            <a:bodyPr vert="horz" wrap="square" lIns="89605" tIns="44803" rIns="89605" bIns="44803" numCol="1" anchor="t" anchorCtr="0" compatLnSpc="1">
              <a:prstTxWarp prst="textNoShape">
                <a:avLst/>
              </a:prstTxWarp>
            </a:bodyPr>
            <a:lstStyle/>
            <a:p>
              <a:pPr marL="0" marR="0" lvl="0" indent="0" algn="l" defTabSz="895952" rtl="0" eaLnBrk="1" fontAlgn="auto" latinLnBrk="0" hangingPunct="1">
                <a:lnSpc>
                  <a:spcPct val="100000"/>
                </a:lnSpc>
                <a:spcBef>
                  <a:spcPts val="0"/>
                </a:spcBef>
                <a:spcAft>
                  <a:spcPts val="0"/>
                </a:spcAft>
                <a:buClrTx/>
                <a:buSzTx/>
                <a:buFontTx/>
                <a:buNone/>
                <a:tabLst/>
                <a:defRPr/>
              </a:pPr>
              <a:endParaRPr kumimoji="0" lang="en-US" sz="1763"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sp>
        <p:nvSpPr>
          <p:cNvPr id="21" name="Oval 20"/>
          <p:cNvSpPr/>
          <p:nvPr/>
        </p:nvSpPr>
        <p:spPr bwMode="auto">
          <a:xfrm>
            <a:off x="6523256" y="3211928"/>
            <a:ext cx="1572751" cy="1572751"/>
          </a:xfrm>
          <a:prstGeom prst="ellipse">
            <a:avLst/>
          </a:prstGeom>
          <a:solidFill>
            <a:schemeClr val="accent1"/>
          </a:solidFill>
          <a:ln w="38100" cap="flat" cmpd="sng" algn="ctr">
            <a:noFill/>
            <a:prstDash val="solid"/>
            <a:miter lim="800000"/>
            <a:headEnd type="none" w="med" len="med"/>
            <a:tailEnd type="none" w="med" len="med"/>
          </a:ln>
          <a:effectLst/>
        </p:spPr>
        <p:txBody>
          <a:bodyPr rot="0" spcFirstLastPara="0" vertOverflow="overflow" horzOverflow="overflow" vert="horz" wrap="square" lIns="179211" tIns="143370" rIns="179211" bIns="143370" numCol="1" spcCol="0" rtlCol="0" fromWordArt="0" anchor="t" anchorCtr="0" forceAA="0" compatLnSpc="1">
            <a:prstTxWarp prst="textNoShape">
              <a:avLst/>
            </a:prstTxWarp>
            <a:noAutofit/>
          </a:bodyPr>
          <a:lstStyle/>
          <a:p>
            <a:pPr marL="0" marR="0" lvl="0" indent="0" algn="ctr" defTabSz="913660"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22" name="Oval 21"/>
          <p:cNvSpPr/>
          <p:nvPr/>
        </p:nvSpPr>
        <p:spPr bwMode="auto">
          <a:xfrm>
            <a:off x="9449934" y="3211928"/>
            <a:ext cx="1572751" cy="1572751"/>
          </a:xfrm>
          <a:prstGeom prst="ellipse">
            <a:avLst/>
          </a:prstGeom>
          <a:solidFill>
            <a:schemeClr val="accent1"/>
          </a:solidFill>
          <a:ln w="38100" cap="flat" cmpd="sng" algn="ctr">
            <a:noFill/>
            <a:prstDash val="solid"/>
            <a:miter lim="800000"/>
            <a:headEnd type="none" w="med" len="med"/>
            <a:tailEnd type="none" w="med" len="med"/>
          </a:ln>
          <a:effectLst/>
        </p:spPr>
        <p:txBody>
          <a:bodyPr rot="0" spcFirstLastPara="0" vertOverflow="overflow" horzOverflow="overflow" vert="horz" wrap="square" lIns="179211" tIns="143370" rIns="179211" bIns="143370" numCol="1" spcCol="0" rtlCol="0" fromWordArt="0" anchor="t" anchorCtr="0" forceAA="0" compatLnSpc="1">
            <a:prstTxWarp prst="textNoShape">
              <a:avLst/>
            </a:prstTxWarp>
            <a:noAutofit/>
          </a:bodyPr>
          <a:lstStyle/>
          <a:p>
            <a:pPr marL="0" marR="0" lvl="0" indent="0" algn="ctr" defTabSz="913660"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23" name="1_Text"/>
          <p:cNvSpPr/>
          <p:nvPr/>
        </p:nvSpPr>
        <p:spPr>
          <a:xfrm>
            <a:off x="6382638" y="4957449"/>
            <a:ext cx="1853992" cy="1017822"/>
          </a:xfrm>
          <a:prstGeom prst="rect">
            <a:avLst/>
          </a:prstGeom>
          <a:noFill/>
          <a:ln w="25400" cap="flat" cmpd="sng" algn="ctr">
            <a:noFill/>
            <a:prstDash val="solid"/>
          </a:ln>
          <a:effectLst/>
        </p:spPr>
        <p:txBody>
          <a:bodyPr rot="0" spcFirstLastPara="0" vertOverflow="overflow" horzOverflow="overflow" vert="horz" wrap="square" lIns="44803" tIns="44803" rIns="44803" bIns="44803" numCol="1" spcCol="0" rtlCol="0" fromWordArt="0" anchor="t" anchorCtr="0" forceAA="0" compatLnSpc="1">
            <a:prstTxWarp prst="textNoShape">
              <a:avLst/>
            </a:prstTxWarp>
            <a:noAutofit/>
          </a:bodyPr>
          <a:lstStyle/>
          <a:p>
            <a:pPr marL="0" marR="0" lvl="0" indent="0" algn="ctr" defTabSz="932649" rtl="0" eaLnBrk="1" fontAlgn="auto" latinLnBrk="0" hangingPunct="1">
              <a:lnSpc>
                <a:spcPct val="90000"/>
              </a:lnSpc>
              <a:spcBef>
                <a:spcPct val="20000"/>
              </a:spcBef>
              <a:spcAft>
                <a:spcPts val="0"/>
              </a:spcAft>
              <a:buClrTx/>
              <a:buSzPct val="90000"/>
              <a:buFontTx/>
              <a:buNone/>
              <a:tabLst/>
              <a:defRPr/>
            </a:pPr>
            <a:r>
              <a:rPr kumimoji="0" lang="en-US" sz="2000" b="1" i="0" u="none" strike="noStrike" kern="1200" cap="none" spc="0" normalizeH="0" baseline="0" noProof="0">
                <a:ln>
                  <a:noFill/>
                </a:ln>
                <a:solidFill>
                  <a:srgbClr val="353535"/>
                </a:solidFill>
                <a:effectLst/>
                <a:uLnTx/>
                <a:uFillTx/>
                <a:latin typeface="Segoe UI Semilight" panose="020B0402040204020203" pitchFamily="34" charset="0"/>
                <a:ea typeface="+mn-ea"/>
                <a:cs typeface="Segoe UI Semilight" panose="020B0402040204020203" pitchFamily="34" charset="0"/>
              </a:rPr>
              <a:t>80%</a:t>
            </a:r>
          </a:p>
          <a:p>
            <a:pPr marL="0" marR="0" lvl="0" indent="0" algn="ctr" defTabSz="932649" rtl="0" eaLnBrk="1" fontAlgn="auto" latinLnBrk="0" hangingPunct="1">
              <a:lnSpc>
                <a:spcPct val="90000"/>
              </a:lnSpc>
              <a:spcBef>
                <a:spcPct val="20000"/>
              </a:spcBef>
              <a:spcAft>
                <a:spcPts val="0"/>
              </a:spcAft>
              <a:buClrTx/>
              <a:buSzPct val="90000"/>
              <a:buFontTx/>
              <a:buNone/>
              <a:tabLst/>
              <a:defRPr/>
            </a:pPr>
            <a:r>
              <a:rPr kumimoji="0" lang="en-US" sz="2000" b="0" i="0" u="none" strike="noStrike" kern="1200" cap="none" spc="0" normalizeH="0" baseline="0" noProof="0">
                <a:ln>
                  <a:noFill/>
                </a:ln>
                <a:solidFill>
                  <a:srgbClr val="353535"/>
                </a:solidFill>
                <a:effectLst/>
                <a:uLnTx/>
                <a:uFillTx/>
                <a:latin typeface="Segoe UI Semilight" panose="020B0402040204020203" pitchFamily="34" charset="0"/>
                <a:ea typeface="+mn-ea"/>
                <a:cs typeface="Segoe UI Semilight" panose="020B0402040204020203" pitchFamily="34" charset="0"/>
              </a:rPr>
              <a:t>IT Time</a:t>
            </a:r>
          </a:p>
          <a:p>
            <a:pPr marL="0" marR="0" lvl="0" indent="0" algn="ctr" defTabSz="932649" rtl="0" eaLnBrk="1" fontAlgn="auto" latinLnBrk="0" hangingPunct="1">
              <a:lnSpc>
                <a:spcPct val="90000"/>
              </a:lnSpc>
              <a:spcBef>
                <a:spcPct val="20000"/>
              </a:spcBef>
              <a:spcAft>
                <a:spcPts val="0"/>
              </a:spcAft>
              <a:buClrTx/>
              <a:buSzPct val="90000"/>
              <a:buFontTx/>
              <a:buNone/>
              <a:tabLst/>
              <a:defRPr/>
            </a:pPr>
            <a:r>
              <a:rPr kumimoji="0" lang="en-US" sz="2000" b="0" i="0" u="none" strike="noStrike" kern="1200" cap="none" spc="0" normalizeH="0" baseline="0" noProof="0">
                <a:ln>
                  <a:noFill/>
                </a:ln>
                <a:solidFill>
                  <a:srgbClr val="353535"/>
                </a:solidFill>
                <a:effectLst/>
                <a:uLnTx/>
                <a:uFillTx/>
                <a:latin typeface="Segoe UI Semilight" panose="020B0402040204020203" pitchFamily="34" charset="0"/>
                <a:ea typeface="+mn-ea"/>
                <a:cs typeface="Segoe UI Semilight" panose="020B0402040204020203" pitchFamily="34" charset="0"/>
              </a:rPr>
              <a:t>Saved</a:t>
            </a:r>
          </a:p>
        </p:txBody>
      </p:sp>
      <p:sp>
        <p:nvSpPr>
          <p:cNvPr id="24" name="1_Text"/>
          <p:cNvSpPr/>
          <p:nvPr/>
        </p:nvSpPr>
        <p:spPr>
          <a:xfrm>
            <a:off x="8960264" y="4957449"/>
            <a:ext cx="2628220" cy="1017822"/>
          </a:xfrm>
          <a:prstGeom prst="rect">
            <a:avLst/>
          </a:prstGeom>
          <a:noFill/>
          <a:ln w="25400" cap="flat" cmpd="sng" algn="ctr">
            <a:noFill/>
            <a:prstDash val="solid"/>
          </a:ln>
          <a:effectLst/>
        </p:spPr>
        <p:txBody>
          <a:bodyPr rot="0" spcFirstLastPara="0" vertOverflow="overflow" horzOverflow="overflow" vert="horz" wrap="square" lIns="44803" tIns="44803" rIns="44803" bIns="44803" numCol="1" spcCol="0" rtlCol="0" fromWordArt="0" anchor="t" anchorCtr="0" forceAA="0" compatLnSpc="1">
            <a:prstTxWarp prst="textNoShape">
              <a:avLst/>
            </a:prstTxWarp>
            <a:noAutofit/>
          </a:bodyPr>
          <a:lstStyle/>
          <a:p>
            <a:pPr marL="0" marR="0" lvl="0" indent="0" algn="ctr" defTabSz="932649" rtl="0" eaLnBrk="1" fontAlgn="auto" latinLnBrk="0" hangingPunct="1">
              <a:lnSpc>
                <a:spcPct val="90000"/>
              </a:lnSpc>
              <a:spcBef>
                <a:spcPct val="20000"/>
              </a:spcBef>
              <a:spcAft>
                <a:spcPts val="0"/>
              </a:spcAft>
              <a:buClrTx/>
              <a:buSzPct val="90000"/>
              <a:buFontTx/>
              <a:buNone/>
              <a:tabLst/>
              <a:defRPr/>
            </a:pPr>
            <a:r>
              <a:rPr kumimoji="0" lang="en-US" sz="2000" b="1" i="0" u="none" strike="noStrike" kern="1200" cap="none" spc="0" normalizeH="0" baseline="0" noProof="0">
                <a:ln>
                  <a:noFill/>
                </a:ln>
                <a:solidFill>
                  <a:srgbClr val="353535"/>
                </a:solidFill>
                <a:effectLst/>
                <a:uLnTx/>
                <a:uFillTx/>
                <a:latin typeface="Segoe UI Semilight" panose="020B0402040204020203" pitchFamily="34" charset="0"/>
                <a:ea typeface="+mn-ea"/>
                <a:cs typeface="Segoe UI Semilight" panose="020B0402040204020203" pitchFamily="34" charset="0"/>
              </a:rPr>
              <a:t>50%</a:t>
            </a:r>
          </a:p>
          <a:p>
            <a:pPr marL="0" marR="0" lvl="0" indent="0" algn="ctr" defTabSz="932649" rtl="0" eaLnBrk="1" fontAlgn="auto" latinLnBrk="0" hangingPunct="1">
              <a:lnSpc>
                <a:spcPct val="90000"/>
              </a:lnSpc>
              <a:spcBef>
                <a:spcPct val="20000"/>
              </a:spcBef>
              <a:spcAft>
                <a:spcPts val="0"/>
              </a:spcAft>
              <a:buClrTx/>
              <a:buSzPct val="90000"/>
              <a:buFontTx/>
              <a:buNone/>
              <a:tabLst/>
              <a:defRPr/>
            </a:pPr>
            <a:r>
              <a:rPr kumimoji="0" lang="en-US" sz="2000" b="0" i="0" u="none" strike="noStrike" kern="1200" cap="none" spc="0" normalizeH="0" baseline="0" noProof="0">
                <a:ln>
                  <a:noFill/>
                </a:ln>
                <a:solidFill>
                  <a:srgbClr val="353535"/>
                </a:solidFill>
                <a:effectLst/>
                <a:uLnTx/>
                <a:uFillTx/>
                <a:latin typeface="Segoe UI Semilight" panose="020B0402040204020203" pitchFamily="34" charset="0"/>
                <a:ea typeface="+mn-ea"/>
                <a:cs typeface="Segoe UI Semilight" panose="020B0402040204020203" pitchFamily="34" charset="0"/>
              </a:rPr>
              <a:t>Faster Service Deployment Time to Market</a:t>
            </a:r>
          </a:p>
        </p:txBody>
      </p:sp>
      <p:sp>
        <p:nvSpPr>
          <p:cNvPr id="25" name="Freeform 156"/>
          <p:cNvSpPr>
            <a:spLocks noEditPoints="1"/>
          </p:cNvSpPr>
          <p:nvPr/>
        </p:nvSpPr>
        <p:spPr bwMode="black">
          <a:xfrm rot="17100000">
            <a:off x="9929491" y="3701604"/>
            <a:ext cx="613640" cy="593396"/>
          </a:xfrm>
          <a:custGeom>
            <a:avLst/>
            <a:gdLst>
              <a:gd name="T0" fmla="*/ 1291 w 1453"/>
              <a:gd name="T1" fmla="*/ 807 h 1407"/>
              <a:gd name="T2" fmla="*/ 867 w 1453"/>
              <a:gd name="T3" fmla="*/ 807 h 1407"/>
              <a:gd name="T4" fmla="*/ 1033 w 1453"/>
              <a:gd name="T5" fmla="*/ 1198 h 1407"/>
              <a:gd name="T6" fmla="*/ 1291 w 1453"/>
              <a:gd name="T7" fmla="*/ 807 h 1407"/>
              <a:gd name="T8" fmla="*/ 704 w 1453"/>
              <a:gd name="T9" fmla="*/ 0 h 1407"/>
              <a:gd name="T10" fmla="*/ 1405 w 1453"/>
              <a:gd name="T11" fmla="*/ 651 h 1407"/>
              <a:gd name="T12" fmla="*/ 1453 w 1453"/>
              <a:gd name="T13" fmla="*/ 651 h 1407"/>
              <a:gd name="T14" fmla="*/ 1453 w 1453"/>
              <a:gd name="T15" fmla="*/ 729 h 1407"/>
              <a:gd name="T16" fmla="*/ 953 w 1453"/>
              <a:gd name="T17" fmla="*/ 1407 h 1407"/>
              <a:gd name="T18" fmla="*/ 935 w 1453"/>
              <a:gd name="T19" fmla="*/ 1366 h 1407"/>
              <a:gd name="T20" fmla="*/ 704 w 1453"/>
              <a:gd name="T21" fmla="*/ 1407 h 1407"/>
              <a:gd name="T22" fmla="*/ 0 w 1453"/>
              <a:gd name="T23" fmla="*/ 703 h 1407"/>
              <a:gd name="T24" fmla="*/ 704 w 1453"/>
              <a:gd name="T25" fmla="*/ 0 h 1407"/>
              <a:gd name="T26" fmla="*/ 1249 w 1453"/>
              <a:gd name="T27" fmla="*/ 651 h 1407"/>
              <a:gd name="T28" fmla="*/ 704 w 1453"/>
              <a:gd name="T29" fmla="*/ 156 h 1407"/>
              <a:gd name="T30" fmla="*/ 156 w 1453"/>
              <a:gd name="T31" fmla="*/ 703 h 1407"/>
              <a:gd name="T32" fmla="*/ 704 w 1453"/>
              <a:gd name="T33" fmla="*/ 1251 h 1407"/>
              <a:gd name="T34" fmla="*/ 875 w 1453"/>
              <a:gd name="T35" fmla="*/ 1224 h 1407"/>
              <a:gd name="T36" fmla="*/ 631 w 1453"/>
              <a:gd name="T37" fmla="*/ 651 h 1407"/>
              <a:gd name="T38" fmla="*/ 1249 w 1453"/>
              <a:gd name="T39" fmla="*/ 651 h 14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53" h="1407">
                <a:moveTo>
                  <a:pt x="1291" y="807"/>
                </a:moveTo>
                <a:cubicBezTo>
                  <a:pt x="867" y="807"/>
                  <a:pt x="867" y="807"/>
                  <a:pt x="867" y="807"/>
                </a:cubicBezTo>
                <a:cubicBezTo>
                  <a:pt x="1033" y="1198"/>
                  <a:pt x="1033" y="1198"/>
                  <a:pt x="1033" y="1198"/>
                </a:cubicBezTo>
                <a:cubicBezTo>
                  <a:pt x="1170" y="1114"/>
                  <a:pt x="1268" y="973"/>
                  <a:pt x="1291" y="807"/>
                </a:cubicBezTo>
                <a:close/>
                <a:moveTo>
                  <a:pt x="704" y="0"/>
                </a:moveTo>
                <a:cubicBezTo>
                  <a:pt x="1075" y="0"/>
                  <a:pt x="1379" y="287"/>
                  <a:pt x="1405" y="651"/>
                </a:cubicBezTo>
                <a:cubicBezTo>
                  <a:pt x="1453" y="651"/>
                  <a:pt x="1453" y="651"/>
                  <a:pt x="1453" y="651"/>
                </a:cubicBezTo>
                <a:cubicBezTo>
                  <a:pt x="1453" y="729"/>
                  <a:pt x="1453" y="729"/>
                  <a:pt x="1453" y="729"/>
                </a:cubicBezTo>
                <a:cubicBezTo>
                  <a:pt x="1453" y="1070"/>
                  <a:pt x="1245" y="1283"/>
                  <a:pt x="953" y="1407"/>
                </a:cubicBezTo>
                <a:cubicBezTo>
                  <a:pt x="935" y="1366"/>
                  <a:pt x="935" y="1366"/>
                  <a:pt x="935" y="1366"/>
                </a:cubicBezTo>
                <a:cubicBezTo>
                  <a:pt x="864" y="1392"/>
                  <a:pt x="792" y="1407"/>
                  <a:pt x="704" y="1407"/>
                </a:cubicBezTo>
                <a:cubicBezTo>
                  <a:pt x="315" y="1407"/>
                  <a:pt x="0" y="1092"/>
                  <a:pt x="0" y="703"/>
                </a:cubicBezTo>
                <a:cubicBezTo>
                  <a:pt x="0" y="315"/>
                  <a:pt x="315" y="0"/>
                  <a:pt x="704" y="0"/>
                </a:cubicBezTo>
                <a:close/>
                <a:moveTo>
                  <a:pt x="1249" y="651"/>
                </a:moveTo>
                <a:cubicBezTo>
                  <a:pt x="1223" y="373"/>
                  <a:pt x="989" y="156"/>
                  <a:pt x="704" y="156"/>
                </a:cubicBezTo>
                <a:cubicBezTo>
                  <a:pt x="401" y="156"/>
                  <a:pt x="156" y="401"/>
                  <a:pt x="156" y="703"/>
                </a:cubicBezTo>
                <a:cubicBezTo>
                  <a:pt x="156" y="1006"/>
                  <a:pt x="401" y="1251"/>
                  <a:pt x="704" y="1251"/>
                </a:cubicBezTo>
                <a:cubicBezTo>
                  <a:pt x="763" y="1251"/>
                  <a:pt x="821" y="1242"/>
                  <a:pt x="875" y="1224"/>
                </a:cubicBezTo>
                <a:cubicBezTo>
                  <a:pt x="631" y="651"/>
                  <a:pt x="631" y="651"/>
                  <a:pt x="631" y="651"/>
                </a:cubicBezTo>
                <a:cubicBezTo>
                  <a:pt x="1249" y="651"/>
                  <a:pt x="1249" y="651"/>
                  <a:pt x="1249" y="65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0654" tIns="40327" rIns="80654" bIns="40327" numCol="1" anchor="t" anchorCtr="0" compatLnSpc="1">
            <a:prstTxWarp prst="textNoShape">
              <a:avLst/>
            </a:prstTxWarp>
          </a:bodyPr>
          <a:lstStyle/>
          <a:p>
            <a:pPr marL="0" marR="0" lvl="0" indent="0" algn="l" defTabSz="895952" rtl="0" eaLnBrk="1" fontAlgn="auto" latinLnBrk="0" hangingPunct="1">
              <a:lnSpc>
                <a:spcPct val="100000"/>
              </a:lnSpc>
              <a:spcBef>
                <a:spcPts val="0"/>
              </a:spcBef>
              <a:spcAft>
                <a:spcPts val="0"/>
              </a:spcAft>
              <a:buClrTx/>
              <a:buSzTx/>
              <a:buFontTx/>
              <a:buNone/>
              <a:tabLst/>
              <a:defRPr/>
            </a:pPr>
            <a:endParaRPr kumimoji="0" lang="en-US" sz="1568"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pic>
        <p:nvPicPr>
          <p:cNvPr id="26" name="Picture 39" descr="C:\Users\sakuu\Documents\Ballmer WPC\PNGS\Timer.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black">
          <a:xfrm>
            <a:off x="7039258" y="3475798"/>
            <a:ext cx="552723" cy="83254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2522491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50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par>
                                <p:cTn id="8" presetID="42" presetClass="path" presetSubtype="0" decel="100000" fill="hold" grpId="1" nodeType="withEffect">
                                  <p:stCondLst>
                                    <p:cond delay="500"/>
                                  </p:stCondLst>
                                  <p:childTnLst>
                                    <p:animMotion origin="layout" path="M -1.8892E-7 -2.98684E-6 L -1.8892E-7 -0.05447 " pathEditMode="relative" rAng="0" ptsTypes="AA">
                                      <p:cBhvr>
                                        <p:cTn id="9" dur="500" spd="-100000" fill="hold"/>
                                        <p:tgtEl>
                                          <p:spTgt spid="6"/>
                                        </p:tgtEl>
                                        <p:attrNameLst>
                                          <p:attrName>ppt_x</p:attrName>
                                          <p:attrName>ppt_y</p:attrName>
                                        </p:attrNameLst>
                                      </p:cBhvr>
                                      <p:rCtr x="0" y="-2724"/>
                                    </p:animMotion>
                                  </p:childTnLst>
                                </p:cTn>
                              </p:par>
                              <p:par>
                                <p:cTn id="10" presetID="10" presetClass="entr" presetSubtype="0" fill="hold" grpId="0" nodeType="withEffect">
                                  <p:stCondLst>
                                    <p:cond delay="500"/>
                                  </p:stCondLst>
                                  <p:childTnLst>
                                    <p:set>
                                      <p:cBhvr>
                                        <p:cTn id="11" dur="1" fill="hold">
                                          <p:stCondLst>
                                            <p:cond delay="0"/>
                                          </p:stCondLst>
                                        </p:cTn>
                                        <p:tgtEl>
                                          <p:spTgt spid="7"/>
                                        </p:tgtEl>
                                        <p:attrNameLst>
                                          <p:attrName>style.visibility</p:attrName>
                                        </p:attrNameLst>
                                      </p:cBhvr>
                                      <p:to>
                                        <p:strVal val="visible"/>
                                      </p:to>
                                    </p:set>
                                    <p:animEffect transition="in" filter="fade">
                                      <p:cBhvr>
                                        <p:cTn id="12" dur="500"/>
                                        <p:tgtEl>
                                          <p:spTgt spid="7"/>
                                        </p:tgtEl>
                                      </p:cBhvr>
                                    </p:animEffect>
                                  </p:childTnLst>
                                </p:cTn>
                              </p:par>
                              <p:par>
                                <p:cTn id="13" presetID="42" presetClass="path" presetSubtype="0" decel="100000" fill="hold" grpId="1" nodeType="withEffect">
                                  <p:stCondLst>
                                    <p:cond delay="500"/>
                                  </p:stCondLst>
                                  <p:childTnLst>
                                    <p:animMotion origin="layout" path="M 3.50013E-6 3.60872E-6 L 3.50013E-6 -0.05447 " pathEditMode="relative" rAng="0" ptsTypes="AA">
                                      <p:cBhvr>
                                        <p:cTn id="14" dur="500" spd="-100000" fill="hold"/>
                                        <p:tgtEl>
                                          <p:spTgt spid="7"/>
                                        </p:tgtEl>
                                        <p:attrNameLst>
                                          <p:attrName>ppt_x</p:attrName>
                                          <p:attrName>ppt_y</p:attrName>
                                        </p:attrNameLst>
                                      </p:cBhvr>
                                      <p:rCtr x="0" y="-2724"/>
                                    </p:animMotion>
                                  </p:childTnLst>
                                </p:cTn>
                              </p:par>
                              <p:par>
                                <p:cTn id="15" presetID="10" presetClass="entr" presetSubtype="0" fill="hold" grpId="0" nodeType="withEffect">
                                  <p:stCondLst>
                                    <p:cond delay="500"/>
                                  </p:stCondLst>
                                  <p:childTnLst>
                                    <p:set>
                                      <p:cBhvr>
                                        <p:cTn id="16" dur="1" fill="hold">
                                          <p:stCondLst>
                                            <p:cond delay="0"/>
                                          </p:stCondLst>
                                        </p:cTn>
                                        <p:tgtEl>
                                          <p:spTgt spid="23"/>
                                        </p:tgtEl>
                                        <p:attrNameLst>
                                          <p:attrName>style.visibility</p:attrName>
                                        </p:attrNameLst>
                                      </p:cBhvr>
                                      <p:to>
                                        <p:strVal val="visible"/>
                                      </p:to>
                                    </p:set>
                                    <p:animEffect transition="in" filter="fade">
                                      <p:cBhvr>
                                        <p:cTn id="17" dur="500"/>
                                        <p:tgtEl>
                                          <p:spTgt spid="23"/>
                                        </p:tgtEl>
                                      </p:cBhvr>
                                    </p:animEffect>
                                  </p:childTnLst>
                                </p:cTn>
                              </p:par>
                              <p:par>
                                <p:cTn id="18" presetID="42" presetClass="path" presetSubtype="0" decel="100000" fill="hold" grpId="1" nodeType="withEffect">
                                  <p:stCondLst>
                                    <p:cond delay="500"/>
                                  </p:stCondLst>
                                  <p:childTnLst>
                                    <p:animMotion origin="layout" path="M -1.8892E-7 -2.98684E-6 L -1.8892E-7 -0.05447 " pathEditMode="relative" rAng="0" ptsTypes="AA">
                                      <p:cBhvr>
                                        <p:cTn id="19" dur="500" spd="-100000" fill="hold"/>
                                        <p:tgtEl>
                                          <p:spTgt spid="23"/>
                                        </p:tgtEl>
                                        <p:attrNameLst>
                                          <p:attrName>ppt_x</p:attrName>
                                          <p:attrName>ppt_y</p:attrName>
                                        </p:attrNameLst>
                                      </p:cBhvr>
                                      <p:rCtr x="0" y="-2724"/>
                                    </p:animMotion>
                                  </p:childTnLst>
                                </p:cTn>
                              </p:par>
                              <p:par>
                                <p:cTn id="20" presetID="10" presetClass="entr" presetSubtype="0" fill="hold" grpId="0" nodeType="withEffect">
                                  <p:stCondLst>
                                    <p:cond delay="500"/>
                                  </p:stCondLst>
                                  <p:childTnLst>
                                    <p:set>
                                      <p:cBhvr>
                                        <p:cTn id="21" dur="1" fill="hold">
                                          <p:stCondLst>
                                            <p:cond delay="0"/>
                                          </p:stCondLst>
                                        </p:cTn>
                                        <p:tgtEl>
                                          <p:spTgt spid="24"/>
                                        </p:tgtEl>
                                        <p:attrNameLst>
                                          <p:attrName>style.visibility</p:attrName>
                                        </p:attrNameLst>
                                      </p:cBhvr>
                                      <p:to>
                                        <p:strVal val="visible"/>
                                      </p:to>
                                    </p:set>
                                    <p:animEffect transition="in" filter="fade">
                                      <p:cBhvr>
                                        <p:cTn id="22" dur="500"/>
                                        <p:tgtEl>
                                          <p:spTgt spid="24"/>
                                        </p:tgtEl>
                                      </p:cBhvr>
                                    </p:animEffect>
                                  </p:childTnLst>
                                </p:cTn>
                              </p:par>
                              <p:par>
                                <p:cTn id="23" presetID="42" presetClass="path" presetSubtype="0" decel="100000" fill="hold" grpId="1" nodeType="withEffect">
                                  <p:stCondLst>
                                    <p:cond delay="500"/>
                                  </p:stCondLst>
                                  <p:childTnLst>
                                    <p:animMotion origin="layout" path="M -1.8892E-7 -2.98684E-6 L -1.8892E-7 -0.05447 " pathEditMode="relative" rAng="0" ptsTypes="AA">
                                      <p:cBhvr>
                                        <p:cTn id="24" dur="500" spd="-100000" fill="hold"/>
                                        <p:tgtEl>
                                          <p:spTgt spid="24"/>
                                        </p:tgtEl>
                                        <p:attrNameLst>
                                          <p:attrName>ppt_x</p:attrName>
                                          <p:attrName>ppt_y</p:attrName>
                                        </p:attrNameLst>
                                      </p:cBhvr>
                                      <p:rCtr x="0" y="-2724"/>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6" grpId="1"/>
      <p:bldP spid="7" grpId="0"/>
      <p:bldP spid="7" grpId="1"/>
      <p:bldP spid="23" grpId="0"/>
      <p:bldP spid="23" grpId="1"/>
      <p:bldP spid="24" grpId="0"/>
      <p:bldP spid="24" grpId="1"/>
    </p:bld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5752A8D-4C6F-432D-B57B-AB8615BD6F8D}"/>
              </a:ext>
            </a:extLst>
          </p:cNvPr>
          <p:cNvSpPr>
            <a:spLocks noGrp="1"/>
          </p:cNvSpPr>
          <p:nvPr>
            <p:ph type="title"/>
          </p:nvPr>
        </p:nvSpPr>
        <p:spPr/>
        <p:txBody>
          <a:bodyPr/>
          <a:lstStyle/>
          <a:p>
            <a:r>
              <a:rPr lang="en-US" dirty="0"/>
              <a:t>Experimentation Services</a:t>
            </a:r>
          </a:p>
        </p:txBody>
      </p:sp>
      <p:sp>
        <p:nvSpPr>
          <p:cNvPr id="4" name="Rectangle 3">
            <a:extLst>
              <a:ext uri="{FF2B5EF4-FFF2-40B4-BE49-F238E27FC236}">
                <a16:creationId xmlns:a16="http://schemas.microsoft.com/office/drawing/2014/main" id="{7A20A65E-3CA6-47A9-8BC9-87B91892D8E9}"/>
              </a:ext>
            </a:extLst>
          </p:cNvPr>
          <p:cNvSpPr/>
          <p:nvPr/>
        </p:nvSpPr>
        <p:spPr>
          <a:xfrm>
            <a:off x="8847485" y="2125837"/>
            <a:ext cx="3014511" cy="286195"/>
          </a:xfrm>
          <a:prstGeom prst="rect">
            <a:avLst/>
          </a:prstGeom>
        </p:spPr>
        <p:txBody>
          <a:bodyPr wrap="square">
            <a:spAutoFit/>
          </a:bodyPr>
          <a:lstStyle/>
          <a:p>
            <a:pPr defTabSz="932146">
              <a:lnSpc>
                <a:spcPct val="90000"/>
              </a:lnSpc>
              <a:spcBef>
                <a:spcPts val="1020"/>
              </a:spcBef>
              <a:defRPr/>
            </a:pPr>
            <a:r>
              <a:rPr lang="en-US" sz="1400" b="1" kern="0" spc="50">
                <a:solidFill>
                  <a:srgbClr val="505050"/>
                </a:solidFill>
                <a:latin typeface="Segoe UI Semibold" charset="0"/>
                <a:cs typeface="Segoe UI Semibold" charset="0"/>
              </a:rPr>
              <a:t>Local machine</a:t>
            </a:r>
          </a:p>
        </p:txBody>
      </p:sp>
      <p:sp>
        <p:nvSpPr>
          <p:cNvPr id="5" name="Rectangle 4">
            <a:extLst>
              <a:ext uri="{FF2B5EF4-FFF2-40B4-BE49-F238E27FC236}">
                <a16:creationId xmlns:a16="http://schemas.microsoft.com/office/drawing/2014/main" id="{6DFC7EDD-B601-48DF-A61D-5D1752A52E36}"/>
              </a:ext>
            </a:extLst>
          </p:cNvPr>
          <p:cNvSpPr/>
          <p:nvPr/>
        </p:nvSpPr>
        <p:spPr>
          <a:xfrm>
            <a:off x="8847485" y="2845939"/>
            <a:ext cx="2361898" cy="286195"/>
          </a:xfrm>
          <a:prstGeom prst="rect">
            <a:avLst/>
          </a:prstGeom>
        </p:spPr>
        <p:txBody>
          <a:bodyPr wrap="square">
            <a:spAutoFit/>
          </a:bodyPr>
          <a:lstStyle/>
          <a:p>
            <a:pPr defTabSz="932146">
              <a:lnSpc>
                <a:spcPct val="90000"/>
              </a:lnSpc>
              <a:spcBef>
                <a:spcPts val="1020"/>
              </a:spcBef>
              <a:defRPr/>
            </a:pPr>
            <a:r>
              <a:rPr lang="en-US" sz="1400" b="1" kern="0" spc="50">
                <a:solidFill>
                  <a:srgbClr val="505050"/>
                </a:solidFill>
                <a:latin typeface="Segoe UI Semibold" charset="0"/>
                <a:cs typeface="Segoe UI Semibold" charset="0"/>
              </a:rPr>
              <a:t>Scale up to DSVM </a:t>
            </a:r>
          </a:p>
        </p:txBody>
      </p:sp>
      <p:sp>
        <p:nvSpPr>
          <p:cNvPr id="6" name="Rectangle 5">
            <a:extLst>
              <a:ext uri="{FF2B5EF4-FFF2-40B4-BE49-F238E27FC236}">
                <a16:creationId xmlns:a16="http://schemas.microsoft.com/office/drawing/2014/main" id="{2E23F42C-4D26-4238-B686-48FEBE7E4800}"/>
              </a:ext>
            </a:extLst>
          </p:cNvPr>
          <p:cNvSpPr/>
          <p:nvPr/>
        </p:nvSpPr>
        <p:spPr>
          <a:xfrm>
            <a:off x="8847485" y="3566041"/>
            <a:ext cx="3315166" cy="286195"/>
          </a:xfrm>
          <a:prstGeom prst="rect">
            <a:avLst/>
          </a:prstGeom>
        </p:spPr>
        <p:txBody>
          <a:bodyPr wrap="square">
            <a:spAutoFit/>
          </a:bodyPr>
          <a:lstStyle/>
          <a:p>
            <a:pPr defTabSz="932146">
              <a:lnSpc>
                <a:spcPct val="90000"/>
              </a:lnSpc>
              <a:spcBef>
                <a:spcPts val="1020"/>
              </a:spcBef>
              <a:defRPr/>
            </a:pPr>
            <a:r>
              <a:rPr lang="en-US" sz="1400" b="1" kern="0" spc="50">
                <a:solidFill>
                  <a:srgbClr val="505050"/>
                </a:solidFill>
                <a:latin typeface="Segoe UI Semibold" charset="0"/>
                <a:cs typeface="Segoe UI Semibold" charset="0"/>
              </a:rPr>
              <a:t>Scale out with Spark on HDInsight</a:t>
            </a:r>
          </a:p>
        </p:txBody>
      </p:sp>
      <p:sp>
        <p:nvSpPr>
          <p:cNvPr id="7" name="Rectangle 6">
            <a:extLst>
              <a:ext uri="{FF2B5EF4-FFF2-40B4-BE49-F238E27FC236}">
                <a16:creationId xmlns:a16="http://schemas.microsoft.com/office/drawing/2014/main" id="{23E8F726-1FB8-486C-ABA3-3C527256152F}"/>
              </a:ext>
            </a:extLst>
          </p:cNvPr>
          <p:cNvSpPr/>
          <p:nvPr/>
        </p:nvSpPr>
        <p:spPr>
          <a:xfrm>
            <a:off x="8847485" y="4286144"/>
            <a:ext cx="3014511" cy="286195"/>
          </a:xfrm>
          <a:prstGeom prst="rect">
            <a:avLst/>
          </a:prstGeom>
        </p:spPr>
        <p:txBody>
          <a:bodyPr wrap="square">
            <a:spAutoFit/>
          </a:bodyPr>
          <a:lstStyle/>
          <a:p>
            <a:pPr defTabSz="932146">
              <a:lnSpc>
                <a:spcPct val="90000"/>
              </a:lnSpc>
              <a:spcBef>
                <a:spcPts val="1020"/>
              </a:spcBef>
              <a:defRPr/>
            </a:pPr>
            <a:r>
              <a:rPr lang="en-US" sz="1400" b="1" kern="0" spc="50">
                <a:solidFill>
                  <a:srgbClr val="505050"/>
                </a:solidFill>
                <a:latin typeface="Segoe UI Semibold" charset="0"/>
                <a:cs typeface="Segoe UI Semibold" charset="0"/>
              </a:rPr>
              <a:t>Azure Batch AI (Coming Soon) </a:t>
            </a:r>
          </a:p>
        </p:txBody>
      </p:sp>
      <p:sp>
        <p:nvSpPr>
          <p:cNvPr id="8" name="Rectangle 7">
            <a:extLst>
              <a:ext uri="{FF2B5EF4-FFF2-40B4-BE49-F238E27FC236}">
                <a16:creationId xmlns:a16="http://schemas.microsoft.com/office/drawing/2014/main" id="{C4A9D1DD-7773-40E7-9270-C6D65F501ADC}"/>
              </a:ext>
            </a:extLst>
          </p:cNvPr>
          <p:cNvSpPr/>
          <p:nvPr/>
        </p:nvSpPr>
        <p:spPr>
          <a:xfrm>
            <a:off x="8847596" y="5006783"/>
            <a:ext cx="2872211" cy="286195"/>
          </a:xfrm>
          <a:prstGeom prst="rect">
            <a:avLst/>
          </a:prstGeom>
        </p:spPr>
        <p:txBody>
          <a:bodyPr wrap="square" anchor="t">
            <a:spAutoFit/>
          </a:bodyPr>
          <a:lstStyle/>
          <a:p>
            <a:pPr defTabSz="932146">
              <a:lnSpc>
                <a:spcPct val="90000"/>
              </a:lnSpc>
              <a:spcBef>
                <a:spcPts val="1020"/>
              </a:spcBef>
              <a:defRPr/>
            </a:pPr>
            <a:r>
              <a:rPr lang="en-US" sz="1400" b="1" kern="0" spc="50">
                <a:solidFill>
                  <a:srgbClr val="505050"/>
                </a:solidFill>
                <a:latin typeface="Segoe UI Semibold" charset="0"/>
                <a:cs typeface="Segoe UI Semibold" charset="0"/>
              </a:rPr>
              <a:t>ML Server</a:t>
            </a:r>
            <a:r>
              <a:rPr lang="en-US" sz="1400" b="1">
                <a:solidFill>
                  <a:srgbClr val="505050"/>
                </a:solidFill>
                <a:latin typeface="Segoe UI Semibold" charset="0"/>
                <a:cs typeface="Segoe UI Semibold" charset="0"/>
              </a:rPr>
              <a:t> (Coming Soon)</a:t>
            </a:r>
            <a:endParaRPr lang="en-US" sz="1400" b="1" kern="0" spc="50">
              <a:solidFill>
                <a:srgbClr val="505050"/>
              </a:solidFill>
              <a:latin typeface="Segoe UI Semibold" charset="0"/>
              <a:cs typeface="Segoe UI Semibold" charset="0"/>
            </a:endParaRPr>
          </a:p>
        </p:txBody>
      </p:sp>
      <p:cxnSp>
        <p:nvCxnSpPr>
          <p:cNvPr id="9" name="Straight Connector 8">
            <a:extLst>
              <a:ext uri="{FF2B5EF4-FFF2-40B4-BE49-F238E27FC236}">
                <a16:creationId xmlns:a16="http://schemas.microsoft.com/office/drawing/2014/main" id="{F8532908-D137-4394-A0DF-72D137E7EC99}"/>
              </a:ext>
            </a:extLst>
          </p:cNvPr>
          <p:cNvCxnSpPr>
            <a:cxnSpLocks/>
          </p:cNvCxnSpPr>
          <p:nvPr/>
        </p:nvCxnSpPr>
        <p:spPr>
          <a:xfrm>
            <a:off x="8212604" y="2228408"/>
            <a:ext cx="0" cy="2884056"/>
          </a:xfrm>
          <a:prstGeom prst="line">
            <a:avLst/>
          </a:prstGeom>
          <a:ln w="12700">
            <a:solidFill>
              <a:schemeClr val="tx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Arrow Connector 9">
            <a:extLst>
              <a:ext uri="{FF2B5EF4-FFF2-40B4-BE49-F238E27FC236}">
                <a16:creationId xmlns:a16="http://schemas.microsoft.com/office/drawing/2014/main" id="{FE98ACD3-0051-48C8-9DAE-00D787EF5E5D}"/>
              </a:ext>
            </a:extLst>
          </p:cNvPr>
          <p:cNvCxnSpPr>
            <a:cxnSpLocks/>
          </p:cNvCxnSpPr>
          <p:nvPr/>
        </p:nvCxnSpPr>
        <p:spPr>
          <a:xfrm>
            <a:off x="8253793" y="2228408"/>
            <a:ext cx="593692" cy="4565"/>
          </a:xfrm>
          <a:prstGeom prst="straightConnector1">
            <a:avLst/>
          </a:prstGeom>
          <a:ln w="12700">
            <a:solidFill>
              <a:schemeClr val="tx2"/>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1" name="Straight Arrow Connector 10">
            <a:extLst>
              <a:ext uri="{FF2B5EF4-FFF2-40B4-BE49-F238E27FC236}">
                <a16:creationId xmlns:a16="http://schemas.microsoft.com/office/drawing/2014/main" id="{FAD08E2F-431D-4605-9948-4C0258B74342}"/>
              </a:ext>
            </a:extLst>
          </p:cNvPr>
          <p:cNvCxnSpPr>
            <a:cxnSpLocks/>
          </p:cNvCxnSpPr>
          <p:nvPr/>
        </p:nvCxnSpPr>
        <p:spPr>
          <a:xfrm>
            <a:off x="8253793" y="2949422"/>
            <a:ext cx="593692" cy="4565"/>
          </a:xfrm>
          <a:prstGeom prst="straightConnector1">
            <a:avLst/>
          </a:prstGeom>
          <a:ln w="12700">
            <a:solidFill>
              <a:schemeClr val="tx2"/>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2" name="Straight Arrow Connector 11">
            <a:extLst>
              <a:ext uri="{FF2B5EF4-FFF2-40B4-BE49-F238E27FC236}">
                <a16:creationId xmlns:a16="http://schemas.microsoft.com/office/drawing/2014/main" id="{7CEDD5B3-A0C3-4245-91A8-4CE366E03ECA}"/>
              </a:ext>
            </a:extLst>
          </p:cNvPr>
          <p:cNvCxnSpPr>
            <a:cxnSpLocks/>
          </p:cNvCxnSpPr>
          <p:nvPr/>
        </p:nvCxnSpPr>
        <p:spPr>
          <a:xfrm>
            <a:off x="8253793" y="3670436"/>
            <a:ext cx="593692" cy="4565"/>
          </a:xfrm>
          <a:prstGeom prst="straightConnector1">
            <a:avLst/>
          </a:prstGeom>
          <a:ln w="12700">
            <a:solidFill>
              <a:schemeClr val="tx2"/>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3" name="Straight Arrow Connector 12">
            <a:extLst>
              <a:ext uri="{FF2B5EF4-FFF2-40B4-BE49-F238E27FC236}">
                <a16:creationId xmlns:a16="http://schemas.microsoft.com/office/drawing/2014/main" id="{BDCF2E3B-30FD-4C27-A5C7-EF2AA4309964}"/>
              </a:ext>
            </a:extLst>
          </p:cNvPr>
          <p:cNvCxnSpPr>
            <a:cxnSpLocks/>
          </p:cNvCxnSpPr>
          <p:nvPr/>
        </p:nvCxnSpPr>
        <p:spPr>
          <a:xfrm>
            <a:off x="8253793" y="4391450"/>
            <a:ext cx="593692" cy="4565"/>
          </a:xfrm>
          <a:prstGeom prst="straightConnector1">
            <a:avLst/>
          </a:prstGeom>
          <a:ln w="12700">
            <a:solidFill>
              <a:schemeClr val="tx2"/>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4" name="Straight Arrow Connector 13">
            <a:extLst>
              <a:ext uri="{FF2B5EF4-FFF2-40B4-BE49-F238E27FC236}">
                <a16:creationId xmlns:a16="http://schemas.microsoft.com/office/drawing/2014/main" id="{56E485EE-84AE-4C0D-B038-5C289472FE03}"/>
              </a:ext>
            </a:extLst>
          </p:cNvPr>
          <p:cNvCxnSpPr>
            <a:cxnSpLocks/>
          </p:cNvCxnSpPr>
          <p:nvPr/>
        </p:nvCxnSpPr>
        <p:spPr>
          <a:xfrm>
            <a:off x="8253793" y="5112464"/>
            <a:ext cx="593692" cy="4565"/>
          </a:xfrm>
          <a:prstGeom prst="straightConnector1">
            <a:avLst/>
          </a:prstGeom>
          <a:ln w="12700">
            <a:solidFill>
              <a:schemeClr val="tx2"/>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DB73DB-52A8-41D5-8DE5-004622EA3C5E}"/>
              </a:ext>
            </a:extLst>
          </p:cNvPr>
          <p:cNvCxnSpPr>
            <a:cxnSpLocks/>
          </p:cNvCxnSpPr>
          <p:nvPr/>
        </p:nvCxnSpPr>
        <p:spPr>
          <a:xfrm>
            <a:off x="6155467" y="4030594"/>
            <a:ext cx="2057137" cy="0"/>
          </a:xfrm>
          <a:prstGeom prst="line">
            <a:avLst/>
          </a:prstGeom>
          <a:ln w="12700">
            <a:solidFill>
              <a:schemeClr val="tx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7B33F233-2B9F-4951-A329-FE68FE87A802}"/>
              </a:ext>
            </a:extLst>
          </p:cNvPr>
          <p:cNvCxnSpPr>
            <a:cxnSpLocks/>
          </p:cNvCxnSpPr>
          <p:nvPr/>
        </p:nvCxnSpPr>
        <p:spPr>
          <a:xfrm>
            <a:off x="3017453" y="4030594"/>
            <a:ext cx="1447615" cy="0"/>
          </a:xfrm>
          <a:prstGeom prst="line">
            <a:avLst/>
          </a:prstGeom>
          <a:ln w="12700">
            <a:solidFill>
              <a:schemeClr val="tx2"/>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nvGrpSpPr>
          <p:cNvPr id="17" name="Group 16">
            <a:extLst>
              <a:ext uri="{FF2B5EF4-FFF2-40B4-BE49-F238E27FC236}">
                <a16:creationId xmlns:a16="http://schemas.microsoft.com/office/drawing/2014/main" id="{673AEC02-8194-431F-BA05-898F5D6DD69C}"/>
              </a:ext>
            </a:extLst>
          </p:cNvPr>
          <p:cNvGrpSpPr/>
          <p:nvPr/>
        </p:nvGrpSpPr>
        <p:grpSpPr>
          <a:xfrm>
            <a:off x="4007926" y="2963930"/>
            <a:ext cx="2742850" cy="1882731"/>
            <a:chOff x="46037" y="2963862"/>
            <a:chExt cx="2743200" cy="1882971"/>
          </a:xfrm>
        </p:grpSpPr>
        <p:pic>
          <p:nvPicPr>
            <p:cNvPr id="18" name="Picture 17">
              <a:extLst>
                <a:ext uri="{FF2B5EF4-FFF2-40B4-BE49-F238E27FC236}">
                  <a16:creationId xmlns:a16="http://schemas.microsoft.com/office/drawing/2014/main" id="{9BCC3973-05D9-4A81-AE37-89FF653D465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06933" y="2963862"/>
              <a:ext cx="980883" cy="1046590"/>
            </a:xfrm>
            <a:prstGeom prst="rect">
              <a:avLst/>
            </a:prstGeom>
          </p:spPr>
        </p:pic>
        <p:sp>
          <p:nvSpPr>
            <p:cNvPr id="19" name="Rectangle 18">
              <a:extLst>
                <a:ext uri="{FF2B5EF4-FFF2-40B4-BE49-F238E27FC236}">
                  <a16:creationId xmlns:a16="http://schemas.microsoft.com/office/drawing/2014/main" id="{45263939-4130-466A-B850-630378BF6C6B}"/>
                </a:ext>
              </a:extLst>
            </p:cNvPr>
            <p:cNvSpPr/>
            <p:nvPr/>
          </p:nvSpPr>
          <p:spPr>
            <a:xfrm>
              <a:off x="46037" y="4183062"/>
              <a:ext cx="2743200" cy="663771"/>
            </a:xfrm>
            <a:prstGeom prst="rect">
              <a:avLst/>
            </a:prstGeom>
          </p:spPr>
          <p:txBody>
            <a:bodyPr wrap="square">
              <a:spAutoFit/>
            </a:bodyPr>
            <a:lstStyle/>
            <a:p>
              <a:pPr algn="ctr" defTabSz="950386">
                <a:lnSpc>
                  <a:spcPct val="90000"/>
                </a:lnSpc>
                <a:spcBef>
                  <a:spcPts val="1020"/>
                </a:spcBef>
                <a:defRPr/>
              </a:pPr>
              <a:r>
                <a:rPr lang="en-US" sz="1600" spc="204">
                  <a:solidFill>
                    <a:srgbClr val="0078D7"/>
                  </a:solidFill>
                  <a:latin typeface="Segoe UI Semilight" charset="0"/>
                  <a:cs typeface="Segoe UI Semilight" charset="0"/>
                </a:rPr>
                <a:t>AZURE ML</a:t>
              </a:r>
            </a:p>
            <a:p>
              <a:pPr algn="ctr" defTabSz="950386">
                <a:lnSpc>
                  <a:spcPct val="90000"/>
                </a:lnSpc>
                <a:spcBef>
                  <a:spcPts val="1020"/>
                </a:spcBef>
                <a:defRPr/>
              </a:pPr>
              <a:r>
                <a:rPr lang="en-US" sz="1600" spc="204">
                  <a:solidFill>
                    <a:srgbClr val="0078D7"/>
                  </a:solidFill>
                  <a:latin typeface="Segoe UI Semilight" charset="0"/>
                  <a:cs typeface="Segoe UI Semilight" charset="0"/>
                </a:rPr>
                <a:t>EXPERIMENTATION</a:t>
              </a:r>
            </a:p>
          </p:txBody>
        </p:sp>
      </p:grpSp>
      <p:grpSp>
        <p:nvGrpSpPr>
          <p:cNvPr id="20" name="Group 19">
            <a:extLst>
              <a:ext uri="{FF2B5EF4-FFF2-40B4-BE49-F238E27FC236}">
                <a16:creationId xmlns:a16="http://schemas.microsoft.com/office/drawing/2014/main" id="{580B2AB2-0F48-46BA-A625-7CE3330B3E01}"/>
              </a:ext>
            </a:extLst>
          </p:cNvPr>
          <p:cNvGrpSpPr/>
          <p:nvPr/>
        </p:nvGrpSpPr>
        <p:grpSpPr>
          <a:xfrm>
            <a:off x="-616315" y="3132134"/>
            <a:ext cx="3316328" cy="1631710"/>
            <a:chOff x="176045" y="3424432"/>
            <a:chExt cx="3316751" cy="1631918"/>
          </a:xfrm>
        </p:grpSpPr>
        <p:sp>
          <p:nvSpPr>
            <p:cNvPr id="21" name="Rectangle 20">
              <a:extLst>
                <a:ext uri="{FF2B5EF4-FFF2-40B4-BE49-F238E27FC236}">
                  <a16:creationId xmlns:a16="http://schemas.microsoft.com/office/drawing/2014/main" id="{BE81122B-5286-4DE9-8F4D-FFCFC4C0D80C}"/>
                </a:ext>
              </a:extLst>
            </p:cNvPr>
            <p:cNvSpPr/>
            <p:nvPr/>
          </p:nvSpPr>
          <p:spPr>
            <a:xfrm>
              <a:off x="476738" y="3424432"/>
              <a:ext cx="3014896" cy="286232"/>
            </a:xfrm>
            <a:prstGeom prst="rect">
              <a:avLst/>
            </a:prstGeom>
          </p:spPr>
          <p:txBody>
            <a:bodyPr wrap="square">
              <a:spAutoFit/>
            </a:bodyPr>
            <a:lstStyle/>
            <a:p>
              <a:pPr algn="r" defTabSz="932146">
                <a:lnSpc>
                  <a:spcPct val="90000"/>
                </a:lnSpc>
                <a:spcBef>
                  <a:spcPts val="1020"/>
                </a:spcBef>
                <a:defRPr/>
              </a:pPr>
              <a:r>
                <a:rPr lang="en-US" sz="1400" b="1" kern="0" spc="50" dirty="0">
                  <a:solidFill>
                    <a:srgbClr val="505050"/>
                  </a:solidFill>
                  <a:latin typeface="Segoe UI Semibold" charset="0"/>
                  <a:cs typeface="Segoe UI Semibold" charset="0"/>
                </a:rPr>
                <a:t>Command line tools</a:t>
              </a:r>
            </a:p>
          </p:txBody>
        </p:sp>
        <p:sp>
          <p:nvSpPr>
            <p:cNvPr id="22" name="Rectangle 21">
              <a:extLst>
                <a:ext uri="{FF2B5EF4-FFF2-40B4-BE49-F238E27FC236}">
                  <a16:creationId xmlns:a16="http://schemas.microsoft.com/office/drawing/2014/main" id="{5BA24A15-D464-4871-A073-20C15F8C1C20}"/>
                </a:ext>
              </a:extLst>
            </p:cNvPr>
            <p:cNvSpPr/>
            <p:nvPr/>
          </p:nvSpPr>
          <p:spPr>
            <a:xfrm>
              <a:off x="1129434" y="3807069"/>
              <a:ext cx="2362200" cy="286232"/>
            </a:xfrm>
            <a:prstGeom prst="rect">
              <a:avLst/>
            </a:prstGeom>
          </p:spPr>
          <p:txBody>
            <a:bodyPr wrap="square">
              <a:spAutoFit/>
            </a:bodyPr>
            <a:lstStyle/>
            <a:p>
              <a:pPr algn="r" defTabSz="932146">
                <a:lnSpc>
                  <a:spcPct val="90000"/>
                </a:lnSpc>
                <a:spcBef>
                  <a:spcPts val="1020"/>
                </a:spcBef>
                <a:defRPr/>
              </a:pPr>
              <a:r>
                <a:rPr lang="en-US" sz="1400" b="1" kern="0" spc="50" dirty="0">
                  <a:solidFill>
                    <a:srgbClr val="505050"/>
                  </a:solidFill>
                  <a:latin typeface="Segoe UI Semibold" charset="0"/>
                  <a:cs typeface="Segoe UI Semibold" charset="0"/>
                </a:rPr>
                <a:t>IDEs</a:t>
              </a:r>
            </a:p>
          </p:txBody>
        </p:sp>
        <p:sp>
          <p:nvSpPr>
            <p:cNvPr id="23" name="Rectangle 22">
              <a:extLst>
                <a:ext uri="{FF2B5EF4-FFF2-40B4-BE49-F238E27FC236}">
                  <a16:creationId xmlns:a16="http://schemas.microsoft.com/office/drawing/2014/main" id="{DACA0596-1811-4403-B236-89698E0739D5}"/>
                </a:ext>
              </a:extLst>
            </p:cNvPr>
            <p:cNvSpPr/>
            <p:nvPr/>
          </p:nvSpPr>
          <p:spPr>
            <a:xfrm>
              <a:off x="176045" y="4123026"/>
              <a:ext cx="3315589" cy="286232"/>
            </a:xfrm>
            <a:prstGeom prst="rect">
              <a:avLst/>
            </a:prstGeom>
          </p:spPr>
          <p:txBody>
            <a:bodyPr wrap="square">
              <a:spAutoFit/>
            </a:bodyPr>
            <a:lstStyle/>
            <a:p>
              <a:pPr algn="r" defTabSz="932146">
                <a:lnSpc>
                  <a:spcPct val="90000"/>
                </a:lnSpc>
                <a:spcBef>
                  <a:spcPts val="1020"/>
                </a:spcBef>
                <a:defRPr/>
              </a:pPr>
              <a:r>
                <a:rPr lang="en-US" sz="1400" b="1" kern="0" spc="50" dirty="0">
                  <a:solidFill>
                    <a:srgbClr val="505050"/>
                  </a:solidFill>
                  <a:latin typeface="Segoe UI Semibold" charset="0"/>
                  <a:cs typeface="Segoe UI Semibold" charset="0"/>
                </a:rPr>
                <a:t>Notebooks in Workbench</a:t>
              </a:r>
            </a:p>
          </p:txBody>
        </p:sp>
        <p:sp>
          <p:nvSpPr>
            <p:cNvPr id="24" name="Rectangle 23">
              <a:extLst>
                <a:ext uri="{FF2B5EF4-FFF2-40B4-BE49-F238E27FC236}">
                  <a16:creationId xmlns:a16="http://schemas.microsoft.com/office/drawing/2014/main" id="{AB13A1DF-5BAE-4E7A-AA93-169F99BC2FFF}"/>
                </a:ext>
              </a:extLst>
            </p:cNvPr>
            <p:cNvSpPr/>
            <p:nvPr/>
          </p:nvSpPr>
          <p:spPr>
            <a:xfrm>
              <a:off x="177207" y="4447978"/>
              <a:ext cx="3315589" cy="608372"/>
            </a:xfrm>
            <a:prstGeom prst="rect">
              <a:avLst/>
            </a:prstGeom>
          </p:spPr>
          <p:txBody>
            <a:bodyPr wrap="square">
              <a:spAutoFit/>
            </a:bodyPr>
            <a:lstStyle/>
            <a:p>
              <a:pPr algn="r" defTabSz="932146">
                <a:lnSpc>
                  <a:spcPct val="90000"/>
                </a:lnSpc>
                <a:spcBef>
                  <a:spcPts val="1020"/>
                </a:spcBef>
                <a:defRPr/>
              </a:pPr>
              <a:r>
                <a:rPr lang="en-US" sz="1400" b="1" kern="0" spc="50" dirty="0">
                  <a:solidFill>
                    <a:srgbClr val="505050"/>
                  </a:solidFill>
                  <a:latin typeface="Segoe UI Semibold" charset="0"/>
                  <a:cs typeface="Segoe UI Semibold" charset="0"/>
                </a:rPr>
                <a:t>VS Code Tools for AI</a:t>
              </a:r>
            </a:p>
            <a:p>
              <a:pPr algn="r" defTabSz="932146">
                <a:lnSpc>
                  <a:spcPct val="90000"/>
                </a:lnSpc>
                <a:spcBef>
                  <a:spcPts val="1020"/>
                </a:spcBef>
                <a:defRPr/>
              </a:pPr>
              <a:r>
                <a:rPr lang="en-US" sz="1400" b="1" kern="0" spc="50" dirty="0">
                  <a:solidFill>
                    <a:srgbClr val="505050"/>
                  </a:solidFill>
                  <a:latin typeface="Segoe UI Semibold" charset="0"/>
                  <a:cs typeface="Segoe UI Semibold" charset="0"/>
                </a:rPr>
                <a:t>VS Tools for AI</a:t>
              </a:r>
            </a:p>
          </p:txBody>
        </p:sp>
      </p:grpSp>
    </p:spTree>
    <p:extLst>
      <p:ext uri="{BB962C8B-B14F-4D97-AF65-F5344CB8AC3E}">
        <p14:creationId xmlns:p14="http://schemas.microsoft.com/office/powerpoint/2010/main" val="12740603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24FBA33A-ECBD-4EAA-9576-DCFEE0FC5F72}"/>
              </a:ext>
            </a:extLst>
          </p:cNvPr>
          <p:cNvSpPr txBox="1"/>
          <p:nvPr/>
        </p:nvSpPr>
        <p:spPr>
          <a:xfrm>
            <a:off x="275447" y="1213467"/>
            <a:ext cx="5484920" cy="3632570"/>
          </a:xfrm>
          <a:prstGeom prst="rect">
            <a:avLst/>
          </a:prstGeom>
          <a:noFill/>
        </p:spPr>
        <p:txBody>
          <a:bodyPr wrap="square" lIns="91415" tIns="45708" rIns="91415" bIns="45708" rtlCol="0">
            <a:spAutoFit/>
          </a:bodyPr>
          <a:lstStyle/>
          <a:p>
            <a:pPr marL="388552" indent="-388552" defTabSz="932084">
              <a:lnSpc>
                <a:spcPct val="90000"/>
              </a:lnSpc>
              <a:spcBef>
                <a:spcPts val="1801"/>
              </a:spcBef>
              <a:buFont typeface="Arial" panose="020B0604020202020204" pitchFamily="34" charset="0"/>
              <a:buChar char="•"/>
              <a:defRPr/>
            </a:pPr>
            <a:r>
              <a:rPr lang="en-US" sz="2176" dirty="0">
                <a:solidFill>
                  <a:srgbClr val="505050"/>
                </a:solidFill>
                <a:latin typeface="Calibri Light" panose="020F0302020204030204" pitchFamily="34" charset="0"/>
                <a:cs typeface="Calibri Light" panose="020F0302020204030204" pitchFamily="34" charset="0"/>
              </a:rPr>
              <a:t>Manage project dependencies </a:t>
            </a:r>
          </a:p>
          <a:p>
            <a:pPr marL="388552" indent="-388552" defTabSz="932084">
              <a:lnSpc>
                <a:spcPct val="90000"/>
              </a:lnSpc>
              <a:spcBef>
                <a:spcPts val="1801"/>
              </a:spcBef>
              <a:buFont typeface="Arial" panose="020B0604020202020204" pitchFamily="34" charset="0"/>
              <a:buChar char="•"/>
              <a:defRPr/>
            </a:pPr>
            <a:r>
              <a:rPr lang="en-US" sz="2176" dirty="0">
                <a:solidFill>
                  <a:srgbClr val="505050"/>
                </a:solidFill>
                <a:latin typeface="Calibri Light" panose="020F0302020204030204" pitchFamily="34" charset="0"/>
                <a:cs typeface="Calibri Light" panose="020F0302020204030204" pitchFamily="34" charset="0"/>
              </a:rPr>
              <a:t>Orchestrate training jobs locally, scaled-up (VM) or scaled-out (HDInsight)</a:t>
            </a:r>
          </a:p>
          <a:p>
            <a:pPr marL="388552" indent="-388552" defTabSz="932084">
              <a:lnSpc>
                <a:spcPct val="90000"/>
              </a:lnSpc>
              <a:spcBef>
                <a:spcPts val="1801"/>
              </a:spcBef>
              <a:buFont typeface="Arial" panose="020B0604020202020204" pitchFamily="34" charset="0"/>
              <a:buChar char="•"/>
              <a:defRPr/>
            </a:pPr>
            <a:r>
              <a:rPr lang="en-US" sz="2176" dirty="0">
                <a:solidFill>
                  <a:srgbClr val="505050"/>
                </a:solidFill>
                <a:latin typeface="Calibri Light" panose="020F0302020204030204" pitchFamily="34" charset="0"/>
                <a:cs typeface="Calibri Light" panose="020F0302020204030204" pitchFamily="34" charset="0"/>
              </a:rPr>
              <a:t>Git based checkpointing and version control </a:t>
            </a:r>
          </a:p>
          <a:p>
            <a:pPr marL="388552" indent="-388552" defTabSz="932084">
              <a:lnSpc>
                <a:spcPct val="90000"/>
              </a:lnSpc>
              <a:spcBef>
                <a:spcPts val="1801"/>
              </a:spcBef>
              <a:buFont typeface="Arial" panose="020B0604020202020204" pitchFamily="34" charset="0"/>
              <a:buChar char="•"/>
              <a:defRPr/>
            </a:pPr>
            <a:r>
              <a:rPr lang="en-US" sz="2176" dirty="0">
                <a:solidFill>
                  <a:srgbClr val="505050"/>
                </a:solidFill>
                <a:latin typeface="Calibri Light" panose="020F0302020204030204" pitchFamily="34" charset="0"/>
                <a:cs typeface="Calibri Light" panose="020F0302020204030204" pitchFamily="34" charset="0"/>
              </a:rPr>
              <a:t>Service side capture of run metrics, output logs and models</a:t>
            </a:r>
          </a:p>
          <a:p>
            <a:pPr marL="388552" indent="-388552" defTabSz="932084">
              <a:lnSpc>
                <a:spcPct val="90000"/>
              </a:lnSpc>
              <a:spcBef>
                <a:spcPts val="1801"/>
              </a:spcBef>
              <a:buFont typeface="Arial" panose="020B0604020202020204" pitchFamily="34" charset="0"/>
              <a:buChar char="•"/>
              <a:defRPr/>
            </a:pPr>
            <a:r>
              <a:rPr lang="en-US" sz="2176" dirty="0">
                <a:solidFill>
                  <a:srgbClr val="505050"/>
                </a:solidFill>
                <a:latin typeface="Calibri Light" panose="020F0302020204030204" pitchFamily="34" charset="0"/>
                <a:cs typeface="Calibri Light" panose="020F0302020204030204" pitchFamily="34" charset="0"/>
              </a:rPr>
              <a:t>Use your favorite IDE, and any framework</a:t>
            </a:r>
          </a:p>
          <a:p>
            <a:pPr defTabSz="932084">
              <a:lnSpc>
                <a:spcPct val="90000"/>
              </a:lnSpc>
              <a:spcBef>
                <a:spcPts val="1801"/>
              </a:spcBef>
              <a:defRPr/>
            </a:pPr>
            <a:endParaRPr lang="en-US" sz="2000" dirty="0">
              <a:solidFill>
                <a:srgbClr val="505050"/>
              </a:solidFill>
              <a:latin typeface="Segoe UI Semilight"/>
            </a:endParaRPr>
          </a:p>
        </p:txBody>
      </p:sp>
      <p:sp>
        <p:nvSpPr>
          <p:cNvPr id="2" name="Title 1">
            <a:extLst>
              <a:ext uri="{FF2B5EF4-FFF2-40B4-BE49-F238E27FC236}">
                <a16:creationId xmlns:a16="http://schemas.microsoft.com/office/drawing/2014/main" id="{F8ED5EAF-F38E-45F5-83EC-D07B40C52F6C}"/>
              </a:ext>
            </a:extLst>
          </p:cNvPr>
          <p:cNvSpPr>
            <a:spLocks noGrp="1"/>
          </p:cNvSpPr>
          <p:nvPr>
            <p:ph type="title"/>
          </p:nvPr>
        </p:nvSpPr>
        <p:spPr/>
        <p:txBody>
          <a:bodyPr/>
          <a:lstStyle/>
          <a:p>
            <a:r>
              <a:rPr lang="en-US" sz="4400" dirty="0">
                <a:gradFill>
                  <a:gsLst>
                    <a:gs pos="1250">
                      <a:schemeClr val="tx1"/>
                    </a:gs>
                    <a:gs pos="100000">
                      <a:schemeClr val="tx1"/>
                    </a:gs>
                  </a:gsLst>
                  <a:lin ang="5400000" scaled="0"/>
                </a:gradFill>
              </a:rPr>
              <a:t>Experimentation service</a:t>
            </a:r>
          </a:p>
        </p:txBody>
      </p:sp>
      <p:sp>
        <p:nvSpPr>
          <p:cNvPr id="12" name="TextBox 11">
            <a:extLst>
              <a:ext uri="{FF2B5EF4-FFF2-40B4-BE49-F238E27FC236}">
                <a16:creationId xmlns:a16="http://schemas.microsoft.com/office/drawing/2014/main" id="{F6B30708-0CA9-4D8B-8827-9923ACA4672A}"/>
              </a:ext>
            </a:extLst>
          </p:cNvPr>
          <p:cNvSpPr txBox="1"/>
          <p:nvPr/>
        </p:nvSpPr>
        <p:spPr>
          <a:xfrm>
            <a:off x="6445982" y="4789856"/>
            <a:ext cx="4318183" cy="276824"/>
          </a:xfrm>
          <a:prstGeom prst="rect">
            <a:avLst/>
          </a:prstGeom>
          <a:noFill/>
        </p:spPr>
        <p:txBody>
          <a:bodyPr wrap="square" lIns="91415" tIns="45708" rIns="91415" bIns="45708" rtlCol="0">
            <a:spAutoFit/>
          </a:bodyPr>
          <a:lstStyle/>
          <a:p>
            <a:pPr defTabSz="932443">
              <a:spcAft>
                <a:spcPts val="1199"/>
              </a:spcAft>
              <a:defRPr/>
            </a:pPr>
            <a:r>
              <a:rPr lang="en-US" sz="1199" cap="all" spc="204" dirty="0">
                <a:solidFill>
                  <a:srgbClr val="006777"/>
                </a:solidFill>
                <a:latin typeface="Segoe UI Semilight" charset="0"/>
                <a:cs typeface="Segoe UI Semilight" charset="0"/>
              </a:rPr>
              <a:t>Use the most popular innovations</a:t>
            </a:r>
          </a:p>
        </p:txBody>
      </p:sp>
      <p:pic>
        <p:nvPicPr>
          <p:cNvPr id="1026" name="Picture 2" descr="https://cdn-images-1.medium.com/max/1200/1*ywGwXEL6DeWay48FZYye3A.png">
            <a:extLst>
              <a:ext uri="{FF2B5EF4-FFF2-40B4-BE49-F238E27FC236}">
                <a16:creationId xmlns:a16="http://schemas.microsoft.com/office/drawing/2014/main" id="{DF6D3624-DBE5-4CD5-9F67-805F309E0F5B}"/>
              </a:ext>
            </a:extLst>
          </p:cNvPr>
          <p:cNvPicPr>
            <a:picLocks noChangeAspect="1" noChangeArrowheads="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8838884" y="1708218"/>
            <a:ext cx="799883" cy="539922"/>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https://www.scan.co.uk/images/3xs/infopages/tensorflow-logo.png">
            <a:extLst>
              <a:ext uri="{FF2B5EF4-FFF2-40B4-BE49-F238E27FC236}">
                <a16:creationId xmlns:a16="http://schemas.microsoft.com/office/drawing/2014/main" id="{F9D5CC31-598A-40F7-AC6A-36B441E46095}"/>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6865078" y="1817190"/>
            <a:ext cx="1504544" cy="285863"/>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https://yurongfan.files.wordpress.com/2017/01/sparkml.jpg?w=680">
            <a:extLst>
              <a:ext uri="{FF2B5EF4-FFF2-40B4-BE49-F238E27FC236}">
                <a16:creationId xmlns:a16="http://schemas.microsoft.com/office/drawing/2014/main" id="{A39DA8F4-139B-4079-9498-4C4EFDD972C6}"/>
              </a:ext>
            </a:extLst>
          </p:cNvPr>
          <p:cNvPicPr>
            <a:picLocks noChangeAspect="1" noChangeArrowheads="1"/>
          </p:cNvPicPr>
          <p:nvPr/>
        </p:nvPicPr>
        <p:blipFill rotWithShape="1">
          <a:blip r:embed="rId5" cstate="print">
            <a:clrChange>
              <a:clrFrom>
                <a:srgbClr val="FFFFFF"/>
              </a:clrFrom>
              <a:clrTo>
                <a:srgbClr val="FFFFFF">
                  <a:alpha val="0"/>
                </a:srgbClr>
              </a:clrTo>
            </a:clrChange>
            <a:extLst>
              <a:ext uri="{28A0092B-C50C-407E-A947-70E740481C1C}">
                <a14:useLocalDpi xmlns:a14="http://schemas.microsoft.com/office/drawing/2010/main" val="0"/>
              </a:ext>
            </a:extLst>
          </a:blip>
          <a:srcRect l="6471" r="17059" b="44702"/>
          <a:stretch/>
        </p:blipFill>
        <p:spPr bwMode="auto">
          <a:xfrm>
            <a:off x="10130646" y="1770224"/>
            <a:ext cx="1295051" cy="415910"/>
          </a:xfrm>
          <a:prstGeom prst="rect">
            <a:avLst/>
          </a:prstGeom>
          <a:noFill/>
          <a:extLst>
            <a:ext uri="{909E8E84-426E-40DD-AFC4-6F175D3DCCD1}">
              <a14:hiddenFill xmlns:a14="http://schemas.microsoft.com/office/drawing/2010/main">
                <a:solidFill>
                  <a:srgbClr val="FFFFFF"/>
                </a:solidFill>
              </a14:hiddenFill>
            </a:ext>
          </a:extLst>
        </p:spPr>
      </p:pic>
      <p:sp>
        <p:nvSpPr>
          <p:cNvPr id="13" name="TextBox 12">
            <a:extLst>
              <a:ext uri="{FF2B5EF4-FFF2-40B4-BE49-F238E27FC236}">
                <a16:creationId xmlns:a16="http://schemas.microsoft.com/office/drawing/2014/main" id="{AB975686-4F9C-4686-A6A6-A0713BE3E71E}"/>
              </a:ext>
            </a:extLst>
          </p:cNvPr>
          <p:cNvSpPr txBox="1"/>
          <p:nvPr/>
        </p:nvSpPr>
        <p:spPr>
          <a:xfrm>
            <a:off x="6445982" y="3010269"/>
            <a:ext cx="4318183" cy="276824"/>
          </a:xfrm>
          <a:prstGeom prst="rect">
            <a:avLst/>
          </a:prstGeom>
          <a:noFill/>
        </p:spPr>
        <p:txBody>
          <a:bodyPr wrap="square" lIns="91415" tIns="45708" rIns="91415" bIns="45708" rtlCol="0">
            <a:spAutoFit/>
          </a:bodyPr>
          <a:lstStyle/>
          <a:p>
            <a:pPr defTabSz="932443">
              <a:spcAft>
                <a:spcPts val="1199"/>
              </a:spcAft>
              <a:defRPr/>
            </a:pPr>
            <a:r>
              <a:rPr lang="en-US" sz="1199" cap="all" spc="204" dirty="0">
                <a:solidFill>
                  <a:srgbClr val="006777"/>
                </a:solidFill>
                <a:latin typeface="Segoe UI Semilight" charset="0"/>
                <a:cs typeface="Segoe UI Semilight" charset="0"/>
              </a:rPr>
              <a:t>Use any tool</a:t>
            </a:r>
          </a:p>
        </p:txBody>
      </p:sp>
      <p:pic>
        <p:nvPicPr>
          <p:cNvPr id="5" name="Picture 4">
            <a:extLst>
              <a:ext uri="{FF2B5EF4-FFF2-40B4-BE49-F238E27FC236}">
                <a16:creationId xmlns:a16="http://schemas.microsoft.com/office/drawing/2014/main" id="{547C0F4D-C727-4787-B3E4-1A8EE09AE1C1}"/>
              </a:ext>
            </a:extLst>
          </p:cNvPr>
          <p:cNvPicPr>
            <a:picLocks noChangeAspect="1"/>
          </p:cNvPicPr>
          <p:nvPr/>
        </p:nvPicPr>
        <p:blipFill>
          <a:blip r:embed="rId6"/>
          <a:stretch>
            <a:fillRect/>
          </a:stretch>
        </p:blipFill>
        <p:spPr>
          <a:xfrm>
            <a:off x="9771623" y="3393919"/>
            <a:ext cx="502939" cy="580982"/>
          </a:xfrm>
          <a:prstGeom prst="rect">
            <a:avLst/>
          </a:prstGeom>
        </p:spPr>
      </p:pic>
      <p:pic>
        <p:nvPicPr>
          <p:cNvPr id="1034" name="Picture 10" descr="https://ih1.redbubble.net/image.361353434.1330/flat,800x800,075,f.jpg">
            <a:extLst>
              <a:ext uri="{FF2B5EF4-FFF2-40B4-BE49-F238E27FC236}">
                <a16:creationId xmlns:a16="http://schemas.microsoft.com/office/drawing/2014/main" id="{43AD0FA4-7A52-44B4-9198-DA58A50605D3}"/>
              </a:ext>
            </a:extLst>
          </p:cNvPr>
          <p:cNvPicPr>
            <a:picLocks noChangeAspect="1" noChangeArrowheads="1"/>
          </p:cNvPicPr>
          <p:nvPr/>
        </p:nvPicPr>
        <p:blipFill>
          <a:blip r:embed="rId7"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6926736" y="3510178"/>
            <a:ext cx="1006401" cy="348467"/>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descr="https://mlxprodcontent.blob.core.windows.net/015556-1000/en-us/thumbnail.png?v=20170414161603">
            <a:extLst>
              <a:ext uri="{FF2B5EF4-FFF2-40B4-BE49-F238E27FC236}">
                <a16:creationId xmlns:a16="http://schemas.microsoft.com/office/drawing/2014/main" id="{0042BE1A-4947-4D03-B009-9FDB2BDF6279}"/>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8247547" y="3368553"/>
            <a:ext cx="1209667" cy="631715"/>
          </a:xfrm>
          <a:prstGeom prst="rect">
            <a:avLst/>
          </a:prstGeom>
          <a:noFill/>
          <a:extLst>
            <a:ext uri="{909E8E84-426E-40DD-AFC4-6F175D3DCCD1}">
              <a14:hiddenFill xmlns:a14="http://schemas.microsoft.com/office/drawing/2010/main">
                <a:solidFill>
                  <a:srgbClr val="FFFFFF"/>
                </a:solidFill>
              </a14:hiddenFill>
            </a:ext>
          </a:extLst>
        </p:spPr>
      </p:pic>
      <p:pic>
        <p:nvPicPr>
          <p:cNvPr id="1036" name="Picture 12" descr="https://www.fourdigits.nl/images/pycharm-logo.gif">
            <a:extLst>
              <a:ext uri="{FF2B5EF4-FFF2-40B4-BE49-F238E27FC236}">
                <a16:creationId xmlns:a16="http://schemas.microsoft.com/office/drawing/2014/main" id="{6F4C5EBB-B2B6-4E69-8DD3-343E7719187A}"/>
              </a:ext>
            </a:extLst>
          </p:cNvPr>
          <p:cNvPicPr>
            <a:picLocks noChangeAspect="1" noChangeArrowheads="1"/>
          </p:cNvPicPr>
          <p:nvPr/>
        </p:nvPicPr>
        <p:blipFill>
          <a:blip r:embed="rId9"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0588970" y="3553951"/>
            <a:ext cx="1369514" cy="308142"/>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14">
            <a:extLst>
              <a:ext uri="{FF2B5EF4-FFF2-40B4-BE49-F238E27FC236}">
                <a16:creationId xmlns:a16="http://schemas.microsoft.com/office/drawing/2014/main" id="{89CC4A58-9368-48B7-802F-94BA26A0990C}"/>
              </a:ext>
            </a:extLst>
          </p:cNvPr>
          <p:cNvPicPr>
            <a:picLocks noChangeAspect="1"/>
          </p:cNvPicPr>
          <p:nvPr/>
        </p:nvPicPr>
        <p:blipFill>
          <a:blip r:embed="rId10"/>
          <a:stretch>
            <a:fillRect/>
          </a:stretch>
        </p:blipFill>
        <p:spPr>
          <a:xfrm>
            <a:off x="10424293" y="5199895"/>
            <a:ext cx="874508" cy="465164"/>
          </a:xfrm>
          <a:prstGeom prst="rect">
            <a:avLst/>
          </a:prstGeom>
        </p:spPr>
      </p:pic>
      <p:pic>
        <p:nvPicPr>
          <p:cNvPr id="1042" name="Picture 18" descr="https://git-scm.com/images/logos/downloads/Git-Logo-2Color.png">
            <a:extLst>
              <a:ext uri="{FF2B5EF4-FFF2-40B4-BE49-F238E27FC236}">
                <a16:creationId xmlns:a16="http://schemas.microsoft.com/office/drawing/2014/main" id="{36169B64-EEB0-4B4E-BCD9-95A0A3B869B0}"/>
              </a:ext>
            </a:extLst>
          </p:cNvPr>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8043758" y="5259503"/>
            <a:ext cx="828452" cy="345948"/>
          </a:xfrm>
          <a:prstGeom prst="rect">
            <a:avLst/>
          </a:prstGeom>
          <a:noFill/>
          <a:extLst>
            <a:ext uri="{909E8E84-426E-40DD-AFC4-6F175D3DCCD1}">
              <a14:hiddenFill xmlns:a14="http://schemas.microsoft.com/office/drawing/2010/main">
                <a:solidFill>
                  <a:srgbClr val="FFFFFF"/>
                </a:solidFill>
              </a14:hiddenFill>
            </a:ext>
          </a:extLst>
        </p:spPr>
      </p:pic>
      <p:pic>
        <p:nvPicPr>
          <p:cNvPr id="25" name="Picture 24">
            <a:extLst>
              <a:ext uri="{FF2B5EF4-FFF2-40B4-BE49-F238E27FC236}">
                <a16:creationId xmlns:a16="http://schemas.microsoft.com/office/drawing/2014/main" id="{7539FC03-7CC5-4944-A9D2-44BA7D1BA5CA}"/>
              </a:ext>
            </a:extLst>
          </p:cNvPr>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11439421" y="5965084"/>
            <a:ext cx="498433" cy="367666"/>
          </a:xfrm>
          <a:prstGeom prst="rect">
            <a:avLst/>
          </a:prstGeom>
        </p:spPr>
      </p:pic>
      <p:pic>
        <p:nvPicPr>
          <p:cNvPr id="17" name="Picture 16">
            <a:extLst>
              <a:ext uri="{FF2B5EF4-FFF2-40B4-BE49-F238E27FC236}">
                <a16:creationId xmlns:a16="http://schemas.microsoft.com/office/drawing/2014/main" id="{8BA4BF24-D9D3-4E4D-86C3-1EE26F8EB034}"/>
              </a:ext>
            </a:extLst>
          </p:cNvPr>
          <p:cNvPicPr>
            <a:picLocks noChangeAspect="1"/>
          </p:cNvPicPr>
          <p:nvPr/>
        </p:nvPicPr>
        <p:blipFill>
          <a:blip r:embed="rId13"/>
          <a:stretch>
            <a:fillRect/>
          </a:stretch>
        </p:blipFill>
        <p:spPr>
          <a:xfrm>
            <a:off x="6646990" y="5981849"/>
            <a:ext cx="1430973" cy="334136"/>
          </a:xfrm>
          <a:prstGeom prst="rect">
            <a:avLst/>
          </a:prstGeom>
        </p:spPr>
      </p:pic>
      <p:pic>
        <p:nvPicPr>
          <p:cNvPr id="1044" name="Picture 20" descr="https://www.python.org/static/community_logos/python-logo-master-v3-TM.png">
            <a:extLst>
              <a:ext uri="{FF2B5EF4-FFF2-40B4-BE49-F238E27FC236}">
                <a16:creationId xmlns:a16="http://schemas.microsoft.com/office/drawing/2014/main" id="{0A809397-312E-4138-9D9C-E6F35BD6D3D6}"/>
              </a:ext>
            </a:extLst>
          </p:cNvPr>
          <p:cNvPicPr>
            <a:picLocks noChangeAspect="1" noChangeArrowheads="1"/>
          </p:cNvPicPr>
          <p:nvPr/>
        </p:nvPicPr>
        <p:blipFill>
          <a:blip r:embed="rId14"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8900541" y="5894191"/>
            <a:ext cx="1508275" cy="509451"/>
          </a:xfrm>
          <a:prstGeom prst="rect">
            <a:avLst/>
          </a:prstGeom>
          <a:noFill/>
          <a:extLst>
            <a:ext uri="{909E8E84-426E-40DD-AFC4-6F175D3DCCD1}">
              <a14:hiddenFill xmlns:a14="http://schemas.microsoft.com/office/drawing/2010/main">
                <a:solidFill>
                  <a:srgbClr val="FFFFFF"/>
                </a:solidFill>
              </a14:hiddenFill>
            </a:ext>
          </a:extLst>
        </p:spPr>
      </p:pic>
      <p:sp>
        <p:nvSpPr>
          <p:cNvPr id="24" name="TextBox 23">
            <a:extLst>
              <a:ext uri="{FF2B5EF4-FFF2-40B4-BE49-F238E27FC236}">
                <a16:creationId xmlns:a16="http://schemas.microsoft.com/office/drawing/2014/main" id="{C75EB45D-E61D-46E8-AF2B-819E762533FC}"/>
              </a:ext>
            </a:extLst>
          </p:cNvPr>
          <p:cNvSpPr txBox="1"/>
          <p:nvPr/>
        </p:nvSpPr>
        <p:spPr>
          <a:xfrm>
            <a:off x="6445982" y="1364238"/>
            <a:ext cx="4318183" cy="276824"/>
          </a:xfrm>
          <a:prstGeom prst="rect">
            <a:avLst/>
          </a:prstGeom>
          <a:noFill/>
        </p:spPr>
        <p:txBody>
          <a:bodyPr wrap="square" lIns="91415" tIns="45708" rIns="91415" bIns="45708" rtlCol="0">
            <a:spAutoFit/>
          </a:bodyPr>
          <a:lstStyle/>
          <a:p>
            <a:pPr defTabSz="932443">
              <a:defRPr/>
            </a:pPr>
            <a:r>
              <a:rPr lang="en-US" sz="1199" cap="all" spc="204" dirty="0">
                <a:solidFill>
                  <a:srgbClr val="006777"/>
                </a:solidFill>
                <a:latin typeface="Segoe UI Semilight" charset="0"/>
                <a:cs typeface="Segoe UI Semilight" charset="0"/>
              </a:rPr>
              <a:t>Use any framework or library</a:t>
            </a:r>
          </a:p>
        </p:txBody>
      </p:sp>
    </p:spTree>
    <p:extLst>
      <p:ext uri="{BB962C8B-B14F-4D97-AF65-F5344CB8AC3E}">
        <p14:creationId xmlns:p14="http://schemas.microsoft.com/office/powerpoint/2010/main" val="188319451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4"/>
                                        </p:tgtEl>
                                        <p:attrNameLst>
                                          <p:attrName>style.visibility</p:attrName>
                                        </p:attrNameLst>
                                      </p:cBhvr>
                                      <p:to>
                                        <p:strVal val="visible"/>
                                      </p:to>
                                    </p:set>
                                  </p:childTnLst>
                                </p:cTn>
                              </p:par>
                              <p:par>
                                <p:cTn id="7" presetID="30" presetClass="entr" presetSubtype="0" fill="hold" nodeType="withEffect">
                                  <p:stCondLst>
                                    <p:cond delay="0"/>
                                  </p:stCondLst>
                                  <p:childTnLst>
                                    <p:set>
                                      <p:cBhvr>
                                        <p:cTn id="8" dur="1" fill="hold">
                                          <p:stCondLst>
                                            <p:cond delay="0"/>
                                          </p:stCondLst>
                                        </p:cTn>
                                        <p:tgtEl>
                                          <p:spTgt spid="1028"/>
                                        </p:tgtEl>
                                        <p:attrNameLst>
                                          <p:attrName>style.visibility</p:attrName>
                                        </p:attrNameLst>
                                      </p:cBhvr>
                                      <p:to>
                                        <p:strVal val="visible"/>
                                      </p:to>
                                    </p:set>
                                    <p:animEffect transition="in" filter="fade">
                                      <p:cBhvr>
                                        <p:cTn id="9" dur="800" decel="100000"/>
                                        <p:tgtEl>
                                          <p:spTgt spid="1028"/>
                                        </p:tgtEl>
                                      </p:cBhvr>
                                    </p:animEffect>
                                    <p:anim calcmode="lin" valueType="num">
                                      <p:cBhvr>
                                        <p:cTn id="10" dur="800" decel="100000" fill="hold"/>
                                        <p:tgtEl>
                                          <p:spTgt spid="1028"/>
                                        </p:tgtEl>
                                        <p:attrNameLst>
                                          <p:attrName>style.rotation</p:attrName>
                                        </p:attrNameLst>
                                      </p:cBhvr>
                                      <p:tavLst>
                                        <p:tav tm="0">
                                          <p:val>
                                            <p:fltVal val="-90"/>
                                          </p:val>
                                        </p:tav>
                                        <p:tav tm="100000">
                                          <p:val>
                                            <p:fltVal val="0"/>
                                          </p:val>
                                        </p:tav>
                                      </p:tavLst>
                                    </p:anim>
                                    <p:anim calcmode="lin" valueType="num">
                                      <p:cBhvr>
                                        <p:cTn id="11" dur="800" decel="100000" fill="hold"/>
                                        <p:tgtEl>
                                          <p:spTgt spid="1028"/>
                                        </p:tgtEl>
                                        <p:attrNameLst>
                                          <p:attrName>ppt_x</p:attrName>
                                        </p:attrNameLst>
                                      </p:cBhvr>
                                      <p:tavLst>
                                        <p:tav tm="0">
                                          <p:val>
                                            <p:strVal val="#ppt_x+0.4"/>
                                          </p:val>
                                        </p:tav>
                                        <p:tav tm="100000">
                                          <p:val>
                                            <p:strVal val="#ppt_x-0.05"/>
                                          </p:val>
                                        </p:tav>
                                      </p:tavLst>
                                    </p:anim>
                                    <p:anim calcmode="lin" valueType="num">
                                      <p:cBhvr>
                                        <p:cTn id="12" dur="800" decel="100000" fill="hold"/>
                                        <p:tgtEl>
                                          <p:spTgt spid="1028"/>
                                        </p:tgtEl>
                                        <p:attrNameLst>
                                          <p:attrName>ppt_y</p:attrName>
                                        </p:attrNameLst>
                                      </p:cBhvr>
                                      <p:tavLst>
                                        <p:tav tm="0">
                                          <p:val>
                                            <p:strVal val="#ppt_y-0.4"/>
                                          </p:val>
                                        </p:tav>
                                        <p:tav tm="100000">
                                          <p:val>
                                            <p:strVal val="#ppt_y+0.1"/>
                                          </p:val>
                                        </p:tav>
                                      </p:tavLst>
                                    </p:anim>
                                    <p:anim calcmode="lin" valueType="num">
                                      <p:cBhvr>
                                        <p:cTn id="13" dur="200" accel="100000" fill="hold">
                                          <p:stCondLst>
                                            <p:cond delay="800"/>
                                          </p:stCondLst>
                                        </p:cTn>
                                        <p:tgtEl>
                                          <p:spTgt spid="1028"/>
                                        </p:tgtEl>
                                        <p:attrNameLst>
                                          <p:attrName>ppt_x</p:attrName>
                                        </p:attrNameLst>
                                      </p:cBhvr>
                                      <p:tavLst>
                                        <p:tav tm="0">
                                          <p:val>
                                            <p:strVal val="#ppt_x-0.05"/>
                                          </p:val>
                                        </p:tav>
                                        <p:tav tm="100000">
                                          <p:val>
                                            <p:strVal val="#ppt_x"/>
                                          </p:val>
                                        </p:tav>
                                      </p:tavLst>
                                    </p:anim>
                                    <p:anim calcmode="lin" valueType="num">
                                      <p:cBhvr>
                                        <p:cTn id="14" dur="200" accel="100000" fill="hold">
                                          <p:stCondLst>
                                            <p:cond delay="800"/>
                                          </p:stCondLst>
                                        </p:cTn>
                                        <p:tgtEl>
                                          <p:spTgt spid="1028"/>
                                        </p:tgtEl>
                                        <p:attrNameLst>
                                          <p:attrName>ppt_y</p:attrName>
                                        </p:attrNameLst>
                                      </p:cBhvr>
                                      <p:tavLst>
                                        <p:tav tm="0">
                                          <p:val>
                                            <p:strVal val="#ppt_y+0.1"/>
                                          </p:val>
                                        </p:tav>
                                        <p:tav tm="100000">
                                          <p:val>
                                            <p:strVal val="#ppt_y"/>
                                          </p:val>
                                        </p:tav>
                                      </p:tavLst>
                                    </p:anim>
                                  </p:childTnLst>
                                </p:cTn>
                              </p:par>
                            </p:childTnLst>
                          </p:cTn>
                        </p:par>
                        <p:par>
                          <p:cTn id="15" fill="hold">
                            <p:stCondLst>
                              <p:cond delay="1000"/>
                            </p:stCondLst>
                            <p:childTnLst>
                              <p:par>
                                <p:cTn id="16" presetID="30" presetClass="entr" presetSubtype="0" fill="hold" nodeType="afterEffect">
                                  <p:stCondLst>
                                    <p:cond delay="0"/>
                                  </p:stCondLst>
                                  <p:childTnLst>
                                    <p:set>
                                      <p:cBhvr>
                                        <p:cTn id="17" dur="1" fill="hold">
                                          <p:stCondLst>
                                            <p:cond delay="0"/>
                                          </p:stCondLst>
                                        </p:cTn>
                                        <p:tgtEl>
                                          <p:spTgt spid="1026"/>
                                        </p:tgtEl>
                                        <p:attrNameLst>
                                          <p:attrName>style.visibility</p:attrName>
                                        </p:attrNameLst>
                                      </p:cBhvr>
                                      <p:to>
                                        <p:strVal val="visible"/>
                                      </p:to>
                                    </p:set>
                                    <p:animEffect transition="in" filter="fade">
                                      <p:cBhvr>
                                        <p:cTn id="18" dur="800" decel="100000"/>
                                        <p:tgtEl>
                                          <p:spTgt spid="1026"/>
                                        </p:tgtEl>
                                      </p:cBhvr>
                                    </p:animEffect>
                                    <p:anim calcmode="lin" valueType="num">
                                      <p:cBhvr>
                                        <p:cTn id="19" dur="800" decel="100000" fill="hold"/>
                                        <p:tgtEl>
                                          <p:spTgt spid="1026"/>
                                        </p:tgtEl>
                                        <p:attrNameLst>
                                          <p:attrName>style.rotation</p:attrName>
                                        </p:attrNameLst>
                                      </p:cBhvr>
                                      <p:tavLst>
                                        <p:tav tm="0">
                                          <p:val>
                                            <p:fltVal val="-90"/>
                                          </p:val>
                                        </p:tav>
                                        <p:tav tm="100000">
                                          <p:val>
                                            <p:fltVal val="0"/>
                                          </p:val>
                                        </p:tav>
                                      </p:tavLst>
                                    </p:anim>
                                    <p:anim calcmode="lin" valueType="num">
                                      <p:cBhvr>
                                        <p:cTn id="20" dur="800" decel="100000" fill="hold"/>
                                        <p:tgtEl>
                                          <p:spTgt spid="1026"/>
                                        </p:tgtEl>
                                        <p:attrNameLst>
                                          <p:attrName>ppt_x</p:attrName>
                                        </p:attrNameLst>
                                      </p:cBhvr>
                                      <p:tavLst>
                                        <p:tav tm="0">
                                          <p:val>
                                            <p:strVal val="#ppt_x+0.4"/>
                                          </p:val>
                                        </p:tav>
                                        <p:tav tm="100000">
                                          <p:val>
                                            <p:strVal val="#ppt_x-0.05"/>
                                          </p:val>
                                        </p:tav>
                                      </p:tavLst>
                                    </p:anim>
                                    <p:anim calcmode="lin" valueType="num">
                                      <p:cBhvr>
                                        <p:cTn id="21" dur="800" decel="100000" fill="hold"/>
                                        <p:tgtEl>
                                          <p:spTgt spid="1026"/>
                                        </p:tgtEl>
                                        <p:attrNameLst>
                                          <p:attrName>ppt_y</p:attrName>
                                        </p:attrNameLst>
                                      </p:cBhvr>
                                      <p:tavLst>
                                        <p:tav tm="0">
                                          <p:val>
                                            <p:strVal val="#ppt_y-0.4"/>
                                          </p:val>
                                        </p:tav>
                                        <p:tav tm="100000">
                                          <p:val>
                                            <p:strVal val="#ppt_y+0.1"/>
                                          </p:val>
                                        </p:tav>
                                      </p:tavLst>
                                    </p:anim>
                                    <p:anim calcmode="lin" valueType="num">
                                      <p:cBhvr>
                                        <p:cTn id="22" dur="200" accel="100000" fill="hold">
                                          <p:stCondLst>
                                            <p:cond delay="800"/>
                                          </p:stCondLst>
                                        </p:cTn>
                                        <p:tgtEl>
                                          <p:spTgt spid="1026"/>
                                        </p:tgtEl>
                                        <p:attrNameLst>
                                          <p:attrName>ppt_x</p:attrName>
                                        </p:attrNameLst>
                                      </p:cBhvr>
                                      <p:tavLst>
                                        <p:tav tm="0">
                                          <p:val>
                                            <p:strVal val="#ppt_x-0.05"/>
                                          </p:val>
                                        </p:tav>
                                        <p:tav tm="100000">
                                          <p:val>
                                            <p:strVal val="#ppt_x"/>
                                          </p:val>
                                        </p:tav>
                                      </p:tavLst>
                                    </p:anim>
                                    <p:anim calcmode="lin" valueType="num">
                                      <p:cBhvr>
                                        <p:cTn id="23" dur="200" accel="100000" fill="hold">
                                          <p:stCondLst>
                                            <p:cond delay="800"/>
                                          </p:stCondLst>
                                        </p:cTn>
                                        <p:tgtEl>
                                          <p:spTgt spid="1026"/>
                                        </p:tgtEl>
                                        <p:attrNameLst>
                                          <p:attrName>ppt_y</p:attrName>
                                        </p:attrNameLst>
                                      </p:cBhvr>
                                      <p:tavLst>
                                        <p:tav tm="0">
                                          <p:val>
                                            <p:strVal val="#ppt_y+0.1"/>
                                          </p:val>
                                        </p:tav>
                                        <p:tav tm="100000">
                                          <p:val>
                                            <p:strVal val="#ppt_y"/>
                                          </p:val>
                                        </p:tav>
                                      </p:tavLst>
                                    </p:anim>
                                  </p:childTnLst>
                                </p:cTn>
                              </p:par>
                            </p:childTnLst>
                          </p:cTn>
                        </p:par>
                        <p:par>
                          <p:cTn id="24" fill="hold">
                            <p:stCondLst>
                              <p:cond delay="2000"/>
                            </p:stCondLst>
                            <p:childTnLst>
                              <p:par>
                                <p:cTn id="25" presetID="30" presetClass="entr" presetSubtype="0" fill="hold" nodeType="afterEffect">
                                  <p:stCondLst>
                                    <p:cond delay="0"/>
                                  </p:stCondLst>
                                  <p:childTnLst>
                                    <p:set>
                                      <p:cBhvr>
                                        <p:cTn id="26" dur="1" fill="hold">
                                          <p:stCondLst>
                                            <p:cond delay="0"/>
                                          </p:stCondLst>
                                        </p:cTn>
                                        <p:tgtEl>
                                          <p:spTgt spid="1030"/>
                                        </p:tgtEl>
                                        <p:attrNameLst>
                                          <p:attrName>style.visibility</p:attrName>
                                        </p:attrNameLst>
                                      </p:cBhvr>
                                      <p:to>
                                        <p:strVal val="visible"/>
                                      </p:to>
                                    </p:set>
                                    <p:animEffect transition="in" filter="fade">
                                      <p:cBhvr>
                                        <p:cTn id="27" dur="800" decel="100000"/>
                                        <p:tgtEl>
                                          <p:spTgt spid="1030"/>
                                        </p:tgtEl>
                                      </p:cBhvr>
                                    </p:animEffect>
                                    <p:anim calcmode="lin" valueType="num">
                                      <p:cBhvr>
                                        <p:cTn id="28" dur="800" decel="100000" fill="hold"/>
                                        <p:tgtEl>
                                          <p:spTgt spid="1030"/>
                                        </p:tgtEl>
                                        <p:attrNameLst>
                                          <p:attrName>style.rotation</p:attrName>
                                        </p:attrNameLst>
                                      </p:cBhvr>
                                      <p:tavLst>
                                        <p:tav tm="0">
                                          <p:val>
                                            <p:fltVal val="-90"/>
                                          </p:val>
                                        </p:tav>
                                        <p:tav tm="100000">
                                          <p:val>
                                            <p:fltVal val="0"/>
                                          </p:val>
                                        </p:tav>
                                      </p:tavLst>
                                    </p:anim>
                                    <p:anim calcmode="lin" valueType="num">
                                      <p:cBhvr>
                                        <p:cTn id="29" dur="800" decel="100000" fill="hold"/>
                                        <p:tgtEl>
                                          <p:spTgt spid="1030"/>
                                        </p:tgtEl>
                                        <p:attrNameLst>
                                          <p:attrName>ppt_x</p:attrName>
                                        </p:attrNameLst>
                                      </p:cBhvr>
                                      <p:tavLst>
                                        <p:tav tm="0">
                                          <p:val>
                                            <p:strVal val="#ppt_x+0.4"/>
                                          </p:val>
                                        </p:tav>
                                        <p:tav tm="100000">
                                          <p:val>
                                            <p:strVal val="#ppt_x-0.05"/>
                                          </p:val>
                                        </p:tav>
                                      </p:tavLst>
                                    </p:anim>
                                    <p:anim calcmode="lin" valueType="num">
                                      <p:cBhvr>
                                        <p:cTn id="30" dur="800" decel="100000" fill="hold"/>
                                        <p:tgtEl>
                                          <p:spTgt spid="1030"/>
                                        </p:tgtEl>
                                        <p:attrNameLst>
                                          <p:attrName>ppt_y</p:attrName>
                                        </p:attrNameLst>
                                      </p:cBhvr>
                                      <p:tavLst>
                                        <p:tav tm="0">
                                          <p:val>
                                            <p:strVal val="#ppt_y-0.4"/>
                                          </p:val>
                                        </p:tav>
                                        <p:tav tm="100000">
                                          <p:val>
                                            <p:strVal val="#ppt_y+0.1"/>
                                          </p:val>
                                        </p:tav>
                                      </p:tavLst>
                                    </p:anim>
                                    <p:anim calcmode="lin" valueType="num">
                                      <p:cBhvr>
                                        <p:cTn id="31" dur="200" accel="100000" fill="hold">
                                          <p:stCondLst>
                                            <p:cond delay="800"/>
                                          </p:stCondLst>
                                        </p:cTn>
                                        <p:tgtEl>
                                          <p:spTgt spid="1030"/>
                                        </p:tgtEl>
                                        <p:attrNameLst>
                                          <p:attrName>ppt_x</p:attrName>
                                        </p:attrNameLst>
                                      </p:cBhvr>
                                      <p:tavLst>
                                        <p:tav tm="0">
                                          <p:val>
                                            <p:strVal val="#ppt_x-0.05"/>
                                          </p:val>
                                        </p:tav>
                                        <p:tav tm="100000">
                                          <p:val>
                                            <p:strVal val="#ppt_x"/>
                                          </p:val>
                                        </p:tav>
                                      </p:tavLst>
                                    </p:anim>
                                    <p:anim calcmode="lin" valueType="num">
                                      <p:cBhvr>
                                        <p:cTn id="32" dur="200" accel="100000" fill="hold">
                                          <p:stCondLst>
                                            <p:cond delay="800"/>
                                          </p:stCondLst>
                                        </p:cTn>
                                        <p:tgtEl>
                                          <p:spTgt spid="1030"/>
                                        </p:tgtEl>
                                        <p:attrNameLst>
                                          <p:attrName>ppt_y</p:attrName>
                                        </p:attrNameLst>
                                      </p:cBhvr>
                                      <p:tavLst>
                                        <p:tav tm="0">
                                          <p:val>
                                            <p:strVal val="#ppt_y+0.1"/>
                                          </p:val>
                                        </p:tav>
                                        <p:tav tm="100000">
                                          <p:val>
                                            <p:strVal val="#ppt_y"/>
                                          </p:val>
                                        </p:tav>
                                      </p:tavLst>
                                    </p:anim>
                                  </p:childTnLst>
                                </p:cTn>
                              </p:par>
                            </p:childTnLst>
                          </p:cTn>
                        </p:par>
                        <p:par>
                          <p:cTn id="33" fill="hold">
                            <p:stCondLst>
                              <p:cond delay="3000"/>
                            </p:stCondLst>
                            <p:childTnLst>
                              <p:par>
                                <p:cTn id="34" presetID="1" presetClass="entr" presetSubtype="0" fill="hold" grpId="0" nodeType="afterEffect">
                                  <p:stCondLst>
                                    <p:cond delay="0"/>
                                  </p:stCondLst>
                                  <p:childTnLst>
                                    <p:set>
                                      <p:cBhvr>
                                        <p:cTn id="35" dur="1" fill="hold">
                                          <p:stCondLst>
                                            <p:cond delay="999"/>
                                          </p:stCondLst>
                                        </p:cTn>
                                        <p:tgtEl>
                                          <p:spTgt spid="13"/>
                                        </p:tgtEl>
                                        <p:attrNameLst>
                                          <p:attrName>style.visibility</p:attrName>
                                        </p:attrNameLst>
                                      </p:cBhvr>
                                      <p:to>
                                        <p:strVal val="visible"/>
                                      </p:to>
                                    </p:set>
                                  </p:childTnLst>
                                </p:cTn>
                              </p:par>
                            </p:childTnLst>
                          </p:cTn>
                        </p:par>
                        <p:par>
                          <p:cTn id="36" fill="hold">
                            <p:stCondLst>
                              <p:cond delay="4000"/>
                            </p:stCondLst>
                            <p:childTnLst>
                              <p:par>
                                <p:cTn id="37" presetID="30" presetClass="entr" presetSubtype="0" fill="hold" nodeType="afterEffect">
                                  <p:stCondLst>
                                    <p:cond delay="0"/>
                                  </p:stCondLst>
                                  <p:childTnLst>
                                    <p:set>
                                      <p:cBhvr>
                                        <p:cTn id="38" dur="1" fill="hold">
                                          <p:stCondLst>
                                            <p:cond delay="0"/>
                                          </p:stCondLst>
                                        </p:cTn>
                                        <p:tgtEl>
                                          <p:spTgt spid="1034"/>
                                        </p:tgtEl>
                                        <p:attrNameLst>
                                          <p:attrName>style.visibility</p:attrName>
                                        </p:attrNameLst>
                                      </p:cBhvr>
                                      <p:to>
                                        <p:strVal val="visible"/>
                                      </p:to>
                                    </p:set>
                                    <p:animEffect transition="in" filter="fade">
                                      <p:cBhvr>
                                        <p:cTn id="39" dur="800" decel="100000"/>
                                        <p:tgtEl>
                                          <p:spTgt spid="1034"/>
                                        </p:tgtEl>
                                      </p:cBhvr>
                                    </p:animEffect>
                                    <p:anim calcmode="lin" valueType="num">
                                      <p:cBhvr>
                                        <p:cTn id="40" dur="800" decel="100000" fill="hold"/>
                                        <p:tgtEl>
                                          <p:spTgt spid="1034"/>
                                        </p:tgtEl>
                                        <p:attrNameLst>
                                          <p:attrName>style.rotation</p:attrName>
                                        </p:attrNameLst>
                                      </p:cBhvr>
                                      <p:tavLst>
                                        <p:tav tm="0">
                                          <p:val>
                                            <p:fltVal val="-90"/>
                                          </p:val>
                                        </p:tav>
                                        <p:tav tm="100000">
                                          <p:val>
                                            <p:fltVal val="0"/>
                                          </p:val>
                                        </p:tav>
                                      </p:tavLst>
                                    </p:anim>
                                    <p:anim calcmode="lin" valueType="num">
                                      <p:cBhvr>
                                        <p:cTn id="41" dur="800" decel="100000" fill="hold"/>
                                        <p:tgtEl>
                                          <p:spTgt spid="1034"/>
                                        </p:tgtEl>
                                        <p:attrNameLst>
                                          <p:attrName>ppt_x</p:attrName>
                                        </p:attrNameLst>
                                      </p:cBhvr>
                                      <p:tavLst>
                                        <p:tav tm="0">
                                          <p:val>
                                            <p:strVal val="#ppt_x+0.4"/>
                                          </p:val>
                                        </p:tav>
                                        <p:tav tm="100000">
                                          <p:val>
                                            <p:strVal val="#ppt_x-0.05"/>
                                          </p:val>
                                        </p:tav>
                                      </p:tavLst>
                                    </p:anim>
                                    <p:anim calcmode="lin" valueType="num">
                                      <p:cBhvr>
                                        <p:cTn id="42" dur="800" decel="100000" fill="hold"/>
                                        <p:tgtEl>
                                          <p:spTgt spid="1034"/>
                                        </p:tgtEl>
                                        <p:attrNameLst>
                                          <p:attrName>ppt_y</p:attrName>
                                        </p:attrNameLst>
                                      </p:cBhvr>
                                      <p:tavLst>
                                        <p:tav tm="0">
                                          <p:val>
                                            <p:strVal val="#ppt_y-0.4"/>
                                          </p:val>
                                        </p:tav>
                                        <p:tav tm="100000">
                                          <p:val>
                                            <p:strVal val="#ppt_y+0.1"/>
                                          </p:val>
                                        </p:tav>
                                      </p:tavLst>
                                    </p:anim>
                                    <p:anim calcmode="lin" valueType="num">
                                      <p:cBhvr>
                                        <p:cTn id="43" dur="200" accel="100000" fill="hold">
                                          <p:stCondLst>
                                            <p:cond delay="800"/>
                                          </p:stCondLst>
                                        </p:cTn>
                                        <p:tgtEl>
                                          <p:spTgt spid="1034"/>
                                        </p:tgtEl>
                                        <p:attrNameLst>
                                          <p:attrName>ppt_x</p:attrName>
                                        </p:attrNameLst>
                                      </p:cBhvr>
                                      <p:tavLst>
                                        <p:tav tm="0">
                                          <p:val>
                                            <p:strVal val="#ppt_x-0.05"/>
                                          </p:val>
                                        </p:tav>
                                        <p:tav tm="100000">
                                          <p:val>
                                            <p:strVal val="#ppt_x"/>
                                          </p:val>
                                        </p:tav>
                                      </p:tavLst>
                                    </p:anim>
                                    <p:anim calcmode="lin" valueType="num">
                                      <p:cBhvr>
                                        <p:cTn id="44" dur="200" accel="100000" fill="hold">
                                          <p:stCondLst>
                                            <p:cond delay="800"/>
                                          </p:stCondLst>
                                        </p:cTn>
                                        <p:tgtEl>
                                          <p:spTgt spid="1034"/>
                                        </p:tgtEl>
                                        <p:attrNameLst>
                                          <p:attrName>ppt_y</p:attrName>
                                        </p:attrNameLst>
                                      </p:cBhvr>
                                      <p:tavLst>
                                        <p:tav tm="0">
                                          <p:val>
                                            <p:strVal val="#ppt_y+0.1"/>
                                          </p:val>
                                        </p:tav>
                                        <p:tav tm="100000">
                                          <p:val>
                                            <p:strVal val="#ppt_y"/>
                                          </p:val>
                                        </p:tav>
                                      </p:tavLst>
                                    </p:anim>
                                  </p:childTnLst>
                                </p:cTn>
                              </p:par>
                            </p:childTnLst>
                          </p:cTn>
                        </p:par>
                        <p:par>
                          <p:cTn id="45" fill="hold">
                            <p:stCondLst>
                              <p:cond delay="5000"/>
                            </p:stCondLst>
                            <p:childTnLst>
                              <p:par>
                                <p:cTn id="46" presetID="30" presetClass="entr" presetSubtype="0" fill="hold" nodeType="afterEffect">
                                  <p:stCondLst>
                                    <p:cond delay="0"/>
                                  </p:stCondLst>
                                  <p:childTnLst>
                                    <p:set>
                                      <p:cBhvr>
                                        <p:cTn id="47" dur="1" fill="hold">
                                          <p:stCondLst>
                                            <p:cond delay="0"/>
                                          </p:stCondLst>
                                        </p:cTn>
                                        <p:tgtEl>
                                          <p:spTgt spid="1032"/>
                                        </p:tgtEl>
                                        <p:attrNameLst>
                                          <p:attrName>style.visibility</p:attrName>
                                        </p:attrNameLst>
                                      </p:cBhvr>
                                      <p:to>
                                        <p:strVal val="visible"/>
                                      </p:to>
                                    </p:set>
                                    <p:animEffect transition="in" filter="fade">
                                      <p:cBhvr>
                                        <p:cTn id="48" dur="800" decel="100000"/>
                                        <p:tgtEl>
                                          <p:spTgt spid="1032"/>
                                        </p:tgtEl>
                                      </p:cBhvr>
                                    </p:animEffect>
                                    <p:anim calcmode="lin" valueType="num">
                                      <p:cBhvr>
                                        <p:cTn id="49" dur="800" decel="100000" fill="hold"/>
                                        <p:tgtEl>
                                          <p:spTgt spid="1032"/>
                                        </p:tgtEl>
                                        <p:attrNameLst>
                                          <p:attrName>style.rotation</p:attrName>
                                        </p:attrNameLst>
                                      </p:cBhvr>
                                      <p:tavLst>
                                        <p:tav tm="0">
                                          <p:val>
                                            <p:fltVal val="-90"/>
                                          </p:val>
                                        </p:tav>
                                        <p:tav tm="100000">
                                          <p:val>
                                            <p:fltVal val="0"/>
                                          </p:val>
                                        </p:tav>
                                      </p:tavLst>
                                    </p:anim>
                                    <p:anim calcmode="lin" valueType="num">
                                      <p:cBhvr>
                                        <p:cTn id="50" dur="800" decel="100000" fill="hold"/>
                                        <p:tgtEl>
                                          <p:spTgt spid="1032"/>
                                        </p:tgtEl>
                                        <p:attrNameLst>
                                          <p:attrName>ppt_x</p:attrName>
                                        </p:attrNameLst>
                                      </p:cBhvr>
                                      <p:tavLst>
                                        <p:tav tm="0">
                                          <p:val>
                                            <p:strVal val="#ppt_x+0.4"/>
                                          </p:val>
                                        </p:tav>
                                        <p:tav tm="100000">
                                          <p:val>
                                            <p:strVal val="#ppt_x-0.05"/>
                                          </p:val>
                                        </p:tav>
                                      </p:tavLst>
                                    </p:anim>
                                    <p:anim calcmode="lin" valueType="num">
                                      <p:cBhvr>
                                        <p:cTn id="51" dur="800" decel="100000" fill="hold"/>
                                        <p:tgtEl>
                                          <p:spTgt spid="1032"/>
                                        </p:tgtEl>
                                        <p:attrNameLst>
                                          <p:attrName>ppt_y</p:attrName>
                                        </p:attrNameLst>
                                      </p:cBhvr>
                                      <p:tavLst>
                                        <p:tav tm="0">
                                          <p:val>
                                            <p:strVal val="#ppt_y-0.4"/>
                                          </p:val>
                                        </p:tav>
                                        <p:tav tm="100000">
                                          <p:val>
                                            <p:strVal val="#ppt_y+0.1"/>
                                          </p:val>
                                        </p:tav>
                                      </p:tavLst>
                                    </p:anim>
                                    <p:anim calcmode="lin" valueType="num">
                                      <p:cBhvr>
                                        <p:cTn id="52" dur="200" accel="100000" fill="hold">
                                          <p:stCondLst>
                                            <p:cond delay="800"/>
                                          </p:stCondLst>
                                        </p:cTn>
                                        <p:tgtEl>
                                          <p:spTgt spid="1032"/>
                                        </p:tgtEl>
                                        <p:attrNameLst>
                                          <p:attrName>ppt_x</p:attrName>
                                        </p:attrNameLst>
                                      </p:cBhvr>
                                      <p:tavLst>
                                        <p:tav tm="0">
                                          <p:val>
                                            <p:strVal val="#ppt_x-0.05"/>
                                          </p:val>
                                        </p:tav>
                                        <p:tav tm="100000">
                                          <p:val>
                                            <p:strVal val="#ppt_x"/>
                                          </p:val>
                                        </p:tav>
                                      </p:tavLst>
                                    </p:anim>
                                    <p:anim calcmode="lin" valueType="num">
                                      <p:cBhvr>
                                        <p:cTn id="53" dur="200" accel="100000" fill="hold">
                                          <p:stCondLst>
                                            <p:cond delay="800"/>
                                          </p:stCondLst>
                                        </p:cTn>
                                        <p:tgtEl>
                                          <p:spTgt spid="1032"/>
                                        </p:tgtEl>
                                        <p:attrNameLst>
                                          <p:attrName>ppt_y</p:attrName>
                                        </p:attrNameLst>
                                      </p:cBhvr>
                                      <p:tavLst>
                                        <p:tav tm="0">
                                          <p:val>
                                            <p:strVal val="#ppt_y+0.1"/>
                                          </p:val>
                                        </p:tav>
                                        <p:tav tm="100000">
                                          <p:val>
                                            <p:strVal val="#ppt_y"/>
                                          </p:val>
                                        </p:tav>
                                      </p:tavLst>
                                    </p:anim>
                                  </p:childTnLst>
                                </p:cTn>
                              </p:par>
                            </p:childTnLst>
                          </p:cTn>
                        </p:par>
                        <p:par>
                          <p:cTn id="54" fill="hold">
                            <p:stCondLst>
                              <p:cond delay="6000"/>
                            </p:stCondLst>
                            <p:childTnLst>
                              <p:par>
                                <p:cTn id="55" presetID="30" presetClass="entr" presetSubtype="0" fill="hold" nodeType="afterEffect">
                                  <p:stCondLst>
                                    <p:cond delay="0"/>
                                  </p:stCondLst>
                                  <p:childTnLst>
                                    <p:set>
                                      <p:cBhvr>
                                        <p:cTn id="56" dur="1" fill="hold">
                                          <p:stCondLst>
                                            <p:cond delay="0"/>
                                          </p:stCondLst>
                                        </p:cTn>
                                        <p:tgtEl>
                                          <p:spTgt spid="5"/>
                                        </p:tgtEl>
                                        <p:attrNameLst>
                                          <p:attrName>style.visibility</p:attrName>
                                        </p:attrNameLst>
                                      </p:cBhvr>
                                      <p:to>
                                        <p:strVal val="visible"/>
                                      </p:to>
                                    </p:set>
                                    <p:animEffect transition="in" filter="fade">
                                      <p:cBhvr>
                                        <p:cTn id="57" dur="800" decel="100000"/>
                                        <p:tgtEl>
                                          <p:spTgt spid="5"/>
                                        </p:tgtEl>
                                      </p:cBhvr>
                                    </p:animEffect>
                                    <p:anim calcmode="lin" valueType="num">
                                      <p:cBhvr>
                                        <p:cTn id="58" dur="800" decel="100000" fill="hold"/>
                                        <p:tgtEl>
                                          <p:spTgt spid="5"/>
                                        </p:tgtEl>
                                        <p:attrNameLst>
                                          <p:attrName>style.rotation</p:attrName>
                                        </p:attrNameLst>
                                      </p:cBhvr>
                                      <p:tavLst>
                                        <p:tav tm="0">
                                          <p:val>
                                            <p:fltVal val="-90"/>
                                          </p:val>
                                        </p:tav>
                                        <p:tav tm="100000">
                                          <p:val>
                                            <p:fltVal val="0"/>
                                          </p:val>
                                        </p:tav>
                                      </p:tavLst>
                                    </p:anim>
                                    <p:anim calcmode="lin" valueType="num">
                                      <p:cBhvr>
                                        <p:cTn id="59" dur="800" decel="100000" fill="hold"/>
                                        <p:tgtEl>
                                          <p:spTgt spid="5"/>
                                        </p:tgtEl>
                                        <p:attrNameLst>
                                          <p:attrName>ppt_x</p:attrName>
                                        </p:attrNameLst>
                                      </p:cBhvr>
                                      <p:tavLst>
                                        <p:tav tm="0">
                                          <p:val>
                                            <p:strVal val="#ppt_x+0.4"/>
                                          </p:val>
                                        </p:tav>
                                        <p:tav tm="100000">
                                          <p:val>
                                            <p:strVal val="#ppt_x-0.05"/>
                                          </p:val>
                                        </p:tav>
                                      </p:tavLst>
                                    </p:anim>
                                    <p:anim calcmode="lin" valueType="num">
                                      <p:cBhvr>
                                        <p:cTn id="60" dur="800" decel="100000" fill="hold"/>
                                        <p:tgtEl>
                                          <p:spTgt spid="5"/>
                                        </p:tgtEl>
                                        <p:attrNameLst>
                                          <p:attrName>ppt_y</p:attrName>
                                        </p:attrNameLst>
                                      </p:cBhvr>
                                      <p:tavLst>
                                        <p:tav tm="0">
                                          <p:val>
                                            <p:strVal val="#ppt_y-0.4"/>
                                          </p:val>
                                        </p:tav>
                                        <p:tav tm="100000">
                                          <p:val>
                                            <p:strVal val="#ppt_y+0.1"/>
                                          </p:val>
                                        </p:tav>
                                      </p:tavLst>
                                    </p:anim>
                                    <p:anim calcmode="lin" valueType="num">
                                      <p:cBhvr>
                                        <p:cTn id="61" dur="200" accel="100000" fill="hold">
                                          <p:stCondLst>
                                            <p:cond delay="800"/>
                                          </p:stCondLst>
                                        </p:cTn>
                                        <p:tgtEl>
                                          <p:spTgt spid="5"/>
                                        </p:tgtEl>
                                        <p:attrNameLst>
                                          <p:attrName>ppt_x</p:attrName>
                                        </p:attrNameLst>
                                      </p:cBhvr>
                                      <p:tavLst>
                                        <p:tav tm="0">
                                          <p:val>
                                            <p:strVal val="#ppt_x-0.05"/>
                                          </p:val>
                                        </p:tav>
                                        <p:tav tm="100000">
                                          <p:val>
                                            <p:strVal val="#ppt_x"/>
                                          </p:val>
                                        </p:tav>
                                      </p:tavLst>
                                    </p:anim>
                                    <p:anim calcmode="lin" valueType="num">
                                      <p:cBhvr>
                                        <p:cTn id="62" dur="200" accel="100000" fill="hold">
                                          <p:stCondLst>
                                            <p:cond delay="800"/>
                                          </p:stCondLst>
                                        </p:cTn>
                                        <p:tgtEl>
                                          <p:spTgt spid="5"/>
                                        </p:tgtEl>
                                        <p:attrNameLst>
                                          <p:attrName>ppt_y</p:attrName>
                                        </p:attrNameLst>
                                      </p:cBhvr>
                                      <p:tavLst>
                                        <p:tav tm="0">
                                          <p:val>
                                            <p:strVal val="#ppt_y+0.1"/>
                                          </p:val>
                                        </p:tav>
                                        <p:tav tm="100000">
                                          <p:val>
                                            <p:strVal val="#ppt_y"/>
                                          </p:val>
                                        </p:tav>
                                      </p:tavLst>
                                    </p:anim>
                                  </p:childTnLst>
                                </p:cTn>
                              </p:par>
                            </p:childTnLst>
                          </p:cTn>
                        </p:par>
                        <p:par>
                          <p:cTn id="63" fill="hold">
                            <p:stCondLst>
                              <p:cond delay="7000"/>
                            </p:stCondLst>
                            <p:childTnLst>
                              <p:par>
                                <p:cTn id="64" presetID="30" presetClass="entr" presetSubtype="0" fill="hold" nodeType="afterEffect">
                                  <p:stCondLst>
                                    <p:cond delay="0"/>
                                  </p:stCondLst>
                                  <p:childTnLst>
                                    <p:set>
                                      <p:cBhvr>
                                        <p:cTn id="65" dur="1" fill="hold">
                                          <p:stCondLst>
                                            <p:cond delay="0"/>
                                          </p:stCondLst>
                                        </p:cTn>
                                        <p:tgtEl>
                                          <p:spTgt spid="1036"/>
                                        </p:tgtEl>
                                        <p:attrNameLst>
                                          <p:attrName>style.visibility</p:attrName>
                                        </p:attrNameLst>
                                      </p:cBhvr>
                                      <p:to>
                                        <p:strVal val="visible"/>
                                      </p:to>
                                    </p:set>
                                    <p:animEffect transition="in" filter="fade">
                                      <p:cBhvr>
                                        <p:cTn id="66" dur="800" decel="100000"/>
                                        <p:tgtEl>
                                          <p:spTgt spid="1036"/>
                                        </p:tgtEl>
                                      </p:cBhvr>
                                    </p:animEffect>
                                    <p:anim calcmode="lin" valueType="num">
                                      <p:cBhvr>
                                        <p:cTn id="67" dur="800" decel="100000" fill="hold"/>
                                        <p:tgtEl>
                                          <p:spTgt spid="1036"/>
                                        </p:tgtEl>
                                        <p:attrNameLst>
                                          <p:attrName>style.rotation</p:attrName>
                                        </p:attrNameLst>
                                      </p:cBhvr>
                                      <p:tavLst>
                                        <p:tav tm="0">
                                          <p:val>
                                            <p:fltVal val="-90"/>
                                          </p:val>
                                        </p:tav>
                                        <p:tav tm="100000">
                                          <p:val>
                                            <p:fltVal val="0"/>
                                          </p:val>
                                        </p:tav>
                                      </p:tavLst>
                                    </p:anim>
                                    <p:anim calcmode="lin" valueType="num">
                                      <p:cBhvr>
                                        <p:cTn id="68" dur="800" decel="100000" fill="hold"/>
                                        <p:tgtEl>
                                          <p:spTgt spid="1036"/>
                                        </p:tgtEl>
                                        <p:attrNameLst>
                                          <p:attrName>ppt_x</p:attrName>
                                        </p:attrNameLst>
                                      </p:cBhvr>
                                      <p:tavLst>
                                        <p:tav tm="0">
                                          <p:val>
                                            <p:strVal val="#ppt_x+0.4"/>
                                          </p:val>
                                        </p:tav>
                                        <p:tav tm="100000">
                                          <p:val>
                                            <p:strVal val="#ppt_x-0.05"/>
                                          </p:val>
                                        </p:tav>
                                      </p:tavLst>
                                    </p:anim>
                                    <p:anim calcmode="lin" valueType="num">
                                      <p:cBhvr>
                                        <p:cTn id="69" dur="800" decel="100000" fill="hold"/>
                                        <p:tgtEl>
                                          <p:spTgt spid="1036"/>
                                        </p:tgtEl>
                                        <p:attrNameLst>
                                          <p:attrName>ppt_y</p:attrName>
                                        </p:attrNameLst>
                                      </p:cBhvr>
                                      <p:tavLst>
                                        <p:tav tm="0">
                                          <p:val>
                                            <p:strVal val="#ppt_y-0.4"/>
                                          </p:val>
                                        </p:tav>
                                        <p:tav tm="100000">
                                          <p:val>
                                            <p:strVal val="#ppt_y+0.1"/>
                                          </p:val>
                                        </p:tav>
                                      </p:tavLst>
                                    </p:anim>
                                    <p:anim calcmode="lin" valueType="num">
                                      <p:cBhvr>
                                        <p:cTn id="70" dur="200" accel="100000" fill="hold">
                                          <p:stCondLst>
                                            <p:cond delay="800"/>
                                          </p:stCondLst>
                                        </p:cTn>
                                        <p:tgtEl>
                                          <p:spTgt spid="1036"/>
                                        </p:tgtEl>
                                        <p:attrNameLst>
                                          <p:attrName>ppt_x</p:attrName>
                                        </p:attrNameLst>
                                      </p:cBhvr>
                                      <p:tavLst>
                                        <p:tav tm="0">
                                          <p:val>
                                            <p:strVal val="#ppt_x-0.05"/>
                                          </p:val>
                                        </p:tav>
                                        <p:tav tm="100000">
                                          <p:val>
                                            <p:strVal val="#ppt_x"/>
                                          </p:val>
                                        </p:tav>
                                      </p:tavLst>
                                    </p:anim>
                                    <p:anim calcmode="lin" valueType="num">
                                      <p:cBhvr>
                                        <p:cTn id="71" dur="200" accel="100000" fill="hold">
                                          <p:stCondLst>
                                            <p:cond delay="800"/>
                                          </p:stCondLst>
                                        </p:cTn>
                                        <p:tgtEl>
                                          <p:spTgt spid="1036"/>
                                        </p:tgtEl>
                                        <p:attrNameLst>
                                          <p:attrName>ppt_y</p:attrName>
                                        </p:attrNameLst>
                                      </p:cBhvr>
                                      <p:tavLst>
                                        <p:tav tm="0">
                                          <p:val>
                                            <p:strVal val="#ppt_y+0.1"/>
                                          </p:val>
                                        </p:tav>
                                        <p:tav tm="100000">
                                          <p:val>
                                            <p:strVal val="#ppt_y"/>
                                          </p:val>
                                        </p:tav>
                                      </p:tavLst>
                                    </p:anim>
                                  </p:childTnLst>
                                </p:cTn>
                              </p:par>
                            </p:childTnLst>
                          </p:cTn>
                        </p:par>
                        <p:par>
                          <p:cTn id="72" fill="hold">
                            <p:stCondLst>
                              <p:cond delay="8000"/>
                            </p:stCondLst>
                            <p:childTnLst>
                              <p:par>
                                <p:cTn id="73" presetID="1" presetClass="entr" presetSubtype="0" fill="hold" grpId="0" nodeType="afterEffect">
                                  <p:stCondLst>
                                    <p:cond delay="0"/>
                                  </p:stCondLst>
                                  <p:childTnLst>
                                    <p:set>
                                      <p:cBhvr>
                                        <p:cTn id="74" dur="1" fill="hold">
                                          <p:stCondLst>
                                            <p:cond delay="0"/>
                                          </p:stCondLst>
                                        </p:cTn>
                                        <p:tgtEl>
                                          <p:spTgt spid="12"/>
                                        </p:tgtEl>
                                        <p:attrNameLst>
                                          <p:attrName>style.visibility</p:attrName>
                                        </p:attrNameLst>
                                      </p:cBhvr>
                                      <p:to>
                                        <p:strVal val="visible"/>
                                      </p:to>
                                    </p:set>
                                  </p:childTnLst>
                                </p:cTn>
                              </p:par>
                            </p:childTnLst>
                          </p:cTn>
                        </p:par>
                        <p:par>
                          <p:cTn id="75" fill="hold">
                            <p:stCondLst>
                              <p:cond delay="8000"/>
                            </p:stCondLst>
                            <p:childTnLst>
                              <p:par>
                                <p:cTn id="76" presetID="30" presetClass="entr" presetSubtype="0" fill="hold" nodeType="afterEffect">
                                  <p:stCondLst>
                                    <p:cond delay="0"/>
                                  </p:stCondLst>
                                  <p:childTnLst>
                                    <p:set>
                                      <p:cBhvr>
                                        <p:cTn id="77" dur="1" fill="hold">
                                          <p:stCondLst>
                                            <p:cond delay="0"/>
                                          </p:stCondLst>
                                        </p:cTn>
                                        <p:tgtEl>
                                          <p:spTgt spid="17"/>
                                        </p:tgtEl>
                                        <p:attrNameLst>
                                          <p:attrName>style.visibility</p:attrName>
                                        </p:attrNameLst>
                                      </p:cBhvr>
                                      <p:to>
                                        <p:strVal val="visible"/>
                                      </p:to>
                                    </p:set>
                                    <p:animEffect transition="in" filter="fade">
                                      <p:cBhvr>
                                        <p:cTn id="78" dur="800" decel="100000"/>
                                        <p:tgtEl>
                                          <p:spTgt spid="17"/>
                                        </p:tgtEl>
                                      </p:cBhvr>
                                    </p:animEffect>
                                    <p:anim calcmode="lin" valueType="num">
                                      <p:cBhvr>
                                        <p:cTn id="79" dur="800" decel="100000" fill="hold"/>
                                        <p:tgtEl>
                                          <p:spTgt spid="17"/>
                                        </p:tgtEl>
                                        <p:attrNameLst>
                                          <p:attrName>style.rotation</p:attrName>
                                        </p:attrNameLst>
                                      </p:cBhvr>
                                      <p:tavLst>
                                        <p:tav tm="0">
                                          <p:val>
                                            <p:fltVal val="-90"/>
                                          </p:val>
                                        </p:tav>
                                        <p:tav tm="100000">
                                          <p:val>
                                            <p:fltVal val="0"/>
                                          </p:val>
                                        </p:tav>
                                      </p:tavLst>
                                    </p:anim>
                                    <p:anim calcmode="lin" valueType="num">
                                      <p:cBhvr>
                                        <p:cTn id="80" dur="800" decel="100000" fill="hold"/>
                                        <p:tgtEl>
                                          <p:spTgt spid="17"/>
                                        </p:tgtEl>
                                        <p:attrNameLst>
                                          <p:attrName>ppt_x</p:attrName>
                                        </p:attrNameLst>
                                      </p:cBhvr>
                                      <p:tavLst>
                                        <p:tav tm="0">
                                          <p:val>
                                            <p:strVal val="#ppt_x+0.4"/>
                                          </p:val>
                                        </p:tav>
                                        <p:tav tm="100000">
                                          <p:val>
                                            <p:strVal val="#ppt_x-0.05"/>
                                          </p:val>
                                        </p:tav>
                                      </p:tavLst>
                                    </p:anim>
                                    <p:anim calcmode="lin" valueType="num">
                                      <p:cBhvr>
                                        <p:cTn id="81" dur="800" decel="100000" fill="hold"/>
                                        <p:tgtEl>
                                          <p:spTgt spid="17"/>
                                        </p:tgtEl>
                                        <p:attrNameLst>
                                          <p:attrName>ppt_y</p:attrName>
                                        </p:attrNameLst>
                                      </p:cBhvr>
                                      <p:tavLst>
                                        <p:tav tm="0">
                                          <p:val>
                                            <p:strVal val="#ppt_y-0.4"/>
                                          </p:val>
                                        </p:tav>
                                        <p:tav tm="100000">
                                          <p:val>
                                            <p:strVal val="#ppt_y+0.1"/>
                                          </p:val>
                                        </p:tav>
                                      </p:tavLst>
                                    </p:anim>
                                    <p:anim calcmode="lin" valueType="num">
                                      <p:cBhvr>
                                        <p:cTn id="82" dur="200" accel="100000" fill="hold">
                                          <p:stCondLst>
                                            <p:cond delay="800"/>
                                          </p:stCondLst>
                                        </p:cTn>
                                        <p:tgtEl>
                                          <p:spTgt spid="17"/>
                                        </p:tgtEl>
                                        <p:attrNameLst>
                                          <p:attrName>ppt_x</p:attrName>
                                        </p:attrNameLst>
                                      </p:cBhvr>
                                      <p:tavLst>
                                        <p:tav tm="0">
                                          <p:val>
                                            <p:strVal val="#ppt_x-0.05"/>
                                          </p:val>
                                        </p:tav>
                                        <p:tav tm="100000">
                                          <p:val>
                                            <p:strVal val="#ppt_x"/>
                                          </p:val>
                                        </p:tav>
                                      </p:tavLst>
                                    </p:anim>
                                    <p:anim calcmode="lin" valueType="num">
                                      <p:cBhvr>
                                        <p:cTn id="83" dur="200" accel="100000" fill="hold">
                                          <p:stCondLst>
                                            <p:cond delay="800"/>
                                          </p:stCondLst>
                                        </p:cTn>
                                        <p:tgtEl>
                                          <p:spTgt spid="17"/>
                                        </p:tgtEl>
                                        <p:attrNameLst>
                                          <p:attrName>ppt_y</p:attrName>
                                        </p:attrNameLst>
                                      </p:cBhvr>
                                      <p:tavLst>
                                        <p:tav tm="0">
                                          <p:val>
                                            <p:strVal val="#ppt_y+0.1"/>
                                          </p:val>
                                        </p:tav>
                                        <p:tav tm="100000">
                                          <p:val>
                                            <p:strVal val="#ppt_y"/>
                                          </p:val>
                                        </p:tav>
                                      </p:tavLst>
                                    </p:anim>
                                  </p:childTnLst>
                                </p:cTn>
                              </p:par>
                            </p:childTnLst>
                          </p:cTn>
                        </p:par>
                        <p:par>
                          <p:cTn id="84" fill="hold">
                            <p:stCondLst>
                              <p:cond delay="9000"/>
                            </p:stCondLst>
                            <p:childTnLst>
                              <p:par>
                                <p:cTn id="85" presetID="30" presetClass="entr" presetSubtype="0" fill="hold" nodeType="afterEffect">
                                  <p:stCondLst>
                                    <p:cond delay="0"/>
                                  </p:stCondLst>
                                  <p:childTnLst>
                                    <p:set>
                                      <p:cBhvr>
                                        <p:cTn id="86" dur="1" fill="hold">
                                          <p:stCondLst>
                                            <p:cond delay="0"/>
                                          </p:stCondLst>
                                        </p:cTn>
                                        <p:tgtEl>
                                          <p:spTgt spid="1042"/>
                                        </p:tgtEl>
                                        <p:attrNameLst>
                                          <p:attrName>style.visibility</p:attrName>
                                        </p:attrNameLst>
                                      </p:cBhvr>
                                      <p:to>
                                        <p:strVal val="visible"/>
                                      </p:to>
                                    </p:set>
                                    <p:animEffect transition="in" filter="fade">
                                      <p:cBhvr>
                                        <p:cTn id="87" dur="800" decel="100000"/>
                                        <p:tgtEl>
                                          <p:spTgt spid="1042"/>
                                        </p:tgtEl>
                                      </p:cBhvr>
                                    </p:animEffect>
                                    <p:anim calcmode="lin" valueType="num">
                                      <p:cBhvr>
                                        <p:cTn id="88" dur="800" decel="100000" fill="hold"/>
                                        <p:tgtEl>
                                          <p:spTgt spid="1042"/>
                                        </p:tgtEl>
                                        <p:attrNameLst>
                                          <p:attrName>style.rotation</p:attrName>
                                        </p:attrNameLst>
                                      </p:cBhvr>
                                      <p:tavLst>
                                        <p:tav tm="0">
                                          <p:val>
                                            <p:fltVal val="-90"/>
                                          </p:val>
                                        </p:tav>
                                        <p:tav tm="100000">
                                          <p:val>
                                            <p:fltVal val="0"/>
                                          </p:val>
                                        </p:tav>
                                      </p:tavLst>
                                    </p:anim>
                                    <p:anim calcmode="lin" valueType="num">
                                      <p:cBhvr>
                                        <p:cTn id="89" dur="800" decel="100000" fill="hold"/>
                                        <p:tgtEl>
                                          <p:spTgt spid="1042"/>
                                        </p:tgtEl>
                                        <p:attrNameLst>
                                          <p:attrName>ppt_x</p:attrName>
                                        </p:attrNameLst>
                                      </p:cBhvr>
                                      <p:tavLst>
                                        <p:tav tm="0">
                                          <p:val>
                                            <p:strVal val="#ppt_x+0.4"/>
                                          </p:val>
                                        </p:tav>
                                        <p:tav tm="100000">
                                          <p:val>
                                            <p:strVal val="#ppt_x-0.05"/>
                                          </p:val>
                                        </p:tav>
                                      </p:tavLst>
                                    </p:anim>
                                    <p:anim calcmode="lin" valueType="num">
                                      <p:cBhvr>
                                        <p:cTn id="90" dur="800" decel="100000" fill="hold"/>
                                        <p:tgtEl>
                                          <p:spTgt spid="1042"/>
                                        </p:tgtEl>
                                        <p:attrNameLst>
                                          <p:attrName>ppt_y</p:attrName>
                                        </p:attrNameLst>
                                      </p:cBhvr>
                                      <p:tavLst>
                                        <p:tav tm="0">
                                          <p:val>
                                            <p:strVal val="#ppt_y-0.4"/>
                                          </p:val>
                                        </p:tav>
                                        <p:tav tm="100000">
                                          <p:val>
                                            <p:strVal val="#ppt_y+0.1"/>
                                          </p:val>
                                        </p:tav>
                                      </p:tavLst>
                                    </p:anim>
                                    <p:anim calcmode="lin" valueType="num">
                                      <p:cBhvr>
                                        <p:cTn id="91" dur="200" accel="100000" fill="hold">
                                          <p:stCondLst>
                                            <p:cond delay="800"/>
                                          </p:stCondLst>
                                        </p:cTn>
                                        <p:tgtEl>
                                          <p:spTgt spid="1042"/>
                                        </p:tgtEl>
                                        <p:attrNameLst>
                                          <p:attrName>ppt_x</p:attrName>
                                        </p:attrNameLst>
                                      </p:cBhvr>
                                      <p:tavLst>
                                        <p:tav tm="0">
                                          <p:val>
                                            <p:strVal val="#ppt_x-0.05"/>
                                          </p:val>
                                        </p:tav>
                                        <p:tav tm="100000">
                                          <p:val>
                                            <p:strVal val="#ppt_x"/>
                                          </p:val>
                                        </p:tav>
                                      </p:tavLst>
                                    </p:anim>
                                    <p:anim calcmode="lin" valueType="num">
                                      <p:cBhvr>
                                        <p:cTn id="92" dur="200" accel="100000" fill="hold">
                                          <p:stCondLst>
                                            <p:cond delay="800"/>
                                          </p:stCondLst>
                                        </p:cTn>
                                        <p:tgtEl>
                                          <p:spTgt spid="1042"/>
                                        </p:tgtEl>
                                        <p:attrNameLst>
                                          <p:attrName>ppt_y</p:attrName>
                                        </p:attrNameLst>
                                      </p:cBhvr>
                                      <p:tavLst>
                                        <p:tav tm="0">
                                          <p:val>
                                            <p:strVal val="#ppt_y+0.1"/>
                                          </p:val>
                                        </p:tav>
                                        <p:tav tm="100000">
                                          <p:val>
                                            <p:strVal val="#ppt_y"/>
                                          </p:val>
                                        </p:tav>
                                      </p:tavLst>
                                    </p:anim>
                                  </p:childTnLst>
                                </p:cTn>
                              </p:par>
                            </p:childTnLst>
                          </p:cTn>
                        </p:par>
                        <p:par>
                          <p:cTn id="93" fill="hold">
                            <p:stCondLst>
                              <p:cond delay="10000"/>
                            </p:stCondLst>
                            <p:childTnLst>
                              <p:par>
                                <p:cTn id="94" presetID="30" presetClass="entr" presetSubtype="0" fill="hold" nodeType="afterEffect">
                                  <p:stCondLst>
                                    <p:cond delay="0"/>
                                  </p:stCondLst>
                                  <p:childTnLst>
                                    <p:set>
                                      <p:cBhvr>
                                        <p:cTn id="95" dur="1" fill="hold">
                                          <p:stCondLst>
                                            <p:cond delay="0"/>
                                          </p:stCondLst>
                                        </p:cTn>
                                        <p:tgtEl>
                                          <p:spTgt spid="1044"/>
                                        </p:tgtEl>
                                        <p:attrNameLst>
                                          <p:attrName>style.visibility</p:attrName>
                                        </p:attrNameLst>
                                      </p:cBhvr>
                                      <p:to>
                                        <p:strVal val="visible"/>
                                      </p:to>
                                    </p:set>
                                    <p:animEffect transition="in" filter="fade">
                                      <p:cBhvr>
                                        <p:cTn id="96" dur="800" decel="100000"/>
                                        <p:tgtEl>
                                          <p:spTgt spid="1044"/>
                                        </p:tgtEl>
                                      </p:cBhvr>
                                    </p:animEffect>
                                    <p:anim calcmode="lin" valueType="num">
                                      <p:cBhvr>
                                        <p:cTn id="97" dur="800" decel="100000" fill="hold"/>
                                        <p:tgtEl>
                                          <p:spTgt spid="1044"/>
                                        </p:tgtEl>
                                        <p:attrNameLst>
                                          <p:attrName>style.rotation</p:attrName>
                                        </p:attrNameLst>
                                      </p:cBhvr>
                                      <p:tavLst>
                                        <p:tav tm="0">
                                          <p:val>
                                            <p:fltVal val="-90"/>
                                          </p:val>
                                        </p:tav>
                                        <p:tav tm="100000">
                                          <p:val>
                                            <p:fltVal val="0"/>
                                          </p:val>
                                        </p:tav>
                                      </p:tavLst>
                                    </p:anim>
                                    <p:anim calcmode="lin" valueType="num">
                                      <p:cBhvr>
                                        <p:cTn id="98" dur="800" decel="100000" fill="hold"/>
                                        <p:tgtEl>
                                          <p:spTgt spid="1044"/>
                                        </p:tgtEl>
                                        <p:attrNameLst>
                                          <p:attrName>ppt_x</p:attrName>
                                        </p:attrNameLst>
                                      </p:cBhvr>
                                      <p:tavLst>
                                        <p:tav tm="0">
                                          <p:val>
                                            <p:strVal val="#ppt_x+0.4"/>
                                          </p:val>
                                        </p:tav>
                                        <p:tav tm="100000">
                                          <p:val>
                                            <p:strVal val="#ppt_x-0.05"/>
                                          </p:val>
                                        </p:tav>
                                      </p:tavLst>
                                    </p:anim>
                                    <p:anim calcmode="lin" valueType="num">
                                      <p:cBhvr>
                                        <p:cTn id="99" dur="800" decel="100000" fill="hold"/>
                                        <p:tgtEl>
                                          <p:spTgt spid="1044"/>
                                        </p:tgtEl>
                                        <p:attrNameLst>
                                          <p:attrName>ppt_y</p:attrName>
                                        </p:attrNameLst>
                                      </p:cBhvr>
                                      <p:tavLst>
                                        <p:tav tm="0">
                                          <p:val>
                                            <p:strVal val="#ppt_y-0.4"/>
                                          </p:val>
                                        </p:tav>
                                        <p:tav tm="100000">
                                          <p:val>
                                            <p:strVal val="#ppt_y+0.1"/>
                                          </p:val>
                                        </p:tav>
                                      </p:tavLst>
                                    </p:anim>
                                    <p:anim calcmode="lin" valueType="num">
                                      <p:cBhvr>
                                        <p:cTn id="100" dur="200" accel="100000" fill="hold">
                                          <p:stCondLst>
                                            <p:cond delay="800"/>
                                          </p:stCondLst>
                                        </p:cTn>
                                        <p:tgtEl>
                                          <p:spTgt spid="1044"/>
                                        </p:tgtEl>
                                        <p:attrNameLst>
                                          <p:attrName>ppt_x</p:attrName>
                                        </p:attrNameLst>
                                      </p:cBhvr>
                                      <p:tavLst>
                                        <p:tav tm="0">
                                          <p:val>
                                            <p:strVal val="#ppt_x-0.05"/>
                                          </p:val>
                                        </p:tav>
                                        <p:tav tm="100000">
                                          <p:val>
                                            <p:strVal val="#ppt_x"/>
                                          </p:val>
                                        </p:tav>
                                      </p:tavLst>
                                    </p:anim>
                                    <p:anim calcmode="lin" valueType="num">
                                      <p:cBhvr>
                                        <p:cTn id="101" dur="200" accel="100000" fill="hold">
                                          <p:stCondLst>
                                            <p:cond delay="800"/>
                                          </p:stCondLst>
                                        </p:cTn>
                                        <p:tgtEl>
                                          <p:spTgt spid="1044"/>
                                        </p:tgtEl>
                                        <p:attrNameLst>
                                          <p:attrName>ppt_y</p:attrName>
                                        </p:attrNameLst>
                                      </p:cBhvr>
                                      <p:tavLst>
                                        <p:tav tm="0">
                                          <p:val>
                                            <p:strVal val="#ppt_y+0.1"/>
                                          </p:val>
                                        </p:tav>
                                        <p:tav tm="100000">
                                          <p:val>
                                            <p:strVal val="#ppt_y"/>
                                          </p:val>
                                        </p:tav>
                                      </p:tavLst>
                                    </p:anim>
                                  </p:childTnLst>
                                </p:cTn>
                              </p:par>
                            </p:childTnLst>
                          </p:cTn>
                        </p:par>
                        <p:par>
                          <p:cTn id="102" fill="hold">
                            <p:stCondLst>
                              <p:cond delay="11000"/>
                            </p:stCondLst>
                            <p:childTnLst>
                              <p:par>
                                <p:cTn id="103" presetID="30" presetClass="entr" presetSubtype="0" fill="hold" nodeType="afterEffect">
                                  <p:stCondLst>
                                    <p:cond delay="0"/>
                                  </p:stCondLst>
                                  <p:childTnLst>
                                    <p:set>
                                      <p:cBhvr>
                                        <p:cTn id="104" dur="1" fill="hold">
                                          <p:stCondLst>
                                            <p:cond delay="0"/>
                                          </p:stCondLst>
                                        </p:cTn>
                                        <p:tgtEl>
                                          <p:spTgt spid="15"/>
                                        </p:tgtEl>
                                        <p:attrNameLst>
                                          <p:attrName>style.visibility</p:attrName>
                                        </p:attrNameLst>
                                      </p:cBhvr>
                                      <p:to>
                                        <p:strVal val="visible"/>
                                      </p:to>
                                    </p:set>
                                    <p:animEffect transition="in" filter="fade">
                                      <p:cBhvr>
                                        <p:cTn id="105" dur="800" decel="100000"/>
                                        <p:tgtEl>
                                          <p:spTgt spid="15"/>
                                        </p:tgtEl>
                                      </p:cBhvr>
                                    </p:animEffect>
                                    <p:anim calcmode="lin" valueType="num">
                                      <p:cBhvr>
                                        <p:cTn id="106" dur="800" decel="100000" fill="hold"/>
                                        <p:tgtEl>
                                          <p:spTgt spid="15"/>
                                        </p:tgtEl>
                                        <p:attrNameLst>
                                          <p:attrName>style.rotation</p:attrName>
                                        </p:attrNameLst>
                                      </p:cBhvr>
                                      <p:tavLst>
                                        <p:tav tm="0">
                                          <p:val>
                                            <p:fltVal val="-90"/>
                                          </p:val>
                                        </p:tav>
                                        <p:tav tm="100000">
                                          <p:val>
                                            <p:fltVal val="0"/>
                                          </p:val>
                                        </p:tav>
                                      </p:tavLst>
                                    </p:anim>
                                    <p:anim calcmode="lin" valueType="num">
                                      <p:cBhvr>
                                        <p:cTn id="107" dur="800" decel="100000" fill="hold"/>
                                        <p:tgtEl>
                                          <p:spTgt spid="15"/>
                                        </p:tgtEl>
                                        <p:attrNameLst>
                                          <p:attrName>ppt_x</p:attrName>
                                        </p:attrNameLst>
                                      </p:cBhvr>
                                      <p:tavLst>
                                        <p:tav tm="0">
                                          <p:val>
                                            <p:strVal val="#ppt_x+0.4"/>
                                          </p:val>
                                        </p:tav>
                                        <p:tav tm="100000">
                                          <p:val>
                                            <p:strVal val="#ppt_x-0.05"/>
                                          </p:val>
                                        </p:tav>
                                      </p:tavLst>
                                    </p:anim>
                                    <p:anim calcmode="lin" valueType="num">
                                      <p:cBhvr>
                                        <p:cTn id="108" dur="800" decel="100000" fill="hold"/>
                                        <p:tgtEl>
                                          <p:spTgt spid="15"/>
                                        </p:tgtEl>
                                        <p:attrNameLst>
                                          <p:attrName>ppt_y</p:attrName>
                                        </p:attrNameLst>
                                      </p:cBhvr>
                                      <p:tavLst>
                                        <p:tav tm="0">
                                          <p:val>
                                            <p:strVal val="#ppt_y-0.4"/>
                                          </p:val>
                                        </p:tav>
                                        <p:tav tm="100000">
                                          <p:val>
                                            <p:strVal val="#ppt_y+0.1"/>
                                          </p:val>
                                        </p:tav>
                                      </p:tavLst>
                                    </p:anim>
                                    <p:anim calcmode="lin" valueType="num">
                                      <p:cBhvr>
                                        <p:cTn id="109" dur="200" accel="100000" fill="hold">
                                          <p:stCondLst>
                                            <p:cond delay="800"/>
                                          </p:stCondLst>
                                        </p:cTn>
                                        <p:tgtEl>
                                          <p:spTgt spid="15"/>
                                        </p:tgtEl>
                                        <p:attrNameLst>
                                          <p:attrName>ppt_x</p:attrName>
                                        </p:attrNameLst>
                                      </p:cBhvr>
                                      <p:tavLst>
                                        <p:tav tm="0">
                                          <p:val>
                                            <p:strVal val="#ppt_x-0.05"/>
                                          </p:val>
                                        </p:tav>
                                        <p:tav tm="100000">
                                          <p:val>
                                            <p:strVal val="#ppt_x"/>
                                          </p:val>
                                        </p:tav>
                                      </p:tavLst>
                                    </p:anim>
                                    <p:anim calcmode="lin" valueType="num">
                                      <p:cBhvr>
                                        <p:cTn id="110" dur="200" accel="100000" fill="hold">
                                          <p:stCondLst>
                                            <p:cond delay="800"/>
                                          </p:stCondLst>
                                        </p:cTn>
                                        <p:tgtEl>
                                          <p:spTgt spid="15"/>
                                        </p:tgtEl>
                                        <p:attrNameLst>
                                          <p:attrName>ppt_y</p:attrName>
                                        </p:attrNameLst>
                                      </p:cBhvr>
                                      <p:tavLst>
                                        <p:tav tm="0">
                                          <p:val>
                                            <p:strVal val="#ppt_y+0.1"/>
                                          </p:val>
                                        </p:tav>
                                        <p:tav tm="100000">
                                          <p:val>
                                            <p:strVal val="#ppt_y"/>
                                          </p:val>
                                        </p:tav>
                                      </p:tavLst>
                                    </p:anim>
                                  </p:childTnLst>
                                </p:cTn>
                              </p:par>
                            </p:childTnLst>
                          </p:cTn>
                        </p:par>
                        <p:par>
                          <p:cTn id="111" fill="hold">
                            <p:stCondLst>
                              <p:cond delay="12000"/>
                            </p:stCondLst>
                            <p:childTnLst>
                              <p:par>
                                <p:cTn id="112" presetID="30" presetClass="entr" presetSubtype="0" fill="hold" nodeType="afterEffect">
                                  <p:stCondLst>
                                    <p:cond delay="0"/>
                                  </p:stCondLst>
                                  <p:childTnLst>
                                    <p:set>
                                      <p:cBhvr>
                                        <p:cTn id="113" dur="1" fill="hold">
                                          <p:stCondLst>
                                            <p:cond delay="0"/>
                                          </p:stCondLst>
                                        </p:cTn>
                                        <p:tgtEl>
                                          <p:spTgt spid="25"/>
                                        </p:tgtEl>
                                        <p:attrNameLst>
                                          <p:attrName>style.visibility</p:attrName>
                                        </p:attrNameLst>
                                      </p:cBhvr>
                                      <p:to>
                                        <p:strVal val="visible"/>
                                      </p:to>
                                    </p:set>
                                    <p:animEffect transition="in" filter="fade">
                                      <p:cBhvr>
                                        <p:cTn id="114" dur="800" decel="100000"/>
                                        <p:tgtEl>
                                          <p:spTgt spid="25"/>
                                        </p:tgtEl>
                                      </p:cBhvr>
                                    </p:animEffect>
                                    <p:anim calcmode="lin" valueType="num">
                                      <p:cBhvr>
                                        <p:cTn id="115" dur="800" decel="100000" fill="hold"/>
                                        <p:tgtEl>
                                          <p:spTgt spid="25"/>
                                        </p:tgtEl>
                                        <p:attrNameLst>
                                          <p:attrName>style.rotation</p:attrName>
                                        </p:attrNameLst>
                                      </p:cBhvr>
                                      <p:tavLst>
                                        <p:tav tm="0">
                                          <p:val>
                                            <p:fltVal val="-90"/>
                                          </p:val>
                                        </p:tav>
                                        <p:tav tm="100000">
                                          <p:val>
                                            <p:fltVal val="0"/>
                                          </p:val>
                                        </p:tav>
                                      </p:tavLst>
                                    </p:anim>
                                    <p:anim calcmode="lin" valueType="num">
                                      <p:cBhvr>
                                        <p:cTn id="116" dur="800" decel="100000" fill="hold"/>
                                        <p:tgtEl>
                                          <p:spTgt spid="25"/>
                                        </p:tgtEl>
                                        <p:attrNameLst>
                                          <p:attrName>ppt_x</p:attrName>
                                        </p:attrNameLst>
                                      </p:cBhvr>
                                      <p:tavLst>
                                        <p:tav tm="0">
                                          <p:val>
                                            <p:strVal val="#ppt_x+0.4"/>
                                          </p:val>
                                        </p:tav>
                                        <p:tav tm="100000">
                                          <p:val>
                                            <p:strVal val="#ppt_x-0.05"/>
                                          </p:val>
                                        </p:tav>
                                      </p:tavLst>
                                    </p:anim>
                                    <p:anim calcmode="lin" valueType="num">
                                      <p:cBhvr>
                                        <p:cTn id="117" dur="800" decel="100000" fill="hold"/>
                                        <p:tgtEl>
                                          <p:spTgt spid="25"/>
                                        </p:tgtEl>
                                        <p:attrNameLst>
                                          <p:attrName>ppt_y</p:attrName>
                                        </p:attrNameLst>
                                      </p:cBhvr>
                                      <p:tavLst>
                                        <p:tav tm="0">
                                          <p:val>
                                            <p:strVal val="#ppt_y-0.4"/>
                                          </p:val>
                                        </p:tav>
                                        <p:tav tm="100000">
                                          <p:val>
                                            <p:strVal val="#ppt_y+0.1"/>
                                          </p:val>
                                        </p:tav>
                                      </p:tavLst>
                                    </p:anim>
                                    <p:anim calcmode="lin" valueType="num">
                                      <p:cBhvr>
                                        <p:cTn id="118" dur="200" accel="100000" fill="hold">
                                          <p:stCondLst>
                                            <p:cond delay="800"/>
                                          </p:stCondLst>
                                        </p:cTn>
                                        <p:tgtEl>
                                          <p:spTgt spid="25"/>
                                        </p:tgtEl>
                                        <p:attrNameLst>
                                          <p:attrName>ppt_x</p:attrName>
                                        </p:attrNameLst>
                                      </p:cBhvr>
                                      <p:tavLst>
                                        <p:tav tm="0">
                                          <p:val>
                                            <p:strVal val="#ppt_x-0.05"/>
                                          </p:val>
                                        </p:tav>
                                        <p:tav tm="100000">
                                          <p:val>
                                            <p:strVal val="#ppt_x"/>
                                          </p:val>
                                        </p:tav>
                                      </p:tavLst>
                                    </p:anim>
                                    <p:anim calcmode="lin" valueType="num">
                                      <p:cBhvr>
                                        <p:cTn id="119" dur="200" accel="100000" fill="hold">
                                          <p:stCondLst>
                                            <p:cond delay="800"/>
                                          </p:stCondLst>
                                        </p:cTn>
                                        <p:tgtEl>
                                          <p:spTgt spid="25"/>
                                        </p:tgtEl>
                                        <p:attrNameLst>
                                          <p:attrName>ppt_y</p:attrName>
                                        </p:attrNameLst>
                                      </p:cBhvr>
                                      <p:tavLst>
                                        <p:tav tm="0">
                                          <p:val>
                                            <p:strVal val="#ppt_y+0.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p:bldP spid="13" grpId="0"/>
      <p:bldP spid="24" grpId="0"/>
    </p:bld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366168" y="1212851"/>
            <a:ext cx="11484746" cy="2917722"/>
          </a:xfrm>
        </p:spPr>
        <p:txBody>
          <a:bodyPr/>
          <a:lstStyle/>
          <a:p>
            <a:pPr marL="0" indent="0">
              <a:buNone/>
            </a:pPr>
            <a:r>
              <a:rPr lang="en-US" sz="3200" dirty="0"/>
              <a:t>Toolset to create Azure ML experiments include the Azure Machine Learning Studio </a:t>
            </a:r>
          </a:p>
          <a:p>
            <a:r>
              <a:rPr lang="en-US" sz="2000" dirty="0">
                <a:solidFill>
                  <a:schemeClr val="tx1"/>
                </a:solidFill>
                <a:latin typeface="+mn-lt"/>
              </a:rPr>
              <a:t>An </a:t>
            </a:r>
            <a:r>
              <a:rPr lang="en-US" sz="2000" b="1" dirty="0">
                <a:solidFill>
                  <a:schemeClr val="tx1"/>
                </a:solidFill>
                <a:latin typeface="+mn-lt"/>
              </a:rPr>
              <a:t>experiment</a:t>
            </a:r>
            <a:r>
              <a:rPr lang="en-US" sz="2000" dirty="0">
                <a:solidFill>
                  <a:schemeClr val="tx1"/>
                </a:solidFill>
                <a:latin typeface="+mn-lt"/>
              </a:rPr>
              <a:t> consists of dragging components to a canvas, and connecting them in order to create a model, train the model, and score and test the </a:t>
            </a:r>
            <a:r>
              <a:rPr lang="en-US" sz="2000" b="1" dirty="0">
                <a:solidFill>
                  <a:schemeClr val="tx1"/>
                </a:solidFill>
                <a:latin typeface="+mn-lt"/>
              </a:rPr>
              <a:t>model</a:t>
            </a:r>
            <a:endParaRPr lang="en-US" sz="2000" dirty="0">
              <a:solidFill>
                <a:schemeClr val="tx1"/>
              </a:solidFill>
              <a:latin typeface="+mn-lt"/>
            </a:endParaRPr>
          </a:p>
          <a:p>
            <a:r>
              <a:rPr lang="en-US" sz="2000" dirty="0">
                <a:solidFill>
                  <a:schemeClr val="tx1"/>
                </a:solidFill>
                <a:latin typeface="+mn-lt"/>
              </a:rPr>
              <a:t>The </a:t>
            </a:r>
            <a:r>
              <a:rPr lang="en-US" sz="2000" b="1" dirty="0">
                <a:solidFill>
                  <a:schemeClr val="tx1"/>
                </a:solidFill>
                <a:latin typeface="+mn-lt"/>
              </a:rPr>
              <a:t>experiment</a:t>
            </a:r>
            <a:r>
              <a:rPr lang="en-US" sz="2000" dirty="0">
                <a:solidFill>
                  <a:schemeClr val="tx1"/>
                </a:solidFill>
                <a:latin typeface="+mn-lt"/>
              </a:rPr>
              <a:t> uses predictive modeling techniques in the form of Machine Learning Studio </a:t>
            </a:r>
            <a:r>
              <a:rPr lang="en-US" sz="2000" b="1" dirty="0">
                <a:solidFill>
                  <a:schemeClr val="tx1"/>
                </a:solidFill>
                <a:latin typeface="+mn-lt"/>
              </a:rPr>
              <a:t>modules</a:t>
            </a:r>
            <a:r>
              <a:rPr lang="en-US" sz="2000" dirty="0">
                <a:solidFill>
                  <a:schemeClr val="tx1"/>
                </a:solidFill>
                <a:latin typeface="+mn-lt"/>
              </a:rPr>
              <a:t> that ingest data, train a model against it, and apply the model to new data</a:t>
            </a:r>
          </a:p>
          <a:p>
            <a:r>
              <a:rPr lang="en-US" sz="2000" dirty="0">
                <a:solidFill>
                  <a:schemeClr val="tx1"/>
                </a:solidFill>
                <a:latin typeface="+mn-lt"/>
              </a:rPr>
              <a:t>You can also add modules to preprocess data and select features, split data into training and test sets, and evaluate or cross-validate the quality of your model</a:t>
            </a:r>
          </a:p>
        </p:txBody>
      </p:sp>
      <p:sp>
        <p:nvSpPr>
          <p:cNvPr id="2" name="Title 1"/>
          <p:cNvSpPr>
            <a:spLocks noGrp="1"/>
          </p:cNvSpPr>
          <p:nvPr>
            <p:ph type="title"/>
          </p:nvPr>
        </p:nvSpPr>
        <p:spPr/>
        <p:txBody>
          <a:bodyPr/>
          <a:lstStyle/>
          <a:p>
            <a:r>
              <a:rPr lang="en-US" dirty="0"/>
              <a:t>Azure Machine Learning Model</a:t>
            </a:r>
          </a:p>
        </p:txBody>
      </p:sp>
      <p:pic>
        <p:nvPicPr>
          <p:cNvPr id="4" name="Picture 2" descr="https://acomdpsstorage.blob.core.windows.net/dpsmedia-prod/azure.microsoft.com/en-us/documentation/articles/machine-learning-overview-of-azure-ml-process/20150116060111/oamlp1.png"/>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2399937" y="4130573"/>
            <a:ext cx="7417207" cy="280932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3826373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63.xml><?xml version="1.0" encoding="utf-8"?>
<p:sld xmlns:a="http://schemas.openxmlformats.org/drawingml/2006/main" xmlns:r="http://schemas.openxmlformats.org/officeDocument/2006/relationships" xmlns:p="http://schemas.openxmlformats.org/presentationml/2006/main">
  <p:cSld>
    <p:bg>
      <p:bgPr>
        <a:solidFill>
          <a:srgbClr val="6F6F6F"/>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tream Analytics</a:t>
            </a:r>
          </a:p>
        </p:txBody>
      </p:sp>
    </p:spTree>
    <p:extLst>
      <p:ext uri="{BB962C8B-B14F-4D97-AF65-F5344CB8AC3E}">
        <p14:creationId xmlns:p14="http://schemas.microsoft.com/office/powerpoint/2010/main" val="95075704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66168" y="1212851"/>
            <a:ext cx="11702553" cy="4159152"/>
          </a:xfrm>
        </p:spPr>
        <p:txBody>
          <a:bodyPr/>
          <a:lstStyle/>
          <a:p>
            <a:pPr marL="0" indent="0">
              <a:lnSpc>
                <a:spcPct val="114000"/>
              </a:lnSpc>
              <a:buNone/>
            </a:pPr>
            <a:r>
              <a:rPr lang="en-US" sz="2800" dirty="0"/>
              <a:t>Stream Analytics is a real-time stream processing service used to uncover insights from devices, sensors, infrastructure, and applications. Streaming millions of events per second, stream analytics can be used to perform real-time analytics for IoT solutions. Developers can describe their desired event stream processing and transformations using a SQL-like query language. The system abstracts the complexities of the parallelization, distributed computing, and error handling.</a:t>
            </a:r>
          </a:p>
          <a:p>
            <a:pPr marL="0" indent="0">
              <a:lnSpc>
                <a:spcPct val="114000"/>
              </a:lnSpc>
              <a:buNone/>
            </a:pPr>
            <a:endParaRPr lang="en-US" sz="2800" dirty="0"/>
          </a:p>
        </p:txBody>
      </p:sp>
      <p:sp>
        <p:nvSpPr>
          <p:cNvPr id="3" name="Title 2"/>
          <p:cNvSpPr>
            <a:spLocks noGrp="1"/>
          </p:cNvSpPr>
          <p:nvPr>
            <p:ph type="title"/>
          </p:nvPr>
        </p:nvSpPr>
        <p:spPr/>
        <p:txBody>
          <a:bodyPr/>
          <a:lstStyle/>
          <a:p>
            <a:r>
              <a:rPr lang="en-US" dirty="0"/>
              <a:t>Stream Analytics</a:t>
            </a:r>
          </a:p>
        </p:txBody>
      </p:sp>
      <p:pic>
        <p:nvPicPr>
          <p:cNvPr id="5" name="Picture 4"/>
          <p:cNvPicPr>
            <a:picLocks noChangeAspect="1"/>
          </p:cNvPicPr>
          <p:nvPr/>
        </p:nvPicPr>
        <p:blipFill>
          <a:blip r:embed="rId3"/>
          <a:stretch>
            <a:fillRect/>
          </a:stretch>
        </p:blipFill>
        <p:spPr>
          <a:xfrm>
            <a:off x="2636044" y="4952320"/>
            <a:ext cx="6553200" cy="1855134"/>
          </a:xfrm>
          <a:prstGeom prst="rect">
            <a:avLst/>
          </a:prstGeom>
        </p:spPr>
      </p:pic>
    </p:spTree>
    <p:extLst>
      <p:ext uri="{BB962C8B-B14F-4D97-AF65-F5344CB8AC3E}">
        <p14:creationId xmlns:p14="http://schemas.microsoft.com/office/powerpoint/2010/main" val="2244927160"/>
      </p:ext>
    </p:extLst>
  </p:cSld>
  <p:clrMapOvr>
    <a:masterClrMapping/>
  </p:clrMapOvr>
  <p:transition>
    <p:fade/>
  </p:transition>
</p:sld>
</file>

<file path=ppt/slides/slide65.xml><?xml version="1.0" encoding="utf-8"?>
<p:sld xmlns:a="http://schemas.openxmlformats.org/drawingml/2006/main" xmlns:r="http://schemas.openxmlformats.org/officeDocument/2006/relationships" xmlns:p="http://schemas.openxmlformats.org/presentationml/2006/main">
  <p:cSld>
    <p:bg>
      <p:bgPr>
        <a:solidFill>
          <a:srgbClr val="6F6F6F"/>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ata Factory</a:t>
            </a:r>
          </a:p>
        </p:txBody>
      </p:sp>
    </p:spTree>
    <p:extLst>
      <p:ext uri="{BB962C8B-B14F-4D97-AF65-F5344CB8AC3E}">
        <p14:creationId xmlns:p14="http://schemas.microsoft.com/office/powerpoint/2010/main" val="298891971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66168" y="1212851"/>
            <a:ext cx="11702553" cy="2511457"/>
          </a:xfrm>
        </p:spPr>
        <p:txBody>
          <a:bodyPr/>
          <a:lstStyle/>
          <a:p>
            <a:pPr marL="0" indent="0">
              <a:buNone/>
            </a:pPr>
            <a:r>
              <a:rPr lang="en-US" sz="2400" dirty="0"/>
              <a:t>Azure Data Factory is a cloud-based data integration service that orchestrates and automates the movement and transformation of data. It orchestrates existing services that collect raw data and transform it into ready-to-use information. ADF is used to collect data from many different on-premises data sources, ingest and prepare it, organize and analyze it with a range of transformations, then publish ready-to-use data for consumption. Beyond orchestrating the flow of a data pipeline, ADF offers a single unified view to easily pinpoint issues and setup monitoring alerts.</a:t>
            </a:r>
          </a:p>
        </p:txBody>
      </p:sp>
      <p:sp>
        <p:nvSpPr>
          <p:cNvPr id="3" name="Title 2"/>
          <p:cNvSpPr>
            <a:spLocks noGrp="1"/>
          </p:cNvSpPr>
          <p:nvPr>
            <p:ph type="title"/>
          </p:nvPr>
        </p:nvSpPr>
        <p:spPr/>
        <p:txBody>
          <a:bodyPr/>
          <a:lstStyle/>
          <a:p>
            <a:r>
              <a:rPr lang="en-US" dirty="0"/>
              <a:t>Azure Data Factory</a:t>
            </a:r>
          </a:p>
        </p:txBody>
      </p:sp>
      <p:pic>
        <p:nvPicPr>
          <p:cNvPr id="6" name="Picture 5"/>
          <p:cNvPicPr>
            <a:picLocks noChangeAspect="1"/>
          </p:cNvPicPr>
          <p:nvPr/>
        </p:nvPicPr>
        <p:blipFill>
          <a:blip r:embed="rId3"/>
          <a:stretch>
            <a:fillRect/>
          </a:stretch>
        </p:blipFill>
        <p:spPr>
          <a:xfrm>
            <a:off x="1286215" y="3724308"/>
            <a:ext cx="9648700" cy="3048000"/>
          </a:xfrm>
          <a:prstGeom prst="rect">
            <a:avLst/>
          </a:prstGeom>
        </p:spPr>
      </p:pic>
    </p:spTree>
    <p:extLst>
      <p:ext uri="{BB962C8B-B14F-4D97-AF65-F5344CB8AC3E}">
        <p14:creationId xmlns:p14="http://schemas.microsoft.com/office/powerpoint/2010/main" val="1889273219"/>
      </p:ext>
    </p:extLst>
  </p:cSld>
  <p:clrMapOvr>
    <a:masterClrMapping/>
  </p:clrMapOvr>
  <p:transition>
    <p:fade/>
  </p:transition>
</p:sld>
</file>

<file path=ppt/slides/slide67.xml><?xml version="1.0" encoding="utf-8"?>
<p:sld xmlns:a="http://schemas.openxmlformats.org/drawingml/2006/main" xmlns:r="http://schemas.openxmlformats.org/officeDocument/2006/relationships" xmlns:p="http://schemas.openxmlformats.org/presentationml/2006/main">
  <p:cSld>
    <p:bg>
      <p:bgPr>
        <a:solidFill>
          <a:srgbClr val="6F6F6F"/>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zure Data Lake</a:t>
            </a:r>
          </a:p>
        </p:txBody>
      </p:sp>
    </p:spTree>
    <p:extLst>
      <p:ext uri="{BB962C8B-B14F-4D97-AF65-F5344CB8AC3E}">
        <p14:creationId xmlns:p14="http://schemas.microsoft.com/office/powerpoint/2010/main" val="306417535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66168" y="1212851"/>
            <a:ext cx="4866232" cy="5059847"/>
          </a:xfrm>
        </p:spPr>
        <p:txBody>
          <a:bodyPr/>
          <a:lstStyle/>
          <a:p>
            <a:pPr marL="0" indent="0">
              <a:buNone/>
            </a:pPr>
            <a:r>
              <a:rPr lang="en-US" sz="3200" dirty="0"/>
              <a:t>Azure Data Lake Store is an enterprise-wide hyper-scale repository for big data analytic workloads. Azure Data Lake enables you to capture data of any size, type, and ingestion speed in one single place for operational and exploratory analytics.</a:t>
            </a:r>
          </a:p>
        </p:txBody>
      </p:sp>
      <p:sp>
        <p:nvSpPr>
          <p:cNvPr id="3" name="Title 2"/>
          <p:cNvSpPr>
            <a:spLocks noGrp="1"/>
          </p:cNvSpPr>
          <p:nvPr>
            <p:ph type="title"/>
          </p:nvPr>
        </p:nvSpPr>
        <p:spPr/>
        <p:txBody>
          <a:bodyPr/>
          <a:lstStyle/>
          <a:p>
            <a:r>
              <a:rPr lang="en-US" dirty="0"/>
              <a:t>Data Lake Store</a:t>
            </a:r>
          </a:p>
        </p:txBody>
      </p:sp>
      <p:pic>
        <p:nvPicPr>
          <p:cNvPr id="5" name="Picture 4"/>
          <p:cNvPicPr>
            <a:picLocks noChangeAspect="1"/>
          </p:cNvPicPr>
          <p:nvPr/>
        </p:nvPicPr>
        <p:blipFill>
          <a:blip r:embed="rId3"/>
          <a:stretch>
            <a:fillRect/>
          </a:stretch>
        </p:blipFill>
        <p:spPr>
          <a:xfrm>
            <a:off x="5687673" y="1211262"/>
            <a:ext cx="6219825" cy="4900710"/>
          </a:xfrm>
          <a:prstGeom prst="rect">
            <a:avLst/>
          </a:prstGeom>
        </p:spPr>
      </p:pic>
    </p:spTree>
    <p:extLst>
      <p:ext uri="{BB962C8B-B14F-4D97-AF65-F5344CB8AC3E}">
        <p14:creationId xmlns:p14="http://schemas.microsoft.com/office/powerpoint/2010/main" val="2096329580"/>
      </p:ext>
    </p:extLst>
  </p:cSld>
  <p:clrMapOvr>
    <a:masterClrMapping/>
  </p:clrMapOvr>
  <p:transition>
    <p:fade/>
  </p:transition>
</p:sld>
</file>

<file path=ppt/slides/slide69.xml><?xml version="1.0" encoding="utf-8"?>
<p:sld xmlns:a="http://schemas.openxmlformats.org/drawingml/2006/main" xmlns:r="http://schemas.openxmlformats.org/officeDocument/2006/relationships" xmlns:p="http://schemas.openxmlformats.org/presentationml/2006/main">
  <p:cSld>
    <p:bg>
      <p:bgPr>
        <a:solidFill>
          <a:srgbClr val="6F6F6F"/>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zure Data Lake Analytics</a:t>
            </a:r>
          </a:p>
        </p:txBody>
      </p:sp>
    </p:spTree>
    <p:extLst>
      <p:ext uri="{BB962C8B-B14F-4D97-AF65-F5344CB8AC3E}">
        <p14:creationId xmlns:p14="http://schemas.microsoft.com/office/powerpoint/2010/main" val="280674419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Azure Compute Platform Overview</a:t>
            </a:r>
          </a:p>
        </p:txBody>
      </p:sp>
      <p:sp>
        <p:nvSpPr>
          <p:cNvPr id="4" name="Rectangle 3"/>
          <p:cNvSpPr/>
          <p:nvPr/>
        </p:nvSpPr>
        <p:spPr bwMode="auto">
          <a:xfrm>
            <a:off x="1737700" y="6201402"/>
            <a:ext cx="8660206" cy="440804"/>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ctr" anchorCtr="0" forceAA="0" compatLnSpc="1">
            <a:prstTxWarp prst="textNoShape">
              <a:avLst/>
            </a:prstTxWarp>
            <a:noAutofit/>
          </a:bodyPr>
          <a:lstStyle/>
          <a:p>
            <a:pPr marL="0" marR="0" lvl="0" indent="0" algn="ctr" defTabSz="950846" rtl="0" eaLnBrk="1" fontAlgn="base" latinLnBrk="0" hangingPunct="1">
              <a:lnSpc>
                <a:spcPct val="90000"/>
              </a:lnSpc>
              <a:spcBef>
                <a:spcPct val="0"/>
              </a:spcBef>
              <a:spcAft>
                <a:spcPct val="0"/>
              </a:spcAft>
              <a:buClrTx/>
              <a:buSzTx/>
              <a:buFontTx/>
              <a:buNone/>
              <a:tabLst/>
              <a:defRPr/>
            </a:pPr>
            <a:r>
              <a:rPr kumimoji="0" lang="en-US" sz="2040" b="0" i="0" u="none" strike="noStrike" kern="0" cap="none" spc="0" normalizeH="0" baseline="0" noProof="0">
                <a:ln>
                  <a:noFill/>
                </a:ln>
                <a:solidFill>
                  <a:srgbClr val="00188F"/>
                </a:solidFill>
                <a:effectLst/>
                <a:uLnTx/>
                <a:uFillTx/>
                <a:latin typeface="Segoe UI"/>
                <a:ea typeface="Segoe UI" pitchFamily="34" charset="0"/>
                <a:cs typeface="Segoe UI" pitchFamily="34" charset="0"/>
              </a:rPr>
              <a:t>Azure</a:t>
            </a:r>
          </a:p>
        </p:txBody>
      </p:sp>
      <p:sp>
        <p:nvSpPr>
          <p:cNvPr id="6" name="Rectangle 5"/>
          <p:cNvSpPr/>
          <p:nvPr/>
        </p:nvSpPr>
        <p:spPr bwMode="auto">
          <a:xfrm>
            <a:off x="1737699" y="5650343"/>
            <a:ext cx="8660207" cy="440804"/>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ctr" anchorCtr="0" forceAA="0" compatLnSpc="1">
            <a:prstTxWarp prst="textNoShape">
              <a:avLst/>
            </a:prstTxWarp>
            <a:noAutofit/>
          </a:bodyPr>
          <a:lstStyle/>
          <a:p>
            <a:pPr marL="0" marR="0" lvl="0" indent="0" algn="l" defTabSz="950846" rtl="0" eaLnBrk="1" fontAlgn="base" latinLnBrk="0" hangingPunct="1">
              <a:lnSpc>
                <a:spcPct val="90000"/>
              </a:lnSpc>
              <a:spcBef>
                <a:spcPct val="0"/>
              </a:spcBef>
              <a:spcAft>
                <a:spcPct val="0"/>
              </a:spcAft>
              <a:buClrTx/>
              <a:buSzTx/>
              <a:buFontTx/>
              <a:buNone/>
              <a:tabLst/>
              <a:defRPr/>
            </a:pPr>
            <a:r>
              <a:rPr kumimoji="0" lang="en-US" sz="2040" b="0" i="0" u="none" strike="noStrike" kern="0" cap="none" spc="0" normalizeH="0" baseline="0" noProof="0">
                <a:ln>
                  <a:noFill/>
                </a:ln>
                <a:solidFill>
                  <a:srgbClr val="E1EDFF"/>
                </a:solidFill>
                <a:effectLst/>
                <a:uLnTx/>
                <a:uFillTx/>
                <a:latin typeface="Segoe UI"/>
                <a:ea typeface="Segoe UI" pitchFamily="34" charset="0"/>
                <a:cs typeface="Segoe UI" pitchFamily="34" charset="0"/>
              </a:rPr>
              <a:t>Virtual Machines</a:t>
            </a:r>
          </a:p>
        </p:txBody>
      </p:sp>
      <p:sp>
        <p:nvSpPr>
          <p:cNvPr id="7" name="Rectangle 6"/>
          <p:cNvSpPr/>
          <p:nvPr/>
        </p:nvSpPr>
        <p:spPr bwMode="auto">
          <a:xfrm>
            <a:off x="1737698" y="5099282"/>
            <a:ext cx="5124823" cy="440804"/>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ctr" anchorCtr="0" forceAA="0" compatLnSpc="1">
            <a:prstTxWarp prst="textNoShape">
              <a:avLst/>
            </a:prstTxWarp>
            <a:noAutofit/>
          </a:bodyPr>
          <a:lstStyle/>
          <a:p>
            <a:pPr marL="0" marR="0" lvl="0" indent="0" algn="l" defTabSz="950846" rtl="0" eaLnBrk="1" fontAlgn="base" latinLnBrk="0" hangingPunct="1">
              <a:lnSpc>
                <a:spcPct val="90000"/>
              </a:lnSpc>
              <a:spcBef>
                <a:spcPct val="0"/>
              </a:spcBef>
              <a:spcAft>
                <a:spcPct val="0"/>
              </a:spcAft>
              <a:buClrTx/>
              <a:buSzTx/>
              <a:buFontTx/>
              <a:buNone/>
              <a:tabLst/>
              <a:defRPr/>
            </a:pPr>
            <a:r>
              <a:rPr kumimoji="0" lang="en-US" sz="2040" b="0" i="0" u="none" strike="noStrike" kern="0" cap="none" spc="0" normalizeH="0" baseline="0" noProof="0">
                <a:ln>
                  <a:noFill/>
                </a:ln>
                <a:solidFill>
                  <a:srgbClr val="E1EDFF"/>
                </a:solidFill>
                <a:effectLst/>
                <a:uLnTx/>
                <a:uFillTx/>
                <a:latin typeface="Segoe UI"/>
                <a:ea typeface="Segoe UI" pitchFamily="34" charset="0"/>
                <a:cs typeface="Segoe UI" pitchFamily="34" charset="0"/>
              </a:rPr>
              <a:t>VM Scale Sets</a:t>
            </a:r>
          </a:p>
        </p:txBody>
      </p:sp>
      <p:sp>
        <p:nvSpPr>
          <p:cNvPr id="8" name="Rectangle 7"/>
          <p:cNvSpPr/>
          <p:nvPr/>
        </p:nvSpPr>
        <p:spPr bwMode="auto">
          <a:xfrm>
            <a:off x="3489405" y="4308152"/>
            <a:ext cx="1585201" cy="699406"/>
          </a:xfrm>
          <a:prstGeom prst="rect">
            <a:avLst/>
          </a:prstGeom>
          <a:solidFill>
            <a:schemeClr val="accent3">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ctr" anchorCtr="0" forceAA="0" compatLnSpc="1">
            <a:prstTxWarp prst="textNoShape">
              <a:avLst/>
            </a:prstTxWarp>
            <a:noAutofit/>
          </a:bodyPr>
          <a:lstStyle/>
          <a:p>
            <a:pPr marL="0" marR="0" lvl="0" indent="0" algn="ctr" defTabSz="950846" rtl="0" eaLnBrk="1" fontAlgn="base" latinLnBrk="0" hangingPunct="1">
              <a:lnSpc>
                <a:spcPct val="90000"/>
              </a:lnSpc>
              <a:spcBef>
                <a:spcPct val="0"/>
              </a:spcBef>
              <a:spcAft>
                <a:spcPct val="0"/>
              </a:spcAft>
              <a:buClrTx/>
              <a:buSzTx/>
              <a:buFontTx/>
              <a:buNone/>
              <a:tabLst/>
              <a:defRPr/>
            </a:pPr>
            <a:r>
              <a:rPr kumimoji="0" lang="en-US" sz="1428"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Azure Container Service</a:t>
            </a:r>
          </a:p>
        </p:txBody>
      </p:sp>
      <p:sp>
        <p:nvSpPr>
          <p:cNvPr id="9" name="Rectangle 8"/>
          <p:cNvSpPr/>
          <p:nvPr/>
        </p:nvSpPr>
        <p:spPr bwMode="auto">
          <a:xfrm>
            <a:off x="5253552" y="3613343"/>
            <a:ext cx="1585201" cy="1398706"/>
          </a:xfrm>
          <a:prstGeom prst="rect">
            <a:avLst/>
          </a:prstGeom>
          <a:solidFill>
            <a:schemeClr val="accent3">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ctr" anchorCtr="0" forceAA="0" compatLnSpc="1">
            <a:prstTxWarp prst="textNoShape">
              <a:avLst/>
            </a:prstTxWarp>
            <a:noAutofit/>
          </a:bodyPr>
          <a:lstStyle/>
          <a:p>
            <a:pPr marL="0" marR="0" lvl="0" indent="0" algn="ctr" defTabSz="950846" rtl="0" eaLnBrk="1" fontAlgn="base" latinLnBrk="0" hangingPunct="1">
              <a:lnSpc>
                <a:spcPct val="90000"/>
              </a:lnSpc>
              <a:spcBef>
                <a:spcPct val="0"/>
              </a:spcBef>
              <a:spcAft>
                <a:spcPct val="0"/>
              </a:spcAft>
              <a:buClrTx/>
              <a:buSzTx/>
              <a:buFontTx/>
              <a:buNone/>
              <a:tabLst/>
              <a:defRPr/>
            </a:pPr>
            <a:r>
              <a:rPr kumimoji="0" lang="en-US" sz="1836"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Azure Batch</a:t>
            </a:r>
          </a:p>
        </p:txBody>
      </p:sp>
      <p:sp>
        <p:nvSpPr>
          <p:cNvPr id="10" name="Rectangle 9"/>
          <p:cNvSpPr/>
          <p:nvPr/>
        </p:nvSpPr>
        <p:spPr bwMode="auto">
          <a:xfrm>
            <a:off x="1712703" y="3608800"/>
            <a:ext cx="1585201" cy="1398706"/>
          </a:xfrm>
          <a:prstGeom prst="rect">
            <a:avLst/>
          </a:prstGeom>
          <a:solidFill>
            <a:schemeClr val="accent3">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ctr" anchorCtr="0" forceAA="0" compatLnSpc="1">
            <a:prstTxWarp prst="textNoShape">
              <a:avLst/>
            </a:prstTxWarp>
            <a:noAutofit/>
          </a:bodyPr>
          <a:lstStyle/>
          <a:p>
            <a:pPr marL="0" marR="0" lvl="0" indent="0" algn="ctr" defTabSz="950846" rtl="0" eaLnBrk="1" fontAlgn="base" latinLnBrk="0" hangingPunct="1">
              <a:lnSpc>
                <a:spcPct val="90000"/>
              </a:lnSpc>
              <a:spcBef>
                <a:spcPct val="0"/>
              </a:spcBef>
              <a:spcAft>
                <a:spcPct val="0"/>
              </a:spcAft>
              <a:buClrTx/>
              <a:buSzTx/>
              <a:buFontTx/>
              <a:buNone/>
              <a:tabLst/>
              <a:defRPr/>
            </a:pPr>
            <a:r>
              <a:rPr kumimoji="0" lang="en-US" sz="1836"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Azure Service Fabric</a:t>
            </a:r>
          </a:p>
        </p:txBody>
      </p:sp>
      <p:sp>
        <p:nvSpPr>
          <p:cNvPr id="11" name="Rectangle 10"/>
          <p:cNvSpPr/>
          <p:nvPr/>
        </p:nvSpPr>
        <p:spPr bwMode="auto">
          <a:xfrm>
            <a:off x="7047134" y="3612328"/>
            <a:ext cx="1585201" cy="1946071"/>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ctr" anchorCtr="0" forceAA="0" compatLnSpc="1">
            <a:prstTxWarp prst="textNoShape">
              <a:avLst/>
            </a:prstTxWarp>
            <a:noAutofit/>
          </a:bodyPr>
          <a:lstStyle/>
          <a:p>
            <a:pPr marL="0" marR="0" lvl="0" indent="0" algn="ctr" defTabSz="950846" rtl="0" eaLnBrk="1" fontAlgn="base" latinLnBrk="0" hangingPunct="1">
              <a:lnSpc>
                <a:spcPct val="90000"/>
              </a:lnSpc>
              <a:spcBef>
                <a:spcPct val="0"/>
              </a:spcBef>
              <a:spcAft>
                <a:spcPct val="0"/>
              </a:spcAft>
              <a:buClrTx/>
              <a:buSzTx/>
              <a:buFontTx/>
              <a:buNone/>
              <a:tabLst/>
              <a:defRPr/>
            </a:pPr>
            <a:r>
              <a:rPr kumimoji="0" lang="en-US" sz="1836"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Cloud Foundry (general, Pivotal)</a:t>
            </a:r>
          </a:p>
        </p:txBody>
      </p:sp>
      <p:sp>
        <p:nvSpPr>
          <p:cNvPr id="12" name="Rectangle 11"/>
          <p:cNvSpPr/>
          <p:nvPr/>
        </p:nvSpPr>
        <p:spPr bwMode="auto">
          <a:xfrm>
            <a:off x="3489405" y="3612328"/>
            <a:ext cx="773952" cy="652730"/>
          </a:xfrm>
          <a:prstGeom prst="rect">
            <a:avLst/>
          </a:prstGeom>
          <a:solidFill>
            <a:schemeClr val="accent3">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149196" rIns="93247" bIns="149196" numCol="1" spcCol="0" rtlCol="0" fromWordArt="0" anchor="ctr" anchorCtr="0" forceAA="0" compatLnSpc="1">
            <a:prstTxWarp prst="textNoShape">
              <a:avLst/>
            </a:prstTxWarp>
            <a:noAutofit/>
          </a:bodyPr>
          <a:lstStyle/>
          <a:p>
            <a:pPr marL="0" marR="0" lvl="0" indent="0" algn="ctr" defTabSz="950846" rtl="0" eaLnBrk="1" fontAlgn="base" latinLnBrk="0" hangingPunct="1">
              <a:lnSpc>
                <a:spcPct val="90000"/>
              </a:lnSpc>
              <a:spcBef>
                <a:spcPct val="0"/>
              </a:spcBef>
              <a:spcAft>
                <a:spcPct val="0"/>
              </a:spcAft>
              <a:buClrTx/>
              <a:buSzTx/>
              <a:buFontTx/>
              <a:buNone/>
              <a:tabLst/>
              <a:defRPr/>
            </a:pPr>
            <a:r>
              <a:rPr kumimoji="0" lang="en-US" sz="1122"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Semibold" panose="020B0702040204020203" pitchFamily="34" charset="0"/>
              </a:rPr>
              <a:t>DC/OS</a:t>
            </a:r>
          </a:p>
        </p:txBody>
      </p:sp>
      <p:sp>
        <p:nvSpPr>
          <p:cNvPr id="13" name="Rectangle 12"/>
          <p:cNvSpPr/>
          <p:nvPr/>
        </p:nvSpPr>
        <p:spPr bwMode="auto">
          <a:xfrm>
            <a:off x="4300656" y="3612328"/>
            <a:ext cx="773952" cy="652730"/>
          </a:xfrm>
          <a:prstGeom prst="rect">
            <a:avLst/>
          </a:prstGeom>
          <a:solidFill>
            <a:schemeClr val="accent3">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149196" rIns="93247" bIns="149196" numCol="1" spcCol="0" rtlCol="0" fromWordArt="0" anchor="ctr" anchorCtr="0" forceAA="0" compatLnSpc="1">
            <a:prstTxWarp prst="textNoShape">
              <a:avLst/>
            </a:prstTxWarp>
            <a:noAutofit/>
          </a:bodyPr>
          <a:lstStyle/>
          <a:p>
            <a:pPr marL="0" marR="0" lvl="0" indent="0" algn="ctr" defTabSz="950846" rtl="0" eaLnBrk="1" fontAlgn="base" latinLnBrk="0" hangingPunct="1">
              <a:lnSpc>
                <a:spcPct val="90000"/>
              </a:lnSpc>
              <a:spcBef>
                <a:spcPct val="0"/>
              </a:spcBef>
              <a:spcAft>
                <a:spcPct val="0"/>
              </a:spcAft>
              <a:buClrTx/>
              <a:buSzTx/>
              <a:buFontTx/>
              <a:buNone/>
              <a:tabLst/>
              <a:defRPr/>
            </a:pPr>
            <a:r>
              <a:rPr kumimoji="0" lang="en-US" sz="1122"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Docker Swarm</a:t>
            </a:r>
          </a:p>
        </p:txBody>
      </p:sp>
      <p:sp>
        <p:nvSpPr>
          <p:cNvPr id="14" name="Rectangle 13"/>
          <p:cNvSpPr/>
          <p:nvPr/>
        </p:nvSpPr>
        <p:spPr bwMode="auto">
          <a:xfrm>
            <a:off x="4585974" y="5209591"/>
            <a:ext cx="2187069" cy="764627"/>
          </a:xfrm>
          <a:prstGeom prst="rect">
            <a:avLst/>
          </a:prstGeom>
          <a:solidFill>
            <a:schemeClr val="accent1">
              <a:lumMod val="50000"/>
              <a:alpha val="85000"/>
            </a:schemeClr>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ctr" anchorCtr="0" forceAA="0" compatLnSpc="1">
            <a:prstTxWarp prst="textNoShape">
              <a:avLst/>
            </a:prstTxWarp>
            <a:noAutofit/>
          </a:bodyPr>
          <a:lstStyle/>
          <a:p>
            <a:pPr marL="0" marR="0" lvl="0" indent="0" algn="ctr" defTabSz="950846" rtl="0" eaLnBrk="1" fontAlgn="base" latinLnBrk="0" hangingPunct="1">
              <a:lnSpc>
                <a:spcPct val="90000"/>
              </a:lnSpc>
              <a:spcBef>
                <a:spcPct val="0"/>
              </a:spcBef>
              <a:spcAft>
                <a:spcPct val="0"/>
              </a:spcAft>
              <a:buClrTx/>
              <a:buSzTx/>
              <a:buFontTx/>
              <a:buNone/>
              <a:tabLst/>
              <a:defRPr/>
            </a:pPr>
            <a:r>
              <a:rPr kumimoji="0" lang="en-US" sz="1836"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VM Extensions</a:t>
            </a:r>
          </a:p>
        </p:txBody>
      </p:sp>
      <p:sp>
        <p:nvSpPr>
          <p:cNvPr id="15" name="Rectangle 14"/>
          <p:cNvSpPr/>
          <p:nvPr/>
        </p:nvSpPr>
        <p:spPr bwMode="auto">
          <a:xfrm>
            <a:off x="8812704" y="3594015"/>
            <a:ext cx="1585201" cy="1946071"/>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ctr" anchorCtr="0" forceAA="0" compatLnSpc="1">
            <a:prstTxWarp prst="textNoShape">
              <a:avLst/>
            </a:prstTxWarp>
            <a:noAutofit/>
          </a:bodyPr>
          <a:lstStyle/>
          <a:p>
            <a:pPr marL="0" marR="0" lvl="0" indent="0" algn="ctr" defTabSz="950846" rtl="0" eaLnBrk="1" fontAlgn="base" latinLnBrk="0" hangingPunct="1">
              <a:lnSpc>
                <a:spcPct val="90000"/>
              </a:lnSpc>
              <a:spcBef>
                <a:spcPct val="0"/>
              </a:spcBef>
              <a:spcAft>
                <a:spcPct val="0"/>
              </a:spcAft>
              <a:buClrTx/>
              <a:buSzTx/>
              <a:buFontTx/>
              <a:buNone/>
              <a:tabLst/>
              <a:defRPr/>
            </a:pPr>
            <a:r>
              <a:rPr kumimoji="0" lang="en-US" sz="1836"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Others: </a:t>
            </a:r>
            <a:r>
              <a:rPr kumimoji="0" lang="en-US" sz="1836"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OpenShift</a:t>
            </a:r>
            <a:r>
              <a:rPr kumimoji="0" lang="en-US" sz="1836"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 Kubernetes, </a:t>
            </a:r>
            <a:r>
              <a:rPr kumimoji="0" lang="en-US" sz="1836"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Jelastic</a:t>
            </a:r>
            <a:r>
              <a:rPr kumimoji="0" lang="en-US" sz="1836"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 </a:t>
            </a:r>
            <a:r>
              <a:rPr kumimoji="0" lang="en-US" sz="1836"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Apprenda</a:t>
            </a:r>
            <a:endParaRPr kumimoji="0" lang="en-US" sz="1836"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6" name="Rectangle 15"/>
          <p:cNvSpPr/>
          <p:nvPr/>
        </p:nvSpPr>
        <p:spPr bwMode="auto">
          <a:xfrm>
            <a:off x="1712703" y="1868377"/>
            <a:ext cx="1585201" cy="1398706"/>
          </a:xfrm>
          <a:prstGeom prst="rect">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ctr" anchorCtr="0" forceAA="0" compatLnSpc="1">
            <a:prstTxWarp prst="textNoShape">
              <a:avLst/>
            </a:prstTxWarp>
            <a:noAutofit/>
          </a:bodyPr>
          <a:lstStyle/>
          <a:p>
            <a:pPr marL="0" marR="0" lvl="0" indent="0" algn="ctr" defTabSz="950846" rtl="0" eaLnBrk="1" fontAlgn="base" latinLnBrk="0" hangingPunct="1">
              <a:lnSpc>
                <a:spcPct val="90000"/>
              </a:lnSpc>
              <a:spcBef>
                <a:spcPct val="0"/>
              </a:spcBef>
              <a:spcAft>
                <a:spcPct val="0"/>
              </a:spcAft>
              <a:buClrTx/>
              <a:buSzTx/>
              <a:buFontTx/>
              <a:buNone/>
              <a:tabLst/>
              <a:defRPr/>
            </a:pPr>
            <a:r>
              <a:rPr kumimoji="0" lang="en-US" sz="1836" b="0" i="0" u="none" strike="noStrike" kern="0" cap="none" spc="0" normalizeH="0" baseline="0" noProof="0">
                <a:ln>
                  <a:noFill/>
                </a:ln>
                <a:solidFill>
                  <a:srgbClr val="FFFFFF"/>
                </a:solidFill>
                <a:effectLst/>
                <a:uLnTx/>
                <a:uFillTx/>
                <a:latin typeface="Segoe UI"/>
                <a:ea typeface="Segoe UI" pitchFamily="34" charset="0"/>
                <a:cs typeface="Segoe UI" pitchFamily="34" charset="0"/>
              </a:rPr>
              <a:t>Service Fabric Apps</a:t>
            </a:r>
          </a:p>
        </p:txBody>
      </p:sp>
      <p:sp>
        <p:nvSpPr>
          <p:cNvPr id="17" name="Rectangle 16"/>
          <p:cNvSpPr/>
          <p:nvPr/>
        </p:nvSpPr>
        <p:spPr bwMode="auto">
          <a:xfrm>
            <a:off x="3371011" y="2581714"/>
            <a:ext cx="3455947" cy="710080"/>
          </a:xfrm>
          <a:prstGeom prst="rect">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ctr" anchorCtr="0" forceAA="0" compatLnSpc="1">
            <a:prstTxWarp prst="textNoShape">
              <a:avLst/>
            </a:prstTxWarp>
            <a:noAutofit/>
          </a:bodyPr>
          <a:lstStyle/>
          <a:p>
            <a:pPr marL="0" marR="0" lvl="0" indent="0" algn="ctr" defTabSz="950846" rtl="0" eaLnBrk="1" fontAlgn="base" latinLnBrk="0" hangingPunct="1">
              <a:lnSpc>
                <a:spcPct val="90000"/>
              </a:lnSpc>
              <a:spcBef>
                <a:spcPct val="0"/>
              </a:spcBef>
              <a:spcAft>
                <a:spcPct val="0"/>
              </a:spcAft>
              <a:buClrTx/>
              <a:buSzTx/>
              <a:buFontTx/>
              <a:buNone/>
              <a:tabLst/>
              <a:defRPr/>
            </a:pPr>
            <a:r>
              <a:rPr kumimoji="0" lang="en-US" sz="1836" b="0" i="0" u="none" strike="noStrike" kern="0" cap="none" spc="0" normalizeH="0" baseline="0" noProof="0">
                <a:ln>
                  <a:noFill/>
                </a:ln>
                <a:solidFill>
                  <a:srgbClr val="FFFFFF"/>
                </a:solidFill>
                <a:effectLst/>
                <a:uLnTx/>
                <a:uFillTx/>
                <a:latin typeface="Segoe UI"/>
                <a:ea typeface="Segoe UI" pitchFamily="34" charset="0"/>
                <a:cs typeface="Segoe UI" pitchFamily="34" charset="0"/>
              </a:rPr>
              <a:t>App Service</a:t>
            </a:r>
          </a:p>
        </p:txBody>
      </p:sp>
      <p:sp>
        <p:nvSpPr>
          <p:cNvPr id="18" name="Rectangle 17"/>
          <p:cNvSpPr/>
          <p:nvPr/>
        </p:nvSpPr>
        <p:spPr bwMode="auto">
          <a:xfrm>
            <a:off x="7047134" y="1893089"/>
            <a:ext cx="1585201" cy="1398706"/>
          </a:xfrm>
          <a:prstGeom prst="rect">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ctr" anchorCtr="0" forceAA="0" compatLnSpc="1">
            <a:prstTxWarp prst="textNoShape">
              <a:avLst/>
            </a:prstTxWarp>
            <a:noAutofit/>
          </a:bodyPr>
          <a:lstStyle/>
          <a:p>
            <a:pPr marL="0" marR="0" lvl="0" indent="0" algn="ctr" defTabSz="950846" rtl="0" eaLnBrk="1" fontAlgn="base" latinLnBrk="0" hangingPunct="1">
              <a:lnSpc>
                <a:spcPct val="90000"/>
              </a:lnSpc>
              <a:spcBef>
                <a:spcPct val="0"/>
              </a:spcBef>
              <a:spcAft>
                <a:spcPct val="0"/>
              </a:spcAft>
              <a:buClrTx/>
              <a:buSzTx/>
              <a:buFontTx/>
              <a:buNone/>
              <a:tabLst/>
              <a:defRPr/>
            </a:pPr>
            <a:r>
              <a:rPr kumimoji="0" lang="en-US" sz="1836" b="0" i="0" u="none" strike="noStrike" kern="0" cap="none" spc="0" normalizeH="0" baseline="0" noProof="0">
                <a:ln>
                  <a:noFill/>
                </a:ln>
                <a:solidFill>
                  <a:srgbClr val="FFFFFF"/>
                </a:solidFill>
                <a:effectLst/>
                <a:uLnTx/>
                <a:uFillTx/>
                <a:latin typeface="Segoe UI"/>
                <a:ea typeface="Segoe UI" pitchFamily="34" charset="0"/>
                <a:cs typeface="Segoe UI" pitchFamily="34" charset="0"/>
              </a:rPr>
              <a:t>Media Services</a:t>
            </a:r>
          </a:p>
        </p:txBody>
      </p:sp>
      <p:sp>
        <p:nvSpPr>
          <p:cNvPr id="19" name="Rectangle 18"/>
          <p:cNvSpPr/>
          <p:nvPr/>
        </p:nvSpPr>
        <p:spPr bwMode="auto">
          <a:xfrm>
            <a:off x="3371011" y="1897579"/>
            <a:ext cx="1129800" cy="599798"/>
          </a:xfrm>
          <a:prstGeom prst="rect">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ctr" anchorCtr="0" forceAA="0" compatLnSpc="1">
            <a:prstTxWarp prst="textNoShape">
              <a:avLst/>
            </a:prstTxWarp>
            <a:noAutofit/>
          </a:bodyPr>
          <a:lstStyle/>
          <a:p>
            <a:pPr marL="0" marR="0" lvl="0" indent="0" algn="ctr" defTabSz="950846" rtl="0" eaLnBrk="1" fontAlgn="base" latinLnBrk="0" hangingPunct="1">
              <a:lnSpc>
                <a:spcPct val="90000"/>
              </a:lnSpc>
              <a:spcBef>
                <a:spcPct val="0"/>
              </a:spcBef>
              <a:spcAft>
                <a:spcPct val="0"/>
              </a:spcAft>
              <a:buClrTx/>
              <a:buSzTx/>
              <a:buFontTx/>
              <a:buNone/>
              <a:tabLst/>
              <a:defRPr/>
            </a:pPr>
            <a:r>
              <a:rPr kumimoji="0" lang="en-US" sz="1224" b="0" i="0" u="none" strike="noStrike" kern="0" cap="none" spc="0" normalizeH="0" baseline="0" noProof="0">
                <a:ln>
                  <a:noFill/>
                </a:ln>
                <a:solidFill>
                  <a:srgbClr val="FFFFFF"/>
                </a:solidFill>
                <a:effectLst/>
                <a:uLnTx/>
                <a:uFillTx/>
                <a:latin typeface="Segoe UI"/>
                <a:ea typeface="Segoe UI" pitchFamily="34" charset="0"/>
                <a:cs typeface="Segoe UI" pitchFamily="34" charset="0"/>
              </a:rPr>
              <a:t>Power</a:t>
            </a:r>
          </a:p>
          <a:p>
            <a:pPr marL="0" marR="0" lvl="0" indent="0" algn="ctr" defTabSz="950846" rtl="0" eaLnBrk="1" fontAlgn="base" latinLnBrk="0" hangingPunct="1">
              <a:lnSpc>
                <a:spcPct val="90000"/>
              </a:lnSpc>
              <a:spcBef>
                <a:spcPct val="0"/>
              </a:spcBef>
              <a:spcAft>
                <a:spcPct val="0"/>
              </a:spcAft>
              <a:buClrTx/>
              <a:buSzTx/>
              <a:buFontTx/>
              <a:buNone/>
              <a:tabLst/>
              <a:defRPr/>
            </a:pPr>
            <a:r>
              <a:rPr kumimoji="0" lang="en-US" sz="1224" b="0" i="0" u="none" strike="noStrike" kern="0" cap="none" spc="0" normalizeH="0" baseline="0" noProof="0">
                <a:ln>
                  <a:noFill/>
                </a:ln>
                <a:solidFill>
                  <a:srgbClr val="FFFFFF"/>
                </a:solidFill>
                <a:effectLst/>
                <a:uLnTx/>
                <a:uFillTx/>
                <a:latin typeface="Segoe UI"/>
                <a:ea typeface="Segoe UI" pitchFamily="34" charset="0"/>
                <a:cs typeface="Segoe UI" pitchFamily="34" charset="0"/>
              </a:rPr>
              <a:t>Apps</a:t>
            </a:r>
          </a:p>
        </p:txBody>
      </p:sp>
      <p:sp>
        <p:nvSpPr>
          <p:cNvPr id="20" name="Rectangle 19"/>
          <p:cNvSpPr/>
          <p:nvPr/>
        </p:nvSpPr>
        <p:spPr bwMode="auto">
          <a:xfrm>
            <a:off x="4542009" y="1896879"/>
            <a:ext cx="1125088" cy="602379"/>
          </a:xfrm>
          <a:prstGeom prst="rect">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ctr" anchorCtr="0" forceAA="0" compatLnSpc="1">
            <a:prstTxWarp prst="textNoShape">
              <a:avLst/>
            </a:prstTxWarp>
            <a:noAutofit/>
          </a:bodyPr>
          <a:lstStyle/>
          <a:p>
            <a:pPr marL="0" marR="0" lvl="0" indent="0" algn="ctr" defTabSz="950846" rtl="0" eaLnBrk="1" fontAlgn="base" latinLnBrk="0" hangingPunct="1">
              <a:lnSpc>
                <a:spcPct val="90000"/>
              </a:lnSpc>
              <a:spcBef>
                <a:spcPct val="0"/>
              </a:spcBef>
              <a:spcAft>
                <a:spcPct val="0"/>
              </a:spcAft>
              <a:buClrTx/>
              <a:buSzTx/>
              <a:buFontTx/>
              <a:buNone/>
              <a:tabLst/>
              <a:defRPr/>
            </a:pPr>
            <a:r>
              <a:rPr kumimoji="0" lang="en-US" sz="1224" b="0" i="0" u="none" strike="noStrike" kern="0" cap="none" spc="0" normalizeH="0" baseline="0" noProof="0">
                <a:ln>
                  <a:noFill/>
                </a:ln>
                <a:solidFill>
                  <a:srgbClr val="FFFFFF"/>
                </a:solidFill>
                <a:effectLst/>
                <a:uLnTx/>
                <a:uFillTx/>
                <a:latin typeface="Segoe UI"/>
                <a:ea typeface="Segoe UI" pitchFamily="34" charset="0"/>
                <a:cs typeface="Segoe UI" pitchFamily="34" charset="0"/>
              </a:rPr>
              <a:t>Azure Functions</a:t>
            </a:r>
          </a:p>
        </p:txBody>
      </p:sp>
      <p:sp>
        <p:nvSpPr>
          <p:cNvPr id="21" name="Rectangle 20"/>
          <p:cNvSpPr/>
          <p:nvPr/>
        </p:nvSpPr>
        <p:spPr bwMode="auto">
          <a:xfrm>
            <a:off x="8812704" y="1893089"/>
            <a:ext cx="1585201" cy="1398706"/>
          </a:xfrm>
          <a:prstGeom prst="rect">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ctr" anchorCtr="0" forceAA="0" compatLnSpc="1">
            <a:prstTxWarp prst="textNoShape">
              <a:avLst/>
            </a:prstTxWarp>
            <a:noAutofit/>
          </a:bodyPr>
          <a:lstStyle/>
          <a:p>
            <a:pPr marL="0" marR="0" lvl="0" indent="0" algn="ctr" defTabSz="950846" rtl="0" eaLnBrk="1" fontAlgn="base" latinLnBrk="0" hangingPunct="1">
              <a:lnSpc>
                <a:spcPct val="90000"/>
              </a:lnSpc>
              <a:spcBef>
                <a:spcPct val="0"/>
              </a:spcBef>
              <a:spcAft>
                <a:spcPct val="0"/>
              </a:spcAft>
              <a:buClrTx/>
              <a:buSzTx/>
              <a:buFontTx/>
              <a:buNone/>
              <a:tabLst/>
              <a:defRPr/>
            </a:pPr>
            <a:r>
              <a:rPr kumimoji="0" lang="en-US" sz="1836" b="0" i="0" u="none" strike="noStrike" kern="0" cap="none" spc="0" normalizeH="0" baseline="0" noProof="0">
                <a:ln>
                  <a:noFill/>
                </a:ln>
                <a:solidFill>
                  <a:srgbClr val="FFFFFF"/>
                </a:solidFill>
                <a:effectLst/>
                <a:uLnTx/>
                <a:uFillTx/>
                <a:latin typeface="Segoe UI"/>
                <a:ea typeface="Segoe UI" pitchFamily="34" charset="0"/>
                <a:cs typeface="Segoe UI" pitchFamily="34" charset="0"/>
              </a:rPr>
              <a:t>Stream Analytics</a:t>
            </a:r>
          </a:p>
        </p:txBody>
      </p:sp>
      <p:cxnSp>
        <p:nvCxnSpPr>
          <p:cNvPr id="25" name="Straight Connector 24"/>
          <p:cNvCxnSpPr/>
          <p:nvPr/>
        </p:nvCxnSpPr>
        <p:spPr>
          <a:xfrm flipV="1">
            <a:off x="1737698" y="3421074"/>
            <a:ext cx="8660208" cy="269"/>
          </a:xfrm>
          <a:prstGeom prst="line">
            <a:avLst/>
          </a:prstGeom>
          <a:ln w="19050">
            <a:solidFill>
              <a:srgbClr val="FF0000"/>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9" name="TextBox 28"/>
          <p:cNvSpPr txBox="1"/>
          <p:nvPr/>
        </p:nvSpPr>
        <p:spPr>
          <a:xfrm>
            <a:off x="10513767" y="1893087"/>
            <a:ext cx="1763205" cy="809779"/>
          </a:xfrm>
          <a:prstGeom prst="rect">
            <a:avLst/>
          </a:prstGeom>
          <a:noFill/>
        </p:spPr>
        <p:txBody>
          <a:bodyPr wrap="square" lIns="186494" tIns="149196" rIns="186494" bIns="149196" rtlCol="0">
            <a:spAutoFit/>
          </a:bodyPr>
          <a:lstStyle/>
          <a:p>
            <a:pPr marL="0" marR="0" lvl="0" indent="0" algn="ctr" defTabSz="932597" rtl="0" eaLnBrk="1" fontAlgn="auto" latinLnBrk="0" hangingPunct="1">
              <a:lnSpc>
                <a:spcPct val="90000"/>
              </a:lnSpc>
              <a:spcBef>
                <a:spcPts val="0"/>
              </a:spcBef>
              <a:spcAft>
                <a:spcPts val="612"/>
              </a:spcAft>
              <a:buClrTx/>
              <a:buSzTx/>
              <a:buFontTx/>
              <a:buNone/>
              <a:tabLst/>
              <a:defRPr/>
            </a:pPr>
            <a:r>
              <a:rPr kumimoji="0" lang="en-US" sz="1836" b="0" i="0" u="none" strike="noStrike" kern="0" cap="none" spc="0" normalizeH="0" baseline="0" noProof="0">
                <a:ln>
                  <a:noFill/>
                </a:ln>
                <a:solidFill>
                  <a:srgbClr val="FFFFFF"/>
                </a:solidFill>
                <a:effectLst/>
                <a:uLnTx/>
                <a:uFillTx/>
                <a:latin typeface="Segoe UI"/>
                <a:ea typeface="+mn-ea"/>
                <a:cs typeface="+mn-cs"/>
              </a:rPr>
              <a:t>Rapid Development</a:t>
            </a:r>
          </a:p>
        </p:txBody>
      </p:sp>
      <p:sp>
        <p:nvSpPr>
          <p:cNvPr id="30" name="TextBox 29"/>
          <p:cNvSpPr txBox="1"/>
          <p:nvPr/>
        </p:nvSpPr>
        <p:spPr>
          <a:xfrm>
            <a:off x="10513767" y="5682527"/>
            <a:ext cx="1763205" cy="555531"/>
          </a:xfrm>
          <a:prstGeom prst="rect">
            <a:avLst/>
          </a:prstGeom>
          <a:noFill/>
        </p:spPr>
        <p:txBody>
          <a:bodyPr wrap="square" lIns="186494" tIns="149196" rIns="186494" bIns="149196" rtlCol="0">
            <a:spAutoFit/>
          </a:bodyPr>
          <a:lstStyle/>
          <a:p>
            <a:pPr marL="0" marR="0" lvl="0" indent="0" algn="ctr" defTabSz="932597" rtl="0" eaLnBrk="1" fontAlgn="auto" latinLnBrk="0" hangingPunct="1">
              <a:lnSpc>
                <a:spcPct val="90000"/>
              </a:lnSpc>
              <a:spcBef>
                <a:spcPts val="0"/>
              </a:spcBef>
              <a:spcAft>
                <a:spcPts val="612"/>
              </a:spcAft>
              <a:buClrTx/>
              <a:buSzTx/>
              <a:buFontTx/>
              <a:buNone/>
              <a:tabLst/>
              <a:defRPr/>
            </a:pPr>
            <a:r>
              <a:rPr kumimoji="0" lang="en-US" sz="1836" b="0" i="0" u="none" strike="noStrike" kern="0" cap="none" spc="0" normalizeH="0" baseline="0" noProof="0">
                <a:ln>
                  <a:noFill/>
                </a:ln>
                <a:solidFill>
                  <a:srgbClr val="FFFFFF"/>
                </a:solidFill>
                <a:effectLst/>
                <a:uLnTx/>
                <a:uFillTx/>
                <a:latin typeface="Segoe UI"/>
                <a:ea typeface="+mn-ea"/>
                <a:cs typeface="+mn-cs"/>
              </a:rPr>
              <a:t>High Control</a:t>
            </a:r>
          </a:p>
        </p:txBody>
      </p:sp>
      <p:sp>
        <p:nvSpPr>
          <p:cNvPr id="31" name="Up-Down Arrow 30"/>
          <p:cNvSpPr/>
          <p:nvPr/>
        </p:nvSpPr>
        <p:spPr bwMode="auto">
          <a:xfrm>
            <a:off x="11164126" y="3040126"/>
            <a:ext cx="466235" cy="2294643"/>
          </a:xfrm>
          <a:prstGeom prst="upDownArrow">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marL="0" marR="0" lvl="0" indent="0" algn="ctr" defTabSz="950846" rtl="0"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6" name="Rectangle 35"/>
          <p:cNvSpPr/>
          <p:nvPr/>
        </p:nvSpPr>
        <p:spPr bwMode="auto">
          <a:xfrm>
            <a:off x="5701870" y="1893088"/>
            <a:ext cx="1125088" cy="602379"/>
          </a:xfrm>
          <a:prstGeom prst="rect">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ctr" anchorCtr="0" forceAA="0" compatLnSpc="1">
            <a:prstTxWarp prst="textNoShape">
              <a:avLst/>
            </a:prstTxWarp>
            <a:noAutofit/>
          </a:bodyPr>
          <a:lstStyle/>
          <a:p>
            <a:pPr marL="0" marR="0" lvl="0" indent="0" algn="ctr" defTabSz="950846" rtl="0" eaLnBrk="1" fontAlgn="base" latinLnBrk="0" hangingPunct="1">
              <a:lnSpc>
                <a:spcPct val="90000"/>
              </a:lnSpc>
              <a:spcBef>
                <a:spcPct val="0"/>
              </a:spcBef>
              <a:spcAft>
                <a:spcPct val="0"/>
              </a:spcAft>
              <a:buClrTx/>
              <a:buSzTx/>
              <a:buFontTx/>
              <a:buNone/>
              <a:tabLst/>
              <a:defRPr/>
            </a:pPr>
            <a:r>
              <a:rPr kumimoji="0" lang="en-US" sz="1199" b="0" i="0" u="none" strike="noStrike" kern="0" cap="none" spc="0" normalizeH="0" baseline="0" noProof="0">
                <a:ln>
                  <a:noFill/>
                </a:ln>
                <a:solidFill>
                  <a:srgbClr val="FFFFFF"/>
                </a:solidFill>
                <a:effectLst/>
                <a:uLnTx/>
                <a:uFillTx/>
                <a:latin typeface="Segoe UI"/>
                <a:ea typeface="Segoe UI" pitchFamily="34" charset="0"/>
                <a:cs typeface="Segoe UI" pitchFamily="34" charset="0"/>
              </a:rPr>
              <a:t>Web/</a:t>
            </a:r>
          </a:p>
          <a:p>
            <a:pPr marL="0" marR="0" lvl="0" indent="0" algn="ctr" defTabSz="950846" rtl="0" eaLnBrk="1" fontAlgn="base" latinLnBrk="0" hangingPunct="1">
              <a:lnSpc>
                <a:spcPct val="90000"/>
              </a:lnSpc>
              <a:spcBef>
                <a:spcPct val="0"/>
              </a:spcBef>
              <a:spcAft>
                <a:spcPct val="0"/>
              </a:spcAft>
              <a:buClrTx/>
              <a:buSzTx/>
              <a:buFontTx/>
              <a:buNone/>
              <a:tabLst/>
              <a:defRPr/>
            </a:pPr>
            <a:r>
              <a:rPr kumimoji="0" lang="en-US" sz="1199" b="0" i="0" u="none" strike="noStrike" kern="0" cap="none" spc="0" normalizeH="0" baseline="0" noProof="0">
                <a:ln>
                  <a:noFill/>
                </a:ln>
                <a:solidFill>
                  <a:srgbClr val="FFFFFF"/>
                </a:solidFill>
                <a:effectLst/>
                <a:uLnTx/>
                <a:uFillTx/>
                <a:latin typeface="Segoe UI"/>
                <a:ea typeface="Segoe UI" pitchFamily="34" charset="0"/>
                <a:cs typeface="Segoe UI" pitchFamily="34" charset="0"/>
              </a:rPr>
              <a:t>Mobile</a:t>
            </a:r>
          </a:p>
        </p:txBody>
      </p:sp>
      <p:sp>
        <p:nvSpPr>
          <p:cNvPr id="38" name="TextBox 37"/>
          <p:cNvSpPr txBox="1"/>
          <p:nvPr/>
        </p:nvSpPr>
        <p:spPr>
          <a:xfrm>
            <a:off x="35266" y="1895103"/>
            <a:ext cx="1763205" cy="555506"/>
          </a:xfrm>
          <a:prstGeom prst="rect">
            <a:avLst/>
          </a:prstGeom>
          <a:noFill/>
        </p:spPr>
        <p:txBody>
          <a:bodyPr wrap="square" lIns="186494" tIns="149196" rIns="186494" bIns="149196" rtlCol="0">
            <a:spAutoFit/>
          </a:bodyPr>
          <a:lstStyle/>
          <a:p>
            <a:pPr marL="0" marR="0" lvl="0" indent="0" algn="ctr" defTabSz="932597" rtl="0" eaLnBrk="1" fontAlgn="auto" latinLnBrk="0" hangingPunct="1">
              <a:lnSpc>
                <a:spcPct val="90000"/>
              </a:lnSpc>
              <a:spcBef>
                <a:spcPts val="0"/>
              </a:spcBef>
              <a:spcAft>
                <a:spcPts val="612"/>
              </a:spcAft>
              <a:buClrTx/>
              <a:buSzTx/>
              <a:buFontTx/>
              <a:buNone/>
              <a:tabLst/>
              <a:defRPr/>
            </a:pPr>
            <a:r>
              <a:rPr kumimoji="0" lang="en-US" sz="1836" b="0" i="0" u="none" strike="noStrike" kern="0" cap="none" spc="0" normalizeH="0" baseline="0" noProof="0">
                <a:ln>
                  <a:noFill/>
                </a:ln>
                <a:solidFill>
                  <a:srgbClr val="FFFFFF"/>
                </a:solidFill>
                <a:effectLst/>
                <a:uLnTx/>
                <a:uFillTx/>
                <a:latin typeface="Segoe UI"/>
                <a:ea typeface="+mn-ea"/>
                <a:cs typeface="+mn-cs"/>
              </a:rPr>
              <a:t>PaaS</a:t>
            </a:r>
          </a:p>
        </p:txBody>
      </p:sp>
      <p:sp>
        <p:nvSpPr>
          <p:cNvPr id="39" name="TextBox 38"/>
          <p:cNvSpPr txBox="1"/>
          <p:nvPr/>
        </p:nvSpPr>
        <p:spPr>
          <a:xfrm>
            <a:off x="35266" y="5684542"/>
            <a:ext cx="1763205" cy="555531"/>
          </a:xfrm>
          <a:prstGeom prst="rect">
            <a:avLst/>
          </a:prstGeom>
          <a:noFill/>
        </p:spPr>
        <p:txBody>
          <a:bodyPr wrap="square" lIns="186494" tIns="149196" rIns="186494" bIns="149196" rtlCol="0">
            <a:spAutoFit/>
          </a:bodyPr>
          <a:lstStyle/>
          <a:p>
            <a:pPr marL="0" marR="0" lvl="0" indent="0" algn="ctr" defTabSz="932597" rtl="0" eaLnBrk="1" fontAlgn="auto" latinLnBrk="0" hangingPunct="1">
              <a:lnSpc>
                <a:spcPct val="90000"/>
              </a:lnSpc>
              <a:spcBef>
                <a:spcPts val="0"/>
              </a:spcBef>
              <a:spcAft>
                <a:spcPts val="612"/>
              </a:spcAft>
              <a:buClrTx/>
              <a:buSzTx/>
              <a:buFontTx/>
              <a:buNone/>
              <a:tabLst/>
              <a:defRPr/>
            </a:pPr>
            <a:r>
              <a:rPr kumimoji="0" lang="en-US" sz="1836" b="0" i="0" u="none" strike="noStrike" kern="0" cap="none" spc="0" normalizeH="0" baseline="0" noProof="0">
                <a:ln>
                  <a:noFill/>
                </a:ln>
                <a:solidFill>
                  <a:srgbClr val="FFFFFF"/>
                </a:solidFill>
                <a:effectLst/>
                <a:uLnTx/>
                <a:uFillTx/>
                <a:latin typeface="Segoe UI"/>
                <a:ea typeface="+mn-ea"/>
                <a:cs typeface="+mn-cs"/>
              </a:rPr>
              <a:t>IaaS</a:t>
            </a:r>
          </a:p>
        </p:txBody>
      </p:sp>
      <p:sp>
        <p:nvSpPr>
          <p:cNvPr id="40" name="Up-Down Arrow 39"/>
          <p:cNvSpPr/>
          <p:nvPr/>
        </p:nvSpPr>
        <p:spPr bwMode="auto">
          <a:xfrm>
            <a:off x="685627" y="3042141"/>
            <a:ext cx="466235" cy="2294643"/>
          </a:xfrm>
          <a:prstGeom prst="upDownArrow">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marL="0" marR="0" lvl="0" indent="0" algn="ctr" defTabSz="950846" rtl="0"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8" name="Rectangle 27">
            <a:extLst>
              <a:ext uri="{FF2B5EF4-FFF2-40B4-BE49-F238E27FC236}">
                <a16:creationId xmlns:a16="http://schemas.microsoft.com/office/drawing/2014/main" id="{4A5794AD-DA3A-47DF-A76E-281F3025939F}"/>
              </a:ext>
            </a:extLst>
          </p:cNvPr>
          <p:cNvSpPr/>
          <p:nvPr/>
        </p:nvSpPr>
        <p:spPr bwMode="auto">
          <a:xfrm>
            <a:off x="3818624" y="3573182"/>
            <a:ext cx="1226548" cy="1377485"/>
          </a:xfrm>
          <a:prstGeom prst="rect">
            <a:avLst/>
          </a:prstGeom>
          <a:solidFill>
            <a:srgbClr val="737373">
              <a:alpha val="28000"/>
            </a:srgbClr>
          </a:solidFill>
          <a:ln>
            <a:noFill/>
            <a:headEnd type="none" w="med" len="med"/>
            <a:tailEnd type="none" w="med" len="med"/>
          </a:ln>
          <a:effectLst>
            <a:outerShdw blurRad="50800" dist="38100" dir="8100000" algn="tr"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ctr" anchorCtr="0" forceAA="0" compatLnSpc="1">
            <a:prstTxWarp prst="textNoShape">
              <a:avLst/>
            </a:prstTxWarp>
            <a:noAutofit/>
          </a:bodyPr>
          <a:lstStyle/>
          <a:p>
            <a:pPr marL="0" marR="0" lvl="0" indent="0" algn="ctr" defTabSz="950846" rtl="0" eaLnBrk="1" fontAlgn="base" latinLnBrk="0" hangingPunct="1">
              <a:lnSpc>
                <a:spcPct val="90000"/>
              </a:lnSpc>
              <a:spcBef>
                <a:spcPct val="0"/>
              </a:spcBef>
              <a:spcAft>
                <a:spcPct val="0"/>
              </a:spcAft>
              <a:buClrTx/>
              <a:buSzTx/>
              <a:buFontTx/>
              <a:buNone/>
              <a:tabLst/>
              <a:defRPr/>
            </a:pPr>
            <a:r>
              <a:rPr kumimoji="0" lang="en-US" sz="1428" b="0" i="0" u="none" strike="noStrike" kern="0" cap="none" spc="0" normalizeH="0" baseline="0" noProof="0" dirty="0">
                <a:ln>
                  <a:noFill/>
                </a:ln>
                <a:solidFill>
                  <a:srgbClr val="BAD80A">
                    <a:lumMod val="60000"/>
                    <a:lumOff val="40000"/>
                  </a:srgbClr>
                </a:solidFill>
                <a:effectLst/>
                <a:uLnTx/>
                <a:uFillTx/>
                <a:latin typeface="Segoe UI"/>
                <a:ea typeface="Segoe UI" pitchFamily="34" charset="0"/>
                <a:cs typeface="Segoe UI" pitchFamily="34" charset="0"/>
              </a:rPr>
              <a:t>GOV</a:t>
            </a:r>
          </a:p>
          <a:p>
            <a:pPr marL="0" marR="0" lvl="0" indent="0" algn="ctr" defTabSz="950846" rtl="0" eaLnBrk="1" fontAlgn="base" latinLnBrk="0" hangingPunct="1">
              <a:lnSpc>
                <a:spcPct val="90000"/>
              </a:lnSpc>
              <a:spcBef>
                <a:spcPct val="0"/>
              </a:spcBef>
              <a:spcAft>
                <a:spcPct val="0"/>
              </a:spcAft>
              <a:buClrTx/>
              <a:buSzTx/>
              <a:buFontTx/>
              <a:buNone/>
              <a:tabLst/>
              <a:defRPr/>
            </a:pPr>
            <a:r>
              <a:rPr kumimoji="0" lang="en-US" sz="1428" b="0" i="0" u="none" strike="noStrike" kern="0" cap="none" spc="0" normalizeH="0" baseline="0" noProof="0" dirty="0">
                <a:ln>
                  <a:noFill/>
                </a:ln>
                <a:solidFill>
                  <a:srgbClr val="BAD80A">
                    <a:lumMod val="60000"/>
                    <a:lumOff val="40000"/>
                  </a:srgbClr>
                </a:solidFill>
                <a:effectLst/>
                <a:uLnTx/>
                <a:uFillTx/>
                <a:latin typeface="Segoe UI"/>
                <a:ea typeface="Segoe UI" pitchFamily="34" charset="0"/>
                <a:cs typeface="Segoe UI" pitchFamily="34" charset="0"/>
              </a:rPr>
              <a:t>Private Preview</a:t>
            </a:r>
          </a:p>
        </p:txBody>
      </p:sp>
    </p:spTree>
    <p:extLst>
      <p:ext uri="{BB962C8B-B14F-4D97-AF65-F5344CB8AC3E}">
        <p14:creationId xmlns:p14="http://schemas.microsoft.com/office/powerpoint/2010/main" val="264854472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grpId="0" nodeType="clickEffect">
                                  <p:stCondLst>
                                    <p:cond delay="0"/>
                                  </p:stCondLst>
                                  <p:childTnLst>
                                    <p:animEffect transition="out" filter="fade">
                                      <p:cBhvr>
                                        <p:cTn id="6" dur="500"/>
                                        <p:tgtEl>
                                          <p:spTgt spid="9"/>
                                        </p:tgtEl>
                                      </p:cBhvr>
                                    </p:animEffect>
                                    <p:set>
                                      <p:cBhvr>
                                        <p:cTn id="7" dur="1" fill="hold">
                                          <p:stCondLst>
                                            <p:cond delay="499"/>
                                          </p:stCondLst>
                                        </p:cTn>
                                        <p:tgtEl>
                                          <p:spTgt spid="9"/>
                                        </p:tgtEl>
                                        <p:attrNameLst>
                                          <p:attrName>style.visibility</p:attrName>
                                        </p:attrNameLst>
                                      </p:cBhvr>
                                      <p:to>
                                        <p:strVal val="hidden"/>
                                      </p:to>
                                    </p:set>
                                  </p:childTnLst>
                                </p:cTn>
                              </p:par>
                              <p:par>
                                <p:cTn id="8" presetID="10" presetClass="exit" presetSubtype="0" fill="hold" grpId="0" nodeType="withEffect">
                                  <p:stCondLst>
                                    <p:cond delay="0"/>
                                  </p:stCondLst>
                                  <p:childTnLst>
                                    <p:animEffect transition="out" filter="fade">
                                      <p:cBhvr>
                                        <p:cTn id="9" dur="500"/>
                                        <p:tgtEl>
                                          <p:spTgt spid="11"/>
                                        </p:tgtEl>
                                      </p:cBhvr>
                                    </p:animEffect>
                                    <p:set>
                                      <p:cBhvr>
                                        <p:cTn id="10" dur="1" fill="hold">
                                          <p:stCondLst>
                                            <p:cond delay="499"/>
                                          </p:stCondLst>
                                        </p:cTn>
                                        <p:tgtEl>
                                          <p:spTgt spid="11"/>
                                        </p:tgtEl>
                                        <p:attrNameLst>
                                          <p:attrName>style.visibility</p:attrName>
                                        </p:attrNameLst>
                                      </p:cBhvr>
                                      <p:to>
                                        <p:strVal val="hidden"/>
                                      </p:to>
                                    </p:set>
                                  </p:childTnLst>
                                </p:cTn>
                              </p:par>
                              <p:par>
                                <p:cTn id="11" presetID="10" presetClass="exit" presetSubtype="0" fill="hold" grpId="0" nodeType="withEffect">
                                  <p:stCondLst>
                                    <p:cond delay="0"/>
                                  </p:stCondLst>
                                  <p:childTnLst>
                                    <p:animEffect transition="out" filter="fade">
                                      <p:cBhvr>
                                        <p:cTn id="12" dur="500"/>
                                        <p:tgtEl>
                                          <p:spTgt spid="15"/>
                                        </p:tgtEl>
                                      </p:cBhvr>
                                    </p:animEffect>
                                    <p:set>
                                      <p:cBhvr>
                                        <p:cTn id="13" dur="1" fill="hold">
                                          <p:stCondLst>
                                            <p:cond delay="499"/>
                                          </p:stCondLst>
                                        </p:cTn>
                                        <p:tgtEl>
                                          <p:spTgt spid="15"/>
                                        </p:tgtEl>
                                        <p:attrNameLst>
                                          <p:attrName>style.visibility</p:attrName>
                                        </p:attrNameLst>
                                      </p:cBhvr>
                                      <p:to>
                                        <p:strVal val="hidden"/>
                                      </p:to>
                                    </p:set>
                                  </p:childTnLst>
                                </p:cTn>
                              </p:par>
                              <p:par>
                                <p:cTn id="14" presetID="10" presetClass="exit" presetSubtype="0" fill="hold" grpId="0" nodeType="withEffect">
                                  <p:stCondLst>
                                    <p:cond delay="0"/>
                                  </p:stCondLst>
                                  <p:childTnLst>
                                    <p:animEffect transition="out" filter="fade">
                                      <p:cBhvr>
                                        <p:cTn id="15" dur="500"/>
                                        <p:tgtEl>
                                          <p:spTgt spid="17"/>
                                        </p:tgtEl>
                                      </p:cBhvr>
                                    </p:animEffect>
                                    <p:set>
                                      <p:cBhvr>
                                        <p:cTn id="16" dur="1" fill="hold">
                                          <p:stCondLst>
                                            <p:cond delay="499"/>
                                          </p:stCondLst>
                                        </p:cTn>
                                        <p:tgtEl>
                                          <p:spTgt spid="17"/>
                                        </p:tgtEl>
                                        <p:attrNameLst>
                                          <p:attrName>style.visibility</p:attrName>
                                        </p:attrNameLst>
                                      </p:cBhvr>
                                      <p:to>
                                        <p:strVal val="hidden"/>
                                      </p:to>
                                    </p:set>
                                  </p:childTnLst>
                                </p:cTn>
                              </p:par>
                              <p:par>
                                <p:cTn id="17" presetID="10" presetClass="exit" presetSubtype="0" fill="hold" grpId="0" nodeType="withEffect">
                                  <p:stCondLst>
                                    <p:cond delay="0"/>
                                  </p:stCondLst>
                                  <p:childTnLst>
                                    <p:animEffect transition="out" filter="fade">
                                      <p:cBhvr>
                                        <p:cTn id="18" dur="500"/>
                                        <p:tgtEl>
                                          <p:spTgt spid="18"/>
                                        </p:tgtEl>
                                      </p:cBhvr>
                                    </p:animEffect>
                                    <p:set>
                                      <p:cBhvr>
                                        <p:cTn id="19" dur="1" fill="hold">
                                          <p:stCondLst>
                                            <p:cond delay="499"/>
                                          </p:stCondLst>
                                        </p:cTn>
                                        <p:tgtEl>
                                          <p:spTgt spid="18"/>
                                        </p:tgtEl>
                                        <p:attrNameLst>
                                          <p:attrName>style.visibility</p:attrName>
                                        </p:attrNameLst>
                                      </p:cBhvr>
                                      <p:to>
                                        <p:strVal val="hidden"/>
                                      </p:to>
                                    </p:set>
                                  </p:childTnLst>
                                </p:cTn>
                              </p:par>
                              <p:par>
                                <p:cTn id="20" presetID="10" presetClass="exit" presetSubtype="0" fill="hold" grpId="0" nodeType="withEffect">
                                  <p:stCondLst>
                                    <p:cond delay="0"/>
                                  </p:stCondLst>
                                  <p:childTnLst>
                                    <p:animEffect transition="out" filter="fade">
                                      <p:cBhvr>
                                        <p:cTn id="21" dur="500"/>
                                        <p:tgtEl>
                                          <p:spTgt spid="19"/>
                                        </p:tgtEl>
                                      </p:cBhvr>
                                    </p:animEffect>
                                    <p:set>
                                      <p:cBhvr>
                                        <p:cTn id="22" dur="1" fill="hold">
                                          <p:stCondLst>
                                            <p:cond delay="499"/>
                                          </p:stCondLst>
                                        </p:cTn>
                                        <p:tgtEl>
                                          <p:spTgt spid="19"/>
                                        </p:tgtEl>
                                        <p:attrNameLst>
                                          <p:attrName>style.visibility</p:attrName>
                                        </p:attrNameLst>
                                      </p:cBhvr>
                                      <p:to>
                                        <p:strVal val="hidden"/>
                                      </p:to>
                                    </p:set>
                                  </p:childTnLst>
                                </p:cTn>
                              </p:par>
                              <p:par>
                                <p:cTn id="23" presetID="10" presetClass="exit" presetSubtype="0" fill="hold" grpId="0" nodeType="withEffect">
                                  <p:stCondLst>
                                    <p:cond delay="0"/>
                                  </p:stCondLst>
                                  <p:childTnLst>
                                    <p:animEffect transition="out" filter="fade">
                                      <p:cBhvr>
                                        <p:cTn id="24" dur="500"/>
                                        <p:tgtEl>
                                          <p:spTgt spid="20"/>
                                        </p:tgtEl>
                                      </p:cBhvr>
                                    </p:animEffect>
                                    <p:set>
                                      <p:cBhvr>
                                        <p:cTn id="25" dur="1" fill="hold">
                                          <p:stCondLst>
                                            <p:cond delay="499"/>
                                          </p:stCondLst>
                                        </p:cTn>
                                        <p:tgtEl>
                                          <p:spTgt spid="20"/>
                                        </p:tgtEl>
                                        <p:attrNameLst>
                                          <p:attrName>style.visibility</p:attrName>
                                        </p:attrNameLst>
                                      </p:cBhvr>
                                      <p:to>
                                        <p:strVal val="hidden"/>
                                      </p:to>
                                    </p:set>
                                  </p:childTnLst>
                                </p:cTn>
                              </p:par>
                              <p:par>
                                <p:cTn id="26" presetID="10" presetClass="exit" presetSubtype="0" fill="hold" grpId="0" nodeType="withEffect">
                                  <p:stCondLst>
                                    <p:cond delay="0"/>
                                  </p:stCondLst>
                                  <p:childTnLst>
                                    <p:animEffect transition="out" filter="fade">
                                      <p:cBhvr>
                                        <p:cTn id="27" dur="500"/>
                                        <p:tgtEl>
                                          <p:spTgt spid="21"/>
                                        </p:tgtEl>
                                      </p:cBhvr>
                                    </p:animEffect>
                                    <p:set>
                                      <p:cBhvr>
                                        <p:cTn id="28" dur="1" fill="hold">
                                          <p:stCondLst>
                                            <p:cond delay="499"/>
                                          </p:stCondLst>
                                        </p:cTn>
                                        <p:tgtEl>
                                          <p:spTgt spid="21"/>
                                        </p:tgtEl>
                                        <p:attrNameLst>
                                          <p:attrName>style.visibility</p:attrName>
                                        </p:attrNameLst>
                                      </p:cBhvr>
                                      <p:to>
                                        <p:strVal val="hidden"/>
                                      </p:to>
                                    </p:set>
                                  </p:childTnLst>
                                </p:cTn>
                              </p:par>
                              <p:par>
                                <p:cTn id="29" presetID="10" presetClass="exit" presetSubtype="0" fill="hold" nodeType="withEffect">
                                  <p:stCondLst>
                                    <p:cond delay="0"/>
                                  </p:stCondLst>
                                  <p:childTnLst>
                                    <p:animEffect transition="out" filter="fade">
                                      <p:cBhvr>
                                        <p:cTn id="30" dur="500"/>
                                        <p:tgtEl>
                                          <p:spTgt spid="25"/>
                                        </p:tgtEl>
                                      </p:cBhvr>
                                    </p:animEffect>
                                    <p:set>
                                      <p:cBhvr>
                                        <p:cTn id="31" dur="1" fill="hold">
                                          <p:stCondLst>
                                            <p:cond delay="499"/>
                                          </p:stCondLst>
                                        </p:cTn>
                                        <p:tgtEl>
                                          <p:spTgt spid="25"/>
                                        </p:tgtEl>
                                        <p:attrNameLst>
                                          <p:attrName>style.visibility</p:attrName>
                                        </p:attrNameLst>
                                      </p:cBhvr>
                                      <p:to>
                                        <p:strVal val="hidden"/>
                                      </p:to>
                                    </p:set>
                                  </p:childTnLst>
                                </p:cTn>
                              </p:par>
                              <p:par>
                                <p:cTn id="32" presetID="10" presetClass="exit" presetSubtype="0" fill="hold" grpId="0" nodeType="withEffect">
                                  <p:stCondLst>
                                    <p:cond delay="0"/>
                                  </p:stCondLst>
                                  <p:childTnLst>
                                    <p:animEffect transition="out" filter="fade">
                                      <p:cBhvr>
                                        <p:cTn id="33" dur="500"/>
                                        <p:tgtEl>
                                          <p:spTgt spid="36"/>
                                        </p:tgtEl>
                                      </p:cBhvr>
                                    </p:animEffect>
                                    <p:set>
                                      <p:cBhvr>
                                        <p:cTn id="34" dur="1" fill="hold">
                                          <p:stCondLst>
                                            <p:cond delay="499"/>
                                          </p:stCondLst>
                                        </p:cTn>
                                        <p:tgtEl>
                                          <p:spTgt spid="36"/>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11" grpId="0" animBg="1"/>
      <p:bldP spid="15" grpId="0" animBg="1"/>
      <p:bldP spid="17" grpId="0" animBg="1"/>
      <p:bldP spid="18" grpId="0" animBg="1"/>
      <p:bldP spid="19" grpId="0" animBg="1"/>
      <p:bldP spid="20" grpId="0" animBg="1"/>
      <p:bldP spid="21" grpId="0" animBg="1"/>
      <p:bldP spid="36" grpId="0" animBg="1"/>
    </p:bld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66168" y="1212851"/>
            <a:ext cx="11274290" cy="2179058"/>
          </a:xfrm>
        </p:spPr>
        <p:txBody>
          <a:bodyPr/>
          <a:lstStyle/>
          <a:p>
            <a:pPr marL="0" indent="0">
              <a:buNone/>
            </a:pPr>
            <a:r>
              <a:rPr lang="en-US" sz="2400" dirty="0"/>
              <a:t>Azure Data Lake Analytics is a new service, built to make big data analytics easy. This service lets you focus on writing, running and managing jobs, rather than operating distributed infrastructure. Instead of deploying, configuring and tuning hardware, you write queries to transform your data and extract valuable insights. The analytics service can handle jobs of any scale instantly by simply setting the dial for how much power you need. You only pay for your job when it is running making it cost-effective.</a:t>
            </a:r>
          </a:p>
        </p:txBody>
      </p:sp>
      <p:sp>
        <p:nvSpPr>
          <p:cNvPr id="3" name="Title 2"/>
          <p:cNvSpPr>
            <a:spLocks noGrp="1"/>
          </p:cNvSpPr>
          <p:nvPr>
            <p:ph type="title"/>
          </p:nvPr>
        </p:nvSpPr>
        <p:spPr/>
        <p:txBody>
          <a:bodyPr/>
          <a:lstStyle/>
          <a:p>
            <a:r>
              <a:rPr lang="en-US" dirty="0"/>
              <a:t>Data Lake Analytics</a:t>
            </a:r>
          </a:p>
        </p:txBody>
      </p:sp>
      <p:pic>
        <p:nvPicPr>
          <p:cNvPr id="6" name="Picture 5"/>
          <p:cNvPicPr>
            <a:picLocks noChangeAspect="1"/>
          </p:cNvPicPr>
          <p:nvPr/>
        </p:nvPicPr>
        <p:blipFill>
          <a:blip r:embed="rId3"/>
          <a:stretch>
            <a:fillRect/>
          </a:stretch>
        </p:blipFill>
        <p:spPr>
          <a:xfrm>
            <a:off x="1241639" y="3350704"/>
            <a:ext cx="9951610" cy="3643821"/>
          </a:xfrm>
          <a:prstGeom prst="rect">
            <a:avLst/>
          </a:prstGeom>
        </p:spPr>
      </p:pic>
    </p:spTree>
    <p:extLst>
      <p:ext uri="{BB962C8B-B14F-4D97-AF65-F5344CB8AC3E}">
        <p14:creationId xmlns:p14="http://schemas.microsoft.com/office/powerpoint/2010/main" val="769439581"/>
      </p:ext>
    </p:extLst>
  </p:cSld>
  <p:clrMapOvr>
    <a:masterClrMapping/>
  </p:clrMapOvr>
  <p:transition>
    <p:fade/>
  </p:transition>
</p:sld>
</file>

<file path=ppt/slides/slide71.xml><?xml version="1.0" encoding="utf-8"?>
<p:sld xmlns:a="http://schemas.openxmlformats.org/drawingml/2006/main" xmlns:r="http://schemas.openxmlformats.org/officeDocument/2006/relationships" xmlns:p="http://schemas.openxmlformats.org/presentationml/2006/main">
  <p:cSld>
    <p:bg>
      <p:bgPr>
        <a:solidFill>
          <a:srgbClr val="6F6F6F"/>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zure IoT Hub</a:t>
            </a:r>
          </a:p>
        </p:txBody>
      </p:sp>
    </p:spTree>
    <p:extLst>
      <p:ext uri="{BB962C8B-B14F-4D97-AF65-F5344CB8AC3E}">
        <p14:creationId xmlns:p14="http://schemas.microsoft.com/office/powerpoint/2010/main" val="129959419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66168" y="1212851"/>
            <a:ext cx="4768540" cy="5810822"/>
          </a:xfrm>
        </p:spPr>
        <p:txBody>
          <a:bodyPr/>
          <a:lstStyle/>
          <a:p>
            <a:pPr marL="0" indent="0">
              <a:buNone/>
            </a:pPr>
            <a:r>
              <a:rPr lang="en-US" sz="2400" dirty="0"/>
              <a:t>Azure IoT Hub is a fully managed service that enables reliable and secure bidirectional communications between millions of IoT devices and a solution back-end. Azure IoT Hub:</a:t>
            </a:r>
          </a:p>
          <a:p>
            <a:pPr marL="342900" lvl="1" indent="-342900"/>
            <a:r>
              <a:rPr lang="en-US" dirty="0"/>
              <a:t>Provides reliable device-to-cloud and cloud-to-device messaging at scale</a:t>
            </a:r>
          </a:p>
          <a:p>
            <a:pPr marL="342900" lvl="1" indent="-342900"/>
            <a:r>
              <a:rPr lang="en-US" dirty="0"/>
              <a:t>Enables secure communications using per-device security credentials and access control</a:t>
            </a:r>
          </a:p>
          <a:p>
            <a:pPr marL="342900" lvl="1" indent="-342900"/>
            <a:r>
              <a:rPr lang="en-US" dirty="0"/>
              <a:t>Provides extensive monitoring for device connectivity and device identity management events</a:t>
            </a:r>
          </a:p>
          <a:p>
            <a:pPr marL="342900" lvl="1" indent="-342900"/>
            <a:r>
              <a:rPr lang="en-US" dirty="0"/>
              <a:t>Includes device libraries for the most popular languages and platforms</a:t>
            </a:r>
          </a:p>
          <a:p>
            <a:endParaRPr lang="en-US" sz="2000" dirty="0"/>
          </a:p>
        </p:txBody>
      </p:sp>
      <p:sp>
        <p:nvSpPr>
          <p:cNvPr id="3" name="Title 2"/>
          <p:cNvSpPr>
            <a:spLocks noGrp="1"/>
          </p:cNvSpPr>
          <p:nvPr>
            <p:ph type="title"/>
          </p:nvPr>
        </p:nvSpPr>
        <p:spPr/>
        <p:txBody>
          <a:bodyPr/>
          <a:lstStyle/>
          <a:p>
            <a:r>
              <a:rPr lang="en-US" dirty="0"/>
              <a:t>IoT Hub</a:t>
            </a:r>
          </a:p>
        </p:txBody>
      </p:sp>
      <p:pic>
        <p:nvPicPr>
          <p:cNvPr id="5" name="Picture 4"/>
          <p:cNvPicPr>
            <a:picLocks noChangeAspect="1"/>
          </p:cNvPicPr>
          <p:nvPr/>
        </p:nvPicPr>
        <p:blipFill>
          <a:blip r:embed="rId3"/>
          <a:stretch>
            <a:fillRect/>
          </a:stretch>
        </p:blipFill>
        <p:spPr>
          <a:xfrm>
            <a:off x="5410198" y="1320559"/>
            <a:ext cx="6204953" cy="4311647"/>
          </a:xfrm>
          <a:prstGeom prst="rect">
            <a:avLst/>
          </a:prstGeom>
        </p:spPr>
      </p:pic>
    </p:spTree>
    <p:extLst>
      <p:ext uri="{BB962C8B-B14F-4D97-AF65-F5344CB8AC3E}">
        <p14:creationId xmlns:p14="http://schemas.microsoft.com/office/powerpoint/2010/main" val="1675091058"/>
      </p:ext>
    </p:extLst>
  </p:cSld>
  <p:clrMapOvr>
    <a:masterClrMapping/>
  </p:clrMapOvr>
  <p:transition>
    <p:fade/>
  </p:transition>
</p:sld>
</file>

<file path=ppt/slides/slide73.xml><?xml version="1.0" encoding="utf-8"?>
<p:sld xmlns:a="http://schemas.openxmlformats.org/drawingml/2006/main" xmlns:r="http://schemas.openxmlformats.org/officeDocument/2006/relationships" xmlns:p="http://schemas.openxmlformats.org/presentationml/2006/main">
  <p:cSld>
    <p:bg>
      <p:bgPr>
        <a:solidFill>
          <a:srgbClr val="6F6F6F"/>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vent Hubs</a:t>
            </a:r>
          </a:p>
        </p:txBody>
      </p:sp>
    </p:spTree>
    <p:extLst>
      <p:ext uri="{BB962C8B-B14F-4D97-AF65-F5344CB8AC3E}">
        <p14:creationId xmlns:p14="http://schemas.microsoft.com/office/powerpoint/2010/main" val="266391696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66168" y="1212851"/>
            <a:ext cx="11274290" cy="2763834"/>
          </a:xfrm>
        </p:spPr>
        <p:txBody>
          <a:bodyPr/>
          <a:lstStyle/>
          <a:p>
            <a:r>
              <a:rPr lang="en-US" sz="2000" dirty="0"/>
              <a:t>An event processing service </a:t>
            </a:r>
          </a:p>
          <a:p>
            <a:r>
              <a:rPr lang="en-US" sz="2000" dirty="0"/>
              <a:t>Provides event and telemetry ingress to the cloud</a:t>
            </a:r>
          </a:p>
          <a:p>
            <a:r>
              <a:rPr lang="en-US" sz="2000" dirty="0"/>
              <a:t>Massive scale, Low latency and High reliability. </a:t>
            </a:r>
          </a:p>
          <a:p>
            <a:r>
              <a:rPr lang="en-US" sz="2000" dirty="0"/>
              <a:t>Scenarios</a:t>
            </a:r>
          </a:p>
          <a:p>
            <a:pPr lvl="1"/>
            <a:r>
              <a:rPr lang="en-US" sz="1400" dirty="0">
                <a:latin typeface="+mj-lt"/>
              </a:rPr>
              <a:t>application instrumentation</a:t>
            </a:r>
          </a:p>
          <a:p>
            <a:pPr lvl="1"/>
            <a:r>
              <a:rPr lang="en-US" sz="1400" dirty="0">
                <a:latin typeface="+mj-lt"/>
              </a:rPr>
              <a:t>user experience or workflow processing</a:t>
            </a:r>
          </a:p>
          <a:p>
            <a:pPr lvl="1"/>
            <a:r>
              <a:rPr lang="en-US" sz="1400" dirty="0">
                <a:latin typeface="+mj-lt"/>
              </a:rPr>
              <a:t>Internet of Things (IoT)</a:t>
            </a:r>
          </a:p>
          <a:p>
            <a:r>
              <a:rPr lang="en-US" sz="2000" dirty="0"/>
              <a:t>How Azure Event Hub capabilities differ from Service Bus topics</a:t>
            </a:r>
          </a:p>
          <a:p>
            <a:pPr lvl="1"/>
            <a:r>
              <a:rPr lang="en-US" sz="1400" dirty="0">
                <a:latin typeface="+mj-lt"/>
              </a:rPr>
              <a:t>they are strongly biased towards high throughput and event processing scenarios.</a:t>
            </a:r>
          </a:p>
        </p:txBody>
      </p:sp>
      <p:sp>
        <p:nvSpPr>
          <p:cNvPr id="3" name="Title 2"/>
          <p:cNvSpPr>
            <a:spLocks noGrp="1"/>
          </p:cNvSpPr>
          <p:nvPr>
            <p:ph type="title"/>
          </p:nvPr>
        </p:nvSpPr>
        <p:spPr/>
        <p:txBody>
          <a:bodyPr/>
          <a:lstStyle/>
          <a:p>
            <a:r>
              <a:rPr lang="en-US" dirty="0"/>
              <a:t>Event Hubs</a:t>
            </a:r>
          </a:p>
        </p:txBody>
      </p:sp>
      <p:pic>
        <p:nvPicPr>
          <p:cNvPr id="5" name="Picture 4"/>
          <p:cNvPicPr>
            <a:picLocks noChangeAspect="1"/>
          </p:cNvPicPr>
          <p:nvPr/>
        </p:nvPicPr>
        <p:blipFill>
          <a:blip r:embed="rId3"/>
          <a:stretch>
            <a:fillRect/>
          </a:stretch>
        </p:blipFill>
        <p:spPr>
          <a:xfrm>
            <a:off x="2864644" y="4792662"/>
            <a:ext cx="6858000" cy="1371600"/>
          </a:xfrm>
          <a:prstGeom prst="rect">
            <a:avLst/>
          </a:prstGeom>
        </p:spPr>
      </p:pic>
    </p:spTree>
    <p:extLst>
      <p:ext uri="{BB962C8B-B14F-4D97-AF65-F5344CB8AC3E}">
        <p14:creationId xmlns:p14="http://schemas.microsoft.com/office/powerpoint/2010/main" val="971591631"/>
      </p:ext>
    </p:extLst>
  </p:cSld>
  <p:clrMapOvr>
    <a:masterClrMapping/>
  </p:clrMapOvr>
  <p:transition>
    <p:fade/>
  </p:transition>
</p:sld>
</file>

<file path=ppt/slides/slide75.xml><?xml version="1.0" encoding="utf-8"?>
<p:sld xmlns:a="http://schemas.openxmlformats.org/drawingml/2006/main" xmlns:r="http://schemas.openxmlformats.org/officeDocument/2006/relationships" xmlns:p="http://schemas.openxmlformats.org/presentationml/2006/main">
  <p:cSld>
    <p:bg>
      <p:bgPr>
        <a:solidFill>
          <a:srgbClr val="6F6F6F"/>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Media Services</a:t>
            </a:r>
          </a:p>
        </p:txBody>
      </p:sp>
    </p:spTree>
    <p:extLst>
      <p:ext uri="{BB962C8B-B14F-4D97-AF65-F5344CB8AC3E}">
        <p14:creationId xmlns:p14="http://schemas.microsoft.com/office/powerpoint/2010/main" val="163040108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66168" y="1212851"/>
            <a:ext cx="10840548" cy="2923877"/>
          </a:xfrm>
        </p:spPr>
        <p:txBody>
          <a:bodyPr/>
          <a:lstStyle/>
          <a:p>
            <a:r>
              <a:rPr lang="en-US" sz="2000" dirty="0"/>
              <a:t>Microsoft Azure Media Services is an extensible cloud-based platform that enables developers to build scalable media management and delivery applications. Media Services is based on REST APIs that enable you to securely upload, store, encode and package video or audio content for both on-demand and live streaming delivery to various clients (for example, TV, PC, and mobile devices).</a:t>
            </a:r>
          </a:p>
          <a:p>
            <a:pPr>
              <a:lnSpc>
                <a:spcPct val="100000"/>
              </a:lnSpc>
            </a:pPr>
            <a:r>
              <a:rPr lang="en-US" sz="2000" dirty="0"/>
              <a:t>You can build end-to-end workflows using entirely Media Services. You can also choose to use third-party components for some parts of your workflow. For example, encode using a third-party encoder. Then, upload, protect, package, deliver using Media Services.</a:t>
            </a:r>
          </a:p>
          <a:p>
            <a:pPr>
              <a:lnSpc>
                <a:spcPct val="100000"/>
              </a:lnSpc>
            </a:pPr>
            <a:r>
              <a:rPr lang="en-US" sz="2000" dirty="0"/>
              <a:t>You can choose to stream your content live or deliver content on demand.</a:t>
            </a:r>
          </a:p>
        </p:txBody>
      </p:sp>
      <p:sp>
        <p:nvSpPr>
          <p:cNvPr id="3" name="Title 2"/>
          <p:cNvSpPr>
            <a:spLocks noGrp="1"/>
          </p:cNvSpPr>
          <p:nvPr>
            <p:ph type="title"/>
          </p:nvPr>
        </p:nvSpPr>
        <p:spPr/>
        <p:txBody>
          <a:bodyPr/>
          <a:lstStyle/>
          <a:p>
            <a:r>
              <a:rPr lang="en-US" dirty="0"/>
              <a:t>Media Services</a:t>
            </a:r>
          </a:p>
        </p:txBody>
      </p:sp>
      <p:pic>
        <p:nvPicPr>
          <p:cNvPr id="6" name="Picture 5"/>
          <p:cNvPicPr>
            <a:picLocks noChangeAspect="1"/>
          </p:cNvPicPr>
          <p:nvPr/>
        </p:nvPicPr>
        <p:blipFill>
          <a:blip r:embed="rId3"/>
          <a:stretch>
            <a:fillRect/>
          </a:stretch>
        </p:blipFill>
        <p:spPr>
          <a:xfrm>
            <a:off x="2690050" y="4076574"/>
            <a:ext cx="6248400" cy="2457450"/>
          </a:xfrm>
          <a:prstGeom prst="rect">
            <a:avLst/>
          </a:prstGeom>
        </p:spPr>
      </p:pic>
    </p:spTree>
    <p:extLst>
      <p:ext uri="{BB962C8B-B14F-4D97-AF65-F5344CB8AC3E}">
        <p14:creationId xmlns:p14="http://schemas.microsoft.com/office/powerpoint/2010/main" val="1598169597"/>
      </p:ext>
    </p:extLst>
  </p:cSld>
  <p:clrMapOvr>
    <a:masterClrMapping/>
  </p:clrMapOvr>
  <p:transition>
    <p:fade/>
  </p:transition>
</p:sld>
</file>

<file path=ppt/slides/slide77.xml><?xml version="1.0" encoding="utf-8"?>
<p:sld xmlns:a="http://schemas.openxmlformats.org/drawingml/2006/main" xmlns:r="http://schemas.openxmlformats.org/officeDocument/2006/relationships" xmlns:p="http://schemas.openxmlformats.org/presentationml/2006/main">
  <p:cSld>
    <p:bg>
      <p:bgPr>
        <a:solidFill>
          <a:srgbClr val="6F6F6F"/>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ontent Delivery Network</a:t>
            </a:r>
          </a:p>
        </p:txBody>
      </p:sp>
    </p:spTree>
    <p:extLst>
      <p:ext uri="{BB962C8B-B14F-4D97-AF65-F5344CB8AC3E}">
        <p14:creationId xmlns:p14="http://schemas.microsoft.com/office/powerpoint/2010/main" val="188896562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66168" y="1212851"/>
            <a:ext cx="10883080" cy="1957459"/>
          </a:xfrm>
        </p:spPr>
        <p:txBody>
          <a:bodyPr/>
          <a:lstStyle/>
          <a:p>
            <a:pPr marL="0" indent="0">
              <a:buNone/>
            </a:pPr>
            <a:r>
              <a:rPr lang="en-US" sz="3200" dirty="0"/>
              <a:t>CDN networks are used for static content such as media, images, or documents which are read more than written to. The end goal being to push content to areas of the world where users are located.</a:t>
            </a:r>
          </a:p>
        </p:txBody>
      </p:sp>
      <p:sp>
        <p:nvSpPr>
          <p:cNvPr id="3" name="Title 2"/>
          <p:cNvSpPr>
            <a:spLocks noGrp="1"/>
          </p:cNvSpPr>
          <p:nvPr>
            <p:ph type="title"/>
          </p:nvPr>
        </p:nvSpPr>
        <p:spPr/>
        <p:txBody>
          <a:bodyPr/>
          <a:lstStyle/>
          <a:p>
            <a:r>
              <a:rPr lang="en-US" dirty="0"/>
              <a:t>Content Delivery Network</a:t>
            </a:r>
          </a:p>
        </p:txBody>
      </p:sp>
      <p:sp>
        <p:nvSpPr>
          <p:cNvPr id="9" name="Rectangle 8"/>
          <p:cNvSpPr/>
          <p:nvPr/>
        </p:nvSpPr>
        <p:spPr bwMode="auto">
          <a:xfrm>
            <a:off x="2369567" y="3334232"/>
            <a:ext cx="2514386" cy="3200127"/>
          </a:xfrm>
          <a:prstGeom prst="rect">
            <a:avLst/>
          </a:prstGeom>
          <a:solidFill>
            <a:schemeClr val="accent1"/>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34975" rIns="0" bIns="34975" numCol="1" rtlCol="0" anchor="t" anchorCtr="0" compatLnSpc="1">
            <a:prstTxWarp prst="textNoShape">
              <a:avLst/>
            </a:prstTxWarp>
          </a:bodyPr>
          <a:lstStyle/>
          <a:p>
            <a:pPr algn="ctr" defTabSz="699212" fontAlgn="base">
              <a:spcBef>
                <a:spcPct val="0"/>
              </a:spcBef>
              <a:spcAft>
                <a:spcPct val="0"/>
              </a:spcAft>
            </a:pPr>
            <a:r>
              <a:rPr lang="en-US" sz="2400" dirty="0">
                <a:solidFill>
                  <a:srgbClr val="FFFFFF"/>
                </a:solidFill>
              </a:rPr>
              <a:t>Speed</a:t>
            </a:r>
          </a:p>
        </p:txBody>
      </p:sp>
      <p:sp>
        <p:nvSpPr>
          <p:cNvPr id="10" name="Rectangle 9"/>
          <p:cNvSpPr/>
          <p:nvPr/>
        </p:nvSpPr>
        <p:spPr bwMode="auto">
          <a:xfrm>
            <a:off x="4998244" y="3334232"/>
            <a:ext cx="2514386" cy="3200127"/>
          </a:xfrm>
          <a:prstGeom prst="rect">
            <a:avLst/>
          </a:prstGeom>
          <a:solidFill>
            <a:schemeClr val="accent1"/>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34975" rIns="0" bIns="34975" numCol="1" rtlCol="0" anchor="t" anchorCtr="0" compatLnSpc="1">
            <a:prstTxWarp prst="textNoShape">
              <a:avLst/>
            </a:prstTxWarp>
          </a:bodyPr>
          <a:lstStyle/>
          <a:p>
            <a:pPr algn="ctr" defTabSz="699212" fontAlgn="base">
              <a:spcBef>
                <a:spcPct val="0"/>
              </a:spcBef>
              <a:spcAft>
                <a:spcPct val="0"/>
              </a:spcAft>
            </a:pPr>
            <a:r>
              <a:rPr lang="en-US" sz="2400" dirty="0">
                <a:solidFill>
                  <a:srgbClr val="FFFFFF"/>
                </a:solidFill>
              </a:rPr>
              <a:t>Reliability</a:t>
            </a:r>
          </a:p>
          <a:p>
            <a:pPr algn="ctr" defTabSz="699212" fontAlgn="base">
              <a:spcBef>
                <a:spcPct val="0"/>
              </a:spcBef>
              <a:spcAft>
                <a:spcPct val="0"/>
              </a:spcAft>
            </a:pPr>
            <a:endParaRPr lang="en-US" sz="1500" dirty="0">
              <a:solidFill>
                <a:srgbClr val="FFFFFF"/>
              </a:solidFill>
            </a:endParaRPr>
          </a:p>
        </p:txBody>
      </p:sp>
      <p:sp>
        <p:nvSpPr>
          <p:cNvPr id="11" name="Rectangle 10"/>
          <p:cNvSpPr/>
          <p:nvPr/>
        </p:nvSpPr>
        <p:spPr bwMode="auto">
          <a:xfrm>
            <a:off x="7626919" y="3334232"/>
            <a:ext cx="2514386" cy="3200127"/>
          </a:xfrm>
          <a:prstGeom prst="rect">
            <a:avLst/>
          </a:prstGeom>
          <a:solidFill>
            <a:schemeClr val="accent1"/>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34975" rIns="0" bIns="34975" numCol="1" rtlCol="0" anchor="t" anchorCtr="0" compatLnSpc="1">
            <a:prstTxWarp prst="textNoShape">
              <a:avLst/>
            </a:prstTxWarp>
          </a:bodyPr>
          <a:lstStyle/>
          <a:p>
            <a:pPr algn="ctr" defTabSz="699212" fontAlgn="base">
              <a:spcBef>
                <a:spcPct val="0"/>
              </a:spcBef>
              <a:spcAft>
                <a:spcPct val="0"/>
              </a:spcAft>
            </a:pPr>
            <a:r>
              <a:rPr lang="en-US" sz="2400" dirty="0">
                <a:solidFill>
                  <a:srgbClr val="FFFFFF"/>
                </a:solidFill>
              </a:rPr>
              <a:t>Efficiency</a:t>
            </a:r>
          </a:p>
        </p:txBody>
      </p:sp>
      <p:sp>
        <p:nvSpPr>
          <p:cNvPr id="12" name="Freeform 58"/>
          <p:cNvSpPr>
            <a:spLocks noChangeAspect="1" noEditPoints="1"/>
          </p:cNvSpPr>
          <p:nvPr/>
        </p:nvSpPr>
        <p:spPr bwMode="black">
          <a:xfrm>
            <a:off x="3383664" y="3905683"/>
            <a:ext cx="486201" cy="521119"/>
          </a:xfrm>
          <a:custGeom>
            <a:avLst/>
            <a:gdLst>
              <a:gd name="T0" fmla="*/ 181 w 182"/>
              <a:gd name="T1" fmla="*/ 65 h 195"/>
              <a:gd name="T2" fmla="*/ 88 w 182"/>
              <a:gd name="T3" fmla="*/ 0 h 195"/>
              <a:gd name="T4" fmla="*/ 88 w 182"/>
              <a:gd name="T5" fmla="*/ 40 h 195"/>
              <a:gd name="T6" fmla="*/ 1 w 182"/>
              <a:gd name="T7" fmla="*/ 40 h 195"/>
              <a:gd name="T8" fmla="*/ 1 w 182"/>
              <a:gd name="T9" fmla="*/ 89 h 195"/>
              <a:gd name="T10" fmla="*/ 57 w 182"/>
              <a:gd name="T11" fmla="*/ 89 h 195"/>
              <a:gd name="T12" fmla="*/ 88 w 182"/>
              <a:gd name="T13" fmla="*/ 68 h 195"/>
              <a:gd name="T14" fmla="*/ 88 w 182"/>
              <a:gd name="T15" fmla="*/ 130 h 195"/>
              <a:gd name="T16" fmla="*/ 181 w 182"/>
              <a:gd name="T17" fmla="*/ 65 h 195"/>
              <a:gd name="T18" fmla="*/ 19 w 182"/>
              <a:gd name="T19" fmla="*/ 127 h 195"/>
              <a:gd name="T20" fmla="*/ 88 w 182"/>
              <a:gd name="T21" fmla="*/ 172 h 195"/>
              <a:gd name="T22" fmla="*/ 88 w 182"/>
              <a:gd name="T23" fmla="*/ 142 h 195"/>
              <a:gd name="T24" fmla="*/ 178 w 182"/>
              <a:gd name="T25" fmla="*/ 142 h 195"/>
              <a:gd name="T26" fmla="*/ 178 w 182"/>
              <a:gd name="T27" fmla="*/ 153 h 195"/>
              <a:gd name="T28" fmla="*/ 100 w 182"/>
              <a:gd name="T29" fmla="*/ 153 h 195"/>
              <a:gd name="T30" fmla="*/ 100 w 182"/>
              <a:gd name="T31" fmla="*/ 195 h 195"/>
              <a:gd name="T32" fmla="*/ 0 w 182"/>
              <a:gd name="T33" fmla="*/ 127 h 195"/>
              <a:gd name="T34" fmla="*/ 19 w 182"/>
              <a:gd name="T35" fmla="*/ 127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2" h="195">
                <a:moveTo>
                  <a:pt x="181" y="65"/>
                </a:moveTo>
                <a:cubicBezTo>
                  <a:pt x="88" y="0"/>
                  <a:pt x="88" y="0"/>
                  <a:pt x="88" y="0"/>
                </a:cubicBezTo>
                <a:cubicBezTo>
                  <a:pt x="88" y="40"/>
                  <a:pt x="88" y="40"/>
                  <a:pt x="88" y="40"/>
                </a:cubicBezTo>
                <a:cubicBezTo>
                  <a:pt x="1" y="40"/>
                  <a:pt x="1" y="40"/>
                  <a:pt x="1" y="40"/>
                </a:cubicBezTo>
                <a:cubicBezTo>
                  <a:pt x="1" y="89"/>
                  <a:pt x="1" y="89"/>
                  <a:pt x="1" y="89"/>
                </a:cubicBezTo>
                <a:cubicBezTo>
                  <a:pt x="57" y="89"/>
                  <a:pt x="57" y="89"/>
                  <a:pt x="57" y="89"/>
                </a:cubicBezTo>
                <a:cubicBezTo>
                  <a:pt x="88" y="68"/>
                  <a:pt x="88" y="68"/>
                  <a:pt x="88" y="68"/>
                </a:cubicBezTo>
                <a:cubicBezTo>
                  <a:pt x="88" y="130"/>
                  <a:pt x="88" y="130"/>
                  <a:pt x="88" y="130"/>
                </a:cubicBezTo>
                <a:cubicBezTo>
                  <a:pt x="181" y="65"/>
                  <a:pt x="181" y="65"/>
                  <a:pt x="181" y="65"/>
                </a:cubicBezTo>
                <a:close/>
                <a:moveTo>
                  <a:pt x="19" y="127"/>
                </a:moveTo>
                <a:cubicBezTo>
                  <a:pt x="88" y="172"/>
                  <a:pt x="88" y="172"/>
                  <a:pt x="88" y="172"/>
                </a:cubicBezTo>
                <a:cubicBezTo>
                  <a:pt x="88" y="142"/>
                  <a:pt x="88" y="142"/>
                  <a:pt x="88" y="142"/>
                </a:cubicBezTo>
                <a:cubicBezTo>
                  <a:pt x="178" y="142"/>
                  <a:pt x="178" y="142"/>
                  <a:pt x="178" y="142"/>
                </a:cubicBezTo>
                <a:cubicBezTo>
                  <a:pt x="182" y="142"/>
                  <a:pt x="182" y="153"/>
                  <a:pt x="178" y="153"/>
                </a:cubicBezTo>
                <a:cubicBezTo>
                  <a:pt x="100" y="153"/>
                  <a:pt x="100" y="153"/>
                  <a:pt x="100" y="153"/>
                </a:cubicBezTo>
                <a:cubicBezTo>
                  <a:pt x="100" y="195"/>
                  <a:pt x="100" y="195"/>
                  <a:pt x="100" y="195"/>
                </a:cubicBezTo>
                <a:cubicBezTo>
                  <a:pt x="0" y="127"/>
                  <a:pt x="0" y="127"/>
                  <a:pt x="0" y="127"/>
                </a:cubicBezTo>
                <a:cubicBezTo>
                  <a:pt x="19" y="127"/>
                  <a:pt x="19" y="127"/>
                  <a:pt x="19" y="127"/>
                </a:cubicBezTo>
                <a:close/>
              </a:path>
            </a:pathLst>
          </a:custGeom>
          <a:solidFill>
            <a:srgbClr val="FFFFFF"/>
          </a:solidFill>
          <a:ln>
            <a:noFill/>
          </a:ln>
        </p:spPr>
        <p:txBody>
          <a:bodyPr vert="horz" wrap="square" lIns="62952" tIns="31477" rIns="62952" bIns="31477" numCol="1" anchor="t" anchorCtr="0" compatLnSpc="1">
            <a:prstTxWarp prst="textNoShape">
              <a:avLst/>
            </a:prstTxWarp>
          </a:bodyPr>
          <a:lstStyle/>
          <a:p>
            <a:endParaRPr lang="en-US" sz="1224">
              <a:solidFill>
                <a:srgbClr val="FFFFFF"/>
              </a:solidFill>
              <a:cs typeface="Segoe UI" panose="020B0502040204020203" pitchFamily="34" charset="0"/>
            </a:endParaRPr>
          </a:p>
        </p:txBody>
      </p:sp>
      <p:sp>
        <p:nvSpPr>
          <p:cNvPr id="13" name="Rectangle 12"/>
          <p:cNvSpPr/>
          <p:nvPr/>
        </p:nvSpPr>
        <p:spPr>
          <a:xfrm>
            <a:off x="2369572" y="4588076"/>
            <a:ext cx="2400095" cy="1338828"/>
          </a:xfrm>
          <a:prstGeom prst="rect">
            <a:avLst/>
          </a:prstGeom>
          <a:ln>
            <a:noFill/>
          </a:ln>
        </p:spPr>
        <p:txBody>
          <a:bodyPr wrap="square">
            <a:spAutoFit/>
          </a:bodyPr>
          <a:lstStyle/>
          <a:p>
            <a:pPr marL="257144" indent="-257144" defTabSz="699212" fontAlgn="base">
              <a:spcBef>
                <a:spcPct val="0"/>
              </a:spcBef>
              <a:spcAft>
                <a:spcPct val="0"/>
              </a:spcAft>
              <a:buFont typeface="Arial" panose="020B0604020202020204" pitchFamily="34" charset="0"/>
              <a:buChar char="•"/>
            </a:pPr>
            <a:r>
              <a:rPr lang="en-US" sz="1350" dirty="0">
                <a:solidFill>
                  <a:srgbClr val="FFFFFF"/>
                </a:solidFill>
              </a:rPr>
              <a:t>In almost every case, content utilizing a CDN will be much closer to the end-user, resulting in faster delivery and a better user experience </a:t>
            </a:r>
          </a:p>
        </p:txBody>
      </p:sp>
      <p:sp>
        <p:nvSpPr>
          <p:cNvPr id="14" name="Rectangle 13"/>
          <p:cNvSpPr/>
          <p:nvPr/>
        </p:nvSpPr>
        <p:spPr>
          <a:xfrm>
            <a:off x="5008804" y="4588073"/>
            <a:ext cx="2514386" cy="1338828"/>
          </a:xfrm>
          <a:prstGeom prst="rect">
            <a:avLst/>
          </a:prstGeom>
          <a:ln>
            <a:noFill/>
          </a:ln>
        </p:spPr>
        <p:txBody>
          <a:bodyPr wrap="square">
            <a:spAutoFit/>
          </a:bodyPr>
          <a:lstStyle/>
          <a:p>
            <a:pPr marL="257144" indent="-257144" defTabSz="699212" fontAlgn="base">
              <a:spcBef>
                <a:spcPct val="0"/>
              </a:spcBef>
              <a:spcAft>
                <a:spcPct val="0"/>
              </a:spcAft>
              <a:buFont typeface="Arial" panose="020B0604020202020204" pitchFamily="34" charset="0"/>
              <a:buChar char="•"/>
            </a:pPr>
            <a:r>
              <a:rPr lang="en-US" sz="1350" dirty="0">
                <a:solidFill>
                  <a:srgbClr val="FFFFFF"/>
                </a:solidFill>
              </a:rPr>
              <a:t>The CDN spreads out content, replicating that content across the globe, resulting in reduced demand on any given server</a:t>
            </a:r>
          </a:p>
        </p:txBody>
      </p:sp>
      <p:sp>
        <p:nvSpPr>
          <p:cNvPr id="15" name="Freeform 426"/>
          <p:cNvSpPr>
            <a:spLocks/>
          </p:cNvSpPr>
          <p:nvPr/>
        </p:nvSpPr>
        <p:spPr bwMode="auto">
          <a:xfrm>
            <a:off x="6034016" y="3960688"/>
            <a:ext cx="188715" cy="188627"/>
          </a:xfrm>
          <a:custGeom>
            <a:avLst/>
            <a:gdLst>
              <a:gd name="T0" fmla="*/ 0 w 300"/>
              <a:gd name="T1" fmla="*/ 0 h 304"/>
              <a:gd name="T2" fmla="*/ 0 w 300"/>
              <a:gd name="T3" fmla="*/ 231 h 304"/>
              <a:gd name="T4" fmla="*/ 70 w 300"/>
              <a:gd name="T5" fmla="*/ 160 h 304"/>
              <a:gd name="T6" fmla="*/ 212 w 300"/>
              <a:gd name="T7" fmla="*/ 304 h 304"/>
              <a:gd name="T8" fmla="*/ 300 w 300"/>
              <a:gd name="T9" fmla="*/ 215 h 304"/>
              <a:gd name="T10" fmla="*/ 158 w 300"/>
              <a:gd name="T11" fmla="*/ 71 h 304"/>
              <a:gd name="T12" fmla="*/ 229 w 300"/>
              <a:gd name="T13" fmla="*/ 0 h 304"/>
              <a:gd name="T14" fmla="*/ 0 w 300"/>
              <a:gd name="T15" fmla="*/ 0 h 30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0" h="304">
                <a:moveTo>
                  <a:pt x="0" y="0"/>
                </a:moveTo>
                <a:lnTo>
                  <a:pt x="0" y="231"/>
                </a:lnTo>
                <a:lnTo>
                  <a:pt x="70" y="160"/>
                </a:lnTo>
                <a:lnTo>
                  <a:pt x="212" y="304"/>
                </a:lnTo>
                <a:lnTo>
                  <a:pt x="300" y="215"/>
                </a:lnTo>
                <a:lnTo>
                  <a:pt x="158" y="71"/>
                </a:lnTo>
                <a:lnTo>
                  <a:pt x="229" y="0"/>
                </a:lnTo>
                <a:lnTo>
                  <a:pt x="0" y="0"/>
                </a:lnTo>
                <a:close/>
              </a:path>
            </a:pathLst>
          </a:custGeom>
          <a:solidFill>
            <a:srgbClr val="FFFFFF"/>
          </a:solidFill>
          <a:ln w="31750" cap="sq">
            <a:noFill/>
            <a:miter lim="800000"/>
            <a:headEnd/>
            <a:tailEnd/>
          </a:ln>
          <a:extLst/>
        </p:spPr>
        <p:txBody>
          <a:bodyPr vert="horz" wrap="square" lIns="69939" tIns="34969" rIns="69939" bIns="34969" numCol="1" anchor="t" anchorCtr="0" compatLnSpc="1">
            <a:prstTxWarp prst="textNoShape">
              <a:avLst/>
            </a:prstTxWarp>
          </a:bodyPr>
          <a:lstStyle/>
          <a:p>
            <a:endParaRPr lang="en-US" sz="1377">
              <a:solidFill>
                <a:srgbClr val="FFFFFF"/>
              </a:solidFill>
              <a:cs typeface="Segoe UI" panose="020B0502040204020203" pitchFamily="34" charset="0"/>
            </a:endParaRPr>
          </a:p>
        </p:txBody>
      </p:sp>
      <p:sp>
        <p:nvSpPr>
          <p:cNvPr id="16" name="Freeform 427"/>
          <p:cNvSpPr>
            <a:spLocks/>
          </p:cNvSpPr>
          <p:nvPr/>
        </p:nvSpPr>
        <p:spPr bwMode="auto">
          <a:xfrm>
            <a:off x="6255441" y="3960688"/>
            <a:ext cx="188715" cy="188627"/>
          </a:xfrm>
          <a:custGeom>
            <a:avLst/>
            <a:gdLst>
              <a:gd name="T0" fmla="*/ 300 w 300"/>
              <a:gd name="T1" fmla="*/ 0 h 304"/>
              <a:gd name="T2" fmla="*/ 300 w 300"/>
              <a:gd name="T3" fmla="*/ 231 h 304"/>
              <a:gd name="T4" fmla="*/ 229 w 300"/>
              <a:gd name="T5" fmla="*/ 160 h 304"/>
              <a:gd name="T6" fmla="*/ 87 w 300"/>
              <a:gd name="T7" fmla="*/ 304 h 304"/>
              <a:gd name="T8" fmla="*/ 0 w 300"/>
              <a:gd name="T9" fmla="*/ 215 h 304"/>
              <a:gd name="T10" fmla="*/ 141 w 300"/>
              <a:gd name="T11" fmla="*/ 71 h 304"/>
              <a:gd name="T12" fmla="*/ 70 w 300"/>
              <a:gd name="T13" fmla="*/ 0 h 304"/>
              <a:gd name="T14" fmla="*/ 300 w 300"/>
              <a:gd name="T15" fmla="*/ 0 h 30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0" h="304">
                <a:moveTo>
                  <a:pt x="300" y="0"/>
                </a:moveTo>
                <a:lnTo>
                  <a:pt x="300" y="231"/>
                </a:lnTo>
                <a:lnTo>
                  <a:pt x="229" y="160"/>
                </a:lnTo>
                <a:lnTo>
                  <a:pt x="87" y="304"/>
                </a:lnTo>
                <a:lnTo>
                  <a:pt x="0" y="215"/>
                </a:lnTo>
                <a:lnTo>
                  <a:pt x="141" y="71"/>
                </a:lnTo>
                <a:lnTo>
                  <a:pt x="70" y="0"/>
                </a:lnTo>
                <a:lnTo>
                  <a:pt x="300" y="0"/>
                </a:lnTo>
                <a:close/>
              </a:path>
            </a:pathLst>
          </a:custGeom>
          <a:solidFill>
            <a:srgbClr val="FFFFFF"/>
          </a:solidFill>
          <a:ln w="31750" cap="sq">
            <a:noFill/>
            <a:miter lim="800000"/>
            <a:headEnd/>
            <a:tailEnd/>
          </a:ln>
          <a:extLst/>
        </p:spPr>
        <p:txBody>
          <a:bodyPr vert="horz" wrap="square" lIns="69939" tIns="34969" rIns="69939" bIns="34969" numCol="1" anchor="t" anchorCtr="0" compatLnSpc="1">
            <a:prstTxWarp prst="textNoShape">
              <a:avLst/>
            </a:prstTxWarp>
          </a:bodyPr>
          <a:lstStyle/>
          <a:p>
            <a:endParaRPr lang="en-US" sz="1377">
              <a:solidFill>
                <a:srgbClr val="FFFFFF"/>
              </a:solidFill>
              <a:cs typeface="Segoe UI" panose="020B0502040204020203" pitchFamily="34" charset="0"/>
            </a:endParaRPr>
          </a:p>
        </p:txBody>
      </p:sp>
      <p:sp>
        <p:nvSpPr>
          <p:cNvPr id="17" name="Freeform 428"/>
          <p:cNvSpPr>
            <a:spLocks/>
          </p:cNvSpPr>
          <p:nvPr/>
        </p:nvSpPr>
        <p:spPr bwMode="auto">
          <a:xfrm>
            <a:off x="6034016" y="4181577"/>
            <a:ext cx="188715" cy="189248"/>
          </a:xfrm>
          <a:custGeom>
            <a:avLst/>
            <a:gdLst>
              <a:gd name="T0" fmla="*/ 0 w 300"/>
              <a:gd name="T1" fmla="*/ 305 h 305"/>
              <a:gd name="T2" fmla="*/ 0 w 300"/>
              <a:gd name="T3" fmla="*/ 74 h 305"/>
              <a:gd name="T4" fmla="*/ 70 w 300"/>
              <a:gd name="T5" fmla="*/ 145 h 305"/>
              <a:gd name="T6" fmla="*/ 212 w 300"/>
              <a:gd name="T7" fmla="*/ 0 h 305"/>
              <a:gd name="T8" fmla="*/ 300 w 300"/>
              <a:gd name="T9" fmla="*/ 90 h 305"/>
              <a:gd name="T10" fmla="*/ 158 w 300"/>
              <a:gd name="T11" fmla="*/ 234 h 305"/>
              <a:gd name="T12" fmla="*/ 229 w 300"/>
              <a:gd name="T13" fmla="*/ 305 h 305"/>
              <a:gd name="T14" fmla="*/ 0 w 300"/>
              <a:gd name="T15" fmla="*/ 305 h 30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0" h="305">
                <a:moveTo>
                  <a:pt x="0" y="305"/>
                </a:moveTo>
                <a:lnTo>
                  <a:pt x="0" y="74"/>
                </a:lnTo>
                <a:lnTo>
                  <a:pt x="70" y="145"/>
                </a:lnTo>
                <a:lnTo>
                  <a:pt x="212" y="0"/>
                </a:lnTo>
                <a:lnTo>
                  <a:pt x="300" y="90"/>
                </a:lnTo>
                <a:lnTo>
                  <a:pt x="158" y="234"/>
                </a:lnTo>
                <a:lnTo>
                  <a:pt x="229" y="305"/>
                </a:lnTo>
                <a:lnTo>
                  <a:pt x="0" y="305"/>
                </a:lnTo>
                <a:close/>
              </a:path>
            </a:pathLst>
          </a:custGeom>
          <a:solidFill>
            <a:srgbClr val="FFFFFF"/>
          </a:solidFill>
          <a:ln w="31750" cap="sq">
            <a:noFill/>
            <a:miter lim="800000"/>
            <a:headEnd/>
            <a:tailEnd/>
          </a:ln>
          <a:extLst/>
        </p:spPr>
        <p:txBody>
          <a:bodyPr vert="horz" wrap="square" lIns="69939" tIns="34969" rIns="69939" bIns="34969" numCol="1" anchor="t" anchorCtr="0" compatLnSpc="1">
            <a:prstTxWarp prst="textNoShape">
              <a:avLst/>
            </a:prstTxWarp>
          </a:bodyPr>
          <a:lstStyle/>
          <a:p>
            <a:endParaRPr lang="en-US" sz="1377">
              <a:solidFill>
                <a:srgbClr val="FFFFFF"/>
              </a:solidFill>
              <a:cs typeface="Segoe UI" panose="020B0502040204020203" pitchFamily="34" charset="0"/>
            </a:endParaRPr>
          </a:p>
        </p:txBody>
      </p:sp>
      <p:sp>
        <p:nvSpPr>
          <p:cNvPr id="18" name="Freeform 429"/>
          <p:cNvSpPr>
            <a:spLocks/>
          </p:cNvSpPr>
          <p:nvPr/>
        </p:nvSpPr>
        <p:spPr bwMode="auto">
          <a:xfrm>
            <a:off x="6255441" y="4181577"/>
            <a:ext cx="188715" cy="189248"/>
          </a:xfrm>
          <a:custGeom>
            <a:avLst/>
            <a:gdLst>
              <a:gd name="T0" fmla="*/ 300 w 300"/>
              <a:gd name="T1" fmla="*/ 305 h 305"/>
              <a:gd name="T2" fmla="*/ 300 w 300"/>
              <a:gd name="T3" fmla="*/ 74 h 305"/>
              <a:gd name="T4" fmla="*/ 229 w 300"/>
              <a:gd name="T5" fmla="*/ 145 h 305"/>
              <a:gd name="T6" fmla="*/ 87 w 300"/>
              <a:gd name="T7" fmla="*/ 0 h 305"/>
              <a:gd name="T8" fmla="*/ 0 w 300"/>
              <a:gd name="T9" fmla="*/ 90 h 305"/>
              <a:gd name="T10" fmla="*/ 141 w 300"/>
              <a:gd name="T11" fmla="*/ 234 h 305"/>
              <a:gd name="T12" fmla="*/ 70 w 300"/>
              <a:gd name="T13" fmla="*/ 305 h 305"/>
              <a:gd name="T14" fmla="*/ 300 w 300"/>
              <a:gd name="T15" fmla="*/ 305 h 30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0" h="305">
                <a:moveTo>
                  <a:pt x="300" y="305"/>
                </a:moveTo>
                <a:lnTo>
                  <a:pt x="300" y="74"/>
                </a:lnTo>
                <a:lnTo>
                  <a:pt x="229" y="145"/>
                </a:lnTo>
                <a:lnTo>
                  <a:pt x="87" y="0"/>
                </a:lnTo>
                <a:lnTo>
                  <a:pt x="0" y="90"/>
                </a:lnTo>
                <a:lnTo>
                  <a:pt x="141" y="234"/>
                </a:lnTo>
                <a:lnTo>
                  <a:pt x="70" y="305"/>
                </a:lnTo>
                <a:lnTo>
                  <a:pt x="300" y="305"/>
                </a:lnTo>
                <a:close/>
              </a:path>
            </a:pathLst>
          </a:custGeom>
          <a:solidFill>
            <a:srgbClr val="FFFFFF"/>
          </a:solidFill>
          <a:ln w="31750" cap="sq">
            <a:noFill/>
            <a:miter lim="800000"/>
            <a:headEnd/>
            <a:tailEnd/>
          </a:ln>
          <a:extLst/>
        </p:spPr>
        <p:txBody>
          <a:bodyPr vert="horz" wrap="square" lIns="69939" tIns="34969" rIns="69939" bIns="34969" numCol="1" anchor="t" anchorCtr="0" compatLnSpc="1">
            <a:prstTxWarp prst="textNoShape">
              <a:avLst/>
            </a:prstTxWarp>
          </a:bodyPr>
          <a:lstStyle/>
          <a:p>
            <a:endParaRPr lang="en-US" sz="1377">
              <a:solidFill>
                <a:srgbClr val="FFFFFF"/>
              </a:solidFill>
              <a:cs typeface="Segoe UI" panose="020B0502040204020203" pitchFamily="34" charset="0"/>
            </a:endParaRPr>
          </a:p>
        </p:txBody>
      </p:sp>
      <p:sp>
        <p:nvSpPr>
          <p:cNvPr id="19" name="Rectangle 18"/>
          <p:cNvSpPr/>
          <p:nvPr/>
        </p:nvSpPr>
        <p:spPr>
          <a:xfrm>
            <a:off x="7604301" y="4588072"/>
            <a:ext cx="2537006" cy="1338828"/>
          </a:xfrm>
          <a:prstGeom prst="rect">
            <a:avLst/>
          </a:prstGeom>
          <a:ln>
            <a:noFill/>
          </a:ln>
        </p:spPr>
        <p:txBody>
          <a:bodyPr wrap="square">
            <a:spAutoFit/>
          </a:bodyPr>
          <a:lstStyle/>
          <a:p>
            <a:pPr marL="218549" indent="-174841" defTabSz="699160">
              <a:spcBef>
                <a:spcPts val="459"/>
              </a:spcBef>
              <a:spcAft>
                <a:spcPts val="306"/>
              </a:spcAft>
              <a:buFont typeface="Arial" panose="020B0604020202020204" pitchFamily="34" charset="0"/>
              <a:buChar char="•"/>
              <a:defRPr/>
            </a:pPr>
            <a:r>
              <a:rPr lang="en-US" sz="1350" kern="0" dirty="0">
                <a:solidFill>
                  <a:srgbClr val="FFFFFF"/>
                </a:solidFill>
                <a:ea typeface="Segoe UI" panose="020B0502040204020203" pitchFamily="34" charset="0"/>
                <a:cs typeface="Segoe UI" panose="020B0502040204020203" pitchFamily="34" charset="0"/>
              </a:rPr>
              <a:t>The CDN optimizes for delivery, allowing the customer to focus on the quality of their content, not on the delivery of that content</a:t>
            </a:r>
          </a:p>
        </p:txBody>
      </p:sp>
      <p:sp>
        <p:nvSpPr>
          <p:cNvPr id="20" name="Freeform 15"/>
          <p:cNvSpPr>
            <a:spLocks noChangeAspect="1"/>
          </p:cNvSpPr>
          <p:nvPr/>
        </p:nvSpPr>
        <p:spPr bwMode="auto">
          <a:xfrm>
            <a:off x="8761847" y="3905684"/>
            <a:ext cx="244541" cy="449073"/>
          </a:xfrm>
          <a:custGeom>
            <a:avLst/>
            <a:gdLst>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41426"/>
              <a:gd name="connsiteY0" fmla="*/ 0 h 4914900"/>
              <a:gd name="connsiteX1" fmla="*/ 1676400 w 2641426"/>
              <a:gd name="connsiteY1" fmla="*/ 0 h 4914900"/>
              <a:gd name="connsiteX2" fmla="*/ 1676400 w 2641426"/>
              <a:gd name="connsiteY2" fmla="*/ 523875 h 4914900"/>
              <a:gd name="connsiteX3" fmla="*/ 2466975 w 2641426"/>
              <a:gd name="connsiteY3" fmla="*/ 647700 h 4914900"/>
              <a:gd name="connsiteX4" fmla="*/ 2466975 w 2641426"/>
              <a:gd name="connsiteY4" fmla="*/ 1628775 h 4914900"/>
              <a:gd name="connsiteX5" fmla="*/ 1276350 w 2641426"/>
              <a:gd name="connsiteY5" fmla="*/ 1400175 h 4914900"/>
              <a:gd name="connsiteX6" fmla="*/ 1238250 w 2641426"/>
              <a:gd name="connsiteY6" fmla="*/ 1800225 h 4914900"/>
              <a:gd name="connsiteX7" fmla="*/ 2638425 w 2641426"/>
              <a:gd name="connsiteY7" fmla="*/ 3276600 h 4914900"/>
              <a:gd name="connsiteX8" fmla="*/ 1685925 w 2641426"/>
              <a:gd name="connsiteY8" fmla="*/ 4305300 h 4914900"/>
              <a:gd name="connsiteX9" fmla="*/ 1685925 w 2641426"/>
              <a:gd name="connsiteY9" fmla="*/ 4914900 h 4914900"/>
              <a:gd name="connsiteX10" fmla="*/ 1038225 w 2641426"/>
              <a:gd name="connsiteY10" fmla="*/ 4914900 h 4914900"/>
              <a:gd name="connsiteX11" fmla="*/ 1038225 w 2641426"/>
              <a:gd name="connsiteY11" fmla="*/ 4381500 h 4914900"/>
              <a:gd name="connsiteX12" fmla="*/ 19050 w 2641426"/>
              <a:gd name="connsiteY12" fmla="*/ 4152900 h 4914900"/>
              <a:gd name="connsiteX13" fmla="*/ 19050 w 2641426"/>
              <a:gd name="connsiteY13" fmla="*/ 3133725 h 4914900"/>
              <a:gd name="connsiteX14" fmla="*/ 1181100 w 2641426"/>
              <a:gd name="connsiteY14" fmla="*/ 3533775 h 4914900"/>
              <a:gd name="connsiteX15" fmla="*/ 1333500 w 2641426"/>
              <a:gd name="connsiteY15" fmla="*/ 3086100 h 4914900"/>
              <a:gd name="connsiteX16" fmla="*/ 0 w 2641426"/>
              <a:gd name="connsiteY16" fmla="*/ 1447800 h 4914900"/>
              <a:gd name="connsiteX17" fmla="*/ 1038225 w 2641426"/>
              <a:gd name="connsiteY17" fmla="*/ 561975 h 4914900"/>
              <a:gd name="connsiteX18" fmla="*/ 1028700 w 2641426"/>
              <a:gd name="connsiteY18" fmla="*/ 0 h 4914900"/>
              <a:gd name="connsiteX0" fmla="*/ 1028700 w 2640867"/>
              <a:gd name="connsiteY0" fmla="*/ 0 h 4914900"/>
              <a:gd name="connsiteX1" fmla="*/ 1676400 w 2640867"/>
              <a:gd name="connsiteY1" fmla="*/ 0 h 4914900"/>
              <a:gd name="connsiteX2" fmla="*/ 1676400 w 2640867"/>
              <a:gd name="connsiteY2" fmla="*/ 523875 h 4914900"/>
              <a:gd name="connsiteX3" fmla="*/ 2466975 w 2640867"/>
              <a:gd name="connsiteY3" fmla="*/ 647700 h 4914900"/>
              <a:gd name="connsiteX4" fmla="*/ 2466975 w 2640867"/>
              <a:gd name="connsiteY4" fmla="*/ 1628775 h 4914900"/>
              <a:gd name="connsiteX5" fmla="*/ 1276350 w 2640867"/>
              <a:gd name="connsiteY5" fmla="*/ 1400175 h 4914900"/>
              <a:gd name="connsiteX6" fmla="*/ 1238250 w 2640867"/>
              <a:gd name="connsiteY6" fmla="*/ 1800225 h 4914900"/>
              <a:gd name="connsiteX7" fmla="*/ 2638425 w 2640867"/>
              <a:gd name="connsiteY7" fmla="*/ 3276600 h 4914900"/>
              <a:gd name="connsiteX8" fmla="*/ 1685925 w 2640867"/>
              <a:gd name="connsiteY8" fmla="*/ 4305300 h 4914900"/>
              <a:gd name="connsiteX9" fmla="*/ 1685925 w 2640867"/>
              <a:gd name="connsiteY9" fmla="*/ 4914900 h 4914900"/>
              <a:gd name="connsiteX10" fmla="*/ 1038225 w 2640867"/>
              <a:gd name="connsiteY10" fmla="*/ 4914900 h 4914900"/>
              <a:gd name="connsiteX11" fmla="*/ 1038225 w 2640867"/>
              <a:gd name="connsiteY11" fmla="*/ 4381500 h 4914900"/>
              <a:gd name="connsiteX12" fmla="*/ 19050 w 2640867"/>
              <a:gd name="connsiteY12" fmla="*/ 4152900 h 4914900"/>
              <a:gd name="connsiteX13" fmla="*/ 19050 w 2640867"/>
              <a:gd name="connsiteY13" fmla="*/ 3133725 h 4914900"/>
              <a:gd name="connsiteX14" fmla="*/ 1181100 w 2640867"/>
              <a:gd name="connsiteY14" fmla="*/ 3533775 h 4914900"/>
              <a:gd name="connsiteX15" fmla="*/ 1333500 w 2640867"/>
              <a:gd name="connsiteY15" fmla="*/ 3086100 h 4914900"/>
              <a:gd name="connsiteX16" fmla="*/ 0 w 2640867"/>
              <a:gd name="connsiteY16" fmla="*/ 1447800 h 4914900"/>
              <a:gd name="connsiteX17" fmla="*/ 1038225 w 2640867"/>
              <a:gd name="connsiteY17" fmla="*/ 561975 h 4914900"/>
              <a:gd name="connsiteX18" fmla="*/ 1028700 w 2640867"/>
              <a:gd name="connsiteY18" fmla="*/ 0 h 4914900"/>
              <a:gd name="connsiteX0" fmla="*/ 1028700 w 2646293"/>
              <a:gd name="connsiteY0" fmla="*/ 0 h 4914900"/>
              <a:gd name="connsiteX1" fmla="*/ 1676400 w 2646293"/>
              <a:gd name="connsiteY1" fmla="*/ 0 h 4914900"/>
              <a:gd name="connsiteX2" fmla="*/ 1676400 w 2646293"/>
              <a:gd name="connsiteY2" fmla="*/ 523875 h 4914900"/>
              <a:gd name="connsiteX3" fmla="*/ 2466975 w 2646293"/>
              <a:gd name="connsiteY3" fmla="*/ 647700 h 4914900"/>
              <a:gd name="connsiteX4" fmla="*/ 2466975 w 2646293"/>
              <a:gd name="connsiteY4" fmla="*/ 1628775 h 4914900"/>
              <a:gd name="connsiteX5" fmla="*/ 1276350 w 2646293"/>
              <a:gd name="connsiteY5" fmla="*/ 1400175 h 4914900"/>
              <a:gd name="connsiteX6" fmla="*/ 1238250 w 2646293"/>
              <a:gd name="connsiteY6" fmla="*/ 1800225 h 4914900"/>
              <a:gd name="connsiteX7" fmla="*/ 2638425 w 2646293"/>
              <a:gd name="connsiteY7" fmla="*/ 3276600 h 4914900"/>
              <a:gd name="connsiteX8" fmla="*/ 1685925 w 2646293"/>
              <a:gd name="connsiteY8" fmla="*/ 4305300 h 4914900"/>
              <a:gd name="connsiteX9" fmla="*/ 1685925 w 2646293"/>
              <a:gd name="connsiteY9" fmla="*/ 4914900 h 4914900"/>
              <a:gd name="connsiteX10" fmla="*/ 1038225 w 2646293"/>
              <a:gd name="connsiteY10" fmla="*/ 4914900 h 4914900"/>
              <a:gd name="connsiteX11" fmla="*/ 1038225 w 2646293"/>
              <a:gd name="connsiteY11" fmla="*/ 4381500 h 4914900"/>
              <a:gd name="connsiteX12" fmla="*/ 19050 w 2646293"/>
              <a:gd name="connsiteY12" fmla="*/ 4152900 h 4914900"/>
              <a:gd name="connsiteX13" fmla="*/ 19050 w 2646293"/>
              <a:gd name="connsiteY13" fmla="*/ 3133725 h 4914900"/>
              <a:gd name="connsiteX14" fmla="*/ 1181100 w 2646293"/>
              <a:gd name="connsiteY14" fmla="*/ 3533775 h 4914900"/>
              <a:gd name="connsiteX15" fmla="*/ 1333500 w 2646293"/>
              <a:gd name="connsiteY15" fmla="*/ 3086100 h 4914900"/>
              <a:gd name="connsiteX16" fmla="*/ 0 w 2646293"/>
              <a:gd name="connsiteY16" fmla="*/ 1447800 h 4914900"/>
              <a:gd name="connsiteX17" fmla="*/ 1038225 w 2646293"/>
              <a:gd name="connsiteY17" fmla="*/ 561975 h 4914900"/>
              <a:gd name="connsiteX18" fmla="*/ 1028700 w 2646293"/>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64796 w 2682440"/>
              <a:gd name="connsiteY0" fmla="*/ 0 h 4914900"/>
              <a:gd name="connsiteX1" fmla="*/ 1712496 w 2682440"/>
              <a:gd name="connsiteY1" fmla="*/ 0 h 4914900"/>
              <a:gd name="connsiteX2" fmla="*/ 1712496 w 2682440"/>
              <a:gd name="connsiteY2" fmla="*/ 523875 h 4914900"/>
              <a:gd name="connsiteX3" fmla="*/ 2503071 w 2682440"/>
              <a:gd name="connsiteY3" fmla="*/ 647700 h 4914900"/>
              <a:gd name="connsiteX4" fmla="*/ 2503071 w 2682440"/>
              <a:gd name="connsiteY4" fmla="*/ 1628775 h 4914900"/>
              <a:gd name="connsiteX5" fmla="*/ 1312446 w 2682440"/>
              <a:gd name="connsiteY5" fmla="*/ 1400175 h 4914900"/>
              <a:gd name="connsiteX6" fmla="*/ 1274346 w 2682440"/>
              <a:gd name="connsiteY6" fmla="*/ 1800225 h 4914900"/>
              <a:gd name="connsiteX7" fmla="*/ 2674521 w 2682440"/>
              <a:gd name="connsiteY7" fmla="*/ 3276600 h 4914900"/>
              <a:gd name="connsiteX8" fmla="*/ 1722021 w 2682440"/>
              <a:gd name="connsiteY8" fmla="*/ 4305300 h 4914900"/>
              <a:gd name="connsiteX9" fmla="*/ 1722021 w 2682440"/>
              <a:gd name="connsiteY9" fmla="*/ 4914900 h 4914900"/>
              <a:gd name="connsiteX10" fmla="*/ 1074321 w 2682440"/>
              <a:gd name="connsiteY10" fmla="*/ 4914900 h 4914900"/>
              <a:gd name="connsiteX11" fmla="*/ 1074321 w 2682440"/>
              <a:gd name="connsiteY11" fmla="*/ 4381500 h 4914900"/>
              <a:gd name="connsiteX12" fmla="*/ 55146 w 2682440"/>
              <a:gd name="connsiteY12" fmla="*/ 4152900 h 4914900"/>
              <a:gd name="connsiteX13" fmla="*/ 55146 w 2682440"/>
              <a:gd name="connsiteY13" fmla="*/ 3133725 h 4914900"/>
              <a:gd name="connsiteX14" fmla="*/ 1217196 w 2682440"/>
              <a:gd name="connsiteY14" fmla="*/ 3533775 h 4914900"/>
              <a:gd name="connsiteX15" fmla="*/ 1369596 w 2682440"/>
              <a:gd name="connsiteY15" fmla="*/ 3086100 h 4914900"/>
              <a:gd name="connsiteX16" fmla="*/ 36096 w 2682440"/>
              <a:gd name="connsiteY16" fmla="*/ 1447800 h 4914900"/>
              <a:gd name="connsiteX17" fmla="*/ 1074321 w 2682440"/>
              <a:gd name="connsiteY17" fmla="*/ 561975 h 4914900"/>
              <a:gd name="connsiteX18" fmla="*/ 1064796 w 2682440"/>
              <a:gd name="connsiteY18" fmla="*/ 0 h 4914900"/>
              <a:gd name="connsiteX0" fmla="*/ 1065400 w 2683044"/>
              <a:gd name="connsiteY0" fmla="*/ 0 h 4914900"/>
              <a:gd name="connsiteX1" fmla="*/ 1713100 w 2683044"/>
              <a:gd name="connsiteY1" fmla="*/ 0 h 4914900"/>
              <a:gd name="connsiteX2" fmla="*/ 1713100 w 2683044"/>
              <a:gd name="connsiteY2" fmla="*/ 523875 h 4914900"/>
              <a:gd name="connsiteX3" fmla="*/ 2503675 w 2683044"/>
              <a:gd name="connsiteY3" fmla="*/ 647700 h 4914900"/>
              <a:gd name="connsiteX4" fmla="*/ 2503675 w 2683044"/>
              <a:gd name="connsiteY4" fmla="*/ 1628775 h 4914900"/>
              <a:gd name="connsiteX5" fmla="*/ 1313050 w 2683044"/>
              <a:gd name="connsiteY5" fmla="*/ 1400175 h 4914900"/>
              <a:gd name="connsiteX6" fmla="*/ 1274950 w 2683044"/>
              <a:gd name="connsiteY6" fmla="*/ 1800225 h 4914900"/>
              <a:gd name="connsiteX7" fmla="*/ 2675125 w 2683044"/>
              <a:gd name="connsiteY7" fmla="*/ 3276600 h 4914900"/>
              <a:gd name="connsiteX8" fmla="*/ 1722625 w 2683044"/>
              <a:gd name="connsiteY8" fmla="*/ 4305300 h 4914900"/>
              <a:gd name="connsiteX9" fmla="*/ 1722625 w 2683044"/>
              <a:gd name="connsiteY9" fmla="*/ 4914900 h 4914900"/>
              <a:gd name="connsiteX10" fmla="*/ 1074925 w 2683044"/>
              <a:gd name="connsiteY10" fmla="*/ 4914900 h 4914900"/>
              <a:gd name="connsiteX11" fmla="*/ 1074925 w 2683044"/>
              <a:gd name="connsiteY11" fmla="*/ 4381500 h 4914900"/>
              <a:gd name="connsiteX12" fmla="*/ 55750 w 2683044"/>
              <a:gd name="connsiteY12" fmla="*/ 4152900 h 4914900"/>
              <a:gd name="connsiteX13" fmla="*/ 55750 w 2683044"/>
              <a:gd name="connsiteY13" fmla="*/ 3133725 h 4914900"/>
              <a:gd name="connsiteX14" fmla="*/ 1217800 w 2683044"/>
              <a:gd name="connsiteY14" fmla="*/ 3533775 h 4914900"/>
              <a:gd name="connsiteX15" fmla="*/ 1370200 w 2683044"/>
              <a:gd name="connsiteY15" fmla="*/ 3086100 h 4914900"/>
              <a:gd name="connsiteX16" fmla="*/ 36700 w 2683044"/>
              <a:gd name="connsiteY16" fmla="*/ 1447800 h 4914900"/>
              <a:gd name="connsiteX17" fmla="*/ 1074925 w 2683044"/>
              <a:gd name="connsiteY17" fmla="*/ 561975 h 4914900"/>
              <a:gd name="connsiteX18" fmla="*/ 1065400 w 2683044"/>
              <a:gd name="connsiteY18" fmla="*/ 0 h 4914900"/>
              <a:gd name="connsiteX0" fmla="*/ 1061280 w 2678924"/>
              <a:gd name="connsiteY0" fmla="*/ 0 h 4914900"/>
              <a:gd name="connsiteX1" fmla="*/ 1708980 w 2678924"/>
              <a:gd name="connsiteY1" fmla="*/ 0 h 4914900"/>
              <a:gd name="connsiteX2" fmla="*/ 1708980 w 2678924"/>
              <a:gd name="connsiteY2" fmla="*/ 523875 h 4914900"/>
              <a:gd name="connsiteX3" fmla="*/ 2499555 w 2678924"/>
              <a:gd name="connsiteY3" fmla="*/ 647700 h 4914900"/>
              <a:gd name="connsiteX4" fmla="*/ 2499555 w 2678924"/>
              <a:gd name="connsiteY4" fmla="*/ 1628775 h 4914900"/>
              <a:gd name="connsiteX5" fmla="*/ 1308930 w 2678924"/>
              <a:gd name="connsiteY5" fmla="*/ 1400175 h 4914900"/>
              <a:gd name="connsiteX6" fmla="*/ 1270830 w 2678924"/>
              <a:gd name="connsiteY6" fmla="*/ 1800225 h 4914900"/>
              <a:gd name="connsiteX7" fmla="*/ 2671005 w 2678924"/>
              <a:gd name="connsiteY7" fmla="*/ 3276600 h 4914900"/>
              <a:gd name="connsiteX8" fmla="*/ 1718505 w 2678924"/>
              <a:gd name="connsiteY8" fmla="*/ 4305300 h 4914900"/>
              <a:gd name="connsiteX9" fmla="*/ 1718505 w 2678924"/>
              <a:gd name="connsiteY9" fmla="*/ 4914900 h 4914900"/>
              <a:gd name="connsiteX10" fmla="*/ 1070805 w 2678924"/>
              <a:gd name="connsiteY10" fmla="*/ 4914900 h 4914900"/>
              <a:gd name="connsiteX11" fmla="*/ 1070805 w 2678924"/>
              <a:gd name="connsiteY11" fmla="*/ 4381500 h 4914900"/>
              <a:gd name="connsiteX12" fmla="*/ 51630 w 2678924"/>
              <a:gd name="connsiteY12" fmla="*/ 4152900 h 4914900"/>
              <a:gd name="connsiteX13" fmla="*/ 51630 w 2678924"/>
              <a:gd name="connsiteY13" fmla="*/ 3133725 h 4914900"/>
              <a:gd name="connsiteX14" fmla="*/ 1213680 w 2678924"/>
              <a:gd name="connsiteY14" fmla="*/ 3533775 h 4914900"/>
              <a:gd name="connsiteX15" fmla="*/ 1366080 w 2678924"/>
              <a:gd name="connsiteY15" fmla="*/ 3086100 h 4914900"/>
              <a:gd name="connsiteX16" fmla="*/ 32580 w 2678924"/>
              <a:gd name="connsiteY16" fmla="*/ 1447800 h 4914900"/>
              <a:gd name="connsiteX17" fmla="*/ 1070805 w 2678924"/>
              <a:gd name="connsiteY17" fmla="*/ 561975 h 4914900"/>
              <a:gd name="connsiteX18" fmla="*/ 1061280 w 2678924"/>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676383" h="4914900">
                <a:moveTo>
                  <a:pt x="1058739" y="0"/>
                </a:moveTo>
                <a:lnTo>
                  <a:pt x="1706439" y="0"/>
                </a:lnTo>
                <a:lnTo>
                  <a:pt x="1706439" y="523875"/>
                </a:lnTo>
                <a:cubicBezTo>
                  <a:pt x="2008064" y="531813"/>
                  <a:pt x="2233489" y="573087"/>
                  <a:pt x="2497014" y="647700"/>
                </a:cubicBezTo>
                <a:lnTo>
                  <a:pt x="2497014" y="1628775"/>
                </a:lnTo>
                <a:cubicBezTo>
                  <a:pt x="2047752" y="1390650"/>
                  <a:pt x="1488951" y="1281112"/>
                  <a:pt x="1306389" y="1400175"/>
                </a:cubicBezTo>
                <a:cubicBezTo>
                  <a:pt x="1127001" y="1471613"/>
                  <a:pt x="1142876" y="1714500"/>
                  <a:pt x="1268289" y="1800225"/>
                </a:cubicBezTo>
                <a:cubicBezTo>
                  <a:pt x="1425452" y="2020888"/>
                  <a:pt x="2792289" y="2236787"/>
                  <a:pt x="2668464" y="3276600"/>
                </a:cubicBezTo>
                <a:cubicBezTo>
                  <a:pt x="2608139" y="4000500"/>
                  <a:pt x="1966789" y="4233862"/>
                  <a:pt x="1715964" y="4305300"/>
                </a:cubicBezTo>
                <a:lnTo>
                  <a:pt x="1715964" y="4914900"/>
                </a:lnTo>
                <a:lnTo>
                  <a:pt x="1068264" y="4914900"/>
                </a:lnTo>
                <a:lnTo>
                  <a:pt x="1068264" y="4381500"/>
                </a:lnTo>
                <a:cubicBezTo>
                  <a:pt x="685676" y="4371975"/>
                  <a:pt x="222127" y="4267200"/>
                  <a:pt x="49089" y="4152900"/>
                </a:cubicBezTo>
                <a:lnTo>
                  <a:pt x="49089" y="3133725"/>
                </a:lnTo>
                <a:cubicBezTo>
                  <a:pt x="403102" y="3438525"/>
                  <a:pt x="923802" y="3562350"/>
                  <a:pt x="1211139" y="3533775"/>
                </a:cubicBezTo>
                <a:cubicBezTo>
                  <a:pt x="1490539" y="3503613"/>
                  <a:pt x="1498476" y="3201988"/>
                  <a:pt x="1363539" y="3086100"/>
                </a:cubicBezTo>
                <a:cubicBezTo>
                  <a:pt x="1176215" y="2820987"/>
                  <a:pt x="-220786" y="2727324"/>
                  <a:pt x="30039" y="1447800"/>
                </a:cubicBezTo>
                <a:cubicBezTo>
                  <a:pt x="142751" y="795338"/>
                  <a:pt x="798389" y="585787"/>
                  <a:pt x="1068264" y="561975"/>
                </a:cubicBezTo>
                <a:lnTo>
                  <a:pt x="1058739" y="0"/>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39" tIns="34969" rIns="34969" bIns="69939" numCol="1" spcCol="0" rtlCol="0" fromWordArt="0" anchor="b" anchorCtr="0" forceAA="0" compatLnSpc="1">
            <a:prstTxWarp prst="textNoShape">
              <a:avLst/>
            </a:prstTxWarp>
            <a:noAutofit/>
          </a:bodyPr>
          <a:lstStyle/>
          <a:p>
            <a:pPr algn="ctr" defTabSz="699131" fontAlgn="base">
              <a:spcBef>
                <a:spcPct val="0"/>
              </a:spcBef>
              <a:spcAft>
                <a:spcPct val="0"/>
              </a:spcAft>
            </a:pPr>
            <a:endParaRPr lang="en-US" sz="1377" spc="-38" dirty="0" err="1">
              <a:gradFill>
                <a:gsLst>
                  <a:gs pos="0">
                    <a:srgbClr val="FFFFFF"/>
                  </a:gs>
                  <a:gs pos="100000">
                    <a:srgbClr val="FFFFFF"/>
                  </a:gs>
                </a:gsLst>
                <a:lin ang="5400000" scaled="0"/>
              </a:gradFill>
              <a:ea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336005264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2"/>
                                        </p:tgtEl>
                                        <p:attrNameLst>
                                          <p:attrName>style.visibility</p:attrName>
                                        </p:attrNameLst>
                                      </p:cBhvr>
                                      <p:to>
                                        <p:strVal val="visible"/>
                                      </p:to>
                                    </p:set>
                                    <p:animEffect transition="in" filter="fade">
                                      <p:cBhvr>
                                        <p:cTn id="10" dur="500"/>
                                        <p:tgtEl>
                                          <p:spTgt spid="12"/>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13"/>
                                        </p:tgtEl>
                                        <p:attrNameLst>
                                          <p:attrName>style.visibility</p:attrName>
                                        </p:attrNameLst>
                                      </p:cBhvr>
                                      <p:to>
                                        <p:strVal val="visible"/>
                                      </p:to>
                                    </p:set>
                                    <p:animEffect transition="in" filter="fade">
                                      <p:cBhvr>
                                        <p:cTn id="13" dur="500"/>
                                        <p:tgtEl>
                                          <p:spTgt spid="13"/>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grpId="0" nodeType="clickEffect">
                                  <p:stCondLst>
                                    <p:cond delay="0"/>
                                  </p:stCondLst>
                                  <p:childTnLst>
                                    <p:set>
                                      <p:cBhvr>
                                        <p:cTn id="17" dur="1" fill="hold">
                                          <p:stCondLst>
                                            <p:cond delay="0"/>
                                          </p:stCondLst>
                                        </p:cTn>
                                        <p:tgtEl>
                                          <p:spTgt spid="10"/>
                                        </p:tgtEl>
                                        <p:attrNameLst>
                                          <p:attrName>style.visibility</p:attrName>
                                        </p:attrNameLst>
                                      </p:cBhvr>
                                      <p:to>
                                        <p:strVal val="visible"/>
                                      </p:to>
                                    </p:set>
                                    <p:animEffect transition="in" filter="fade">
                                      <p:cBhvr>
                                        <p:cTn id="18" dur="500"/>
                                        <p:tgtEl>
                                          <p:spTgt spid="10"/>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14"/>
                                        </p:tgtEl>
                                        <p:attrNameLst>
                                          <p:attrName>style.visibility</p:attrName>
                                        </p:attrNameLst>
                                      </p:cBhvr>
                                      <p:to>
                                        <p:strVal val="visible"/>
                                      </p:to>
                                    </p:set>
                                    <p:animEffect transition="in" filter="fade">
                                      <p:cBhvr>
                                        <p:cTn id="21" dur="500"/>
                                        <p:tgtEl>
                                          <p:spTgt spid="14"/>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15"/>
                                        </p:tgtEl>
                                        <p:attrNameLst>
                                          <p:attrName>style.visibility</p:attrName>
                                        </p:attrNameLst>
                                      </p:cBhvr>
                                      <p:to>
                                        <p:strVal val="visible"/>
                                      </p:to>
                                    </p:set>
                                    <p:animEffect transition="in" filter="fade">
                                      <p:cBhvr>
                                        <p:cTn id="24" dur="500"/>
                                        <p:tgtEl>
                                          <p:spTgt spid="15"/>
                                        </p:tgtEl>
                                      </p:cBhvr>
                                    </p:animEffect>
                                  </p:childTnLst>
                                </p:cTn>
                              </p:par>
                              <p:par>
                                <p:cTn id="25" presetID="10" presetClass="entr" presetSubtype="0" fill="hold" grpId="0" nodeType="withEffect">
                                  <p:stCondLst>
                                    <p:cond delay="0"/>
                                  </p:stCondLst>
                                  <p:childTnLst>
                                    <p:set>
                                      <p:cBhvr>
                                        <p:cTn id="26" dur="1" fill="hold">
                                          <p:stCondLst>
                                            <p:cond delay="0"/>
                                          </p:stCondLst>
                                        </p:cTn>
                                        <p:tgtEl>
                                          <p:spTgt spid="16"/>
                                        </p:tgtEl>
                                        <p:attrNameLst>
                                          <p:attrName>style.visibility</p:attrName>
                                        </p:attrNameLst>
                                      </p:cBhvr>
                                      <p:to>
                                        <p:strVal val="visible"/>
                                      </p:to>
                                    </p:set>
                                    <p:animEffect transition="in" filter="fade">
                                      <p:cBhvr>
                                        <p:cTn id="27" dur="500"/>
                                        <p:tgtEl>
                                          <p:spTgt spid="16"/>
                                        </p:tgtEl>
                                      </p:cBhvr>
                                    </p:animEffect>
                                  </p:childTnLst>
                                </p:cTn>
                              </p:par>
                              <p:par>
                                <p:cTn id="28" presetID="10" presetClass="entr" presetSubtype="0" fill="hold" grpId="0" nodeType="withEffect">
                                  <p:stCondLst>
                                    <p:cond delay="0"/>
                                  </p:stCondLst>
                                  <p:childTnLst>
                                    <p:set>
                                      <p:cBhvr>
                                        <p:cTn id="29" dur="1" fill="hold">
                                          <p:stCondLst>
                                            <p:cond delay="0"/>
                                          </p:stCondLst>
                                        </p:cTn>
                                        <p:tgtEl>
                                          <p:spTgt spid="17"/>
                                        </p:tgtEl>
                                        <p:attrNameLst>
                                          <p:attrName>style.visibility</p:attrName>
                                        </p:attrNameLst>
                                      </p:cBhvr>
                                      <p:to>
                                        <p:strVal val="visible"/>
                                      </p:to>
                                    </p:set>
                                    <p:animEffect transition="in" filter="fade">
                                      <p:cBhvr>
                                        <p:cTn id="30" dur="500"/>
                                        <p:tgtEl>
                                          <p:spTgt spid="17"/>
                                        </p:tgtEl>
                                      </p:cBhvr>
                                    </p:animEffect>
                                  </p:childTnLst>
                                </p:cTn>
                              </p:par>
                              <p:par>
                                <p:cTn id="31" presetID="10" presetClass="entr" presetSubtype="0" fill="hold" grpId="0" nodeType="withEffect">
                                  <p:stCondLst>
                                    <p:cond delay="0"/>
                                  </p:stCondLst>
                                  <p:childTnLst>
                                    <p:set>
                                      <p:cBhvr>
                                        <p:cTn id="32" dur="1" fill="hold">
                                          <p:stCondLst>
                                            <p:cond delay="0"/>
                                          </p:stCondLst>
                                        </p:cTn>
                                        <p:tgtEl>
                                          <p:spTgt spid="18"/>
                                        </p:tgtEl>
                                        <p:attrNameLst>
                                          <p:attrName>style.visibility</p:attrName>
                                        </p:attrNameLst>
                                      </p:cBhvr>
                                      <p:to>
                                        <p:strVal val="visible"/>
                                      </p:to>
                                    </p:set>
                                    <p:animEffect transition="in" filter="fade">
                                      <p:cBhvr>
                                        <p:cTn id="33" dur="500"/>
                                        <p:tgtEl>
                                          <p:spTgt spid="18"/>
                                        </p:tgtEl>
                                      </p:cBhvr>
                                    </p:animEffect>
                                  </p:childTnLst>
                                </p:cTn>
                              </p:par>
                            </p:childTnLst>
                          </p:cTn>
                        </p:par>
                      </p:childTnLst>
                    </p:cTn>
                  </p:par>
                  <p:par>
                    <p:cTn id="34" fill="hold">
                      <p:stCondLst>
                        <p:cond delay="indefinite"/>
                      </p:stCondLst>
                      <p:childTnLst>
                        <p:par>
                          <p:cTn id="35" fill="hold">
                            <p:stCondLst>
                              <p:cond delay="0"/>
                            </p:stCondLst>
                            <p:childTnLst>
                              <p:par>
                                <p:cTn id="36" presetID="10" presetClass="entr" presetSubtype="0" fill="hold" grpId="0" nodeType="clickEffect">
                                  <p:stCondLst>
                                    <p:cond delay="0"/>
                                  </p:stCondLst>
                                  <p:childTnLst>
                                    <p:set>
                                      <p:cBhvr>
                                        <p:cTn id="37" dur="1" fill="hold">
                                          <p:stCondLst>
                                            <p:cond delay="0"/>
                                          </p:stCondLst>
                                        </p:cTn>
                                        <p:tgtEl>
                                          <p:spTgt spid="11"/>
                                        </p:tgtEl>
                                        <p:attrNameLst>
                                          <p:attrName>style.visibility</p:attrName>
                                        </p:attrNameLst>
                                      </p:cBhvr>
                                      <p:to>
                                        <p:strVal val="visible"/>
                                      </p:to>
                                    </p:set>
                                    <p:animEffect transition="in" filter="fade">
                                      <p:cBhvr>
                                        <p:cTn id="38" dur="500"/>
                                        <p:tgtEl>
                                          <p:spTgt spid="11"/>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19"/>
                                        </p:tgtEl>
                                        <p:attrNameLst>
                                          <p:attrName>style.visibility</p:attrName>
                                        </p:attrNameLst>
                                      </p:cBhvr>
                                      <p:to>
                                        <p:strVal val="visible"/>
                                      </p:to>
                                    </p:set>
                                    <p:animEffect transition="in" filter="fade">
                                      <p:cBhvr>
                                        <p:cTn id="41" dur="500"/>
                                        <p:tgtEl>
                                          <p:spTgt spid="19"/>
                                        </p:tgtEl>
                                      </p:cBhvr>
                                    </p:animEffect>
                                  </p:childTnLst>
                                </p:cTn>
                              </p:par>
                              <p:par>
                                <p:cTn id="42" presetID="10" presetClass="entr" presetSubtype="0" fill="hold" grpId="0" nodeType="withEffect">
                                  <p:stCondLst>
                                    <p:cond delay="0"/>
                                  </p:stCondLst>
                                  <p:childTnLst>
                                    <p:set>
                                      <p:cBhvr>
                                        <p:cTn id="43" dur="1" fill="hold">
                                          <p:stCondLst>
                                            <p:cond delay="0"/>
                                          </p:stCondLst>
                                        </p:cTn>
                                        <p:tgtEl>
                                          <p:spTgt spid="20"/>
                                        </p:tgtEl>
                                        <p:attrNameLst>
                                          <p:attrName>style.visibility</p:attrName>
                                        </p:attrNameLst>
                                      </p:cBhvr>
                                      <p:to>
                                        <p:strVal val="visible"/>
                                      </p:to>
                                    </p:set>
                                    <p:animEffect transition="in" filter="fade">
                                      <p:cBhvr>
                                        <p:cTn id="44" dur="500"/>
                                        <p:tgtEl>
                                          <p:spTgt spid="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10" grpId="0" animBg="1"/>
      <p:bldP spid="11" grpId="0" animBg="1"/>
      <p:bldP spid="12" grpId="0" animBg="1"/>
      <p:bldP spid="13" grpId="0"/>
      <p:bldP spid="14" grpId="0"/>
      <p:bldP spid="15" grpId="0" animBg="1"/>
      <p:bldP spid="16" grpId="0" animBg="1"/>
      <p:bldP spid="17" grpId="0" animBg="1"/>
      <p:bldP spid="18" grpId="0" animBg="1"/>
      <p:bldP spid="19" grpId="0"/>
      <p:bldP spid="20" grpId="0" animBg="1"/>
    </p:bldLst>
  </p:timing>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66167" y="1212851"/>
            <a:ext cx="11538617" cy="2135969"/>
          </a:xfrm>
        </p:spPr>
        <p:txBody>
          <a:bodyPr/>
          <a:lstStyle/>
          <a:p>
            <a:pPr marL="0" indent="0">
              <a:buNone/>
            </a:pPr>
            <a:r>
              <a:rPr lang="en-US" sz="2400" dirty="0"/>
              <a:t>Azure’s CDN is a network of severs deployed in multiple datacenters across the Internet that can get your content from where you are to where your customers are consuming more quickly than the Internet alone.</a:t>
            </a:r>
          </a:p>
          <a:p>
            <a:pPr marL="342900" lvl="1" indent="-342900"/>
            <a:r>
              <a:rPr lang="en-US" dirty="0"/>
              <a:t>Typically, CDN networks are used for static content such as media, images, or documents which are read more than written to. The following are examples:</a:t>
            </a:r>
          </a:p>
          <a:p>
            <a:pPr marL="0" indent="0">
              <a:buNone/>
            </a:pPr>
            <a:endParaRPr lang="en-US" sz="2000" dirty="0"/>
          </a:p>
        </p:txBody>
      </p:sp>
      <p:sp>
        <p:nvSpPr>
          <p:cNvPr id="3" name="Title 2"/>
          <p:cNvSpPr>
            <a:spLocks noGrp="1"/>
          </p:cNvSpPr>
          <p:nvPr>
            <p:ph type="title"/>
          </p:nvPr>
        </p:nvSpPr>
        <p:spPr/>
        <p:txBody>
          <a:bodyPr/>
          <a:lstStyle/>
          <a:p>
            <a:r>
              <a:rPr lang="en-US" dirty="0"/>
              <a:t>Content Delivery Network model</a:t>
            </a:r>
          </a:p>
        </p:txBody>
      </p:sp>
      <p:pic>
        <p:nvPicPr>
          <p:cNvPr id="21" name="Picture 20"/>
          <p:cNvPicPr>
            <a:picLocks noChangeAspect="1"/>
          </p:cNvPicPr>
          <p:nvPr/>
        </p:nvPicPr>
        <p:blipFill>
          <a:blip r:embed="rId3"/>
          <a:stretch>
            <a:fillRect/>
          </a:stretch>
        </p:blipFill>
        <p:spPr>
          <a:xfrm>
            <a:off x="507761" y="3057565"/>
            <a:ext cx="6477000" cy="3636451"/>
          </a:xfrm>
          <a:prstGeom prst="rect">
            <a:avLst/>
          </a:prstGeom>
        </p:spPr>
      </p:pic>
    </p:spTree>
    <p:extLst>
      <p:ext uri="{BB962C8B-B14F-4D97-AF65-F5344CB8AC3E}">
        <p14:creationId xmlns:p14="http://schemas.microsoft.com/office/powerpoint/2010/main" val="2194685455"/>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bg>
      <p:bgPr>
        <a:solidFill>
          <a:srgbClr val="002050"/>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solidFill>
                  <a:schemeClr val="bg1"/>
                </a:solidFill>
              </a:rPr>
              <a:t>Developing a hybrid cloud strategy</a:t>
            </a:r>
          </a:p>
        </p:txBody>
      </p:sp>
      <p:grpSp>
        <p:nvGrpSpPr>
          <p:cNvPr id="6" name="Group 5"/>
          <p:cNvGrpSpPr/>
          <p:nvPr/>
        </p:nvGrpSpPr>
        <p:grpSpPr>
          <a:xfrm>
            <a:off x="3476983" y="3271869"/>
            <a:ext cx="981140" cy="2398934"/>
            <a:chOff x="2556229" y="2405959"/>
            <a:chExt cx="721686" cy="1764558"/>
          </a:xfrm>
          <a:solidFill>
            <a:schemeClr val="accent2">
              <a:lumMod val="60000"/>
              <a:lumOff val="40000"/>
            </a:schemeClr>
          </a:solidFill>
        </p:grpSpPr>
        <p:sp>
          <p:nvSpPr>
            <p:cNvPr id="7" name="Bent Arrow 6"/>
            <p:cNvSpPr/>
            <p:nvPr/>
          </p:nvSpPr>
          <p:spPr>
            <a:xfrm>
              <a:off x="2928953" y="2405959"/>
              <a:ext cx="348962" cy="882279"/>
            </a:xfrm>
            <a:prstGeom prst="bentArrow">
              <a:avLst>
                <a:gd name="adj1" fmla="val 31043"/>
                <a:gd name="adj2" fmla="val 29317"/>
                <a:gd name="adj3" fmla="val 25000"/>
                <a:gd name="adj4" fmla="val 54973"/>
              </a:avLst>
            </a:prstGeom>
            <a:grpFill/>
            <a:ln w="25400" cap="flat" cmpd="sng" algn="ctr">
              <a:noFill/>
              <a:prstDash val="solid"/>
            </a:ln>
            <a:effectLst/>
          </p:spPr>
          <p:txBody>
            <a:bodyPr rtlCol="0" anchor="ctr"/>
            <a:lstStyle/>
            <a:p>
              <a:pPr marL="0" marR="0" lvl="0" indent="0" algn="ctr" defTabSz="822593" rtl="0" eaLnBrk="1" fontAlgn="auto" latinLnBrk="0" hangingPunct="1">
                <a:lnSpc>
                  <a:spcPct val="100000"/>
                </a:lnSpc>
                <a:spcBef>
                  <a:spcPts val="0"/>
                </a:spcBef>
                <a:spcAft>
                  <a:spcPts val="0"/>
                </a:spcAft>
                <a:buClrTx/>
                <a:buSzTx/>
                <a:buFontTx/>
                <a:buNone/>
                <a:tabLst/>
                <a:defRPr/>
              </a:pPr>
              <a:endParaRPr kumimoji="0" lang="en-US" sz="1620" b="0" i="0" u="none" strike="noStrike" kern="0" cap="none" spc="0" normalizeH="0" baseline="0" noProof="0">
                <a:ln>
                  <a:noFill/>
                </a:ln>
                <a:solidFill>
                  <a:srgbClr val="FFFFFF"/>
                </a:solidFill>
                <a:effectLst/>
                <a:uLnTx/>
                <a:uFillTx/>
                <a:latin typeface="Segoe UI"/>
                <a:ea typeface="+mn-ea"/>
                <a:cs typeface="+mn-cs"/>
              </a:endParaRPr>
            </a:p>
          </p:txBody>
        </p:sp>
        <p:sp>
          <p:nvSpPr>
            <p:cNvPr id="8" name="Rectangle 7"/>
            <p:cNvSpPr/>
            <p:nvPr/>
          </p:nvSpPr>
          <p:spPr>
            <a:xfrm>
              <a:off x="2556229" y="3224486"/>
              <a:ext cx="475874" cy="111162"/>
            </a:xfrm>
            <a:prstGeom prst="rect">
              <a:avLst/>
            </a:prstGeom>
            <a:grpFill/>
            <a:ln w="25400" cap="flat" cmpd="sng" algn="ctr">
              <a:noFill/>
              <a:prstDash val="solid"/>
            </a:ln>
            <a:effectLst/>
          </p:spPr>
          <p:txBody>
            <a:bodyPr rtlCol="0" anchor="ctr"/>
            <a:lstStyle/>
            <a:p>
              <a:pPr marL="0" marR="0" lvl="0" indent="0" algn="ctr" defTabSz="822593" rtl="0" eaLnBrk="1" fontAlgn="auto" latinLnBrk="0" hangingPunct="1">
                <a:lnSpc>
                  <a:spcPct val="100000"/>
                </a:lnSpc>
                <a:spcBef>
                  <a:spcPts val="0"/>
                </a:spcBef>
                <a:spcAft>
                  <a:spcPts val="0"/>
                </a:spcAft>
                <a:buClrTx/>
                <a:buSzTx/>
                <a:buFontTx/>
                <a:buNone/>
                <a:tabLst/>
                <a:defRPr/>
              </a:pPr>
              <a:endParaRPr kumimoji="0" lang="en-US" sz="1620" b="0" i="0" u="none" strike="noStrike" kern="0" cap="none" spc="0" normalizeH="0" baseline="0" noProof="0">
                <a:ln>
                  <a:noFill/>
                </a:ln>
                <a:solidFill>
                  <a:srgbClr val="FFFFFF"/>
                </a:solidFill>
                <a:effectLst/>
                <a:uLnTx/>
                <a:uFillTx/>
                <a:latin typeface="Segoe UI"/>
                <a:ea typeface="+mn-ea"/>
                <a:cs typeface="+mn-cs"/>
              </a:endParaRPr>
            </a:p>
          </p:txBody>
        </p:sp>
        <p:sp>
          <p:nvSpPr>
            <p:cNvPr id="9" name="Bent Arrow 8"/>
            <p:cNvSpPr/>
            <p:nvPr/>
          </p:nvSpPr>
          <p:spPr>
            <a:xfrm flipV="1">
              <a:off x="2928953" y="3288238"/>
              <a:ext cx="348962" cy="882279"/>
            </a:xfrm>
            <a:prstGeom prst="bentArrow">
              <a:avLst>
                <a:gd name="adj1" fmla="val 31043"/>
                <a:gd name="adj2" fmla="val 29317"/>
                <a:gd name="adj3" fmla="val 25000"/>
                <a:gd name="adj4" fmla="val 54973"/>
              </a:avLst>
            </a:prstGeom>
            <a:grpFill/>
            <a:ln w="25400" cap="flat" cmpd="sng" algn="ctr">
              <a:noFill/>
              <a:prstDash val="solid"/>
            </a:ln>
            <a:effectLst/>
          </p:spPr>
          <p:txBody>
            <a:bodyPr rtlCol="0" anchor="ctr"/>
            <a:lstStyle/>
            <a:p>
              <a:pPr marL="0" marR="0" lvl="0" indent="0" algn="ctr" defTabSz="822593" rtl="0" eaLnBrk="1" fontAlgn="auto" latinLnBrk="0" hangingPunct="1">
                <a:lnSpc>
                  <a:spcPct val="100000"/>
                </a:lnSpc>
                <a:spcBef>
                  <a:spcPts val="0"/>
                </a:spcBef>
                <a:spcAft>
                  <a:spcPts val="0"/>
                </a:spcAft>
                <a:buClrTx/>
                <a:buSzTx/>
                <a:buFontTx/>
                <a:buNone/>
                <a:tabLst/>
                <a:defRPr/>
              </a:pPr>
              <a:endParaRPr kumimoji="0" lang="en-US" sz="1620" b="0" i="0" u="none" strike="noStrike" kern="0" cap="none" spc="0" normalizeH="0" baseline="0" noProof="0">
                <a:ln>
                  <a:noFill/>
                </a:ln>
                <a:solidFill>
                  <a:srgbClr val="FFFFFF"/>
                </a:solidFill>
                <a:effectLst/>
                <a:uLnTx/>
                <a:uFillTx/>
                <a:latin typeface="Segoe UI"/>
                <a:ea typeface="+mn-ea"/>
                <a:cs typeface="+mn-cs"/>
              </a:endParaRPr>
            </a:p>
          </p:txBody>
        </p:sp>
      </p:grpSp>
      <p:grpSp>
        <p:nvGrpSpPr>
          <p:cNvPr id="10" name="Group 9"/>
          <p:cNvGrpSpPr/>
          <p:nvPr/>
        </p:nvGrpSpPr>
        <p:grpSpPr>
          <a:xfrm>
            <a:off x="221561" y="2120446"/>
            <a:ext cx="1267215" cy="4145733"/>
            <a:chOff x="161673" y="1559020"/>
            <a:chExt cx="932111" cy="3049431"/>
          </a:xfrm>
        </p:grpSpPr>
        <p:sp>
          <p:nvSpPr>
            <p:cNvPr id="11" name="Rectangle 10"/>
            <p:cNvSpPr/>
            <p:nvPr/>
          </p:nvSpPr>
          <p:spPr>
            <a:xfrm>
              <a:off x="161673" y="1891380"/>
              <a:ext cx="932111" cy="2717071"/>
            </a:xfrm>
            <a:prstGeom prst="rect">
              <a:avLst/>
            </a:prstGeom>
            <a:solidFill>
              <a:schemeClr val="accent2">
                <a:lumMod val="60000"/>
                <a:lumOff val="40000"/>
              </a:schemeClr>
            </a:solidFill>
            <a:ln w="25400" cap="flat" cmpd="sng" algn="ctr">
              <a:noFill/>
              <a:prstDash val="solid"/>
            </a:ln>
            <a:effectLst/>
          </p:spPr>
          <p:txBody>
            <a:bodyPr lIns="161291" tIns="145160" rIns="161291" bIns="145160" rtlCol="0" anchor="t"/>
            <a:lstStyle/>
            <a:p>
              <a:pPr marL="0" marR="0" lvl="0" indent="0" algn="l" defTabSz="822593" rtl="0" eaLnBrk="1" fontAlgn="auto" latinLnBrk="0" hangingPunct="1">
                <a:lnSpc>
                  <a:spcPct val="90000"/>
                </a:lnSpc>
                <a:spcBef>
                  <a:spcPts val="0"/>
                </a:spcBef>
                <a:spcAft>
                  <a:spcPts val="0"/>
                </a:spcAft>
                <a:buClrTx/>
                <a:buSzTx/>
                <a:buFontTx/>
                <a:buNone/>
                <a:tabLst/>
                <a:defRPr/>
              </a:pPr>
              <a:r>
                <a:rPr kumimoji="0" lang="en-US" sz="1598" b="0" i="0" u="none" strike="noStrike" kern="0" cap="none" spc="0" normalizeH="0" baseline="0" noProof="0">
                  <a:ln>
                    <a:noFill/>
                  </a:ln>
                  <a:gradFill>
                    <a:gsLst>
                      <a:gs pos="0">
                        <a:srgbClr val="FFFFFF"/>
                      </a:gs>
                      <a:gs pos="100000">
                        <a:srgbClr val="FFFFFF"/>
                      </a:gs>
                    </a:gsLst>
                    <a:lin ang="10800000" scaled="1"/>
                  </a:gradFill>
                  <a:effectLst/>
                  <a:uLnTx/>
                  <a:uFillTx/>
                  <a:latin typeface="Segoe UI"/>
                  <a:ea typeface="+mn-ea"/>
                  <a:cs typeface="+mn-cs"/>
                </a:rPr>
                <a:t>Physical Servers and Virtual Machines</a:t>
              </a:r>
            </a:p>
            <a:p>
              <a:pPr marL="0" marR="0" lvl="0" indent="0" algn="l" defTabSz="822593" rtl="0" eaLnBrk="1" fontAlgn="auto" latinLnBrk="0" hangingPunct="1">
                <a:lnSpc>
                  <a:spcPct val="90000"/>
                </a:lnSpc>
                <a:spcBef>
                  <a:spcPts val="0"/>
                </a:spcBef>
                <a:spcAft>
                  <a:spcPts val="0"/>
                </a:spcAft>
                <a:buClrTx/>
                <a:buSzTx/>
                <a:buFontTx/>
                <a:buNone/>
                <a:tabLst/>
                <a:defRPr/>
              </a:pPr>
              <a:endParaRPr kumimoji="0" lang="en-US" sz="1598" b="0" i="0" u="none" strike="noStrike" kern="0" cap="none" spc="0" normalizeH="0" baseline="0" noProof="0">
                <a:ln>
                  <a:noFill/>
                </a:ln>
                <a:gradFill>
                  <a:gsLst>
                    <a:gs pos="0">
                      <a:srgbClr val="FFFFFF"/>
                    </a:gs>
                    <a:gs pos="100000">
                      <a:srgbClr val="FFFFFF"/>
                    </a:gs>
                  </a:gsLst>
                  <a:lin ang="10800000" scaled="1"/>
                </a:gradFill>
                <a:effectLst/>
                <a:uLnTx/>
                <a:uFillTx/>
                <a:latin typeface="Segoe UI"/>
                <a:ea typeface="+mn-ea"/>
                <a:cs typeface="+mn-cs"/>
              </a:endParaRPr>
            </a:p>
            <a:p>
              <a:pPr marL="0" marR="0" lvl="0" indent="0" algn="l" defTabSz="822593" rtl="0" eaLnBrk="1" fontAlgn="auto" latinLnBrk="0" hangingPunct="1">
                <a:lnSpc>
                  <a:spcPct val="90000"/>
                </a:lnSpc>
                <a:spcBef>
                  <a:spcPts val="0"/>
                </a:spcBef>
                <a:spcAft>
                  <a:spcPts val="0"/>
                </a:spcAft>
                <a:buClrTx/>
                <a:buSzTx/>
                <a:buFontTx/>
                <a:buNone/>
                <a:tabLst/>
                <a:defRPr/>
              </a:pPr>
              <a:r>
                <a:rPr kumimoji="0" lang="en-US" sz="1598" b="0" i="0" u="none" strike="noStrike" kern="0" cap="none" spc="0" normalizeH="0" baseline="0" noProof="0">
                  <a:ln>
                    <a:noFill/>
                  </a:ln>
                  <a:gradFill>
                    <a:gsLst>
                      <a:gs pos="0">
                        <a:srgbClr val="FFFFFF"/>
                      </a:gs>
                      <a:gs pos="100000">
                        <a:srgbClr val="FFFFFF"/>
                      </a:gs>
                    </a:gsLst>
                    <a:lin ang="10800000" scaled="1"/>
                  </a:gradFill>
                  <a:effectLst/>
                  <a:uLnTx/>
                  <a:uFillTx/>
                  <a:latin typeface="Segoe UI"/>
                  <a:ea typeface="+mn-ea"/>
                  <a:cs typeface="+mn-cs"/>
                </a:rPr>
                <a:t>On-premises, non-cloud</a:t>
              </a:r>
            </a:p>
          </p:txBody>
        </p:sp>
        <p:sp>
          <p:nvSpPr>
            <p:cNvPr id="12" name="TextBox 11"/>
            <p:cNvSpPr txBox="1"/>
            <p:nvPr/>
          </p:nvSpPr>
          <p:spPr>
            <a:xfrm>
              <a:off x="161673" y="1559020"/>
              <a:ext cx="932111" cy="281401"/>
            </a:xfrm>
            <a:prstGeom prst="rect">
              <a:avLst/>
            </a:prstGeom>
            <a:noFill/>
          </p:spPr>
          <p:txBody>
            <a:bodyPr wrap="none" lIns="109648" tIns="49726" rIns="109648" bIns="54823" rtlCol="0" anchor="t" anchorCtr="0">
              <a:noAutofit/>
            </a:bodyPr>
            <a:lstStyle/>
            <a:p>
              <a:pPr marL="0" marR="0" lvl="0" indent="-157473" algn="ctr" defTabSz="822593" rtl="0" eaLnBrk="1" fontAlgn="base" latinLnBrk="0" hangingPunct="1">
                <a:lnSpc>
                  <a:spcPct val="100000"/>
                </a:lnSpc>
                <a:spcBef>
                  <a:spcPct val="0"/>
                </a:spcBef>
                <a:spcAft>
                  <a:spcPct val="0"/>
                </a:spcAft>
                <a:buClr>
                  <a:srgbClr val="FFFFFF"/>
                </a:buClr>
                <a:buSzPct val="120000"/>
                <a:buFontTx/>
                <a:buNone/>
                <a:tabLst/>
                <a:defRPr/>
              </a:pPr>
              <a:r>
                <a:rPr kumimoji="0" lang="en-US" sz="1801" b="0" i="0" u="none" strike="noStrike" kern="0" cap="none" spc="0" normalizeH="0" baseline="0" noProof="0">
                  <a:ln>
                    <a:noFill/>
                  </a:ln>
                  <a:solidFill>
                    <a:srgbClr val="FFFFFF"/>
                  </a:solidFill>
                  <a:effectLst/>
                  <a:uLnTx/>
                  <a:uFillTx/>
                  <a:latin typeface="Segoe UI"/>
                  <a:ea typeface="+mn-ea"/>
                  <a:cs typeface="+mn-cs"/>
                </a:rPr>
                <a:t>Legacy IT</a:t>
              </a:r>
            </a:p>
          </p:txBody>
        </p:sp>
        <p:sp>
          <p:nvSpPr>
            <p:cNvPr id="13" name="Freeform 27"/>
            <p:cNvSpPr>
              <a:spLocks noEditPoints="1"/>
            </p:cNvSpPr>
            <p:nvPr/>
          </p:nvSpPr>
          <p:spPr bwMode="auto">
            <a:xfrm>
              <a:off x="303948" y="3771244"/>
              <a:ext cx="647560" cy="658378"/>
            </a:xfrm>
            <a:custGeom>
              <a:avLst/>
              <a:gdLst>
                <a:gd name="T0" fmla="*/ 86 w 184"/>
                <a:gd name="T1" fmla="*/ 186 h 186"/>
                <a:gd name="T2" fmla="*/ 98 w 184"/>
                <a:gd name="T3" fmla="*/ 0 h 186"/>
                <a:gd name="T4" fmla="*/ 184 w 184"/>
                <a:gd name="T5" fmla="*/ 0 h 186"/>
                <a:gd name="T6" fmla="*/ 13 w 184"/>
                <a:gd name="T7" fmla="*/ 19 h 186"/>
                <a:gd name="T8" fmla="*/ 67 w 184"/>
                <a:gd name="T9" fmla="*/ 25 h 186"/>
                <a:gd name="T10" fmla="*/ 67 w 184"/>
                <a:gd name="T11" fmla="*/ 13 h 186"/>
                <a:gd name="T12" fmla="*/ 64 w 184"/>
                <a:gd name="T13" fmla="*/ 23 h 186"/>
                <a:gd name="T14" fmla="*/ 61 w 184"/>
                <a:gd name="T15" fmla="*/ 19 h 186"/>
                <a:gd name="T16" fmla="*/ 13 w 184"/>
                <a:gd name="T17" fmla="*/ 43 h 186"/>
                <a:gd name="T18" fmla="*/ 67 w 184"/>
                <a:gd name="T19" fmla="*/ 50 h 186"/>
                <a:gd name="T20" fmla="*/ 67 w 184"/>
                <a:gd name="T21" fmla="*/ 38 h 186"/>
                <a:gd name="T22" fmla="*/ 64 w 184"/>
                <a:gd name="T23" fmla="*/ 47 h 186"/>
                <a:gd name="T24" fmla="*/ 61 w 184"/>
                <a:gd name="T25" fmla="*/ 44 h 186"/>
                <a:gd name="T26" fmla="*/ 13 w 184"/>
                <a:gd name="T27" fmla="*/ 68 h 186"/>
                <a:gd name="T28" fmla="*/ 67 w 184"/>
                <a:gd name="T29" fmla="*/ 74 h 186"/>
                <a:gd name="T30" fmla="*/ 67 w 184"/>
                <a:gd name="T31" fmla="*/ 63 h 186"/>
                <a:gd name="T32" fmla="*/ 64 w 184"/>
                <a:gd name="T33" fmla="*/ 72 h 186"/>
                <a:gd name="T34" fmla="*/ 61 w 184"/>
                <a:gd name="T35" fmla="*/ 68 h 186"/>
                <a:gd name="T36" fmla="*/ 13 w 184"/>
                <a:gd name="T37" fmla="*/ 93 h 186"/>
                <a:gd name="T38" fmla="*/ 67 w 184"/>
                <a:gd name="T39" fmla="*/ 99 h 186"/>
                <a:gd name="T40" fmla="*/ 67 w 184"/>
                <a:gd name="T41" fmla="*/ 87 h 186"/>
                <a:gd name="T42" fmla="*/ 64 w 184"/>
                <a:gd name="T43" fmla="*/ 96 h 186"/>
                <a:gd name="T44" fmla="*/ 61 w 184"/>
                <a:gd name="T45" fmla="*/ 93 h 186"/>
                <a:gd name="T46" fmla="*/ 13 w 184"/>
                <a:gd name="T47" fmla="*/ 117 h 186"/>
                <a:gd name="T48" fmla="*/ 67 w 184"/>
                <a:gd name="T49" fmla="*/ 124 h 186"/>
                <a:gd name="T50" fmla="*/ 67 w 184"/>
                <a:gd name="T51" fmla="*/ 112 h 186"/>
                <a:gd name="T52" fmla="*/ 64 w 184"/>
                <a:gd name="T53" fmla="*/ 121 h 186"/>
                <a:gd name="T54" fmla="*/ 61 w 184"/>
                <a:gd name="T55" fmla="*/ 118 h 186"/>
                <a:gd name="T56" fmla="*/ 13 w 184"/>
                <a:gd name="T57" fmla="*/ 142 h 186"/>
                <a:gd name="T58" fmla="*/ 67 w 184"/>
                <a:gd name="T59" fmla="*/ 148 h 186"/>
                <a:gd name="T60" fmla="*/ 67 w 184"/>
                <a:gd name="T61" fmla="*/ 136 h 186"/>
                <a:gd name="T62" fmla="*/ 64 w 184"/>
                <a:gd name="T63" fmla="*/ 146 h 186"/>
                <a:gd name="T64" fmla="*/ 61 w 184"/>
                <a:gd name="T65" fmla="*/ 142 h 186"/>
                <a:gd name="T66" fmla="*/ 166 w 184"/>
                <a:gd name="T67" fmla="*/ 25 h 186"/>
                <a:gd name="T68" fmla="*/ 111 w 184"/>
                <a:gd name="T69" fmla="*/ 19 h 186"/>
                <a:gd name="T70" fmla="*/ 166 w 184"/>
                <a:gd name="T71" fmla="*/ 13 h 186"/>
                <a:gd name="T72" fmla="*/ 162 w 184"/>
                <a:gd name="T73" fmla="*/ 23 h 186"/>
                <a:gd name="T74" fmla="*/ 159 w 184"/>
                <a:gd name="T75" fmla="*/ 19 h 186"/>
                <a:gd name="T76" fmla="*/ 166 w 184"/>
                <a:gd name="T77" fmla="*/ 50 h 186"/>
                <a:gd name="T78" fmla="*/ 111 w 184"/>
                <a:gd name="T79" fmla="*/ 43 h 186"/>
                <a:gd name="T80" fmla="*/ 166 w 184"/>
                <a:gd name="T81" fmla="*/ 38 h 186"/>
                <a:gd name="T82" fmla="*/ 162 w 184"/>
                <a:gd name="T83" fmla="*/ 47 h 186"/>
                <a:gd name="T84" fmla="*/ 159 w 184"/>
                <a:gd name="T85" fmla="*/ 44 h 186"/>
                <a:gd name="T86" fmla="*/ 166 w 184"/>
                <a:gd name="T87" fmla="*/ 74 h 186"/>
                <a:gd name="T88" fmla="*/ 111 w 184"/>
                <a:gd name="T89" fmla="*/ 68 h 186"/>
                <a:gd name="T90" fmla="*/ 166 w 184"/>
                <a:gd name="T91" fmla="*/ 63 h 186"/>
                <a:gd name="T92" fmla="*/ 162 w 184"/>
                <a:gd name="T93" fmla="*/ 72 h 186"/>
                <a:gd name="T94" fmla="*/ 159 w 184"/>
                <a:gd name="T95" fmla="*/ 68 h 186"/>
                <a:gd name="T96" fmla="*/ 166 w 184"/>
                <a:gd name="T97" fmla="*/ 99 h 186"/>
                <a:gd name="T98" fmla="*/ 111 w 184"/>
                <a:gd name="T99" fmla="*/ 93 h 186"/>
                <a:gd name="T100" fmla="*/ 166 w 184"/>
                <a:gd name="T101" fmla="*/ 87 h 186"/>
                <a:gd name="T102" fmla="*/ 162 w 184"/>
                <a:gd name="T103" fmla="*/ 96 h 186"/>
                <a:gd name="T104" fmla="*/ 159 w 184"/>
                <a:gd name="T105" fmla="*/ 93 h 186"/>
                <a:gd name="T106" fmla="*/ 166 w 184"/>
                <a:gd name="T107" fmla="*/ 124 h 186"/>
                <a:gd name="T108" fmla="*/ 111 w 184"/>
                <a:gd name="T109" fmla="*/ 117 h 186"/>
                <a:gd name="T110" fmla="*/ 166 w 184"/>
                <a:gd name="T111" fmla="*/ 112 h 186"/>
                <a:gd name="T112" fmla="*/ 162 w 184"/>
                <a:gd name="T113" fmla="*/ 121 h 186"/>
                <a:gd name="T114" fmla="*/ 159 w 184"/>
                <a:gd name="T115" fmla="*/ 118 h 186"/>
                <a:gd name="T116" fmla="*/ 166 w 184"/>
                <a:gd name="T117" fmla="*/ 148 h 186"/>
                <a:gd name="T118" fmla="*/ 111 w 184"/>
                <a:gd name="T119" fmla="*/ 142 h 186"/>
                <a:gd name="T120" fmla="*/ 166 w 184"/>
                <a:gd name="T121" fmla="*/ 136 h 186"/>
                <a:gd name="T122" fmla="*/ 162 w 184"/>
                <a:gd name="T123" fmla="*/ 146 h 186"/>
                <a:gd name="T124" fmla="*/ 159 w 184"/>
                <a:gd name="T125" fmla="*/ 142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84" h="186">
                  <a:moveTo>
                    <a:pt x="0" y="0"/>
                  </a:moveTo>
                  <a:cubicBezTo>
                    <a:pt x="86" y="0"/>
                    <a:pt x="86" y="0"/>
                    <a:pt x="86" y="0"/>
                  </a:cubicBezTo>
                  <a:cubicBezTo>
                    <a:pt x="86" y="186"/>
                    <a:pt x="86" y="186"/>
                    <a:pt x="86" y="186"/>
                  </a:cubicBezTo>
                  <a:cubicBezTo>
                    <a:pt x="0" y="186"/>
                    <a:pt x="0" y="186"/>
                    <a:pt x="0" y="186"/>
                  </a:cubicBezTo>
                  <a:lnTo>
                    <a:pt x="0" y="0"/>
                  </a:lnTo>
                  <a:close/>
                  <a:moveTo>
                    <a:pt x="98" y="0"/>
                  </a:moveTo>
                  <a:cubicBezTo>
                    <a:pt x="98" y="186"/>
                    <a:pt x="98" y="186"/>
                    <a:pt x="98" y="186"/>
                  </a:cubicBezTo>
                  <a:cubicBezTo>
                    <a:pt x="184" y="186"/>
                    <a:pt x="184" y="186"/>
                    <a:pt x="184" y="186"/>
                  </a:cubicBezTo>
                  <a:cubicBezTo>
                    <a:pt x="184" y="0"/>
                    <a:pt x="184" y="0"/>
                    <a:pt x="184" y="0"/>
                  </a:cubicBezTo>
                  <a:lnTo>
                    <a:pt x="98" y="0"/>
                  </a:lnTo>
                  <a:close/>
                  <a:moveTo>
                    <a:pt x="18" y="13"/>
                  </a:moveTo>
                  <a:cubicBezTo>
                    <a:pt x="18" y="13"/>
                    <a:pt x="13" y="13"/>
                    <a:pt x="13" y="19"/>
                  </a:cubicBezTo>
                  <a:cubicBezTo>
                    <a:pt x="13" y="20"/>
                    <a:pt x="13" y="20"/>
                    <a:pt x="13" y="20"/>
                  </a:cubicBezTo>
                  <a:cubicBezTo>
                    <a:pt x="13" y="20"/>
                    <a:pt x="13" y="25"/>
                    <a:pt x="18" y="25"/>
                  </a:cubicBezTo>
                  <a:cubicBezTo>
                    <a:pt x="67" y="25"/>
                    <a:pt x="67" y="25"/>
                    <a:pt x="67" y="25"/>
                  </a:cubicBezTo>
                  <a:cubicBezTo>
                    <a:pt x="67" y="25"/>
                    <a:pt x="73" y="25"/>
                    <a:pt x="73" y="20"/>
                  </a:cubicBezTo>
                  <a:cubicBezTo>
                    <a:pt x="73" y="19"/>
                    <a:pt x="73" y="19"/>
                    <a:pt x="73" y="19"/>
                  </a:cubicBezTo>
                  <a:cubicBezTo>
                    <a:pt x="73" y="19"/>
                    <a:pt x="73" y="13"/>
                    <a:pt x="67" y="13"/>
                  </a:cubicBezTo>
                  <a:cubicBezTo>
                    <a:pt x="45" y="13"/>
                    <a:pt x="45" y="13"/>
                    <a:pt x="45" y="13"/>
                  </a:cubicBezTo>
                  <a:lnTo>
                    <a:pt x="18" y="13"/>
                  </a:lnTo>
                  <a:close/>
                  <a:moveTo>
                    <a:pt x="64" y="23"/>
                  </a:moveTo>
                  <a:cubicBezTo>
                    <a:pt x="66" y="23"/>
                    <a:pt x="67" y="21"/>
                    <a:pt x="67" y="19"/>
                  </a:cubicBezTo>
                  <a:cubicBezTo>
                    <a:pt x="67" y="17"/>
                    <a:pt x="66" y="16"/>
                    <a:pt x="64" y="16"/>
                  </a:cubicBezTo>
                  <a:cubicBezTo>
                    <a:pt x="62" y="16"/>
                    <a:pt x="61" y="17"/>
                    <a:pt x="61" y="19"/>
                  </a:cubicBezTo>
                  <a:cubicBezTo>
                    <a:pt x="61" y="21"/>
                    <a:pt x="62" y="23"/>
                    <a:pt x="64" y="23"/>
                  </a:cubicBezTo>
                  <a:moveTo>
                    <a:pt x="18" y="38"/>
                  </a:moveTo>
                  <a:cubicBezTo>
                    <a:pt x="18" y="38"/>
                    <a:pt x="13" y="38"/>
                    <a:pt x="13" y="43"/>
                  </a:cubicBezTo>
                  <a:cubicBezTo>
                    <a:pt x="13" y="45"/>
                    <a:pt x="13" y="45"/>
                    <a:pt x="13" y="45"/>
                  </a:cubicBezTo>
                  <a:cubicBezTo>
                    <a:pt x="13" y="45"/>
                    <a:pt x="13" y="50"/>
                    <a:pt x="18" y="50"/>
                  </a:cubicBezTo>
                  <a:cubicBezTo>
                    <a:pt x="67" y="50"/>
                    <a:pt x="67" y="50"/>
                    <a:pt x="67" y="50"/>
                  </a:cubicBezTo>
                  <a:cubicBezTo>
                    <a:pt x="67" y="50"/>
                    <a:pt x="73" y="50"/>
                    <a:pt x="73" y="45"/>
                  </a:cubicBezTo>
                  <a:cubicBezTo>
                    <a:pt x="73" y="43"/>
                    <a:pt x="73" y="43"/>
                    <a:pt x="73" y="43"/>
                  </a:cubicBezTo>
                  <a:cubicBezTo>
                    <a:pt x="73" y="43"/>
                    <a:pt x="73" y="38"/>
                    <a:pt x="67" y="38"/>
                  </a:cubicBezTo>
                  <a:cubicBezTo>
                    <a:pt x="45" y="38"/>
                    <a:pt x="45" y="38"/>
                    <a:pt x="45" y="38"/>
                  </a:cubicBezTo>
                  <a:lnTo>
                    <a:pt x="18" y="38"/>
                  </a:lnTo>
                  <a:close/>
                  <a:moveTo>
                    <a:pt x="64" y="47"/>
                  </a:moveTo>
                  <a:cubicBezTo>
                    <a:pt x="66" y="47"/>
                    <a:pt x="67" y="46"/>
                    <a:pt x="67" y="44"/>
                  </a:cubicBezTo>
                  <a:cubicBezTo>
                    <a:pt x="67" y="42"/>
                    <a:pt x="66" y="41"/>
                    <a:pt x="64" y="41"/>
                  </a:cubicBezTo>
                  <a:cubicBezTo>
                    <a:pt x="62" y="41"/>
                    <a:pt x="61" y="42"/>
                    <a:pt x="61" y="44"/>
                  </a:cubicBezTo>
                  <a:cubicBezTo>
                    <a:pt x="61" y="46"/>
                    <a:pt x="62" y="47"/>
                    <a:pt x="64" y="47"/>
                  </a:cubicBezTo>
                  <a:moveTo>
                    <a:pt x="18" y="63"/>
                  </a:moveTo>
                  <a:cubicBezTo>
                    <a:pt x="18" y="63"/>
                    <a:pt x="13" y="63"/>
                    <a:pt x="13" y="68"/>
                  </a:cubicBezTo>
                  <a:cubicBezTo>
                    <a:pt x="13" y="69"/>
                    <a:pt x="13" y="69"/>
                    <a:pt x="13" y="69"/>
                  </a:cubicBezTo>
                  <a:cubicBezTo>
                    <a:pt x="13" y="69"/>
                    <a:pt x="13" y="74"/>
                    <a:pt x="18" y="74"/>
                  </a:cubicBezTo>
                  <a:cubicBezTo>
                    <a:pt x="67" y="74"/>
                    <a:pt x="67" y="74"/>
                    <a:pt x="67" y="74"/>
                  </a:cubicBezTo>
                  <a:cubicBezTo>
                    <a:pt x="67" y="74"/>
                    <a:pt x="73" y="74"/>
                    <a:pt x="73" y="69"/>
                  </a:cubicBezTo>
                  <a:cubicBezTo>
                    <a:pt x="73" y="68"/>
                    <a:pt x="73" y="68"/>
                    <a:pt x="73" y="68"/>
                  </a:cubicBezTo>
                  <a:cubicBezTo>
                    <a:pt x="73" y="68"/>
                    <a:pt x="73" y="63"/>
                    <a:pt x="67" y="63"/>
                  </a:cubicBezTo>
                  <a:cubicBezTo>
                    <a:pt x="45" y="63"/>
                    <a:pt x="45" y="63"/>
                    <a:pt x="45" y="63"/>
                  </a:cubicBezTo>
                  <a:lnTo>
                    <a:pt x="18" y="63"/>
                  </a:lnTo>
                  <a:close/>
                  <a:moveTo>
                    <a:pt x="64" y="72"/>
                  </a:moveTo>
                  <a:cubicBezTo>
                    <a:pt x="66" y="72"/>
                    <a:pt x="67" y="70"/>
                    <a:pt x="67" y="68"/>
                  </a:cubicBezTo>
                  <a:cubicBezTo>
                    <a:pt x="67" y="67"/>
                    <a:pt x="66" y="65"/>
                    <a:pt x="64" y="65"/>
                  </a:cubicBezTo>
                  <a:cubicBezTo>
                    <a:pt x="62" y="65"/>
                    <a:pt x="61" y="67"/>
                    <a:pt x="61" y="68"/>
                  </a:cubicBezTo>
                  <a:cubicBezTo>
                    <a:pt x="61" y="70"/>
                    <a:pt x="62" y="72"/>
                    <a:pt x="64" y="72"/>
                  </a:cubicBezTo>
                  <a:moveTo>
                    <a:pt x="18" y="87"/>
                  </a:moveTo>
                  <a:cubicBezTo>
                    <a:pt x="18" y="87"/>
                    <a:pt x="13" y="87"/>
                    <a:pt x="13" y="93"/>
                  </a:cubicBezTo>
                  <a:cubicBezTo>
                    <a:pt x="13" y="94"/>
                    <a:pt x="13" y="94"/>
                    <a:pt x="13" y="94"/>
                  </a:cubicBezTo>
                  <a:cubicBezTo>
                    <a:pt x="13" y="94"/>
                    <a:pt x="13" y="99"/>
                    <a:pt x="18" y="99"/>
                  </a:cubicBezTo>
                  <a:cubicBezTo>
                    <a:pt x="67" y="99"/>
                    <a:pt x="67" y="99"/>
                    <a:pt x="67" y="99"/>
                  </a:cubicBezTo>
                  <a:cubicBezTo>
                    <a:pt x="67" y="99"/>
                    <a:pt x="73" y="99"/>
                    <a:pt x="73" y="94"/>
                  </a:cubicBezTo>
                  <a:cubicBezTo>
                    <a:pt x="73" y="93"/>
                    <a:pt x="73" y="93"/>
                    <a:pt x="73" y="93"/>
                  </a:cubicBezTo>
                  <a:cubicBezTo>
                    <a:pt x="73" y="93"/>
                    <a:pt x="73" y="87"/>
                    <a:pt x="67" y="87"/>
                  </a:cubicBezTo>
                  <a:cubicBezTo>
                    <a:pt x="45" y="87"/>
                    <a:pt x="45" y="87"/>
                    <a:pt x="45" y="87"/>
                  </a:cubicBezTo>
                  <a:lnTo>
                    <a:pt x="18" y="87"/>
                  </a:lnTo>
                  <a:close/>
                  <a:moveTo>
                    <a:pt x="64" y="96"/>
                  </a:moveTo>
                  <a:cubicBezTo>
                    <a:pt x="66" y="96"/>
                    <a:pt x="67" y="95"/>
                    <a:pt x="67" y="93"/>
                  </a:cubicBezTo>
                  <a:cubicBezTo>
                    <a:pt x="67" y="91"/>
                    <a:pt x="66" y="90"/>
                    <a:pt x="64" y="90"/>
                  </a:cubicBezTo>
                  <a:cubicBezTo>
                    <a:pt x="62" y="90"/>
                    <a:pt x="61" y="91"/>
                    <a:pt x="61" y="93"/>
                  </a:cubicBezTo>
                  <a:cubicBezTo>
                    <a:pt x="61" y="95"/>
                    <a:pt x="62" y="96"/>
                    <a:pt x="64" y="96"/>
                  </a:cubicBezTo>
                  <a:moveTo>
                    <a:pt x="18" y="112"/>
                  </a:moveTo>
                  <a:cubicBezTo>
                    <a:pt x="18" y="112"/>
                    <a:pt x="13" y="112"/>
                    <a:pt x="13" y="117"/>
                  </a:cubicBezTo>
                  <a:cubicBezTo>
                    <a:pt x="13" y="118"/>
                    <a:pt x="13" y="118"/>
                    <a:pt x="13" y="118"/>
                  </a:cubicBezTo>
                  <a:cubicBezTo>
                    <a:pt x="13" y="118"/>
                    <a:pt x="13" y="124"/>
                    <a:pt x="18" y="124"/>
                  </a:cubicBezTo>
                  <a:cubicBezTo>
                    <a:pt x="67" y="124"/>
                    <a:pt x="67" y="124"/>
                    <a:pt x="67" y="124"/>
                  </a:cubicBezTo>
                  <a:cubicBezTo>
                    <a:pt x="67" y="124"/>
                    <a:pt x="73" y="124"/>
                    <a:pt x="73" y="118"/>
                  </a:cubicBezTo>
                  <a:cubicBezTo>
                    <a:pt x="73" y="117"/>
                    <a:pt x="73" y="117"/>
                    <a:pt x="73" y="117"/>
                  </a:cubicBezTo>
                  <a:cubicBezTo>
                    <a:pt x="73" y="117"/>
                    <a:pt x="73" y="112"/>
                    <a:pt x="67" y="112"/>
                  </a:cubicBezTo>
                  <a:cubicBezTo>
                    <a:pt x="45" y="112"/>
                    <a:pt x="45" y="112"/>
                    <a:pt x="45" y="112"/>
                  </a:cubicBezTo>
                  <a:lnTo>
                    <a:pt x="18" y="112"/>
                  </a:lnTo>
                  <a:close/>
                  <a:moveTo>
                    <a:pt x="64" y="121"/>
                  </a:moveTo>
                  <a:cubicBezTo>
                    <a:pt x="66" y="121"/>
                    <a:pt x="67" y="120"/>
                    <a:pt x="67" y="118"/>
                  </a:cubicBezTo>
                  <a:cubicBezTo>
                    <a:pt x="67" y="116"/>
                    <a:pt x="66" y="114"/>
                    <a:pt x="64" y="114"/>
                  </a:cubicBezTo>
                  <a:cubicBezTo>
                    <a:pt x="62" y="114"/>
                    <a:pt x="61" y="116"/>
                    <a:pt x="61" y="118"/>
                  </a:cubicBezTo>
                  <a:cubicBezTo>
                    <a:pt x="61" y="120"/>
                    <a:pt x="62" y="121"/>
                    <a:pt x="64" y="121"/>
                  </a:cubicBezTo>
                  <a:moveTo>
                    <a:pt x="18" y="136"/>
                  </a:moveTo>
                  <a:cubicBezTo>
                    <a:pt x="18" y="136"/>
                    <a:pt x="13" y="136"/>
                    <a:pt x="13" y="142"/>
                  </a:cubicBezTo>
                  <a:cubicBezTo>
                    <a:pt x="13" y="143"/>
                    <a:pt x="13" y="143"/>
                    <a:pt x="13" y="143"/>
                  </a:cubicBezTo>
                  <a:cubicBezTo>
                    <a:pt x="13" y="143"/>
                    <a:pt x="13" y="148"/>
                    <a:pt x="18" y="148"/>
                  </a:cubicBezTo>
                  <a:cubicBezTo>
                    <a:pt x="67" y="148"/>
                    <a:pt x="67" y="148"/>
                    <a:pt x="67" y="148"/>
                  </a:cubicBezTo>
                  <a:cubicBezTo>
                    <a:pt x="67" y="148"/>
                    <a:pt x="73" y="148"/>
                    <a:pt x="73" y="143"/>
                  </a:cubicBezTo>
                  <a:cubicBezTo>
                    <a:pt x="73" y="142"/>
                    <a:pt x="73" y="142"/>
                    <a:pt x="73" y="142"/>
                  </a:cubicBezTo>
                  <a:cubicBezTo>
                    <a:pt x="73" y="142"/>
                    <a:pt x="73" y="136"/>
                    <a:pt x="67" y="136"/>
                  </a:cubicBezTo>
                  <a:cubicBezTo>
                    <a:pt x="45" y="136"/>
                    <a:pt x="45" y="136"/>
                    <a:pt x="45" y="136"/>
                  </a:cubicBezTo>
                  <a:lnTo>
                    <a:pt x="18" y="136"/>
                  </a:lnTo>
                  <a:close/>
                  <a:moveTo>
                    <a:pt x="64" y="146"/>
                  </a:moveTo>
                  <a:cubicBezTo>
                    <a:pt x="66" y="146"/>
                    <a:pt x="67" y="144"/>
                    <a:pt x="67" y="142"/>
                  </a:cubicBezTo>
                  <a:cubicBezTo>
                    <a:pt x="67" y="141"/>
                    <a:pt x="66" y="139"/>
                    <a:pt x="64" y="139"/>
                  </a:cubicBezTo>
                  <a:cubicBezTo>
                    <a:pt x="62" y="139"/>
                    <a:pt x="61" y="141"/>
                    <a:pt x="61" y="142"/>
                  </a:cubicBezTo>
                  <a:cubicBezTo>
                    <a:pt x="61" y="144"/>
                    <a:pt x="62" y="146"/>
                    <a:pt x="64" y="146"/>
                  </a:cubicBezTo>
                  <a:moveTo>
                    <a:pt x="171" y="20"/>
                  </a:moveTo>
                  <a:cubicBezTo>
                    <a:pt x="171" y="25"/>
                    <a:pt x="166" y="25"/>
                    <a:pt x="166" y="25"/>
                  </a:cubicBezTo>
                  <a:cubicBezTo>
                    <a:pt x="117" y="25"/>
                    <a:pt x="117" y="25"/>
                    <a:pt x="117" y="25"/>
                  </a:cubicBezTo>
                  <a:cubicBezTo>
                    <a:pt x="111" y="25"/>
                    <a:pt x="111" y="20"/>
                    <a:pt x="111" y="20"/>
                  </a:cubicBezTo>
                  <a:cubicBezTo>
                    <a:pt x="111" y="19"/>
                    <a:pt x="111" y="19"/>
                    <a:pt x="111" y="19"/>
                  </a:cubicBezTo>
                  <a:cubicBezTo>
                    <a:pt x="111" y="13"/>
                    <a:pt x="117" y="13"/>
                    <a:pt x="117" y="13"/>
                  </a:cubicBezTo>
                  <a:cubicBezTo>
                    <a:pt x="143" y="13"/>
                    <a:pt x="143" y="13"/>
                    <a:pt x="143" y="13"/>
                  </a:cubicBezTo>
                  <a:cubicBezTo>
                    <a:pt x="166" y="13"/>
                    <a:pt x="166" y="13"/>
                    <a:pt x="166" y="13"/>
                  </a:cubicBezTo>
                  <a:cubicBezTo>
                    <a:pt x="171" y="13"/>
                    <a:pt x="171" y="19"/>
                    <a:pt x="171" y="19"/>
                  </a:cubicBezTo>
                  <a:lnTo>
                    <a:pt x="171" y="20"/>
                  </a:lnTo>
                  <a:close/>
                  <a:moveTo>
                    <a:pt x="162" y="23"/>
                  </a:moveTo>
                  <a:cubicBezTo>
                    <a:pt x="164" y="23"/>
                    <a:pt x="165" y="21"/>
                    <a:pt x="165" y="19"/>
                  </a:cubicBezTo>
                  <a:cubicBezTo>
                    <a:pt x="165" y="17"/>
                    <a:pt x="164" y="16"/>
                    <a:pt x="162" y="16"/>
                  </a:cubicBezTo>
                  <a:cubicBezTo>
                    <a:pt x="160" y="16"/>
                    <a:pt x="159" y="17"/>
                    <a:pt x="159" y="19"/>
                  </a:cubicBezTo>
                  <a:cubicBezTo>
                    <a:pt x="159" y="21"/>
                    <a:pt x="160" y="23"/>
                    <a:pt x="162" y="23"/>
                  </a:cubicBezTo>
                  <a:moveTo>
                    <a:pt x="171" y="45"/>
                  </a:moveTo>
                  <a:cubicBezTo>
                    <a:pt x="171" y="50"/>
                    <a:pt x="166" y="50"/>
                    <a:pt x="166" y="50"/>
                  </a:cubicBezTo>
                  <a:cubicBezTo>
                    <a:pt x="117" y="50"/>
                    <a:pt x="117" y="50"/>
                    <a:pt x="117" y="50"/>
                  </a:cubicBezTo>
                  <a:cubicBezTo>
                    <a:pt x="111" y="50"/>
                    <a:pt x="111" y="45"/>
                    <a:pt x="111" y="45"/>
                  </a:cubicBezTo>
                  <a:cubicBezTo>
                    <a:pt x="111" y="43"/>
                    <a:pt x="111" y="43"/>
                    <a:pt x="111" y="43"/>
                  </a:cubicBezTo>
                  <a:cubicBezTo>
                    <a:pt x="111" y="38"/>
                    <a:pt x="117" y="38"/>
                    <a:pt x="117" y="38"/>
                  </a:cubicBezTo>
                  <a:cubicBezTo>
                    <a:pt x="143" y="38"/>
                    <a:pt x="143" y="38"/>
                    <a:pt x="143" y="38"/>
                  </a:cubicBezTo>
                  <a:cubicBezTo>
                    <a:pt x="166" y="38"/>
                    <a:pt x="166" y="38"/>
                    <a:pt x="166" y="38"/>
                  </a:cubicBezTo>
                  <a:cubicBezTo>
                    <a:pt x="171" y="38"/>
                    <a:pt x="171" y="43"/>
                    <a:pt x="171" y="43"/>
                  </a:cubicBezTo>
                  <a:lnTo>
                    <a:pt x="171" y="45"/>
                  </a:lnTo>
                  <a:close/>
                  <a:moveTo>
                    <a:pt x="162" y="47"/>
                  </a:moveTo>
                  <a:cubicBezTo>
                    <a:pt x="164" y="47"/>
                    <a:pt x="165" y="46"/>
                    <a:pt x="165" y="44"/>
                  </a:cubicBezTo>
                  <a:cubicBezTo>
                    <a:pt x="165" y="42"/>
                    <a:pt x="164" y="41"/>
                    <a:pt x="162" y="41"/>
                  </a:cubicBezTo>
                  <a:cubicBezTo>
                    <a:pt x="160" y="41"/>
                    <a:pt x="159" y="42"/>
                    <a:pt x="159" y="44"/>
                  </a:cubicBezTo>
                  <a:cubicBezTo>
                    <a:pt x="159" y="46"/>
                    <a:pt x="160" y="47"/>
                    <a:pt x="162" y="47"/>
                  </a:cubicBezTo>
                  <a:moveTo>
                    <a:pt x="171" y="69"/>
                  </a:moveTo>
                  <a:cubicBezTo>
                    <a:pt x="171" y="74"/>
                    <a:pt x="166" y="74"/>
                    <a:pt x="166" y="74"/>
                  </a:cubicBezTo>
                  <a:cubicBezTo>
                    <a:pt x="117" y="74"/>
                    <a:pt x="117" y="74"/>
                    <a:pt x="117" y="74"/>
                  </a:cubicBezTo>
                  <a:cubicBezTo>
                    <a:pt x="111" y="74"/>
                    <a:pt x="111" y="69"/>
                    <a:pt x="111" y="69"/>
                  </a:cubicBezTo>
                  <a:cubicBezTo>
                    <a:pt x="111" y="68"/>
                    <a:pt x="111" y="68"/>
                    <a:pt x="111" y="68"/>
                  </a:cubicBezTo>
                  <a:cubicBezTo>
                    <a:pt x="111" y="63"/>
                    <a:pt x="117" y="63"/>
                    <a:pt x="117" y="63"/>
                  </a:cubicBezTo>
                  <a:cubicBezTo>
                    <a:pt x="143" y="63"/>
                    <a:pt x="143" y="63"/>
                    <a:pt x="143" y="63"/>
                  </a:cubicBezTo>
                  <a:cubicBezTo>
                    <a:pt x="166" y="63"/>
                    <a:pt x="166" y="63"/>
                    <a:pt x="166" y="63"/>
                  </a:cubicBezTo>
                  <a:cubicBezTo>
                    <a:pt x="171" y="63"/>
                    <a:pt x="171" y="68"/>
                    <a:pt x="171" y="68"/>
                  </a:cubicBezTo>
                  <a:lnTo>
                    <a:pt x="171" y="69"/>
                  </a:lnTo>
                  <a:close/>
                  <a:moveTo>
                    <a:pt x="162" y="72"/>
                  </a:moveTo>
                  <a:cubicBezTo>
                    <a:pt x="164" y="72"/>
                    <a:pt x="165" y="70"/>
                    <a:pt x="165" y="68"/>
                  </a:cubicBezTo>
                  <a:cubicBezTo>
                    <a:pt x="165" y="67"/>
                    <a:pt x="164" y="65"/>
                    <a:pt x="162" y="65"/>
                  </a:cubicBezTo>
                  <a:cubicBezTo>
                    <a:pt x="160" y="65"/>
                    <a:pt x="159" y="67"/>
                    <a:pt x="159" y="68"/>
                  </a:cubicBezTo>
                  <a:cubicBezTo>
                    <a:pt x="159" y="70"/>
                    <a:pt x="160" y="72"/>
                    <a:pt x="162" y="72"/>
                  </a:cubicBezTo>
                  <a:moveTo>
                    <a:pt x="171" y="94"/>
                  </a:moveTo>
                  <a:cubicBezTo>
                    <a:pt x="171" y="99"/>
                    <a:pt x="166" y="99"/>
                    <a:pt x="166" y="99"/>
                  </a:cubicBezTo>
                  <a:cubicBezTo>
                    <a:pt x="117" y="99"/>
                    <a:pt x="117" y="99"/>
                    <a:pt x="117" y="99"/>
                  </a:cubicBezTo>
                  <a:cubicBezTo>
                    <a:pt x="111" y="99"/>
                    <a:pt x="111" y="94"/>
                    <a:pt x="111" y="94"/>
                  </a:cubicBezTo>
                  <a:cubicBezTo>
                    <a:pt x="111" y="93"/>
                    <a:pt x="111" y="93"/>
                    <a:pt x="111" y="93"/>
                  </a:cubicBezTo>
                  <a:cubicBezTo>
                    <a:pt x="111" y="87"/>
                    <a:pt x="117" y="87"/>
                    <a:pt x="117" y="87"/>
                  </a:cubicBezTo>
                  <a:cubicBezTo>
                    <a:pt x="143" y="87"/>
                    <a:pt x="143" y="87"/>
                    <a:pt x="143" y="87"/>
                  </a:cubicBezTo>
                  <a:cubicBezTo>
                    <a:pt x="166" y="87"/>
                    <a:pt x="166" y="87"/>
                    <a:pt x="166" y="87"/>
                  </a:cubicBezTo>
                  <a:cubicBezTo>
                    <a:pt x="171" y="87"/>
                    <a:pt x="171" y="93"/>
                    <a:pt x="171" y="93"/>
                  </a:cubicBezTo>
                  <a:lnTo>
                    <a:pt x="171" y="94"/>
                  </a:lnTo>
                  <a:close/>
                  <a:moveTo>
                    <a:pt x="162" y="96"/>
                  </a:moveTo>
                  <a:cubicBezTo>
                    <a:pt x="164" y="96"/>
                    <a:pt x="165" y="95"/>
                    <a:pt x="165" y="93"/>
                  </a:cubicBezTo>
                  <a:cubicBezTo>
                    <a:pt x="165" y="91"/>
                    <a:pt x="164" y="90"/>
                    <a:pt x="162" y="90"/>
                  </a:cubicBezTo>
                  <a:cubicBezTo>
                    <a:pt x="160" y="90"/>
                    <a:pt x="159" y="91"/>
                    <a:pt x="159" y="93"/>
                  </a:cubicBezTo>
                  <a:cubicBezTo>
                    <a:pt x="159" y="95"/>
                    <a:pt x="160" y="96"/>
                    <a:pt x="162" y="96"/>
                  </a:cubicBezTo>
                  <a:moveTo>
                    <a:pt x="171" y="118"/>
                  </a:moveTo>
                  <a:cubicBezTo>
                    <a:pt x="171" y="124"/>
                    <a:pt x="166" y="124"/>
                    <a:pt x="166" y="124"/>
                  </a:cubicBezTo>
                  <a:cubicBezTo>
                    <a:pt x="117" y="124"/>
                    <a:pt x="117" y="124"/>
                    <a:pt x="117" y="124"/>
                  </a:cubicBezTo>
                  <a:cubicBezTo>
                    <a:pt x="111" y="124"/>
                    <a:pt x="111" y="118"/>
                    <a:pt x="111" y="118"/>
                  </a:cubicBezTo>
                  <a:cubicBezTo>
                    <a:pt x="111" y="117"/>
                    <a:pt x="111" y="117"/>
                    <a:pt x="111" y="117"/>
                  </a:cubicBezTo>
                  <a:cubicBezTo>
                    <a:pt x="111" y="112"/>
                    <a:pt x="117" y="112"/>
                    <a:pt x="117" y="112"/>
                  </a:cubicBezTo>
                  <a:cubicBezTo>
                    <a:pt x="143" y="112"/>
                    <a:pt x="143" y="112"/>
                    <a:pt x="143" y="112"/>
                  </a:cubicBezTo>
                  <a:cubicBezTo>
                    <a:pt x="166" y="112"/>
                    <a:pt x="166" y="112"/>
                    <a:pt x="166" y="112"/>
                  </a:cubicBezTo>
                  <a:cubicBezTo>
                    <a:pt x="171" y="112"/>
                    <a:pt x="171" y="117"/>
                    <a:pt x="171" y="117"/>
                  </a:cubicBezTo>
                  <a:lnTo>
                    <a:pt x="171" y="118"/>
                  </a:lnTo>
                  <a:close/>
                  <a:moveTo>
                    <a:pt x="162" y="121"/>
                  </a:moveTo>
                  <a:cubicBezTo>
                    <a:pt x="164" y="121"/>
                    <a:pt x="165" y="120"/>
                    <a:pt x="165" y="118"/>
                  </a:cubicBezTo>
                  <a:cubicBezTo>
                    <a:pt x="165" y="116"/>
                    <a:pt x="164" y="114"/>
                    <a:pt x="162" y="114"/>
                  </a:cubicBezTo>
                  <a:cubicBezTo>
                    <a:pt x="160" y="114"/>
                    <a:pt x="159" y="116"/>
                    <a:pt x="159" y="118"/>
                  </a:cubicBezTo>
                  <a:cubicBezTo>
                    <a:pt x="159" y="120"/>
                    <a:pt x="160" y="121"/>
                    <a:pt x="162" y="121"/>
                  </a:cubicBezTo>
                  <a:moveTo>
                    <a:pt x="171" y="143"/>
                  </a:moveTo>
                  <a:cubicBezTo>
                    <a:pt x="171" y="148"/>
                    <a:pt x="166" y="148"/>
                    <a:pt x="166" y="148"/>
                  </a:cubicBezTo>
                  <a:cubicBezTo>
                    <a:pt x="117" y="148"/>
                    <a:pt x="117" y="148"/>
                    <a:pt x="117" y="148"/>
                  </a:cubicBezTo>
                  <a:cubicBezTo>
                    <a:pt x="111" y="148"/>
                    <a:pt x="111" y="143"/>
                    <a:pt x="111" y="143"/>
                  </a:cubicBezTo>
                  <a:cubicBezTo>
                    <a:pt x="111" y="142"/>
                    <a:pt x="111" y="142"/>
                    <a:pt x="111" y="142"/>
                  </a:cubicBezTo>
                  <a:cubicBezTo>
                    <a:pt x="111" y="136"/>
                    <a:pt x="117" y="136"/>
                    <a:pt x="117" y="136"/>
                  </a:cubicBezTo>
                  <a:cubicBezTo>
                    <a:pt x="143" y="136"/>
                    <a:pt x="143" y="136"/>
                    <a:pt x="143" y="136"/>
                  </a:cubicBezTo>
                  <a:cubicBezTo>
                    <a:pt x="166" y="136"/>
                    <a:pt x="166" y="136"/>
                    <a:pt x="166" y="136"/>
                  </a:cubicBezTo>
                  <a:cubicBezTo>
                    <a:pt x="171" y="136"/>
                    <a:pt x="171" y="142"/>
                    <a:pt x="171" y="142"/>
                  </a:cubicBezTo>
                  <a:lnTo>
                    <a:pt x="171" y="143"/>
                  </a:lnTo>
                  <a:close/>
                  <a:moveTo>
                    <a:pt x="162" y="146"/>
                  </a:moveTo>
                  <a:cubicBezTo>
                    <a:pt x="164" y="146"/>
                    <a:pt x="165" y="144"/>
                    <a:pt x="165" y="142"/>
                  </a:cubicBezTo>
                  <a:cubicBezTo>
                    <a:pt x="165" y="141"/>
                    <a:pt x="164" y="139"/>
                    <a:pt x="162" y="139"/>
                  </a:cubicBezTo>
                  <a:cubicBezTo>
                    <a:pt x="160" y="139"/>
                    <a:pt x="159" y="141"/>
                    <a:pt x="159" y="142"/>
                  </a:cubicBezTo>
                  <a:cubicBezTo>
                    <a:pt x="159" y="144"/>
                    <a:pt x="160" y="146"/>
                    <a:pt x="162" y="146"/>
                  </a:cubicBezTo>
                </a:path>
              </a:pathLst>
            </a:custGeom>
            <a:solidFill>
              <a:srgbClr val="FFFFFF"/>
            </a:solidFill>
            <a:ln>
              <a:noFill/>
            </a:ln>
            <a:extLst/>
          </p:spPr>
          <p:txBody>
            <a:bodyPr vert="horz" wrap="square" lIns="124314" tIns="62157" rIns="124314" bIns="62157" numCol="1" anchor="t" anchorCtr="0" compatLnSpc="1">
              <a:prstTxWarp prst="textNoShape">
                <a:avLst/>
              </a:prstTxWarp>
            </a:bodyPr>
            <a:lstStyle/>
            <a:p>
              <a:pPr marL="0" marR="0" lvl="0" indent="0" algn="l" defTabSz="1243130" rtl="0" eaLnBrk="1" fontAlgn="auto" latinLnBrk="0" hangingPunct="1">
                <a:lnSpc>
                  <a:spcPct val="100000"/>
                </a:lnSpc>
                <a:spcBef>
                  <a:spcPts val="0"/>
                </a:spcBef>
                <a:spcAft>
                  <a:spcPts val="0"/>
                </a:spcAft>
                <a:buClrTx/>
                <a:buSzTx/>
                <a:buFontTx/>
                <a:buNone/>
                <a:tabLst/>
                <a:defRPr/>
              </a:pPr>
              <a:endParaRPr kumimoji="0" lang="en-US" sz="2448" b="0" i="0" u="none" strike="noStrike" kern="0" cap="none" spc="0" normalizeH="0" baseline="0" noProof="0">
                <a:ln>
                  <a:noFill/>
                </a:ln>
                <a:solidFill>
                  <a:sysClr val="windowText" lastClr="000000"/>
                </a:solidFill>
                <a:effectLst/>
                <a:uLnTx/>
                <a:uFillTx/>
                <a:latin typeface="Segoe UI"/>
                <a:ea typeface="+mn-ea"/>
                <a:cs typeface="+mn-cs"/>
              </a:endParaRPr>
            </a:p>
          </p:txBody>
        </p:sp>
      </p:grpSp>
      <p:grpSp>
        <p:nvGrpSpPr>
          <p:cNvPr id="14" name="Group 13"/>
          <p:cNvGrpSpPr/>
          <p:nvPr/>
        </p:nvGrpSpPr>
        <p:grpSpPr>
          <a:xfrm>
            <a:off x="1425269" y="2120445"/>
            <a:ext cx="2097567" cy="4135614"/>
            <a:chOff x="1047071" y="1559020"/>
            <a:chExt cx="1542885" cy="3041988"/>
          </a:xfrm>
        </p:grpSpPr>
        <p:sp>
          <p:nvSpPr>
            <p:cNvPr id="15" name="Right Arrow 14"/>
            <p:cNvSpPr/>
            <p:nvPr/>
          </p:nvSpPr>
          <p:spPr bwMode="auto">
            <a:xfrm>
              <a:off x="1047071" y="3167091"/>
              <a:ext cx="362419" cy="225952"/>
            </a:xfrm>
            <a:prstGeom prst="rightArrow">
              <a:avLst/>
            </a:prstGeom>
            <a:solidFill>
              <a:schemeClr val="accent2">
                <a:lumMod val="60000"/>
                <a:lumOff val="40000"/>
              </a:schemeClr>
            </a:solidFill>
            <a:ln w="10795" cap="flat" cmpd="sng" algn="ctr">
              <a:noFill/>
              <a:prstDash val="solid"/>
              <a:headEnd type="none" w="med" len="med"/>
              <a:tailEnd type="none" w="med" len="med"/>
            </a:ln>
            <a:effectLst/>
          </p:spPr>
          <p:txBody>
            <a:bodyPr vert="horz" wrap="square" lIns="126807" tIns="63404" rIns="126807" bIns="63404" numCol="1" rtlCol="0" anchor="ctr" anchorCtr="0" compatLnSpc="1">
              <a:prstTxWarp prst="textNoShape">
                <a:avLst/>
              </a:prstTxWarp>
            </a:bodyPr>
            <a:lstStyle/>
            <a:p>
              <a:pPr marL="0" marR="0" lvl="0" indent="0" algn="ctr" defTabSz="1267698" rtl="0" eaLnBrk="1" fontAlgn="base" latinLnBrk="0" hangingPunct="1">
                <a:lnSpc>
                  <a:spcPct val="100000"/>
                </a:lnSpc>
                <a:spcBef>
                  <a:spcPct val="0"/>
                </a:spcBef>
                <a:spcAft>
                  <a:spcPct val="0"/>
                </a:spcAft>
                <a:buClrTx/>
                <a:buSzTx/>
                <a:buFontTx/>
                <a:buNone/>
                <a:tabLst/>
                <a:defRPr/>
              </a:pPr>
              <a:endParaRPr kumimoji="0" lang="en-US" sz="2719"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grpSp>
          <p:nvGrpSpPr>
            <p:cNvPr id="16" name="Group 15"/>
            <p:cNvGrpSpPr/>
            <p:nvPr/>
          </p:nvGrpSpPr>
          <p:grpSpPr>
            <a:xfrm>
              <a:off x="1395688" y="1559020"/>
              <a:ext cx="1194268" cy="3041988"/>
              <a:chOff x="1395688" y="1559020"/>
              <a:chExt cx="1194268" cy="3041988"/>
            </a:xfrm>
          </p:grpSpPr>
          <p:sp>
            <p:nvSpPr>
              <p:cNvPr id="17" name="TextBox 16"/>
              <p:cNvSpPr txBox="1"/>
              <p:nvPr/>
            </p:nvSpPr>
            <p:spPr>
              <a:xfrm>
                <a:off x="1395688" y="1559020"/>
                <a:ext cx="1184687" cy="281401"/>
              </a:xfrm>
              <a:prstGeom prst="rect">
                <a:avLst/>
              </a:prstGeom>
              <a:noFill/>
            </p:spPr>
            <p:txBody>
              <a:bodyPr wrap="none" lIns="109648" tIns="49726" rIns="109648" bIns="54823" rtlCol="0" anchor="t" anchorCtr="0">
                <a:noAutofit/>
              </a:bodyPr>
              <a:lstStyle/>
              <a:p>
                <a:pPr marL="0" marR="0" lvl="0" indent="-157473" algn="l" defTabSz="822593" rtl="0" eaLnBrk="1" fontAlgn="base" latinLnBrk="0" hangingPunct="1">
                  <a:lnSpc>
                    <a:spcPct val="100000"/>
                  </a:lnSpc>
                  <a:spcBef>
                    <a:spcPct val="0"/>
                  </a:spcBef>
                  <a:spcAft>
                    <a:spcPct val="0"/>
                  </a:spcAft>
                  <a:buClr>
                    <a:srgbClr val="FFFFFF"/>
                  </a:buClr>
                  <a:buSzPct val="120000"/>
                  <a:buFontTx/>
                  <a:buNone/>
                  <a:tabLst/>
                  <a:defRPr/>
                </a:pPr>
                <a:r>
                  <a:rPr kumimoji="0" lang="en-US" sz="1801" b="0" i="0" u="none" strike="noStrike" kern="0" cap="none" spc="0" normalizeH="0" baseline="0" noProof="0">
                    <a:ln>
                      <a:noFill/>
                    </a:ln>
                    <a:solidFill>
                      <a:srgbClr val="FFFFFF"/>
                    </a:solidFill>
                    <a:effectLst/>
                    <a:uLnTx/>
                    <a:uFillTx/>
                    <a:latin typeface="Segoe UI"/>
                    <a:ea typeface="+mn-ea"/>
                    <a:cs typeface="+mn-cs"/>
                  </a:rPr>
                  <a:t>New IT reality</a:t>
                </a:r>
              </a:p>
            </p:txBody>
          </p:sp>
          <p:sp>
            <p:nvSpPr>
              <p:cNvPr id="18" name="Rectangle 17"/>
              <p:cNvSpPr/>
              <p:nvPr/>
            </p:nvSpPr>
            <p:spPr>
              <a:xfrm>
                <a:off x="1410589" y="1883937"/>
                <a:ext cx="1179367" cy="2717071"/>
              </a:xfrm>
              <a:prstGeom prst="rect">
                <a:avLst/>
              </a:prstGeom>
              <a:solidFill>
                <a:schemeClr val="accent2">
                  <a:lumMod val="60000"/>
                  <a:lumOff val="40000"/>
                </a:schemeClr>
              </a:solidFill>
              <a:ln w="25400" cap="flat" cmpd="sng" algn="ctr">
                <a:noFill/>
                <a:prstDash val="solid"/>
              </a:ln>
              <a:effectLst/>
            </p:spPr>
            <p:txBody>
              <a:bodyPr lIns="161291" tIns="145160" rIns="161291" bIns="145160" rtlCol="0" anchor="t"/>
              <a:lstStyle/>
              <a:p>
                <a:pPr marL="0" marR="0" lvl="0" indent="0" algn="l" defTabSz="822593" rtl="0" eaLnBrk="1" fontAlgn="auto" latinLnBrk="0" hangingPunct="1">
                  <a:lnSpc>
                    <a:spcPct val="90000"/>
                  </a:lnSpc>
                  <a:spcBef>
                    <a:spcPts val="0"/>
                  </a:spcBef>
                  <a:spcAft>
                    <a:spcPts val="0"/>
                  </a:spcAft>
                  <a:buClrTx/>
                  <a:buSzTx/>
                  <a:buFontTx/>
                  <a:buNone/>
                  <a:tabLst/>
                  <a:defRPr/>
                </a:pPr>
                <a:r>
                  <a:rPr kumimoji="0" lang="en-US" sz="1598" b="0" i="0" u="none" strike="noStrike" kern="0" cap="none" spc="0" normalizeH="0" baseline="0" noProof="0">
                    <a:ln>
                      <a:noFill/>
                    </a:ln>
                    <a:gradFill>
                      <a:gsLst>
                        <a:gs pos="0">
                          <a:srgbClr val="FFFFFF"/>
                        </a:gs>
                        <a:gs pos="100000">
                          <a:srgbClr val="FFFFFF"/>
                        </a:gs>
                      </a:gsLst>
                      <a:lin ang="10800000" scaled="1"/>
                    </a:gradFill>
                    <a:effectLst/>
                    <a:uLnTx/>
                    <a:uFillTx/>
                    <a:latin typeface="Segoe UI"/>
                    <a:ea typeface="+mn-ea"/>
                    <a:cs typeface="+mn-cs"/>
                  </a:rPr>
                  <a:t>Hybrid cloud</a:t>
                </a:r>
              </a:p>
            </p:txBody>
          </p:sp>
          <p:sp>
            <p:nvSpPr>
              <p:cNvPr id="19" name="Freeform 27"/>
              <p:cNvSpPr>
                <a:spLocks noEditPoints="1"/>
              </p:cNvSpPr>
              <p:nvPr/>
            </p:nvSpPr>
            <p:spPr bwMode="auto">
              <a:xfrm>
                <a:off x="1666312" y="3001547"/>
                <a:ext cx="647560" cy="658378"/>
              </a:xfrm>
              <a:custGeom>
                <a:avLst/>
                <a:gdLst>
                  <a:gd name="T0" fmla="*/ 86 w 184"/>
                  <a:gd name="T1" fmla="*/ 186 h 186"/>
                  <a:gd name="T2" fmla="*/ 98 w 184"/>
                  <a:gd name="T3" fmla="*/ 0 h 186"/>
                  <a:gd name="T4" fmla="*/ 184 w 184"/>
                  <a:gd name="T5" fmla="*/ 0 h 186"/>
                  <a:gd name="T6" fmla="*/ 13 w 184"/>
                  <a:gd name="T7" fmla="*/ 19 h 186"/>
                  <a:gd name="T8" fmla="*/ 67 w 184"/>
                  <a:gd name="T9" fmla="*/ 25 h 186"/>
                  <a:gd name="T10" fmla="*/ 67 w 184"/>
                  <a:gd name="T11" fmla="*/ 13 h 186"/>
                  <a:gd name="T12" fmla="*/ 64 w 184"/>
                  <a:gd name="T13" fmla="*/ 23 h 186"/>
                  <a:gd name="T14" fmla="*/ 61 w 184"/>
                  <a:gd name="T15" fmla="*/ 19 h 186"/>
                  <a:gd name="T16" fmla="*/ 13 w 184"/>
                  <a:gd name="T17" fmla="*/ 43 h 186"/>
                  <a:gd name="T18" fmla="*/ 67 w 184"/>
                  <a:gd name="T19" fmla="*/ 50 h 186"/>
                  <a:gd name="T20" fmla="*/ 67 w 184"/>
                  <a:gd name="T21" fmla="*/ 38 h 186"/>
                  <a:gd name="T22" fmla="*/ 64 w 184"/>
                  <a:gd name="T23" fmla="*/ 47 h 186"/>
                  <a:gd name="T24" fmla="*/ 61 w 184"/>
                  <a:gd name="T25" fmla="*/ 44 h 186"/>
                  <a:gd name="T26" fmla="*/ 13 w 184"/>
                  <a:gd name="T27" fmla="*/ 68 h 186"/>
                  <a:gd name="T28" fmla="*/ 67 w 184"/>
                  <a:gd name="T29" fmla="*/ 74 h 186"/>
                  <a:gd name="T30" fmla="*/ 67 w 184"/>
                  <a:gd name="T31" fmla="*/ 63 h 186"/>
                  <a:gd name="T32" fmla="*/ 64 w 184"/>
                  <a:gd name="T33" fmla="*/ 72 h 186"/>
                  <a:gd name="T34" fmla="*/ 61 w 184"/>
                  <a:gd name="T35" fmla="*/ 68 h 186"/>
                  <a:gd name="T36" fmla="*/ 13 w 184"/>
                  <a:gd name="T37" fmla="*/ 93 h 186"/>
                  <a:gd name="T38" fmla="*/ 67 w 184"/>
                  <a:gd name="T39" fmla="*/ 99 h 186"/>
                  <a:gd name="T40" fmla="*/ 67 w 184"/>
                  <a:gd name="T41" fmla="*/ 87 h 186"/>
                  <a:gd name="T42" fmla="*/ 64 w 184"/>
                  <a:gd name="T43" fmla="*/ 96 h 186"/>
                  <a:gd name="T44" fmla="*/ 61 w 184"/>
                  <a:gd name="T45" fmla="*/ 93 h 186"/>
                  <a:gd name="T46" fmla="*/ 13 w 184"/>
                  <a:gd name="T47" fmla="*/ 117 h 186"/>
                  <a:gd name="T48" fmla="*/ 67 w 184"/>
                  <a:gd name="T49" fmla="*/ 124 h 186"/>
                  <a:gd name="T50" fmla="*/ 67 w 184"/>
                  <a:gd name="T51" fmla="*/ 112 h 186"/>
                  <a:gd name="T52" fmla="*/ 64 w 184"/>
                  <a:gd name="T53" fmla="*/ 121 h 186"/>
                  <a:gd name="T54" fmla="*/ 61 w 184"/>
                  <a:gd name="T55" fmla="*/ 118 h 186"/>
                  <a:gd name="T56" fmla="*/ 13 w 184"/>
                  <a:gd name="T57" fmla="*/ 142 h 186"/>
                  <a:gd name="T58" fmla="*/ 67 w 184"/>
                  <a:gd name="T59" fmla="*/ 148 h 186"/>
                  <a:gd name="T60" fmla="*/ 67 w 184"/>
                  <a:gd name="T61" fmla="*/ 136 h 186"/>
                  <a:gd name="T62" fmla="*/ 64 w 184"/>
                  <a:gd name="T63" fmla="*/ 146 h 186"/>
                  <a:gd name="T64" fmla="*/ 61 w 184"/>
                  <a:gd name="T65" fmla="*/ 142 h 186"/>
                  <a:gd name="T66" fmla="*/ 166 w 184"/>
                  <a:gd name="T67" fmla="*/ 25 h 186"/>
                  <a:gd name="T68" fmla="*/ 111 w 184"/>
                  <a:gd name="T69" fmla="*/ 19 h 186"/>
                  <a:gd name="T70" fmla="*/ 166 w 184"/>
                  <a:gd name="T71" fmla="*/ 13 h 186"/>
                  <a:gd name="T72" fmla="*/ 162 w 184"/>
                  <a:gd name="T73" fmla="*/ 23 h 186"/>
                  <a:gd name="T74" fmla="*/ 159 w 184"/>
                  <a:gd name="T75" fmla="*/ 19 h 186"/>
                  <a:gd name="T76" fmla="*/ 166 w 184"/>
                  <a:gd name="T77" fmla="*/ 50 h 186"/>
                  <a:gd name="T78" fmla="*/ 111 w 184"/>
                  <a:gd name="T79" fmla="*/ 43 h 186"/>
                  <a:gd name="T80" fmla="*/ 166 w 184"/>
                  <a:gd name="T81" fmla="*/ 38 h 186"/>
                  <a:gd name="T82" fmla="*/ 162 w 184"/>
                  <a:gd name="T83" fmla="*/ 47 h 186"/>
                  <a:gd name="T84" fmla="*/ 159 w 184"/>
                  <a:gd name="T85" fmla="*/ 44 h 186"/>
                  <a:gd name="T86" fmla="*/ 166 w 184"/>
                  <a:gd name="T87" fmla="*/ 74 h 186"/>
                  <a:gd name="T88" fmla="*/ 111 w 184"/>
                  <a:gd name="T89" fmla="*/ 68 h 186"/>
                  <a:gd name="T90" fmla="*/ 166 w 184"/>
                  <a:gd name="T91" fmla="*/ 63 h 186"/>
                  <a:gd name="T92" fmla="*/ 162 w 184"/>
                  <a:gd name="T93" fmla="*/ 72 h 186"/>
                  <a:gd name="T94" fmla="*/ 159 w 184"/>
                  <a:gd name="T95" fmla="*/ 68 h 186"/>
                  <a:gd name="T96" fmla="*/ 166 w 184"/>
                  <a:gd name="T97" fmla="*/ 99 h 186"/>
                  <a:gd name="T98" fmla="*/ 111 w 184"/>
                  <a:gd name="T99" fmla="*/ 93 h 186"/>
                  <a:gd name="T100" fmla="*/ 166 w 184"/>
                  <a:gd name="T101" fmla="*/ 87 h 186"/>
                  <a:gd name="T102" fmla="*/ 162 w 184"/>
                  <a:gd name="T103" fmla="*/ 96 h 186"/>
                  <a:gd name="T104" fmla="*/ 159 w 184"/>
                  <a:gd name="T105" fmla="*/ 93 h 186"/>
                  <a:gd name="T106" fmla="*/ 166 w 184"/>
                  <a:gd name="T107" fmla="*/ 124 h 186"/>
                  <a:gd name="T108" fmla="*/ 111 w 184"/>
                  <a:gd name="T109" fmla="*/ 117 h 186"/>
                  <a:gd name="T110" fmla="*/ 166 w 184"/>
                  <a:gd name="T111" fmla="*/ 112 h 186"/>
                  <a:gd name="T112" fmla="*/ 162 w 184"/>
                  <a:gd name="T113" fmla="*/ 121 h 186"/>
                  <a:gd name="T114" fmla="*/ 159 w 184"/>
                  <a:gd name="T115" fmla="*/ 118 h 186"/>
                  <a:gd name="T116" fmla="*/ 166 w 184"/>
                  <a:gd name="T117" fmla="*/ 148 h 186"/>
                  <a:gd name="T118" fmla="*/ 111 w 184"/>
                  <a:gd name="T119" fmla="*/ 142 h 186"/>
                  <a:gd name="T120" fmla="*/ 166 w 184"/>
                  <a:gd name="T121" fmla="*/ 136 h 186"/>
                  <a:gd name="T122" fmla="*/ 162 w 184"/>
                  <a:gd name="T123" fmla="*/ 146 h 186"/>
                  <a:gd name="T124" fmla="*/ 159 w 184"/>
                  <a:gd name="T125" fmla="*/ 142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84" h="186">
                    <a:moveTo>
                      <a:pt x="0" y="0"/>
                    </a:moveTo>
                    <a:cubicBezTo>
                      <a:pt x="86" y="0"/>
                      <a:pt x="86" y="0"/>
                      <a:pt x="86" y="0"/>
                    </a:cubicBezTo>
                    <a:cubicBezTo>
                      <a:pt x="86" y="186"/>
                      <a:pt x="86" y="186"/>
                      <a:pt x="86" y="186"/>
                    </a:cubicBezTo>
                    <a:cubicBezTo>
                      <a:pt x="0" y="186"/>
                      <a:pt x="0" y="186"/>
                      <a:pt x="0" y="186"/>
                    </a:cubicBezTo>
                    <a:lnTo>
                      <a:pt x="0" y="0"/>
                    </a:lnTo>
                    <a:close/>
                    <a:moveTo>
                      <a:pt x="98" y="0"/>
                    </a:moveTo>
                    <a:cubicBezTo>
                      <a:pt x="98" y="186"/>
                      <a:pt x="98" y="186"/>
                      <a:pt x="98" y="186"/>
                    </a:cubicBezTo>
                    <a:cubicBezTo>
                      <a:pt x="184" y="186"/>
                      <a:pt x="184" y="186"/>
                      <a:pt x="184" y="186"/>
                    </a:cubicBezTo>
                    <a:cubicBezTo>
                      <a:pt x="184" y="0"/>
                      <a:pt x="184" y="0"/>
                      <a:pt x="184" y="0"/>
                    </a:cubicBezTo>
                    <a:lnTo>
                      <a:pt x="98" y="0"/>
                    </a:lnTo>
                    <a:close/>
                    <a:moveTo>
                      <a:pt x="18" y="13"/>
                    </a:moveTo>
                    <a:cubicBezTo>
                      <a:pt x="18" y="13"/>
                      <a:pt x="13" y="13"/>
                      <a:pt x="13" y="19"/>
                    </a:cubicBezTo>
                    <a:cubicBezTo>
                      <a:pt x="13" y="20"/>
                      <a:pt x="13" y="20"/>
                      <a:pt x="13" y="20"/>
                    </a:cubicBezTo>
                    <a:cubicBezTo>
                      <a:pt x="13" y="20"/>
                      <a:pt x="13" y="25"/>
                      <a:pt x="18" y="25"/>
                    </a:cubicBezTo>
                    <a:cubicBezTo>
                      <a:pt x="67" y="25"/>
                      <a:pt x="67" y="25"/>
                      <a:pt x="67" y="25"/>
                    </a:cubicBezTo>
                    <a:cubicBezTo>
                      <a:pt x="67" y="25"/>
                      <a:pt x="73" y="25"/>
                      <a:pt x="73" y="20"/>
                    </a:cubicBezTo>
                    <a:cubicBezTo>
                      <a:pt x="73" y="19"/>
                      <a:pt x="73" y="19"/>
                      <a:pt x="73" y="19"/>
                    </a:cubicBezTo>
                    <a:cubicBezTo>
                      <a:pt x="73" y="19"/>
                      <a:pt x="73" y="13"/>
                      <a:pt x="67" y="13"/>
                    </a:cubicBezTo>
                    <a:cubicBezTo>
                      <a:pt x="45" y="13"/>
                      <a:pt x="45" y="13"/>
                      <a:pt x="45" y="13"/>
                    </a:cubicBezTo>
                    <a:lnTo>
                      <a:pt x="18" y="13"/>
                    </a:lnTo>
                    <a:close/>
                    <a:moveTo>
                      <a:pt x="64" y="23"/>
                    </a:moveTo>
                    <a:cubicBezTo>
                      <a:pt x="66" y="23"/>
                      <a:pt x="67" y="21"/>
                      <a:pt x="67" y="19"/>
                    </a:cubicBezTo>
                    <a:cubicBezTo>
                      <a:pt x="67" y="17"/>
                      <a:pt x="66" y="16"/>
                      <a:pt x="64" y="16"/>
                    </a:cubicBezTo>
                    <a:cubicBezTo>
                      <a:pt x="62" y="16"/>
                      <a:pt x="61" y="17"/>
                      <a:pt x="61" y="19"/>
                    </a:cubicBezTo>
                    <a:cubicBezTo>
                      <a:pt x="61" y="21"/>
                      <a:pt x="62" y="23"/>
                      <a:pt x="64" y="23"/>
                    </a:cubicBezTo>
                    <a:moveTo>
                      <a:pt x="18" y="38"/>
                    </a:moveTo>
                    <a:cubicBezTo>
                      <a:pt x="18" y="38"/>
                      <a:pt x="13" y="38"/>
                      <a:pt x="13" y="43"/>
                    </a:cubicBezTo>
                    <a:cubicBezTo>
                      <a:pt x="13" y="45"/>
                      <a:pt x="13" y="45"/>
                      <a:pt x="13" y="45"/>
                    </a:cubicBezTo>
                    <a:cubicBezTo>
                      <a:pt x="13" y="45"/>
                      <a:pt x="13" y="50"/>
                      <a:pt x="18" y="50"/>
                    </a:cubicBezTo>
                    <a:cubicBezTo>
                      <a:pt x="67" y="50"/>
                      <a:pt x="67" y="50"/>
                      <a:pt x="67" y="50"/>
                    </a:cubicBezTo>
                    <a:cubicBezTo>
                      <a:pt x="67" y="50"/>
                      <a:pt x="73" y="50"/>
                      <a:pt x="73" y="45"/>
                    </a:cubicBezTo>
                    <a:cubicBezTo>
                      <a:pt x="73" y="43"/>
                      <a:pt x="73" y="43"/>
                      <a:pt x="73" y="43"/>
                    </a:cubicBezTo>
                    <a:cubicBezTo>
                      <a:pt x="73" y="43"/>
                      <a:pt x="73" y="38"/>
                      <a:pt x="67" y="38"/>
                    </a:cubicBezTo>
                    <a:cubicBezTo>
                      <a:pt x="45" y="38"/>
                      <a:pt x="45" y="38"/>
                      <a:pt x="45" y="38"/>
                    </a:cubicBezTo>
                    <a:lnTo>
                      <a:pt x="18" y="38"/>
                    </a:lnTo>
                    <a:close/>
                    <a:moveTo>
                      <a:pt x="64" y="47"/>
                    </a:moveTo>
                    <a:cubicBezTo>
                      <a:pt x="66" y="47"/>
                      <a:pt x="67" y="46"/>
                      <a:pt x="67" y="44"/>
                    </a:cubicBezTo>
                    <a:cubicBezTo>
                      <a:pt x="67" y="42"/>
                      <a:pt x="66" y="41"/>
                      <a:pt x="64" y="41"/>
                    </a:cubicBezTo>
                    <a:cubicBezTo>
                      <a:pt x="62" y="41"/>
                      <a:pt x="61" y="42"/>
                      <a:pt x="61" y="44"/>
                    </a:cubicBezTo>
                    <a:cubicBezTo>
                      <a:pt x="61" y="46"/>
                      <a:pt x="62" y="47"/>
                      <a:pt x="64" y="47"/>
                    </a:cubicBezTo>
                    <a:moveTo>
                      <a:pt x="18" y="63"/>
                    </a:moveTo>
                    <a:cubicBezTo>
                      <a:pt x="18" y="63"/>
                      <a:pt x="13" y="63"/>
                      <a:pt x="13" y="68"/>
                    </a:cubicBezTo>
                    <a:cubicBezTo>
                      <a:pt x="13" y="69"/>
                      <a:pt x="13" y="69"/>
                      <a:pt x="13" y="69"/>
                    </a:cubicBezTo>
                    <a:cubicBezTo>
                      <a:pt x="13" y="69"/>
                      <a:pt x="13" y="74"/>
                      <a:pt x="18" y="74"/>
                    </a:cubicBezTo>
                    <a:cubicBezTo>
                      <a:pt x="67" y="74"/>
                      <a:pt x="67" y="74"/>
                      <a:pt x="67" y="74"/>
                    </a:cubicBezTo>
                    <a:cubicBezTo>
                      <a:pt x="67" y="74"/>
                      <a:pt x="73" y="74"/>
                      <a:pt x="73" y="69"/>
                    </a:cubicBezTo>
                    <a:cubicBezTo>
                      <a:pt x="73" y="68"/>
                      <a:pt x="73" y="68"/>
                      <a:pt x="73" y="68"/>
                    </a:cubicBezTo>
                    <a:cubicBezTo>
                      <a:pt x="73" y="68"/>
                      <a:pt x="73" y="63"/>
                      <a:pt x="67" y="63"/>
                    </a:cubicBezTo>
                    <a:cubicBezTo>
                      <a:pt x="45" y="63"/>
                      <a:pt x="45" y="63"/>
                      <a:pt x="45" y="63"/>
                    </a:cubicBezTo>
                    <a:lnTo>
                      <a:pt x="18" y="63"/>
                    </a:lnTo>
                    <a:close/>
                    <a:moveTo>
                      <a:pt x="64" y="72"/>
                    </a:moveTo>
                    <a:cubicBezTo>
                      <a:pt x="66" y="72"/>
                      <a:pt x="67" y="70"/>
                      <a:pt x="67" y="68"/>
                    </a:cubicBezTo>
                    <a:cubicBezTo>
                      <a:pt x="67" y="67"/>
                      <a:pt x="66" y="65"/>
                      <a:pt x="64" y="65"/>
                    </a:cubicBezTo>
                    <a:cubicBezTo>
                      <a:pt x="62" y="65"/>
                      <a:pt x="61" y="67"/>
                      <a:pt x="61" y="68"/>
                    </a:cubicBezTo>
                    <a:cubicBezTo>
                      <a:pt x="61" y="70"/>
                      <a:pt x="62" y="72"/>
                      <a:pt x="64" y="72"/>
                    </a:cubicBezTo>
                    <a:moveTo>
                      <a:pt x="18" y="87"/>
                    </a:moveTo>
                    <a:cubicBezTo>
                      <a:pt x="18" y="87"/>
                      <a:pt x="13" y="87"/>
                      <a:pt x="13" y="93"/>
                    </a:cubicBezTo>
                    <a:cubicBezTo>
                      <a:pt x="13" y="94"/>
                      <a:pt x="13" y="94"/>
                      <a:pt x="13" y="94"/>
                    </a:cubicBezTo>
                    <a:cubicBezTo>
                      <a:pt x="13" y="94"/>
                      <a:pt x="13" y="99"/>
                      <a:pt x="18" y="99"/>
                    </a:cubicBezTo>
                    <a:cubicBezTo>
                      <a:pt x="67" y="99"/>
                      <a:pt x="67" y="99"/>
                      <a:pt x="67" y="99"/>
                    </a:cubicBezTo>
                    <a:cubicBezTo>
                      <a:pt x="67" y="99"/>
                      <a:pt x="73" y="99"/>
                      <a:pt x="73" y="94"/>
                    </a:cubicBezTo>
                    <a:cubicBezTo>
                      <a:pt x="73" y="93"/>
                      <a:pt x="73" y="93"/>
                      <a:pt x="73" y="93"/>
                    </a:cubicBezTo>
                    <a:cubicBezTo>
                      <a:pt x="73" y="93"/>
                      <a:pt x="73" y="87"/>
                      <a:pt x="67" y="87"/>
                    </a:cubicBezTo>
                    <a:cubicBezTo>
                      <a:pt x="45" y="87"/>
                      <a:pt x="45" y="87"/>
                      <a:pt x="45" y="87"/>
                    </a:cubicBezTo>
                    <a:lnTo>
                      <a:pt x="18" y="87"/>
                    </a:lnTo>
                    <a:close/>
                    <a:moveTo>
                      <a:pt x="64" y="96"/>
                    </a:moveTo>
                    <a:cubicBezTo>
                      <a:pt x="66" y="96"/>
                      <a:pt x="67" y="95"/>
                      <a:pt x="67" y="93"/>
                    </a:cubicBezTo>
                    <a:cubicBezTo>
                      <a:pt x="67" y="91"/>
                      <a:pt x="66" y="90"/>
                      <a:pt x="64" y="90"/>
                    </a:cubicBezTo>
                    <a:cubicBezTo>
                      <a:pt x="62" y="90"/>
                      <a:pt x="61" y="91"/>
                      <a:pt x="61" y="93"/>
                    </a:cubicBezTo>
                    <a:cubicBezTo>
                      <a:pt x="61" y="95"/>
                      <a:pt x="62" y="96"/>
                      <a:pt x="64" y="96"/>
                    </a:cubicBezTo>
                    <a:moveTo>
                      <a:pt x="18" y="112"/>
                    </a:moveTo>
                    <a:cubicBezTo>
                      <a:pt x="18" y="112"/>
                      <a:pt x="13" y="112"/>
                      <a:pt x="13" y="117"/>
                    </a:cubicBezTo>
                    <a:cubicBezTo>
                      <a:pt x="13" y="118"/>
                      <a:pt x="13" y="118"/>
                      <a:pt x="13" y="118"/>
                    </a:cubicBezTo>
                    <a:cubicBezTo>
                      <a:pt x="13" y="118"/>
                      <a:pt x="13" y="124"/>
                      <a:pt x="18" y="124"/>
                    </a:cubicBezTo>
                    <a:cubicBezTo>
                      <a:pt x="67" y="124"/>
                      <a:pt x="67" y="124"/>
                      <a:pt x="67" y="124"/>
                    </a:cubicBezTo>
                    <a:cubicBezTo>
                      <a:pt x="67" y="124"/>
                      <a:pt x="73" y="124"/>
                      <a:pt x="73" y="118"/>
                    </a:cubicBezTo>
                    <a:cubicBezTo>
                      <a:pt x="73" y="117"/>
                      <a:pt x="73" y="117"/>
                      <a:pt x="73" y="117"/>
                    </a:cubicBezTo>
                    <a:cubicBezTo>
                      <a:pt x="73" y="117"/>
                      <a:pt x="73" y="112"/>
                      <a:pt x="67" y="112"/>
                    </a:cubicBezTo>
                    <a:cubicBezTo>
                      <a:pt x="45" y="112"/>
                      <a:pt x="45" y="112"/>
                      <a:pt x="45" y="112"/>
                    </a:cubicBezTo>
                    <a:lnTo>
                      <a:pt x="18" y="112"/>
                    </a:lnTo>
                    <a:close/>
                    <a:moveTo>
                      <a:pt x="64" y="121"/>
                    </a:moveTo>
                    <a:cubicBezTo>
                      <a:pt x="66" y="121"/>
                      <a:pt x="67" y="120"/>
                      <a:pt x="67" y="118"/>
                    </a:cubicBezTo>
                    <a:cubicBezTo>
                      <a:pt x="67" y="116"/>
                      <a:pt x="66" y="114"/>
                      <a:pt x="64" y="114"/>
                    </a:cubicBezTo>
                    <a:cubicBezTo>
                      <a:pt x="62" y="114"/>
                      <a:pt x="61" y="116"/>
                      <a:pt x="61" y="118"/>
                    </a:cubicBezTo>
                    <a:cubicBezTo>
                      <a:pt x="61" y="120"/>
                      <a:pt x="62" y="121"/>
                      <a:pt x="64" y="121"/>
                    </a:cubicBezTo>
                    <a:moveTo>
                      <a:pt x="18" y="136"/>
                    </a:moveTo>
                    <a:cubicBezTo>
                      <a:pt x="18" y="136"/>
                      <a:pt x="13" y="136"/>
                      <a:pt x="13" y="142"/>
                    </a:cubicBezTo>
                    <a:cubicBezTo>
                      <a:pt x="13" y="143"/>
                      <a:pt x="13" y="143"/>
                      <a:pt x="13" y="143"/>
                    </a:cubicBezTo>
                    <a:cubicBezTo>
                      <a:pt x="13" y="143"/>
                      <a:pt x="13" y="148"/>
                      <a:pt x="18" y="148"/>
                    </a:cubicBezTo>
                    <a:cubicBezTo>
                      <a:pt x="67" y="148"/>
                      <a:pt x="67" y="148"/>
                      <a:pt x="67" y="148"/>
                    </a:cubicBezTo>
                    <a:cubicBezTo>
                      <a:pt x="67" y="148"/>
                      <a:pt x="73" y="148"/>
                      <a:pt x="73" y="143"/>
                    </a:cubicBezTo>
                    <a:cubicBezTo>
                      <a:pt x="73" y="142"/>
                      <a:pt x="73" y="142"/>
                      <a:pt x="73" y="142"/>
                    </a:cubicBezTo>
                    <a:cubicBezTo>
                      <a:pt x="73" y="142"/>
                      <a:pt x="73" y="136"/>
                      <a:pt x="67" y="136"/>
                    </a:cubicBezTo>
                    <a:cubicBezTo>
                      <a:pt x="45" y="136"/>
                      <a:pt x="45" y="136"/>
                      <a:pt x="45" y="136"/>
                    </a:cubicBezTo>
                    <a:lnTo>
                      <a:pt x="18" y="136"/>
                    </a:lnTo>
                    <a:close/>
                    <a:moveTo>
                      <a:pt x="64" y="146"/>
                    </a:moveTo>
                    <a:cubicBezTo>
                      <a:pt x="66" y="146"/>
                      <a:pt x="67" y="144"/>
                      <a:pt x="67" y="142"/>
                    </a:cubicBezTo>
                    <a:cubicBezTo>
                      <a:pt x="67" y="141"/>
                      <a:pt x="66" y="139"/>
                      <a:pt x="64" y="139"/>
                    </a:cubicBezTo>
                    <a:cubicBezTo>
                      <a:pt x="62" y="139"/>
                      <a:pt x="61" y="141"/>
                      <a:pt x="61" y="142"/>
                    </a:cubicBezTo>
                    <a:cubicBezTo>
                      <a:pt x="61" y="144"/>
                      <a:pt x="62" y="146"/>
                      <a:pt x="64" y="146"/>
                    </a:cubicBezTo>
                    <a:moveTo>
                      <a:pt x="171" y="20"/>
                    </a:moveTo>
                    <a:cubicBezTo>
                      <a:pt x="171" y="25"/>
                      <a:pt x="166" y="25"/>
                      <a:pt x="166" y="25"/>
                    </a:cubicBezTo>
                    <a:cubicBezTo>
                      <a:pt x="117" y="25"/>
                      <a:pt x="117" y="25"/>
                      <a:pt x="117" y="25"/>
                    </a:cubicBezTo>
                    <a:cubicBezTo>
                      <a:pt x="111" y="25"/>
                      <a:pt x="111" y="20"/>
                      <a:pt x="111" y="20"/>
                    </a:cubicBezTo>
                    <a:cubicBezTo>
                      <a:pt x="111" y="19"/>
                      <a:pt x="111" y="19"/>
                      <a:pt x="111" y="19"/>
                    </a:cubicBezTo>
                    <a:cubicBezTo>
                      <a:pt x="111" y="13"/>
                      <a:pt x="117" y="13"/>
                      <a:pt x="117" y="13"/>
                    </a:cubicBezTo>
                    <a:cubicBezTo>
                      <a:pt x="143" y="13"/>
                      <a:pt x="143" y="13"/>
                      <a:pt x="143" y="13"/>
                    </a:cubicBezTo>
                    <a:cubicBezTo>
                      <a:pt x="166" y="13"/>
                      <a:pt x="166" y="13"/>
                      <a:pt x="166" y="13"/>
                    </a:cubicBezTo>
                    <a:cubicBezTo>
                      <a:pt x="171" y="13"/>
                      <a:pt x="171" y="19"/>
                      <a:pt x="171" y="19"/>
                    </a:cubicBezTo>
                    <a:lnTo>
                      <a:pt x="171" y="20"/>
                    </a:lnTo>
                    <a:close/>
                    <a:moveTo>
                      <a:pt x="162" y="23"/>
                    </a:moveTo>
                    <a:cubicBezTo>
                      <a:pt x="164" y="23"/>
                      <a:pt x="165" y="21"/>
                      <a:pt x="165" y="19"/>
                    </a:cubicBezTo>
                    <a:cubicBezTo>
                      <a:pt x="165" y="17"/>
                      <a:pt x="164" y="16"/>
                      <a:pt x="162" y="16"/>
                    </a:cubicBezTo>
                    <a:cubicBezTo>
                      <a:pt x="160" y="16"/>
                      <a:pt x="159" y="17"/>
                      <a:pt x="159" y="19"/>
                    </a:cubicBezTo>
                    <a:cubicBezTo>
                      <a:pt x="159" y="21"/>
                      <a:pt x="160" y="23"/>
                      <a:pt x="162" y="23"/>
                    </a:cubicBezTo>
                    <a:moveTo>
                      <a:pt x="171" y="45"/>
                    </a:moveTo>
                    <a:cubicBezTo>
                      <a:pt x="171" y="50"/>
                      <a:pt x="166" y="50"/>
                      <a:pt x="166" y="50"/>
                    </a:cubicBezTo>
                    <a:cubicBezTo>
                      <a:pt x="117" y="50"/>
                      <a:pt x="117" y="50"/>
                      <a:pt x="117" y="50"/>
                    </a:cubicBezTo>
                    <a:cubicBezTo>
                      <a:pt x="111" y="50"/>
                      <a:pt x="111" y="45"/>
                      <a:pt x="111" y="45"/>
                    </a:cubicBezTo>
                    <a:cubicBezTo>
                      <a:pt x="111" y="43"/>
                      <a:pt x="111" y="43"/>
                      <a:pt x="111" y="43"/>
                    </a:cubicBezTo>
                    <a:cubicBezTo>
                      <a:pt x="111" y="38"/>
                      <a:pt x="117" y="38"/>
                      <a:pt x="117" y="38"/>
                    </a:cubicBezTo>
                    <a:cubicBezTo>
                      <a:pt x="143" y="38"/>
                      <a:pt x="143" y="38"/>
                      <a:pt x="143" y="38"/>
                    </a:cubicBezTo>
                    <a:cubicBezTo>
                      <a:pt x="166" y="38"/>
                      <a:pt x="166" y="38"/>
                      <a:pt x="166" y="38"/>
                    </a:cubicBezTo>
                    <a:cubicBezTo>
                      <a:pt x="171" y="38"/>
                      <a:pt x="171" y="43"/>
                      <a:pt x="171" y="43"/>
                    </a:cubicBezTo>
                    <a:lnTo>
                      <a:pt x="171" y="45"/>
                    </a:lnTo>
                    <a:close/>
                    <a:moveTo>
                      <a:pt x="162" y="47"/>
                    </a:moveTo>
                    <a:cubicBezTo>
                      <a:pt x="164" y="47"/>
                      <a:pt x="165" y="46"/>
                      <a:pt x="165" y="44"/>
                    </a:cubicBezTo>
                    <a:cubicBezTo>
                      <a:pt x="165" y="42"/>
                      <a:pt x="164" y="41"/>
                      <a:pt x="162" y="41"/>
                    </a:cubicBezTo>
                    <a:cubicBezTo>
                      <a:pt x="160" y="41"/>
                      <a:pt x="159" y="42"/>
                      <a:pt x="159" y="44"/>
                    </a:cubicBezTo>
                    <a:cubicBezTo>
                      <a:pt x="159" y="46"/>
                      <a:pt x="160" y="47"/>
                      <a:pt x="162" y="47"/>
                    </a:cubicBezTo>
                    <a:moveTo>
                      <a:pt x="171" y="69"/>
                    </a:moveTo>
                    <a:cubicBezTo>
                      <a:pt x="171" y="74"/>
                      <a:pt x="166" y="74"/>
                      <a:pt x="166" y="74"/>
                    </a:cubicBezTo>
                    <a:cubicBezTo>
                      <a:pt x="117" y="74"/>
                      <a:pt x="117" y="74"/>
                      <a:pt x="117" y="74"/>
                    </a:cubicBezTo>
                    <a:cubicBezTo>
                      <a:pt x="111" y="74"/>
                      <a:pt x="111" y="69"/>
                      <a:pt x="111" y="69"/>
                    </a:cubicBezTo>
                    <a:cubicBezTo>
                      <a:pt x="111" y="68"/>
                      <a:pt x="111" y="68"/>
                      <a:pt x="111" y="68"/>
                    </a:cubicBezTo>
                    <a:cubicBezTo>
                      <a:pt x="111" y="63"/>
                      <a:pt x="117" y="63"/>
                      <a:pt x="117" y="63"/>
                    </a:cubicBezTo>
                    <a:cubicBezTo>
                      <a:pt x="143" y="63"/>
                      <a:pt x="143" y="63"/>
                      <a:pt x="143" y="63"/>
                    </a:cubicBezTo>
                    <a:cubicBezTo>
                      <a:pt x="166" y="63"/>
                      <a:pt x="166" y="63"/>
                      <a:pt x="166" y="63"/>
                    </a:cubicBezTo>
                    <a:cubicBezTo>
                      <a:pt x="171" y="63"/>
                      <a:pt x="171" y="68"/>
                      <a:pt x="171" y="68"/>
                    </a:cubicBezTo>
                    <a:lnTo>
                      <a:pt x="171" y="69"/>
                    </a:lnTo>
                    <a:close/>
                    <a:moveTo>
                      <a:pt x="162" y="72"/>
                    </a:moveTo>
                    <a:cubicBezTo>
                      <a:pt x="164" y="72"/>
                      <a:pt x="165" y="70"/>
                      <a:pt x="165" y="68"/>
                    </a:cubicBezTo>
                    <a:cubicBezTo>
                      <a:pt x="165" y="67"/>
                      <a:pt x="164" y="65"/>
                      <a:pt x="162" y="65"/>
                    </a:cubicBezTo>
                    <a:cubicBezTo>
                      <a:pt x="160" y="65"/>
                      <a:pt x="159" y="67"/>
                      <a:pt x="159" y="68"/>
                    </a:cubicBezTo>
                    <a:cubicBezTo>
                      <a:pt x="159" y="70"/>
                      <a:pt x="160" y="72"/>
                      <a:pt x="162" y="72"/>
                    </a:cubicBezTo>
                    <a:moveTo>
                      <a:pt x="171" y="94"/>
                    </a:moveTo>
                    <a:cubicBezTo>
                      <a:pt x="171" y="99"/>
                      <a:pt x="166" y="99"/>
                      <a:pt x="166" y="99"/>
                    </a:cubicBezTo>
                    <a:cubicBezTo>
                      <a:pt x="117" y="99"/>
                      <a:pt x="117" y="99"/>
                      <a:pt x="117" y="99"/>
                    </a:cubicBezTo>
                    <a:cubicBezTo>
                      <a:pt x="111" y="99"/>
                      <a:pt x="111" y="94"/>
                      <a:pt x="111" y="94"/>
                    </a:cubicBezTo>
                    <a:cubicBezTo>
                      <a:pt x="111" y="93"/>
                      <a:pt x="111" y="93"/>
                      <a:pt x="111" y="93"/>
                    </a:cubicBezTo>
                    <a:cubicBezTo>
                      <a:pt x="111" y="87"/>
                      <a:pt x="117" y="87"/>
                      <a:pt x="117" y="87"/>
                    </a:cubicBezTo>
                    <a:cubicBezTo>
                      <a:pt x="143" y="87"/>
                      <a:pt x="143" y="87"/>
                      <a:pt x="143" y="87"/>
                    </a:cubicBezTo>
                    <a:cubicBezTo>
                      <a:pt x="166" y="87"/>
                      <a:pt x="166" y="87"/>
                      <a:pt x="166" y="87"/>
                    </a:cubicBezTo>
                    <a:cubicBezTo>
                      <a:pt x="171" y="87"/>
                      <a:pt x="171" y="93"/>
                      <a:pt x="171" y="93"/>
                    </a:cubicBezTo>
                    <a:lnTo>
                      <a:pt x="171" y="94"/>
                    </a:lnTo>
                    <a:close/>
                    <a:moveTo>
                      <a:pt x="162" y="96"/>
                    </a:moveTo>
                    <a:cubicBezTo>
                      <a:pt x="164" y="96"/>
                      <a:pt x="165" y="95"/>
                      <a:pt x="165" y="93"/>
                    </a:cubicBezTo>
                    <a:cubicBezTo>
                      <a:pt x="165" y="91"/>
                      <a:pt x="164" y="90"/>
                      <a:pt x="162" y="90"/>
                    </a:cubicBezTo>
                    <a:cubicBezTo>
                      <a:pt x="160" y="90"/>
                      <a:pt x="159" y="91"/>
                      <a:pt x="159" y="93"/>
                    </a:cubicBezTo>
                    <a:cubicBezTo>
                      <a:pt x="159" y="95"/>
                      <a:pt x="160" y="96"/>
                      <a:pt x="162" y="96"/>
                    </a:cubicBezTo>
                    <a:moveTo>
                      <a:pt x="171" y="118"/>
                    </a:moveTo>
                    <a:cubicBezTo>
                      <a:pt x="171" y="124"/>
                      <a:pt x="166" y="124"/>
                      <a:pt x="166" y="124"/>
                    </a:cubicBezTo>
                    <a:cubicBezTo>
                      <a:pt x="117" y="124"/>
                      <a:pt x="117" y="124"/>
                      <a:pt x="117" y="124"/>
                    </a:cubicBezTo>
                    <a:cubicBezTo>
                      <a:pt x="111" y="124"/>
                      <a:pt x="111" y="118"/>
                      <a:pt x="111" y="118"/>
                    </a:cubicBezTo>
                    <a:cubicBezTo>
                      <a:pt x="111" y="117"/>
                      <a:pt x="111" y="117"/>
                      <a:pt x="111" y="117"/>
                    </a:cubicBezTo>
                    <a:cubicBezTo>
                      <a:pt x="111" y="112"/>
                      <a:pt x="117" y="112"/>
                      <a:pt x="117" y="112"/>
                    </a:cubicBezTo>
                    <a:cubicBezTo>
                      <a:pt x="143" y="112"/>
                      <a:pt x="143" y="112"/>
                      <a:pt x="143" y="112"/>
                    </a:cubicBezTo>
                    <a:cubicBezTo>
                      <a:pt x="166" y="112"/>
                      <a:pt x="166" y="112"/>
                      <a:pt x="166" y="112"/>
                    </a:cubicBezTo>
                    <a:cubicBezTo>
                      <a:pt x="171" y="112"/>
                      <a:pt x="171" y="117"/>
                      <a:pt x="171" y="117"/>
                    </a:cubicBezTo>
                    <a:lnTo>
                      <a:pt x="171" y="118"/>
                    </a:lnTo>
                    <a:close/>
                    <a:moveTo>
                      <a:pt x="162" y="121"/>
                    </a:moveTo>
                    <a:cubicBezTo>
                      <a:pt x="164" y="121"/>
                      <a:pt x="165" y="120"/>
                      <a:pt x="165" y="118"/>
                    </a:cubicBezTo>
                    <a:cubicBezTo>
                      <a:pt x="165" y="116"/>
                      <a:pt x="164" y="114"/>
                      <a:pt x="162" y="114"/>
                    </a:cubicBezTo>
                    <a:cubicBezTo>
                      <a:pt x="160" y="114"/>
                      <a:pt x="159" y="116"/>
                      <a:pt x="159" y="118"/>
                    </a:cubicBezTo>
                    <a:cubicBezTo>
                      <a:pt x="159" y="120"/>
                      <a:pt x="160" y="121"/>
                      <a:pt x="162" y="121"/>
                    </a:cubicBezTo>
                    <a:moveTo>
                      <a:pt x="171" y="143"/>
                    </a:moveTo>
                    <a:cubicBezTo>
                      <a:pt x="171" y="148"/>
                      <a:pt x="166" y="148"/>
                      <a:pt x="166" y="148"/>
                    </a:cubicBezTo>
                    <a:cubicBezTo>
                      <a:pt x="117" y="148"/>
                      <a:pt x="117" y="148"/>
                      <a:pt x="117" y="148"/>
                    </a:cubicBezTo>
                    <a:cubicBezTo>
                      <a:pt x="111" y="148"/>
                      <a:pt x="111" y="143"/>
                      <a:pt x="111" y="143"/>
                    </a:cubicBezTo>
                    <a:cubicBezTo>
                      <a:pt x="111" y="142"/>
                      <a:pt x="111" y="142"/>
                      <a:pt x="111" y="142"/>
                    </a:cubicBezTo>
                    <a:cubicBezTo>
                      <a:pt x="111" y="136"/>
                      <a:pt x="117" y="136"/>
                      <a:pt x="117" y="136"/>
                    </a:cubicBezTo>
                    <a:cubicBezTo>
                      <a:pt x="143" y="136"/>
                      <a:pt x="143" y="136"/>
                      <a:pt x="143" y="136"/>
                    </a:cubicBezTo>
                    <a:cubicBezTo>
                      <a:pt x="166" y="136"/>
                      <a:pt x="166" y="136"/>
                      <a:pt x="166" y="136"/>
                    </a:cubicBezTo>
                    <a:cubicBezTo>
                      <a:pt x="171" y="136"/>
                      <a:pt x="171" y="142"/>
                      <a:pt x="171" y="142"/>
                    </a:cubicBezTo>
                    <a:lnTo>
                      <a:pt x="171" y="143"/>
                    </a:lnTo>
                    <a:close/>
                    <a:moveTo>
                      <a:pt x="162" y="146"/>
                    </a:moveTo>
                    <a:cubicBezTo>
                      <a:pt x="164" y="146"/>
                      <a:pt x="165" y="144"/>
                      <a:pt x="165" y="142"/>
                    </a:cubicBezTo>
                    <a:cubicBezTo>
                      <a:pt x="165" y="141"/>
                      <a:pt x="164" y="139"/>
                      <a:pt x="162" y="139"/>
                    </a:cubicBezTo>
                    <a:cubicBezTo>
                      <a:pt x="160" y="139"/>
                      <a:pt x="159" y="141"/>
                      <a:pt x="159" y="142"/>
                    </a:cubicBezTo>
                    <a:cubicBezTo>
                      <a:pt x="159" y="144"/>
                      <a:pt x="160" y="146"/>
                      <a:pt x="162" y="146"/>
                    </a:cubicBezTo>
                  </a:path>
                </a:pathLst>
              </a:custGeom>
              <a:solidFill>
                <a:srgbClr val="FFFFFF"/>
              </a:solidFill>
              <a:ln>
                <a:noFill/>
              </a:ln>
              <a:extLst/>
            </p:spPr>
            <p:txBody>
              <a:bodyPr vert="horz" wrap="square" lIns="124314" tIns="62157" rIns="124314" bIns="62157" numCol="1" anchor="t" anchorCtr="0" compatLnSpc="1">
                <a:prstTxWarp prst="textNoShape">
                  <a:avLst/>
                </a:prstTxWarp>
              </a:bodyPr>
              <a:lstStyle/>
              <a:p>
                <a:pPr marL="0" marR="0" lvl="0" indent="0" algn="l" defTabSz="1243130" rtl="0" eaLnBrk="1" fontAlgn="auto" latinLnBrk="0" hangingPunct="1">
                  <a:lnSpc>
                    <a:spcPct val="100000"/>
                  </a:lnSpc>
                  <a:spcBef>
                    <a:spcPts val="0"/>
                  </a:spcBef>
                  <a:spcAft>
                    <a:spcPts val="0"/>
                  </a:spcAft>
                  <a:buClrTx/>
                  <a:buSzTx/>
                  <a:buFontTx/>
                  <a:buNone/>
                  <a:tabLst/>
                  <a:defRPr/>
                </a:pPr>
                <a:endParaRPr kumimoji="0" lang="en-US" sz="2448"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20" name="Freeform 17"/>
              <p:cNvSpPr>
                <a:spLocks/>
              </p:cNvSpPr>
              <p:nvPr/>
            </p:nvSpPr>
            <p:spPr bwMode="auto">
              <a:xfrm>
                <a:off x="1522333" y="2410233"/>
                <a:ext cx="932403" cy="528323"/>
              </a:xfrm>
              <a:custGeom>
                <a:avLst/>
                <a:gdLst>
                  <a:gd name="T0" fmla="*/ 298 w 353"/>
                  <a:gd name="T1" fmla="*/ 104 h 199"/>
                  <a:gd name="T2" fmla="*/ 298 w 353"/>
                  <a:gd name="T3" fmla="*/ 104 h 199"/>
                  <a:gd name="T4" fmla="*/ 193 w 353"/>
                  <a:gd name="T5" fmla="*/ 0 h 199"/>
                  <a:gd name="T6" fmla="*/ 94 w 353"/>
                  <a:gd name="T7" fmla="*/ 70 h 199"/>
                  <a:gd name="T8" fmla="*/ 74 w 353"/>
                  <a:gd name="T9" fmla="*/ 67 h 199"/>
                  <a:gd name="T10" fmla="*/ 0 w 353"/>
                  <a:gd name="T11" fmla="*/ 141 h 199"/>
                  <a:gd name="T12" fmla="*/ 3 w 353"/>
                  <a:gd name="T13" fmla="*/ 162 h 199"/>
                  <a:gd name="T14" fmla="*/ 29 w 353"/>
                  <a:gd name="T15" fmla="*/ 199 h 199"/>
                  <a:gd name="T16" fmla="*/ 119 w 353"/>
                  <a:gd name="T17" fmla="*/ 199 h 199"/>
                  <a:gd name="T18" fmla="*/ 149 w 353"/>
                  <a:gd name="T19" fmla="*/ 199 h 199"/>
                  <a:gd name="T20" fmla="*/ 237 w 353"/>
                  <a:gd name="T21" fmla="*/ 199 h 199"/>
                  <a:gd name="T22" fmla="*/ 252 w 353"/>
                  <a:gd name="T23" fmla="*/ 199 h 199"/>
                  <a:gd name="T24" fmla="*/ 338 w 353"/>
                  <a:gd name="T25" fmla="*/ 199 h 199"/>
                  <a:gd name="T26" fmla="*/ 353 w 353"/>
                  <a:gd name="T27" fmla="*/ 162 h 199"/>
                  <a:gd name="T28" fmla="*/ 298 w 353"/>
                  <a:gd name="T29" fmla="*/ 104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53" h="199">
                    <a:moveTo>
                      <a:pt x="298" y="104"/>
                    </a:moveTo>
                    <a:cubicBezTo>
                      <a:pt x="298" y="104"/>
                      <a:pt x="298" y="104"/>
                      <a:pt x="298" y="104"/>
                    </a:cubicBezTo>
                    <a:cubicBezTo>
                      <a:pt x="298" y="47"/>
                      <a:pt x="251" y="0"/>
                      <a:pt x="193" y="0"/>
                    </a:cubicBezTo>
                    <a:cubicBezTo>
                      <a:pt x="147" y="0"/>
                      <a:pt x="109" y="29"/>
                      <a:pt x="94" y="70"/>
                    </a:cubicBezTo>
                    <a:cubicBezTo>
                      <a:pt x="88" y="68"/>
                      <a:pt x="81" y="67"/>
                      <a:pt x="74" y="67"/>
                    </a:cubicBezTo>
                    <a:cubicBezTo>
                      <a:pt x="33" y="67"/>
                      <a:pt x="0" y="100"/>
                      <a:pt x="0" y="141"/>
                    </a:cubicBezTo>
                    <a:cubicBezTo>
                      <a:pt x="0" y="148"/>
                      <a:pt x="1" y="155"/>
                      <a:pt x="3" y="162"/>
                    </a:cubicBezTo>
                    <a:cubicBezTo>
                      <a:pt x="7" y="177"/>
                      <a:pt x="17" y="190"/>
                      <a:pt x="29" y="199"/>
                    </a:cubicBezTo>
                    <a:cubicBezTo>
                      <a:pt x="119" y="199"/>
                      <a:pt x="119" y="199"/>
                      <a:pt x="119" y="199"/>
                    </a:cubicBezTo>
                    <a:cubicBezTo>
                      <a:pt x="149" y="199"/>
                      <a:pt x="149" y="199"/>
                      <a:pt x="149" y="199"/>
                    </a:cubicBezTo>
                    <a:cubicBezTo>
                      <a:pt x="237" y="199"/>
                      <a:pt x="237" y="199"/>
                      <a:pt x="237" y="199"/>
                    </a:cubicBezTo>
                    <a:cubicBezTo>
                      <a:pt x="252" y="199"/>
                      <a:pt x="252" y="199"/>
                      <a:pt x="252" y="199"/>
                    </a:cubicBezTo>
                    <a:cubicBezTo>
                      <a:pt x="338" y="199"/>
                      <a:pt x="338" y="199"/>
                      <a:pt x="338" y="199"/>
                    </a:cubicBezTo>
                    <a:cubicBezTo>
                      <a:pt x="347" y="189"/>
                      <a:pt x="353" y="176"/>
                      <a:pt x="353" y="162"/>
                    </a:cubicBezTo>
                    <a:cubicBezTo>
                      <a:pt x="353" y="131"/>
                      <a:pt x="328" y="106"/>
                      <a:pt x="298" y="104"/>
                    </a:cubicBezTo>
                    <a:close/>
                  </a:path>
                </a:pathLst>
              </a:custGeom>
              <a:solidFill>
                <a:srgbClr val="FFFFFF"/>
              </a:solidFill>
              <a:ln>
                <a:noFill/>
              </a:ln>
              <a:extLst/>
            </p:spPr>
            <p:txBody>
              <a:bodyPr vert="horz" wrap="square" lIns="124314" tIns="62157" rIns="124314" bIns="62157" numCol="1" anchor="t" anchorCtr="0" compatLnSpc="1">
                <a:prstTxWarp prst="textNoShape">
                  <a:avLst/>
                </a:prstTxWarp>
              </a:bodyPr>
              <a:lstStyle/>
              <a:p>
                <a:pPr marL="0" marR="0" lvl="0" indent="0" algn="l" defTabSz="1243130" rtl="0" eaLnBrk="1" fontAlgn="auto" latinLnBrk="0" hangingPunct="1">
                  <a:lnSpc>
                    <a:spcPct val="100000"/>
                  </a:lnSpc>
                  <a:spcBef>
                    <a:spcPts val="0"/>
                  </a:spcBef>
                  <a:spcAft>
                    <a:spcPts val="0"/>
                  </a:spcAft>
                  <a:buClrTx/>
                  <a:buSzTx/>
                  <a:buFontTx/>
                  <a:buNone/>
                  <a:tabLst/>
                  <a:defRPr/>
                </a:pPr>
                <a:endParaRPr kumimoji="0" lang="en-US" sz="2448"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21" name="Freeform 17"/>
              <p:cNvSpPr>
                <a:spLocks/>
              </p:cNvSpPr>
              <p:nvPr/>
            </p:nvSpPr>
            <p:spPr bwMode="auto">
              <a:xfrm rot="10800000">
                <a:off x="1522333" y="3726415"/>
                <a:ext cx="932403" cy="528323"/>
              </a:xfrm>
              <a:custGeom>
                <a:avLst/>
                <a:gdLst>
                  <a:gd name="T0" fmla="*/ 298 w 353"/>
                  <a:gd name="T1" fmla="*/ 104 h 199"/>
                  <a:gd name="T2" fmla="*/ 298 w 353"/>
                  <a:gd name="T3" fmla="*/ 104 h 199"/>
                  <a:gd name="T4" fmla="*/ 193 w 353"/>
                  <a:gd name="T5" fmla="*/ 0 h 199"/>
                  <a:gd name="T6" fmla="*/ 94 w 353"/>
                  <a:gd name="T7" fmla="*/ 70 h 199"/>
                  <a:gd name="T8" fmla="*/ 74 w 353"/>
                  <a:gd name="T9" fmla="*/ 67 h 199"/>
                  <a:gd name="T10" fmla="*/ 0 w 353"/>
                  <a:gd name="T11" fmla="*/ 141 h 199"/>
                  <a:gd name="T12" fmla="*/ 3 w 353"/>
                  <a:gd name="T13" fmla="*/ 162 h 199"/>
                  <a:gd name="T14" fmla="*/ 29 w 353"/>
                  <a:gd name="T15" fmla="*/ 199 h 199"/>
                  <a:gd name="T16" fmla="*/ 119 w 353"/>
                  <a:gd name="T17" fmla="*/ 199 h 199"/>
                  <a:gd name="T18" fmla="*/ 149 w 353"/>
                  <a:gd name="T19" fmla="*/ 199 h 199"/>
                  <a:gd name="T20" fmla="*/ 237 w 353"/>
                  <a:gd name="T21" fmla="*/ 199 h 199"/>
                  <a:gd name="T22" fmla="*/ 252 w 353"/>
                  <a:gd name="T23" fmla="*/ 199 h 199"/>
                  <a:gd name="T24" fmla="*/ 338 w 353"/>
                  <a:gd name="T25" fmla="*/ 199 h 199"/>
                  <a:gd name="T26" fmla="*/ 353 w 353"/>
                  <a:gd name="T27" fmla="*/ 162 h 199"/>
                  <a:gd name="T28" fmla="*/ 298 w 353"/>
                  <a:gd name="T29" fmla="*/ 104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53" h="199">
                    <a:moveTo>
                      <a:pt x="298" y="104"/>
                    </a:moveTo>
                    <a:cubicBezTo>
                      <a:pt x="298" y="104"/>
                      <a:pt x="298" y="104"/>
                      <a:pt x="298" y="104"/>
                    </a:cubicBezTo>
                    <a:cubicBezTo>
                      <a:pt x="298" y="47"/>
                      <a:pt x="251" y="0"/>
                      <a:pt x="193" y="0"/>
                    </a:cubicBezTo>
                    <a:cubicBezTo>
                      <a:pt x="147" y="0"/>
                      <a:pt x="109" y="29"/>
                      <a:pt x="94" y="70"/>
                    </a:cubicBezTo>
                    <a:cubicBezTo>
                      <a:pt x="88" y="68"/>
                      <a:pt x="81" y="67"/>
                      <a:pt x="74" y="67"/>
                    </a:cubicBezTo>
                    <a:cubicBezTo>
                      <a:pt x="33" y="67"/>
                      <a:pt x="0" y="100"/>
                      <a:pt x="0" y="141"/>
                    </a:cubicBezTo>
                    <a:cubicBezTo>
                      <a:pt x="0" y="148"/>
                      <a:pt x="1" y="155"/>
                      <a:pt x="3" y="162"/>
                    </a:cubicBezTo>
                    <a:cubicBezTo>
                      <a:pt x="7" y="177"/>
                      <a:pt x="17" y="190"/>
                      <a:pt x="29" y="199"/>
                    </a:cubicBezTo>
                    <a:cubicBezTo>
                      <a:pt x="119" y="199"/>
                      <a:pt x="119" y="199"/>
                      <a:pt x="119" y="199"/>
                    </a:cubicBezTo>
                    <a:cubicBezTo>
                      <a:pt x="149" y="199"/>
                      <a:pt x="149" y="199"/>
                      <a:pt x="149" y="199"/>
                    </a:cubicBezTo>
                    <a:cubicBezTo>
                      <a:pt x="237" y="199"/>
                      <a:pt x="237" y="199"/>
                      <a:pt x="237" y="199"/>
                    </a:cubicBezTo>
                    <a:cubicBezTo>
                      <a:pt x="252" y="199"/>
                      <a:pt x="252" y="199"/>
                      <a:pt x="252" y="199"/>
                    </a:cubicBezTo>
                    <a:cubicBezTo>
                      <a:pt x="338" y="199"/>
                      <a:pt x="338" y="199"/>
                      <a:pt x="338" y="199"/>
                    </a:cubicBezTo>
                    <a:cubicBezTo>
                      <a:pt x="347" y="189"/>
                      <a:pt x="353" y="176"/>
                      <a:pt x="353" y="162"/>
                    </a:cubicBezTo>
                    <a:cubicBezTo>
                      <a:pt x="353" y="131"/>
                      <a:pt x="328" y="106"/>
                      <a:pt x="298" y="104"/>
                    </a:cubicBezTo>
                    <a:close/>
                  </a:path>
                </a:pathLst>
              </a:custGeom>
              <a:solidFill>
                <a:srgbClr val="FFFFFF"/>
              </a:solidFill>
              <a:ln>
                <a:noFill/>
              </a:ln>
              <a:extLst/>
            </p:spPr>
            <p:txBody>
              <a:bodyPr vert="horz" wrap="square" lIns="124314" tIns="62157" rIns="124314" bIns="62157" numCol="1" anchor="t" anchorCtr="0" compatLnSpc="1">
                <a:prstTxWarp prst="textNoShape">
                  <a:avLst/>
                </a:prstTxWarp>
              </a:bodyPr>
              <a:lstStyle/>
              <a:p>
                <a:pPr marL="0" marR="0" lvl="0" indent="0" algn="l" defTabSz="1243130" rtl="0" eaLnBrk="1" fontAlgn="auto" latinLnBrk="0" hangingPunct="1">
                  <a:lnSpc>
                    <a:spcPct val="100000"/>
                  </a:lnSpc>
                  <a:spcBef>
                    <a:spcPts val="0"/>
                  </a:spcBef>
                  <a:spcAft>
                    <a:spcPts val="0"/>
                  </a:spcAft>
                  <a:buClrTx/>
                  <a:buSzTx/>
                  <a:buFontTx/>
                  <a:buNone/>
                  <a:tabLst/>
                  <a:defRPr/>
                </a:pPr>
                <a:endParaRPr kumimoji="0" lang="en-US" sz="2448" b="0" i="0" u="none" strike="noStrike" kern="0" cap="none" spc="0" normalizeH="0" baseline="0" noProof="0">
                  <a:ln>
                    <a:noFill/>
                  </a:ln>
                  <a:solidFill>
                    <a:sysClr val="windowText" lastClr="000000"/>
                  </a:solidFill>
                  <a:effectLst/>
                  <a:uLnTx/>
                  <a:uFillTx/>
                  <a:latin typeface="Segoe UI"/>
                  <a:ea typeface="+mn-ea"/>
                  <a:cs typeface="+mn-cs"/>
                </a:endParaRPr>
              </a:p>
            </p:txBody>
          </p:sp>
        </p:grpSp>
      </p:grpSp>
      <p:grpSp>
        <p:nvGrpSpPr>
          <p:cNvPr id="22" name="Group 21"/>
          <p:cNvGrpSpPr/>
          <p:nvPr/>
        </p:nvGrpSpPr>
        <p:grpSpPr>
          <a:xfrm>
            <a:off x="4508949" y="2120446"/>
            <a:ext cx="7746123" cy="4169857"/>
            <a:chOff x="3315300" y="1559020"/>
            <a:chExt cx="5697731" cy="3067176"/>
          </a:xfrm>
        </p:grpSpPr>
        <p:grpSp>
          <p:nvGrpSpPr>
            <p:cNvPr id="23" name="Group 22"/>
            <p:cNvGrpSpPr/>
            <p:nvPr/>
          </p:nvGrpSpPr>
          <p:grpSpPr>
            <a:xfrm>
              <a:off x="4569335" y="1830054"/>
              <a:ext cx="1229090" cy="2401145"/>
              <a:chOff x="4569335" y="1830054"/>
              <a:chExt cx="1229090" cy="2401145"/>
            </a:xfrm>
          </p:grpSpPr>
          <p:grpSp>
            <p:nvGrpSpPr>
              <p:cNvPr id="52" name="Group 51"/>
              <p:cNvGrpSpPr/>
              <p:nvPr/>
            </p:nvGrpSpPr>
            <p:grpSpPr>
              <a:xfrm>
                <a:off x="4577226" y="1830054"/>
                <a:ext cx="1207197" cy="450075"/>
                <a:chOff x="4577226" y="1830054"/>
                <a:chExt cx="1207197" cy="450075"/>
              </a:xfrm>
            </p:grpSpPr>
            <p:sp>
              <p:nvSpPr>
                <p:cNvPr id="62" name="Right Arrow 61"/>
                <p:cNvSpPr/>
                <p:nvPr/>
              </p:nvSpPr>
              <p:spPr>
                <a:xfrm>
                  <a:off x="4577226" y="1830054"/>
                  <a:ext cx="1207197" cy="450075"/>
                </a:xfrm>
                <a:prstGeom prst="rightArrow">
                  <a:avLst>
                    <a:gd name="adj1" fmla="val 51200"/>
                    <a:gd name="adj2" fmla="val 50000"/>
                  </a:avLst>
                </a:prstGeom>
                <a:solidFill>
                  <a:srgbClr val="0072C6"/>
                </a:solidFill>
                <a:ln w="25400" cap="flat" cmpd="sng" algn="ctr">
                  <a:noFill/>
                  <a:prstDash val="solid"/>
                </a:ln>
                <a:effectLst/>
              </p:spPr>
              <p:txBody>
                <a:bodyPr rtlCol="0" anchor="ctr"/>
                <a:lstStyle/>
                <a:p>
                  <a:pPr marL="0" marR="0" lvl="0" indent="0" algn="ctr" defTabSz="822593" rtl="0" eaLnBrk="1" fontAlgn="auto" latinLnBrk="0" hangingPunct="1">
                    <a:lnSpc>
                      <a:spcPct val="100000"/>
                    </a:lnSpc>
                    <a:spcBef>
                      <a:spcPts val="0"/>
                    </a:spcBef>
                    <a:spcAft>
                      <a:spcPts val="0"/>
                    </a:spcAft>
                    <a:buClrTx/>
                    <a:buSzTx/>
                    <a:buFontTx/>
                    <a:buNone/>
                    <a:tabLst/>
                    <a:defRPr/>
                  </a:pPr>
                  <a:endParaRPr kumimoji="0" lang="en-US" sz="1620" b="0" i="0" u="none" strike="noStrike" kern="0" cap="none" spc="0" normalizeH="0" baseline="0" noProof="0">
                    <a:ln>
                      <a:noFill/>
                    </a:ln>
                    <a:solidFill>
                      <a:srgbClr val="FFFFFF"/>
                    </a:solidFill>
                    <a:effectLst/>
                    <a:uLnTx/>
                    <a:uFillTx/>
                    <a:latin typeface="Segoe UI"/>
                    <a:ea typeface="+mn-ea"/>
                    <a:cs typeface="+mn-cs"/>
                  </a:endParaRPr>
                </a:p>
              </p:txBody>
            </p:sp>
            <p:sp>
              <p:nvSpPr>
                <p:cNvPr id="63" name="TextBox 62"/>
                <p:cNvSpPr txBox="1"/>
                <p:nvPr/>
              </p:nvSpPr>
              <p:spPr>
                <a:xfrm>
                  <a:off x="4583970" y="1931411"/>
                  <a:ext cx="1129097" cy="253711"/>
                </a:xfrm>
                <a:prstGeom prst="rect">
                  <a:avLst/>
                </a:prstGeom>
                <a:noFill/>
              </p:spPr>
              <p:txBody>
                <a:bodyPr wrap="square" rtlCol="0" anchor="ctr">
                  <a:spAutoFit/>
                </a:bodyPr>
                <a:lstStyle/>
                <a:p>
                  <a:pPr marL="0" marR="0" lvl="0" indent="0" algn="l" defTabSz="932409" rtl="0" eaLnBrk="1" fontAlgn="auto" latinLnBrk="0" hangingPunct="1">
                    <a:lnSpc>
                      <a:spcPct val="100000"/>
                    </a:lnSpc>
                    <a:spcBef>
                      <a:spcPts val="0"/>
                    </a:spcBef>
                    <a:spcAft>
                      <a:spcPts val="0"/>
                    </a:spcAft>
                    <a:buClrTx/>
                    <a:buSzTx/>
                    <a:buFontTx/>
                    <a:buNone/>
                    <a:tabLst/>
                    <a:defRPr/>
                  </a:pPr>
                  <a:r>
                    <a:rPr kumimoji="0" lang="en-US" sz="1598" b="0" i="0" u="none" strike="noStrike" kern="0" cap="none" spc="0" normalizeH="0" baseline="0" noProof="0">
                      <a:ln>
                        <a:noFill/>
                      </a:ln>
                      <a:gradFill>
                        <a:gsLst>
                          <a:gs pos="0">
                            <a:srgbClr val="FFFFFF"/>
                          </a:gs>
                          <a:gs pos="100000">
                            <a:srgbClr val="FFFFFF"/>
                          </a:gs>
                        </a:gsLst>
                        <a:lin ang="10800000" scaled="1"/>
                      </a:gradFill>
                      <a:effectLst/>
                      <a:uLnTx/>
                      <a:uFillTx/>
                      <a:latin typeface="Segoe UI"/>
                      <a:ea typeface="+mn-ea"/>
                      <a:cs typeface="+mn-cs"/>
                    </a:rPr>
                    <a:t>Replace</a:t>
                  </a:r>
                </a:p>
              </p:txBody>
            </p:sp>
          </p:grpSp>
          <p:grpSp>
            <p:nvGrpSpPr>
              <p:cNvPr id="53" name="Group 52"/>
              <p:cNvGrpSpPr/>
              <p:nvPr/>
            </p:nvGrpSpPr>
            <p:grpSpPr>
              <a:xfrm>
                <a:off x="4569336" y="2334594"/>
                <a:ext cx="1229089" cy="444009"/>
                <a:chOff x="4569336" y="2334594"/>
                <a:chExt cx="1229089" cy="444009"/>
              </a:xfrm>
            </p:grpSpPr>
            <p:sp>
              <p:nvSpPr>
                <p:cNvPr id="60" name="Right Arrow 59"/>
                <p:cNvSpPr/>
                <p:nvPr/>
              </p:nvSpPr>
              <p:spPr>
                <a:xfrm>
                  <a:off x="4569336" y="2334594"/>
                  <a:ext cx="1229089" cy="444009"/>
                </a:xfrm>
                <a:prstGeom prst="rightArrow">
                  <a:avLst/>
                </a:prstGeom>
                <a:solidFill>
                  <a:srgbClr val="0072C6"/>
                </a:solidFill>
                <a:ln w="25400" cap="flat" cmpd="sng" algn="ctr">
                  <a:noFill/>
                  <a:prstDash val="solid"/>
                </a:ln>
                <a:effectLst/>
              </p:spPr>
              <p:txBody>
                <a:bodyPr rtlCol="0" anchor="ctr"/>
                <a:lstStyle/>
                <a:p>
                  <a:pPr marL="0" marR="0" lvl="0" indent="0" algn="ctr" defTabSz="822593" rtl="0" eaLnBrk="1" fontAlgn="auto" latinLnBrk="0" hangingPunct="1">
                    <a:lnSpc>
                      <a:spcPct val="100000"/>
                    </a:lnSpc>
                    <a:spcBef>
                      <a:spcPts val="0"/>
                    </a:spcBef>
                    <a:spcAft>
                      <a:spcPts val="0"/>
                    </a:spcAft>
                    <a:buClrTx/>
                    <a:buSzTx/>
                    <a:buFontTx/>
                    <a:buNone/>
                    <a:tabLst/>
                    <a:defRPr/>
                  </a:pPr>
                  <a:endParaRPr kumimoji="0" lang="en-US" sz="1620" b="0" i="0" u="none" strike="noStrike" kern="0" cap="none" spc="0" normalizeH="0" baseline="0" noProof="0">
                    <a:ln>
                      <a:noFill/>
                    </a:ln>
                    <a:solidFill>
                      <a:srgbClr val="FFFFFF"/>
                    </a:solidFill>
                    <a:effectLst/>
                    <a:uLnTx/>
                    <a:uFillTx/>
                    <a:latin typeface="Segoe UI"/>
                    <a:ea typeface="+mn-ea"/>
                    <a:cs typeface="+mn-cs"/>
                  </a:endParaRPr>
                </a:p>
              </p:txBody>
            </p:sp>
            <p:sp>
              <p:nvSpPr>
                <p:cNvPr id="61" name="TextBox 60"/>
                <p:cNvSpPr txBox="1"/>
                <p:nvPr/>
              </p:nvSpPr>
              <p:spPr>
                <a:xfrm>
                  <a:off x="4583970" y="2429744"/>
                  <a:ext cx="997261" cy="253711"/>
                </a:xfrm>
                <a:prstGeom prst="rect">
                  <a:avLst/>
                </a:prstGeom>
                <a:noFill/>
              </p:spPr>
              <p:txBody>
                <a:bodyPr wrap="square" rtlCol="0" anchor="ctr">
                  <a:spAutoFit/>
                </a:bodyPr>
                <a:lstStyle/>
                <a:p>
                  <a:pPr marL="0" marR="0" lvl="0" indent="0" algn="l" defTabSz="932409" rtl="0" eaLnBrk="1" fontAlgn="auto" latinLnBrk="0" hangingPunct="1">
                    <a:lnSpc>
                      <a:spcPct val="100000"/>
                    </a:lnSpc>
                    <a:spcBef>
                      <a:spcPts val="0"/>
                    </a:spcBef>
                    <a:spcAft>
                      <a:spcPts val="0"/>
                    </a:spcAft>
                    <a:buClrTx/>
                    <a:buSzTx/>
                    <a:buFontTx/>
                    <a:buNone/>
                    <a:tabLst/>
                    <a:defRPr/>
                  </a:pPr>
                  <a:r>
                    <a:rPr kumimoji="0" lang="en-US" sz="1598" b="0" i="0" u="none" strike="noStrike" kern="0" cap="none" spc="0" normalizeH="0" baseline="0" noProof="0">
                      <a:ln>
                        <a:noFill/>
                      </a:ln>
                      <a:gradFill>
                        <a:gsLst>
                          <a:gs pos="0">
                            <a:srgbClr val="FFFFFF"/>
                          </a:gs>
                          <a:gs pos="100000">
                            <a:srgbClr val="FFFFFF"/>
                          </a:gs>
                        </a:gsLst>
                        <a:lin ang="10800000" scaled="1"/>
                      </a:gradFill>
                      <a:effectLst/>
                      <a:uLnTx/>
                      <a:uFillTx/>
                      <a:latin typeface="Segoe UI"/>
                      <a:ea typeface="+mn-ea"/>
                      <a:cs typeface="+mn-cs"/>
                    </a:rPr>
                    <a:t>Modernize</a:t>
                  </a:r>
                </a:p>
              </p:txBody>
            </p:sp>
          </p:grpSp>
          <p:grpSp>
            <p:nvGrpSpPr>
              <p:cNvPr id="54" name="Group 53"/>
              <p:cNvGrpSpPr/>
              <p:nvPr/>
            </p:nvGrpSpPr>
            <p:grpSpPr>
              <a:xfrm>
                <a:off x="4577071" y="2832723"/>
                <a:ext cx="1212638" cy="444009"/>
                <a:chOff x="4577071" y="2826498"/>
                <a:chExt cx="1212638" cy="444009"/>
              </a:xfrm>
            </p:grpSpPr>
            <p:sp>
              <p:nvSpPr>
                <p:cNvPr id="58" name="Right Arrow 57"/>
                <p:cNvSpPr/>
                <p:nvPr/>
              </p:nvSpPr>
              <p:spPr>
                <a:xfrm>
                  <a:off x="4577071" y="2826498"/>
                  <a:ext cx="1212638" cy="444009"/>
                </a:xfrm>
                <a:prstGeom prst="rightArrow">
                  <a:avLst/>
                </a:prstGeom>
                <a:solidFill>
                  <a:srgbClr val="0072C6"/>
                </a:solidFill>
                <a:ln w="25400" cap="flat" cmpd="sng" algn="ctr">
                  <a:noFill/>
                  <a:prstDash val="solid"/>
                </a:ln>
                <a:effectLst/>
              </p:spPr>
              <p:txBody>
                <a:bodyPr rtlCol="0" anchor="ctr"/>
                <a:lstStyle/>
                <a:p>
                  <a:pPr marL="0" marR="0" lvl="0" indent="0" algn="ctr" defTabSz="822593" rtl="0" eaLnBrk="1" fontAlgn="auto" latinLnBrk="0" hangingPunct="1">
                    <a:lnSpc>
                      <a:spcPct val="100000"/>
                    </a:lnSpc>
                    <a:spcBef>
                      <a:spcPts val="0"/>
                    </a:spcBef>
                    <a:spcAft>
                      <a:spcPts val="0"/>
                    </a:spcAft>
                    <a:buClrTx/>
                    <a:buSzTx/>
                    <a:buFontTx/>
                    <a:buNone/>
                    <a:tabLst/>
                    <a:defRPr/>
                  </a:pPr>
                  <a:endParaRPr kumimoji="0" lang="en-US" sz="1620" b="0" i="0" u="none" strike="noStrike" kern="0" cap="none" spc="0" normalizeH="0" baseline="0" noProof="0">
                    <a:ln>
                      <a:noFill/>
                    </a:ln>
                    <a:solidFill>
                      <a:srgbClr val="FFFFFF"/>
                    </a:solidFill>
                    <a:effectLst/>
                    <a:uLnTx/>
                    <a:uFillTx/>
                    <a:latin typeface="Segoe UI"/>
                    <a:ea typeface="+mn-ea"/>
                    <a:cs typeface="+mn-cs"/>
                  </a:endParaRPr>
                </a:p>
              </p:txBody>
            </p:sp>
            <p:sp>
              <p:nvSpPr>
                <p:cNvPr id="59" name="TextBox 58"/>
                <p:cNvSpPr txBox="1"/>
                <p:nvPr/>
              </p:nvSpPr>
              <p:spPr>
                <a:xfrm>
                  <a:off x="4583970" y="2921646"/>
                  <a:ext cx="1135447" cy="253711"/>
                </a:xfrm>
                <a:prstGeom prst="rect">
                  <a:avLst/>
                </a:prstGeom>
                <a:noFill/>
              </p:spPr>
              <p:txBody>
                <a:bodyPr wrap="square" rtlCol="0" anchor="ctr">
                  <a:spAutoFit/>
                </a:bodyPr>
                <a:lstStyle/>
                <a:p>
                  <a:pPr marL="0" marR="0" lvl="0" indent="0" algn="l" defTabSz="932409" rtl="0" eaLnBrk="1" fontAlgn="auto" latinLnBrk="0" hangingPunct="1">
                    <a:lnSpc>
                      <a:spcPct val="100000"/>
                    </a:lnSpc>
                    <a:spcBef>
                      <a:spcPts val="0"/>
                    </a:spcBef>
                    <a:spcAft>
                      <a:spcPts val="0"/>
                    </a:spcAft>
                    <a:buClrTx/>
                    <a:buSzTx/>
                    <a:buFontTx/>
                    <a:buNone/>
                    <a:tabLst/>
                    <a:defRPr/>
                  </a:pPr>
                  <a:r>
                    <a:rPr kumimoji="0" lang="en-US" sz="1598" b="0" i="0" u="none" strike="noStrike" kern="0" cap="none" spc="0" normalizeH="0" baseline="0" noProof="0">
                      <a:ln>
                        <a:noFill/>
                      </a:ln>
                      <a:gradFill>
                        <a:gsLst>
                          <a:gs pos="0">
                            <a:srgbClr val="FFFFFF"/>
                          </a:gs>
                          <a:gs pos="100000">
                            <a:srgbClr val="FFFFFF"/>
                          </a:gs>
                        </a:gsLst>
                        <a:lin ang="10800000" scaled="1"/>
                      </a:gradFill>
                      <a:effectLst/>
                      <a:uLnTx/>
                      <a:uFillTx/>
                      <a:latin typeface="Segoe UI"/>
                      <a:ea typeface="+mn-ea"/>
                      <a:cs typeface="+mn-cs"/>
                    </a:rPr>
                    <a:t>Migrate</a:t>
                  </a:r>
                </a:p>
              </p:txBody>
            </p:sp>
          </p:grpSp>
          <p:grpSp>
            <p:nvGrpSpPr>
              <p:cNvPr id="55" name="Group 54"/>
              <p:cNvGrpSpPr/>
              <p:nvPr/>
            </p:nvGrpSpPr>
            <p:grpSpPr>
              <a:xfrm>
                <a:off x="4569335" y="3787190"/>
                <a:ext cx="1191805" cy="444009"/>
                <a:chOff x="4569335" y="3787190"/>
                <a:chExt cx="1191805" cy="444009"/>
              </a:xfrm>
            </p:grpSpPr>
            <p:sp>
              <p:nvSpPr>
                <p:cNvPr id="56" name="Right Arrow 55"/>
                <p:cNvSpPr/>
                <p:nvPr/>
              </p:nvSpPr>
              <p:spPr>
                <a:xfrm>
                  <a:off x="4569335" y="3787190"/>
                  <a:ext cx="1191805" cy="444009"/>
                </a:xfrm>
                <a:prstGeom prst="rightArrow">
                  <a:avLst/>
                </a:prstGeom>
                <a:solidFill>
                  <a:srgbClr val="0072C6"/>
                </a:solidFill>
                <a:ln w="25400" cap="flat" cmpd="sng" algn="ctr">
                  <a:noFill/>
                  <a:prstDash val="solid"/>
                </a:ln>
                <a:effectLst/>
              </p:spPr>
              <p:txBody>
                <a:bodyPr rtlCol="0" anchor="ctr"/>
                <a:lstStyle/>
                <a:p>
                  <a:pPr marL="0" marR="0" lvl="0" indent="0" algn="ctr" defTabSz="822593" rtl="0" eaLnBrk="1" fontAlgn="auto" latinLnBrk="0" hangingPunct="1">
                    <a:lnSpc>
                      <a:spcPct val="100000"/>
                    </a:lnSpc>
                    <a:spcBef>
                      <a:spcPts val="0"/>
                    </a:spcBef>
                    <a:spcAft>
                      <a:spcPts val="0"/>
                    </a:spcAft>
                    <a:buClrTx/>
                    <a:buSzTx/>
                    <a:buFontTx/>
                    <a:buNone/>
                    <a:tabLst/>
                    <a:defRPr/>
                  </a:pPr>
                  <a:endParaRPr kumimoji="0" lang="en-US" sz="1620" b="0" i="0" u="none" strike="noStrike" kern="0" cap="none" spc="0" normalizeH="0" baseline="0" noProof="0">
                    <a:ln>
                      <a:noFill/>
                    </a:ln>
                    <a:solidFill>
                      <a:srgbClr val="FFFFFF"/>
                    </a:solidFill>
                    <a:effectLst/>
                    <a:uLnTx/>
                    <a:uFillTx/>
                    <a:latin typeface="Segoe UI"/>
                    <a:ea typeface="+mn-ea"/>
                    <a:cs typeface="+mn-cs"/>
                  </a:endParaRPr>
                </a:p>
              </p:txBody>
            </p:sp>
            <p:sp>
              <p:nvSpPr>
                <p:cNvPr id="57" name="TextBox 56"/>
                <p:cNvSpPr txBox="1"/>
                <p:nvPr/>
              </p:nvSpPr>
              <p:spPr>
                <a:xfrm>
                  <a:off x="4581132" y="3882340"/>
                  <a:ext cx="1131936" cy="253711"/>
                </a:xfrm>
                <a:prstGeom prst="rect">
                  <a:avLst/>
                </a:prstGeom>
                <a:noFill/>
              </p:spPr>
              <p:txBody>
                <a:bodyPr wrap="square" rtlCol="0" anchor="ctr">
                  <a:spAutoFit/>
                </a:bodyPr>
                <a:lstStyle/>
                <a:p>
                  <a:pPr marL="0" marR="0" lvl="0" indent="0" algn="l" defTabSz="932409" rtl="0" eaLnBrk="1" fontAlgn="auto" latinLnBrk="0" hangingPunct="1">
                    <a:lnSpc>
                      <a:spcPct val="100000"/>
                    </a:lnSpc>
                    <a:spcBef>
                      <a:spcPts val="0"/>
                    </a:spcBef>
                    <a:spcAft>
                      <a:spcPts val="0"/>
                    </a:spcAft>
                    <a:buClrTx/>
                    <a:buSzTx/>
                    <a:buFontTx/>
                    <a:buNone/>
                    <a:tabLst/>
                    <a:defRPr/>
                  </a:pPr>
                  <a:r>
                    <a:rPr kumimoji="0" lang="en-US" sz="1598" b="0" i="0" u="none" strike="noStrike" kern="0" cap="none" spc="0" normalizeH="0" baseline="0" noProof="0">
                      <a:ln>
                        <a:noFill/>
                      </a:ln>
                      <a:gradFill>
                        <a:gsLst>
                          <a:gs pos="0">
                            <a:srgbClr val="FFFFFF"/>
                          </a:gs>
                          <a:gs pos="100000">
                            <a:srgbClr val="FFFFFF"/>
                          </a:gs>
                        </a:gsLst>
                        <a:lin ang="10800000" scaled="1"/>
                      </a:gradFill>
                      <a:effectLst/>
                      <a:uLnTx/>
                      <a:uFillTx/>
                      <a:latin typeface="Segoe UI"/>
                      <a:ea typeface="+mn-ea"/>
                      <a:cs typeface="+mn-cs"/>
                    </a:rPr>
                    <a:t>Retire/Keep</a:t>
                  </a:r>
                </a:p>
              </p:txBody>
            </p:sp>
          </p:grpSp>
        </p:grpSp>
        <p:grpSp>
          <p:nvGrpSpPr>
            <p:cNvPr id="24" name="Group 23"/>
            <p:cNvGrpSpPr/>
            <p:nvPr/>
          </p:nvGrpSpPr>
          <p:grpSpPr>
            <a:xfrm>
              <a:off x="8465765" y="1866140"/>
              <a:ext cx="547266" cy="2759996"/>
              <a:chOff x="8465765" y="1866140"/>
              <a:chExt cx="547266" cy="2759996"/>
            </a:xfrm>
          </p:grpSpPr>
          <p:sp>
            <p:nvSpPr>
              <p:cNvPr id="50" name="Right Arrow 49"/>
              <p:cNvSpPr/>
              <p:nvPr/>
            </p:nvSpPr>
            <p:spPr>
              <a:xfrm rot="16200000">
                <a:off x="7359400" y="2972505"/>
                <a:ext cx="2759996" cy="547266"/>
              </a:xfrm>
              <a:prstGeom prst="rightArrow">
                <a:avLst/>
              </a:prstGeom>
              <a:solidFill>
                <a:srgbClr val="0E715F"/>
              </a:solidFill>
              <a:ln w="25400" cap="flat" cmpd="sng" algn="ctr">
                <a:noFill/>
                <a:prstDash val="solid"/>
              </a:ln>
              <a:effectLst/>
            </p:spPr>
            <p:txBody>
              <a:bodyPr rtlCol="0" anchor="ctr"/>
              <a:lstStyle/>
              <a:p>
                <a:pPr marL="0" marR="0" lvl="0" indent="0" algn="ctr" defTabSz="822593" rtl="0" eaLnBrk="1" fontAlgn="auto" latinLnBrk="0" hangingPunct="1">
                  <a:lnSpc>
                    <a:spcPct val="100000"/>
                  </a:lnSpc>
                  <a:spcBef>
                    <a:spcPts val="0"/>
                  </a:spcBef>
                  <a:spcAft>
                    <a:spcPts val="0"/>
                  </a:spcAft>
                  <a:buClrTx/>
                  <a:buSzTx/>
                  <a:buFontTx/>
                  <a:buNone/>
                  <a:tabLst/>
                  <a:defRPr/>
                </a:pPr>
                <a:endParaRPr kumimoji="0" lang="en-US" sz="1620" b="0" i="0" u="none" strike="noStrike" kern="0" cap="none" spc="0" normalizeH="0" baseline="0" noProof="0">
                  <a:ln>
                    <a:noFill/>
                  </a:ln>
                  <a:solidFill>
                    <a:srgbClr val="FFFFFF"/>
                  </a:solidFill>
                  <a:effectLst/>
                  <a:uLnTx/>
                  <a:uFillTx/>
                  <a:latin typeface="Segoe UI"/>
                  <a:ea typeface="+mn-ea"/>
                  <a:cs typeface="+mn-cs"/>
                </a:endParaRPr>
              </a:p>
            </p:txBody>
          </p:sp>
          <p:sp>
            <p:nvSpPr>
              <p:cNvPr id="51" name="TextBox 50"/>
              <p:cNvSpPr txBox="1"/>
              <p:nvPr/>
            </p:nvSpPr>
            <p:spPr>
              <a:xfrm rot="16200000">
                <a:off x="7372551" y="3123060"/>
                <a:ext cx="2733695" cy="253712"/>
              </a:xfrm>
              <a:prstGeom prst="rect">
                <a:avLst/>
              </a:prstGeom>
              <a:noFill/>
            </p:spPr>
            <p:txBody>
              <a:bodyPr wrap="square" rtlCol="0" anchor="ctr">
                <a:spAutoFit/>
              </a:bodyPr>
              <a:lstStyle/>
              <a:p>
                <a:pPr marL="0" marR="0" lvl="0" indent="0" algn="ctr" defTabSz="932409" rtl="0" eaLnBrk="1" fontAlgn="auto" latinLnBrk="0" hangingPunct="1">
                  <a:lnSpc>
                    <a:spcPct val="100000"/>
                  </a:lnSpc>
                  <a:spcBef>
                    <a:spcPts val="0"/>
                  </a:spcBef>
                  <a:spcAft>
                    <a:spcPts val="0"/>
                  </a:spcAft>
                  <a:buClrTx/>
                  <a:buSzTx/>
                  <a:buFontTx/>
                  <a:buNone/>
                  <a:tabLst/>
                  <a:defRPr/>
                </a:pPr>
                <a:r>
                  <a:rPr kumimoji="0" lang="en-US" sz="1598" b="0" i="0" u="none" strike="noStrike" kern="0" cap="none" spc="0" normalizeH="0" baseline="0" noProof="0">
                    <a:ln>
                      <a:noFill/>
                    </a:ln>
                    <a:gradFill>
                      <a:gsLst>
                        <a:gs pos="0">
                          <a:srgbClr val="FFFFFF"/>
                        </a:gs>
                        <a:gs pos="100000">
                          <a:srgbClr val="FFFFFF"/>
                        </a:gs>
                      </a:gsLst>
                      <a:lin ang="10800000" scaled="1"/>
                    </a:gradFill>
                    <a:effectLst/>
                    <a:uLnTx/>
                    <a:uFillTx/>
                    <a:latin typeface="Segoe UI"/>
                    <a:ea typeface="+mn-ea"/>
                    <a:cs typeface="+mn-cs"/>
                  </a:rPr>
                  <a:t>Agility</a:t>
                </a:r>
              </a:p>
            </p:txBody>
          </p:sp>
        </p:grpSp>
        <p:grpSp>
          <p:nvGrpSpPr>
            <p:cNvPr id="26" name="Group 25"/>
            <p:cNvGrpSpPr/>
            <p:nvPr/>
          </p:nvGrpSpPr>
          <p:grpSpPr>
            <a:xfrm>
              <a:off x="3315300" y="1559020"/>
              <a:ext cx="2265932" cy="3041988"/>
              <a:chOff x="3315300" y="1559020"/>
              <a:chExt cx="2265932" cy="3041988"/>
            </a:xfrm>
          </p:grpSpPr>
          <p:sp>
            <p:nvSpPr>
              <p:cNvPr id="41" name="TextBox 40"/>
              <p:cNvSpPr txBox="1"/>
              <p:nvPr/>
            </p:nvSpPr>
            <p:spPr>
              <a:xfrm>
                <a:off x="3334337" y="1559020"/>
                <a:ext cx="2246895" cy="281401"/>
              </a:xfrm>
              <a:prstGeom prst="rect">
                <a:avLst/>
              </a:prstGeom>
              <a:noFill/>
            </p:spPr>
            <p:txBody>
              <a:bodyPr wrap="none" lIns="109648" tIns="49726" rIns="109648" bIns="54823" rtlCol="0" anchor="t" anchorCtr="0">
                <a:noAutofit/>
              </a:bodyPr>
              <a:lstStyle/>
              <a:p>
                <a:pPr marL="0" marR="0" lvl="0" indent="0" algn="l" defTabSz="822593" rtl="0" eaLnBrk="1" fontAlgn="auto" latinLnBrk="0" hangingPunct="1">
                  <a:lnSpc>
                    <a:spcPct val="100000"/>
                  </a:lnSpc>
                  <a:spcBef>
                    <a:spcPts val="0"/>
                  </a:spcBef>
                  <a:spcAft>
                    <a:spcPts val="0"/>
                  </a:spcAft>
                  <a:buClrTx/>
                  <a:buSzTx/>
                  <a:buFontTx/>
                  <a:buNone/>
                  <a:tabLst/>
                  <a:defRPr/>
                </a:pPr>
                <a:r>
                  <a:rPr kumimoji="0" lang="en-US" sz="1801" b="0" i="0" u="none" strike="noStrike" kern="0" cap="none" spc="0" normalizeH="0" baseline="0" noProof="0">
                    <a:ln>
                      <a:noFill/>
                    </a:ln>
                    <a:solidFill>
                      <a:srgbClr val="FFFFFF"/>
                    </a:solidFill>
                    <a:effectLst/>
                    <a:uLnTx/>
                    <a:uFillTx/>
                    <a:latin typeface="Segoe UI"/>
                    <a:ea typeface="+mn-ea"/>
                    <a:cs typeface="+mn-cs"/>
                  </a:rPr>
                  <a:t>Implementation Options</a:t>
                </a:r>
              </a:p>
            </p:txBody>
          </p:sp>
          <p:grpSp>
            <p:nvGrpSpPr>
              <p:cNvPr id="42" name="Group 41"/>
              <p:cNvGrpSpPr/>
              <p:nvPr/>
            </p:nvGrpSpPr>
            <p:grpSpPr>
              <a:xfrm>
                <a:off x="3315300" y="1940169"/>
                <a:ext cx="1266456" cy="2660839"/>
                <a:chOff x="3315300" y="1940169"/>
                <a:chExt cx="1266456" cy="2660839"/>
              </a:xfrm>
            </p:grpSpPr>
            <p:grpSp>
              <p:nvGrpSpPr>
                <p:cNvPr id="43" name="Group 42"/>
                <p:cNvGrpSpPr/>
                <p:nvPr/>
              </p:nvGrpSpPr>
              <p:grpSpPr>
                <a:xfrm>
                  <a:off x="3334960" y="1940169"/>
                  <a:ext cx="1246796" cy="1226921"/>
                  <a:chOff x="3334960" y="1940169"/>
                  <a:chExt cx="1246796" cy="1226921"/>
                </a:xfrm>
              </p:grpSpPr>
              <p:sp>
                <p:nvSpPr>
                  <p:cNvPr id="48" name="Rectangle 47"/>
                  <p:cNvSpPr/>
                  <p:nvPr/>
                </p:nvSpPr>
                <p:spPr>
                  <a:xfrm>
                    <a:off x="3334960" y="1940169"/>
                    <a:ext cx="1246796" cy="1226921"/>
                  </a:xfrm>
                  <a:prstGeom prst="rect">
                    <a:avLst/>
                  </a:prstGeom>
                  <a:solidFill>
                    <a:srgbClr val="0072C6"/>
                  </a:solidFill>
                  <a:ln w="25400" cap="flat" cmpd="sng" algn="ctr">
                    <a:noFill/>
                    <a:prstDash val="solid"/>
                  </a:ln>
                  <a:effectLst/>
                </p:spPr>
                <p:txBody>
                  <a:bodyPr lIns="161291" tIns="145160" rIns="161291" bIns="145160" rtlCol="0" anchor="t"/>
                  <a:lstStyle/>
                  <a:p>
                    <a:pPr marL="0" marR="0" lvl="0" indent="0" algn="l" defTabSz="822593" rtl="0" eaLnBrk="1" fontAlgn="auto" latinLnBrk="0" hangingPunct="1">
                      <a:lnSpc>
                        <a:spcPct val="90000"/>
                      </a:lnSpc>
                      <a:spcBef>
                        <a:spcPts val="0"/>
                      </a:spcBef>
                      <a:spcAft>
                        <a:spcPts val="0"/>
                      </a:spcAft>
                      <a:buClrTx/>
                      <a:buSzTx/>
                      <a:buFontTx/>
                      <a:buNone/>
                      <a:tabLst/>
                      <a:defRPr/>
                    </a:pPr>
                    <a:r>
                      <a:rPr kumimoji="0" lang="en-US" sz="1598" b="0" i="0" u="none" strike="noStrike" kern="0" cap="none" spc="0" normalizeH="0" baseline="0" noProof="0">
                        <a:ln>
                          <a:noFill/>
                        </a:ln>
                        <a:gradFill>
                          <a:gsLst>
                            <a:gs pos="0">
                              <a:srgbClr val="FFFFFF"/>
                            </a:gs>
                            <a:gs pos="100000">
                              <a:srgbClr val="FFFFFF"/>
                            </a:gs>
                          </a:gsLst>
                          <a:lin ang="10800000" scaled="1"/>
                        </a:gradFill>
                        <a:effectLst/>
                        <a:uLnTx/>
                        <a:uFillTx/>
                        <a:latin typeface="Segoe UI"/>
                        <a:ea typeface="+mn-ea"/>
                        <a:cs typeface="+mn-cs"/>
                      </a:rPr>
                      <a:t>Public cloud/ Private cloud Azure Stack</a:t>
                    </a:r>
                  </a:p>
                </p:txBody>
              </p:sp>
              <p:sp>
                <p:nvSpPr>
                  <p:cNvPr id="49" name="Freeform 17"/>
                  <p:cNvSpPr>
                    <a:spLocks/>
                  </p:cNvSpPr>
                  <p:nvPr/>
                </p:nvSpPr>
                <p:spPr bwMode="auto">
                  <a:xfrm>
                    <a:off x="3854211" y="2618129"/>
                    <a:ext cx="578949" cy="328047"/>
                  </a:xfrm>
                  <a:custGeom>
                    <a:avLst/>
                    <a:gdLst>
                      <a:gd name="T0" fmla="*/ 298 w 353"/>
                      <a:gd name="T1" fmla="*/ 104 h 199"/>
                      <a:gd name="T2" fmla="*/ 298 w 353"/>
                      <a:gd name="T3" fmla="*/ 104 h 199"/>
                      <a:gd name="T4" fmla="*/ 193 w 353"/>
                      <a:gd name="T5" fmla="*/ 0 h 199"/>
                      <a:gd name="T6" fmla="*/ 94 w 353"/>
                      <a:gd name="T7" fmla="*/ 70 h 199"/>
                      <a:gd name="T8" fmla="*/ 74 w 353"/>
                      <a:gd name="T9" fmla="*/ 67 h 199"/>
                      <a:gd name="T10" fmla="*/ 0 w 353"/>
                      <a:gd name="T11" fmla="*/ 141 h 199"/>
                      <a:gd name="T12" fmla="*/ 3 w 353"/>
                      <a:gd name="T13" fmla="*/ 162 h 199"/>
                      <a:gd name="T14" fmla="*/ 29 w 353"/>
                      <a:gd name="T15" fmla="*/ 199 h 199"/>
                      <a:gd name="T16" fmla="*/ 119 w 353"/>
                      <a:gd name="T17" fmla="*/ 199 h 199"/>
                      <a:gd name="T18" fmla="*/ 149 w 353"/>
                      <a:gd name="T19" fmla="*/ 199 h 199"/>
                      <a:gd name="T20" fmla="*/ 237 w 353"/>
                      <a:gd name="T21" fmla="*/ 199 h 199"/>
                      <a:gd name="T22" fmla="*/ 252 w 353"/>
                      <a:gd name="T23" fmla="*/ 199 h 199"/>
                      <a:gd name="T24" fmla="*/ 338 w 353"/>
                      <a:gd name="T25" fmla="*/ 199 h 199"/>
                      <a:gd name="T26" fmla="*/ 353 w 353"/>
                      <a:gd name="T27" fmla="*/ 162 h 199"/>
                      <a:gd name="T28" fmla="*/ 298 w 353"/>
                      <a:gd name="T29" fmla="*/ 104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53" h="199">
                        <a:moveTo>
                          <a:pt x="298" y="104"/>
                        </a:moveTo>
                        <a:cubicBezTo>
                          <a:pt x="298" y="104"/>
                          <a:pt x="298" y="104"/>
                          <a:pt x="298" y="104"/>
                        </a:cubicBezTo>
                        <a:cubicBezTo>
                          <a:pt x="298" y="47"/>
                          <a:pt x="251" y="0"/>
                          <a:pt x="193" y="0"/>
                        </a:cubicBezTo>
                        <a:cubicBezTo>
                          <a:pt x="147" y="0"/>
                          <a:pt x="109" y="29"/>
                          <a:pt x="94" y="70"/>
                        </a:cubicBezTo>
                        <a:cubicBezTo>
                          <a:pt x="88" y="68"/>
                          <a:pt x="81" y="67"/>
                          <a:pt x="74" y="67"/>
                        </a:cubicBezTo>
                        <a:cubicBezTo>
                          <a:pt x="33" y="67"/>
                          <a:pt x="0" y="100"/>
                          <a:pt x="0" y="141"/>
                        </a:cubicBezTo>
                        <a:cubicBezTo>
                          <a:pt x="0" y="148"/>
                          <a:pt x="1" y="155"/>
                          <a:pt x="3" y="162"/>
                        </a:cubicBezTo>
                        <a:cubicBezTo>
                          <a:pt x="7" y="177"/>
                          <a:pt x="17" y="190"/>
                          <a:pt x="29" y="199"/>
                        </a:cubicBezTo>
                        <a:cubicBezTo>
                          <a:pt x="119" y="199"/>
                          <a:pt x="119" y="199"/>
                          <a:pt x="119" y="199"/>
                        </a:cubicBezTo>
                        <a:cubicBezTo>
                          <a:pt x="149" y="199"/>
                          <a:pt x="149" y="199"/>
                          <a:pt x="149" y="199"/>
                        </a:cubicBezTo>
                        <a:cubicBezTo>
                          <a:pt x="237" y="199"/>
                          <a:pt x="237" y="199"/>
                          <a:pt x="237" y="199"/>
                        </a:cubicBezTo>
                        <a:cubicBezTo>
                          <a:pt x="252" y="199"/>
                          <a:pt x="252" y="199"/>
                          <a:pt x="252" y="199"/>
                        </a:cubicBezTo>
                        <a:cubicBezTo>
                          <a:pt x="338" y="199"/>
                          <a:pt x="338" y="199"/>
                          <a:pt x="338" y="199"/>
                        </a:cubicBezTo>
                        <a:cubicBezTo>
                          <a:pt x="347" y="189"/>
                          <a:pt x="353" y="176"/>
                          <a:pt x="353" y="162"/>
                        </a:cubicBezTo>
                        <a:cubicBezTo>
                          <a:pt x="353" y="131"/>
                          <a:pt x="328" y="106"/>
                          <a:pt x="298" y="104"/>
                        </a:cubicBezTo>
                        <a:close/>
                      </a:path>
                    </a:pathLst>
                  </a:custGeom>
                  <a:solidFill>
                    <a:srgbClr val="FFFFFF"/>
                  </a:solidFill>
                  <a:ln>
                    <a:noFill/>
                  </a:ln>
                  <a:extLst/>
                </p:spPr>
                <p:txBody>
                  <a:bodyPr vert="horz" wrap="square" lIns="124314" tIns="62157" rIns="124314" bIns="62157" numCol="1" anchor="t" anchorCtr="0" compatLnSpc="1">
                    <a:prstTxWarp prst="textNoShape">
                      <a:avLst/>
                    </a:prstTxWarp>
                  </a:bodyPr>
                  <a:lstStyle/>
                  <a:p>
                    <a:pPr marL="0" marR="0" lvl="0" indent="0" algn="l" defTabSz="1243130" rtl="0" eaLnBrk="1" fontAlgn="auto" latinLnBrk="0" hangingPunct="1">
                      <a:lnSpc>
                        <a:spcPct val="100000"/>
                      </a:lnSpc>
                      <a:spcBef>
                        <a:spcPts val="0"/>
                      </a:spcBef>
                      <a:spcAft>
                        <a:spcPts val="0"/>
                      </a:spcAft>
                      <a:buClrTx/>
                      <a:buSzTx/>
                      <a:buFontTx/>
                      <a:buNone/>
                      <a:tabLst/>
                      <a:defRPr/>
                    </a:pPr>
                    <a:endParaRPr kumimoji="0" lang="en-US" sz="2448" b="0" i="0" u="none" strike="noStrike" kern="0" cap="none" spc="0" normalizeH="0" baseline="0" noProof="0">
                      <a:ln>
                        <a:noFill/>
                      </a:ln>
                      <a:solidFill>
                        <a:sysClr val="windowText" lastClr="000000"/>
                      </a:solidFill>
                      <a:effectLst/>
                      <a:uLnTx/>
                      <a:uFillTx/>
                      <a:latin typeface="Segoe UI"/>
                      <a:ea typeface="+mn-ea"/>
                      <a:cs typeface="+mn-cs"/>
                    </a:endParaRPr>
                  </a:p>
                </p:txBody>
              </p:sp>
            </p:grpSp>
            <p:grpSp>
              <p:nvGrpSpPr>
                <p:cNvPr id="44" name="Group 43"/>
                <p:cNvGrpSpPr/>
                <p:nvPr/>
              </p:nvGrpSpPr>
              <p:grpSpPr>
                <a:xfrm>
                  <a:off x="3315300" y="3417382"/>
                  <a:ext cx="1265833" cy="1183626"/>
                  <a:chOff x="3315300" y="3417382"/>
                  <a:chExt cx="1265833" cy="1183626"/>
                </a:xfrm>
              </p:grpSpPr>
              <p:sp>
                <p:nvSpPr>
                  <p:cNvPr id="45" name="Rectangle 44"/>
                  <p:cNvSpPr/>
                  <p:nvPr/>
                </p:nvSpPr>
                <p:spPr>
                  <a:xfrm>
                    <a:off x="3315300" y="3417382"/>
                    <a:ext cx="1265833" cy="1183626"/>
                  </a:xfrm>
                  <a:prstGeom prst="rect">
                    <a:avLst/>
                  </a:prstGeom>
                  <a:solidFill>
                    <a:srgbClr val="0072C6"/>
                  </a:solidFill>
                  <a:ln w="25400" cap="flat" cmpd="sng" algn="ctr">
                    <a:noFill/>
                    <a:prstDash val="solid"/>
                  </a:ln>
                  <a:effectLst/>
                </p:spPr>
                <p:txBody>
                  <a:bodyPr lIns="161291" tIns="145160" rIns="161291" bIns="145160" rtlCol="0" anchor="t"/>
                  <a:lstStyle/>
                  <a:p>
                    <a:pPr marL="0" marR="0" lvl="0" indent="0" algn="l" defTabSz="822593" rtl="0" eaLnBrk="1" fontAlgn="auto" latinLnBrk="0" hangingPunct="1">
                      <a:lnSpc>
                        <a:spcPct val="90000"/>
                      </a:lnSpc>
                      <a:spcBef>
                        <a:spcPts val="0"/>
                      </a:spcBef>
                      <a:spcAft>
                        <a:spcPts val="0"/>
                      </a:spcAft>
                      <a:buClrTx/>
                      <a:buSzTx/>
                      <a:buFontTx/>
                      <a:buNone/>
                      <a:tabLst/>
                      <a:defRPr/>
                    </a:pPr>
                    <a:r>
                      <a:rPr kumimoji="0" lang="en-US" sz="1598" b="0" i="0" u="none" strike="noStrike" kern="0" cap="none" spc="0" normalizeH="0" baseline="0" noProof="0">
                        <a:ln>
                          <a:noFill/>
                        </a:ln>
                        <a:gradFill>
                          <a:gsLst>
                            <a:gs pos="0">
                              <a:srgbClr val="FFFFFF"/>
                            </a:gs>
                            <a:gs pos="100000">
                              <a:srgbClr val="FFFFFF"/>
                            </a:gs>
                          </a:gsLst>
                          <a:lin ang="10800000" scaled="1"/>
                        </a:gradFill>
                        <a:effectLst/>
                        <a:uLnTx/>
                        <a:uFillTx/>
                        <a:latin typeface="Segoe UI"/>
                        <a:ea typeface="+mn-ea"/>
                        <a:cs typeface="+mn-cs"/>
                      </a:rPr>
                      <a:t>Private cloud</a:t>
                    </a:r>
                  </a:p>
                  <a:p>
                    <a:pPr marL="0" marR="0" lvl="0" indent="0" algn="l" defTabSz="822593" rtl="0" eaLnBrk="1" fontAlgn="auto" latinLnBrk="0" hangingPunct="1">
                      <a:lnSpc>
                        <a:spcPct val="90000"/>
                      </a:lnSpc>
                      <a:spcBef>
                        <a:spcPts val="0"/>
                      </a:spcBef>
                      <a:spcAft>
                        <a:spcPts val="0"/>
                      </a:spcAft>
                      <a:buClrTx/>
                      <a:buSzTx/>
                      <a:buFontTx/>
                      <a:buNone/>
                      <a:tabLst/>
                      <a:defRPr/>
                    </a:pPr>
                    <a:r>
                      <a:rPr kumimoji="0" lang="en-US" sz="1598" b="0" i="0" u="none" strike="noStrike" kern="0" cap="none" spc="0" normalizeH="0" baseline="0" noProof="0">
                        <a:ln>
                          <a:noFill/>
                        </a:ln>
                        <a:gradFill>
                          <a:gsLst>
                            <a:gs pos="0">
                              <a:srgbClr val="FFFFFF"/>
                            </a:gs>
                            <a:gs pos="100000">
                              <a:srgbClr val="FFFFFF"/>
                            </a:gs>
                          </a:gsLst>
                          <a:lin ang="10800000" scaled="1"/>
                        </a:gradFill>
                        <a:effectLst/>
                        <a:uLnTx/>
                        <a:uFillTx/>
                        <a:latin typeface="Segoe UI"/>
                        <a:ea typeface="+mn-ea"/>
                        <a:cs typeface="+mn-cs"/>
                      </a:rPr>
                      <a:t>Enterprise Virtualization</a:t>
                    </a:r>
                  </a:p>
                </p:txBody>
              </p:sp>
              <p:sp>
                <p:nvSpPr>
                  <p:cNvPr id="46" name="Freeform 80"/>
                  <p:cNvSpPr>
                    <a:spLocks noEditPoints="1"/>
                  </p:cNvSpPr>
                  <p:nvPr/>
                </p:nvSpPr>
                <p:spPr bwMode="black">
                  <a:xfrm>
                    <a:off x="3415500" y="4065001"/>
                    <a:ext cx="306045" cy="371297"/>
                  </a:xfrm>
                  <a:custGeom>
                    <a:avLst/>
                    <a:gdLst>
                      <a:gd name="T0" fmla="*/ 952 w 1833"/>
                      <a:gd name="T1" fmla="*/ 1301 h 2225"/>
                      <a:gd name="T2" fmla="*/ 882 w 1833"/>
                      <a:gd name="T3" fmla="*/ 1413 h 2225"/>
                      <a:gd name="T4" fmla="*/ 677 w 1833"/>
                      <a:gd name="T5" fmla="*/ 2162 h 2225"/>
                      <a:gd name="T6" fmla="*/ 1156 w 1833"/>
                      <a:gd name="T7" fmla="*/ 2162 h 2225"/>
                      <a:gd name="T8" fmla="*/ 1071 w 1833"/>
                      <a:gd name="T9" fmla="*/ 2089 h 2225"/>
                      <a:gd name="T10" fmla="*/ 785 w 1833"/>
                      <a:gd name="T11" fmla="*/ 2039 h 2225"/>
                      <a:gd name="T12" fmla="*/ 1071 w 1833"/>
                      <a:gd name="T13" fmla="*/ 2089 h 2225"/>
                      <a:gd name="T14" fmla="*/ 760 w 1833"/>
                      <a:gd name="T15" fmla="*/ 1949 h 2225"/>
                      <a:gd name="T16" fmla="*/ 1096 w 1833"/>
                      <a:gd name="T17" fmla="*/ 1949 h 2225"/>
                      <a:gd name="T18" fmla="*/ 1026 w 1833"/>
                      <a:gd name="T19" fmla="*/ 1801 h 2225"/>
                      <a:gd name="T20" fmla="*/ 1061 w 1833"/>
                      <a:gd name="T21" fmla="*/ 1836 h 2225"/>
                      <a:gd name="T22" fmla="*/ 260 w 1833"/>
                      <a:gd name="T23" fmla="*/ 1329 h 2225"/>
                      <a:gd name="T24" fmla="*/ 748 w 1833"/>
                      <a:gd name="T25" fmla="*/ 1136 h 2225"/>
                      <a:gd name="T26" fmla="*/ 190 w 1833"/>
                      <a:gd name="T27" fmla="*/ 1329 h 2225"/>
                      <a:gd name="T28" fmla="*/ 0 w 1833"/>
                      <a:gd name="T29" fmla="*/ 1476 h 2225"/>
                      <a:gd name="T30" fmla="*/ 416 w 1833"/>
                      <a:gd name="T31" fmla="*/ 2225 h 2225"/>
                      <a:gd name="T32" fmla="*/ 416 w 1833"/>
                      <a:gd name="T33" fmla="*/ 1413 h 2225"/>
                      <a:gd name="T34" fmla="*/ 83 w 1833"/>
                      <a:gd name="T35" fmla="*/ 2064 h 2225"/>
                      <a:gd name="T36" fmla="*/ 419 w 1833"/>
                      <a:gd name="T37" fmla="*/ 2064 h 2225"/>
                      <a:gd name="T38" fmla="*/ 108 w 1833"/>
                      <a:gd name="T39" fmla="*/ 1974 h 2225"/>
                      <a:gd name="T40" fmla="*/ 394 w 1833"/>
                      <a:gd name="T41" fmla="*/ 1924 h 2225"/>
                      <a:gd name="T42" fmla="*/ 384 w 1833"/>
                      <a:gd name="T43" fmla="*/ 1836 h 2225"/>
                      <a:gd name="T44" fmla="*/ 419 w 1833"/>
                      <a:gd name="T45" fmla="*/ 1801 h 2225"/>
                      <a:gd name="T46" fmla="*/ 1643 w 1833"/>
                      <a:gd name="T47" fmla="*/ 1413 h 2225"/>
                      <a:gd name="T48" fmla="*/ 1082 w 1833"/>
                      <a:gd name="T49" fmla="*/ 1101 h 2225"/>
                      <a:gd name="T50" fmla="*/ 1415 w 1833"/>
                      <a:gd name="T51" fmla="*/ 1171 h 2225"/>
                      <a:gd name="T52" fmla="*/ 1417 w 1833"/>
                      <a:gd name="T53" fmla="*/ 1413 h 2225"/>
                      <a:gd name="T54" fmla="*/ 1417 w 1833"/>
                      <a:gd name="T55" fmla="*/ 2225 h 2225"/>
                      <a:gd name="T56" fmla="*/ 1833 w 1833"/>
                      <a:gd name="T57" fmla="*/ 1476 h 2225"/>
                      <a:gd name="T58" fmla="*/ 1462 w 1833"/>
                      <a:gd name="T59" fmla="*/ 2089 h 2225"/>
                      <a:gd name="T60" fmla="*/ 1748 w 1833"/>
                      <a:gd name="T61" fmla="*/ 2039 h 2225"/>
                      <a:gd name="T62" fmla="*/ 1748 w 1833"/>
                      <a:gd name="T63" fmla="*/ 1974 h 2225"/>
                      <a:gd name="T64" fmla="*/ 1462 w 1833"/>
                      <a:gd name="T65" fmla="*/ 1924 h 2225"/>
                      <a:gd name="T66" fmla="*/ 1748 w 1833"/>
                      <a:gd name="T67" fmla="*/ 1974 h 2225"/>
                      <a:gd name="T68" fmla="*/ 1738 w 1833"/>
                      <a:gd name="T69" fmla="*/ 1766 h 2225"/>
                      <a:gd name="T70" fmla="*/ 650 w 1833"/>
                      <a:gd name="T71" fmla="*/ 592 h 2225"/>
                      <a:gd name="T72" fmla="*/ 1296 w 1833"/>
                      <a:gd name="T73" fmla="*/ 113 h 2225"/>
                      <a:gd name="T74" fmla="*/ 537 w 1833"/>
                      <a:gd name="T75" fmla="*/ 113 h 2225"/>
                      <a:gd name="T76" fmla="*/ 603 w 1833"/>
                      <a:gd name="T77" fmla="*/ 113 h 2225"/>
                      <a:gd name="T78" fmla="*/ 1231 w 1833"/>
                      <a:gd name="T79" fmla="*/ 113 h 2225"/>
                      <a:gd name="T80" fmla="*/ 650 w 1833"/>
                      <a:gd name="T81" fmla="*/ 526 h 2225"/>
                      <a:gd name="T82" fmla="*/ 405 w 1833"/>
                      <a:gd name="T83" fmla="*/ 902 h 2225"/>
                      <a:gd name="T84" fmla="*/ 803 w 1833"/>
                      <a:gd name="T85" fmla="*/ 1101 h 2225"/>
                      <a:gd name="T86" fmla="*/ 882 w 1833"/>
                      <a:gd name="T87" fmla="*/ 1250 h 2225"/>
                      <a:gd name="T88" fmla="*/ 1031 w 1833"/>
                      <a:gd name="T89" fmla="*/ 1171 h 2225"/>
                      <a:gd name="T90" fmla="*/ 952 w 1833"/>
                      <a:gd name="T91" fmla="*/ 1021 h 2225"/>
                      <a:gd name="T92" fmla="*/ 1457 w 1833"/>
                      <a:gd name="T93" fmla="*/ 874 h 2225"/>
                      <a:gd name="T94" fmla="*/ 1303 w 1833"/>
                      <a:gd name="T95" fmla="*/ 652 h 2225"/>
                      <a:gd name="T96" fmla="*/ 530 w 1833"/>
                      <a:gd name="T97" fmla="*/ 652 h 2225"/>
                      <a:gd name="T98" fmla="*/ 377 w 1833"/>
                      <a:gd name="T99" fmla="*/ 874 h 2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833" h="2225">
                        <a:moveTo>
                          <a:pt x="1093" y="1413"/>
                        </a:moveTo>
                        <a:cubicBezTo>
                          <a:pt x="952" y="1413"/>
                          <a:pt x="952" y="1413"/>
                          <a:pt x="952" y="1413"/>
                        </a:cubicBezTo>
                        <a:cubicBezTo>
                          <a:pt x="952" y="1301"/>
                          <a:pt x="952" y="1301"/>
                          <a:pt x="952" y="1301"/>
                        </a:cubicBezTo>
                        <a:cubicBezTo>
                          <a:pt x="940" y="1304"/>
                          <a:pt x="929" y="1305"/>
                          <a:pt x="917" y="1305"/>
                        </a:cubicBezTo>
                        <a:cubicBezTo>
                          <a:pt x="905" y="1305"/>
                          <a:pt x="893" y="1304"/>
                          <a:pt x="882" y="1301"/>
                        </a:cubicBezTo>
                        <a:cubicBezTo>
                          <a:pt x="882" y="1413"/>
                          <a:pt x="882" y="1413"/>
                          <a:pt x="882" y="1413"/>
                        </a:cubicBezTo>
                        <a:cubicBezTo>
                          <a:pt x="740" y="1413"/>
                          <a:pt x="740" y="1413"/>
                          <a:pt x="740" y="1413"/>
                        </a:cubicBezTo>
                        <a:cubicBezTo>
                          <a:pt x="705" y="1413"/>
                          <a:pt x="677" y="1441"/>
                          <a:pt x="677" y="1476"/>
                        </a:cubicBezTo>
                        <a:cubicBezTo>
                          <a:pt x="677" y="2162"/>
                          <a:pt x="677" y="2162"/>
                          <a:pt x="677" y="2162"/>
                        </a:cubicBezTo>
                        <a:cubicBezTo>
                          <a:pt x="677" y="2197"/>
                          <a:pt x="705" y="2225"/>
                          <a:pt x="740" y="2225"/>
                        </a:cubicBezTo>
                        <a:cubicBezTo>
                          <a:pt x="1093" y="2225"/>
                          <a:pt x="1093" y="2225"/>
                          <a:pt x="1093" y="2225"/>
                        </a:cubicBezTo>
                        <a:cubicBezTo>
                          <a:pt x="1128" y="2225"/>
                          <a:pt x="1156" y="2197"/>
                          <a:pt x="1156" y="2162"/>
                        </a:cubicBezTo>
                        <a:cubicBezTo>
                          <a:pt x="1156" y="1476"/>
                          <a:pt x="1156" y="1476"/>
                          <a:pt x="1156" y="1476"/>
                        </a:cubicBezTo>
                        <a:cubicBezTo>
                          <a:pt x="1156" y="1441"/>
                          <a:pt x="1128" y="1413"/>
                          <a:pt x="1093" y="1413"/>
                        </a:cubicBezTo>
                        <a:close/>
                        <a:moveTo>
                          <a:pt x="1071" y="2089"/>
                        </a:moveTo>
                        <a:cubicBezTo>
                          <a:pt x="785" y="2089"/>
                          <a:pt x="785" y="2089"/>
                          <a:pt x="785" y="2089"/>
                        </a:cubicBezTo>
                        <a:cubicBezTo>
                          <a:pt x="771" y="2089"/>
                          <a:pt x="760" y="2078"/>
                          <a:pt x="760" y="2064"/>
                        </a:cubicBezTo>
                        <a:cubicBezTo>
                          <a:pt x="760" y="2050"/>
                          <a:pt x="771" y="2039"/>
                          <a:pt x="785" y="2039"/>
                        </a:cubicBezTo>
                        <a:cubicBezTo>
                          <a:pt x="1071" y="2039"/>
                          <a:pt x="1071" y="2039"/>
                          <a:pt x="1071" y="2039"/>
                        </a:cubicBezTo>
                        <a:cubicBezTo>
                          <a:pt x="1085" y="2039"/>
                          <a:pt x="1096" y="2050"/>
                          <a:pt x="1096" y="2064"/>
                        </a:cubicBezTo>
                        <a:cubicBezTo>
                          <a:pt x="1096" y="2078"/>
                          <a:pt x="1085" y="2089"/>
                          <a:pt x="1071" y="2089"/>
                        </a:cubicBezTo>
                        <a:close/>
                        <a:moveTo>
                          <a:pt x="1071" y="1974"/>
                        </a:moveTo>
                        <a:cubicBezTo>
                          <a:pt x="785" y="1974"/>
                          <a:pt x="785" y="1974"/>
                          <a:pt x="785" y="1974"/>
                        </a:cubicBezTo>
                        <a:cubicBezTo>
                          <a:pt x="771" y="1974"/>
                          <a:pt x="760" y="1963"/>
                          <a:pt x="760" y="1949"/>
                        </a:cubicBezTo>
                        <a:cubicBezTo>
                          <a:pt x="760" y="1935"/>
                          <a:pt x="771" y="1924"/>
                          <a:pt x="785" y="1924"/>
                        </a:cubicBezTo>
                        <a:cubicBezTo>
                          <a:pt x="1071" y="1924"/>
                          <a:pt x="1071" y="1924"/>
                          <a:pt x="1071" y="1924"/>
                        </a:cubicBezTo>
                        <a:cubicBezTo>
                          <a:pt x="1085" y="1924"/>
                          <a:pt x="1096" y="1935"/>
                          <a:pt x="1096" y="1949"/>
                        </a:cubicBezTo>
                        <a:cubicBezTo>
                          <a:pt x="1096" y="1963"/>
                          <a:pt x="1085" y="1974"/>
                          <a:pt x="1071" y="1974"/>
                        </a:cubicBezTo>
                        <a:close/>
                        <a:moveTo>
                          <a:pt x="1061" y="1836"/>
                        </a:moveTo>
                        <a:cubicBezTo>
                          <a:pt x="1042" y="1836"/>
                          <a:pt x="1026" y="1820"/>
                          <a:pt x="1026" y="1801"/>
                        </a:cubicBezTo>
                        <a:cubicBezTo>
                          <a:pt x="1026" y="1782"/>
                          <a:pt x="1042" y="1766"/>
                          <a:pt x="1061" y="1766"/>
                        </a:cubicBezTo>
                        <a:cubicBezTo>
                          <a:pt x="1081" y="1766"/>
                          <a:pt x="1096" y="1782"/>
                          <a:pt x="1096" y="1801"/>
                        </a:cubicBezTo>
                        <a:cubicBezTo>
                          <a:pt x="1096" y="1820"/>
                          <a:pt x="1081" y="1836"/>
                          <a:pt x="1061" y="1836"/>
                        </a:cubicBezTo>
                        <a:close/>
                        <a:moveTo>
                          <a:pt x="416" y="1413"/>
                        </a:moveTo>
                        <a:cubicBezTo>
                          <a:pt x="260" y="1413"/>
                          <a:pt x="260" y="1413"/>
                          <a:pt x="260" y="1413"/>
                        </a:cubicBezTo>
                        <a:cubicBezTo>
                          <a:pt x="260" y="1329"/>
                          <a:pt x="260" y="1329"/>
                          <a:pt x="260" y="1329"/>
                        </a:cubicBezTo>
                        <a:cubicBezTo>
                          <a:pt x="260" y="1242"/>
                          <a:pt x="331" y="1171"/>
                          <a:pt x="418" y="1171"/>
                        </a:cubicBezTo>
                        <a:cubicBezTo>
                          <a:pt x="751" y="1171"/>
                          <a:pt x="751" y="1171"/>
                          <a:pt x="751" y="1171"/>
                        </a:cubicBezTo>
                        <a:cubicBezTo>
                          <a:pt x="749" y="1159"/>
                          <a:pt x="748" y="1148"/>
                          <a:pt x="748" y="1136"/>
                        </a:cubicBezTo>
                        <a:cubicBezTo>
                          <a:pt x="748" y="1124"/>
                          <a:pt x="749" y="1112"/>
                          <a:pt x="751" y="1101"/>
                        </a:cubicBezTo>
                        <a:cubicBezTo>
                          <a:pt x="418" y="1101"/>
                          <a:pt x="418" y="1101"/>
                          <a:pt x="418" y="1101"/>
                        </a:cubicBezTo>
                        <a:cubicBezTo>
                          <a:pt x="293" y="1101"/>
                          <a:pt x="190" y="1203"/>
                          <a:pt x="190" y="1329"/>
                        </a:cubicBezTo>
                        <a:cubicBezTo>
                          <a:pt x="190" y="1413"/>
                          <a:pt x="190" y="1413"/>
                          <a:pt x="190" y="1413"/>
                        </a:cubicBezTo>
                        <a:cubicBezTo>
                          <a:pt x="63" y="1413"/>
                          <a:pt x="63" y="1413"/>
                          <a:pt x="63" y="1413"/>
                        </a:cubicBezTo>
                        <a:cubicBezTo>
                          <a:pt x="28" y="1413"/>
                          <a:pt x="0" y="1441"/>
                          <a:pt x="0" y="1476"/>
                        </a:cubicBezTo>
                        <a:cubicBezTo>
                          <a:pt x="0" y="2162"/>
                          <a:pt x="0" y="2162"/>
                          <a:pt x="0" y="2162"/>
                        </a:cubicBezTo>
                        <a:cubicBezTo>
                          <a:pt x="0" y="2197"/>
                          <a:pt x="28" y="2225"/>
                          <a:pt x="63" y="2225"/>
                        </a:cubicBezTo>
                        <a:cubicBezTo>
                          <a:pt x="416" y="2225"/>
                          <a:pt x="416" y="2225"/>
                          <a:pt x="416" y="2225"/>
                        </a:cubicBezTo>
                        <a:cubicBezTo>
                          <a:pt x="451" y="2225"/>
                          <a:pt x="480" y="2197"/>
                          <a:pt x="480" y="2162"/>
                        </a:cubicBezTo>
                        <a:cubicBezTo>
                          <a:pt x="480" y="1476"/>
                          <a:pt x="480" y="1476"/>
                          <a:pt x="480" y="1476"/>
                        </a:cubicBezTo>
                        <a:cubicBezTo>
                          <a:pt x="480" y="1441"/>
                          <a:pt x="451" y="1413"/>
                          <a:pt x="416" y="1413"/>
                        </a:cubicBezTo>
                        <a:close/>
                        <a:moveTo>
                          <a:pt x="394" y="2089"/>
                        </a:moveTo>
                        <a:cubicBezTo>
                          <a:pt x="108" y="2089"/>
                          <a:pt x="108" y="2089"/>
                          <a:pt x="108" y="2089"/>
                        </a:cubicBezTo>
                        <a:cubicBezTo>
                          <a:pt x="94" y="2089"/>
                          <a:pt x="83" y="2078"/>
                          <a:pt x="83" y="2064"/>
                        </a:cubicBezTo>
                        <a:cubicBezTo>
                          <a:pt x="83" y="2050"/>
                          <a:pt x="94" y="2039"/>
                          <a:pt x="108" y="2039"/>
                        </a:cubicBezTo>
                        <a:cubicBezTo>
                          <a:pt x="394" y="2039"/>
                          <a:pt x="394" y="2039"/>
                          <a:pt x="394" y="2039"/>
                        </a:cubicBezTo>
                        <a:cubicBezTo>
                          <a:pt x="408" y="2039"/>
                          <a:pt x="419" y="2050"/>
                          <a:pt x="419" y="2064"/>
                        </a:cubicBezTo>
                        <a:cubicBezTo>
                          <a:pt x="419" y="2078"/>
                          <a:pt x="408" y="2089"/>
                          <a:pt x="394" y="2089"/>
                        </a:cubicBezTo>
                        <a:close/>
                        <a:moveTo>
                          <a:pt x="394" y="1974"/>
                        </a:moveTo>
                        <a:cubicBezTo>
                          <a:pt x="108" y="1974"/>
                          <a:pt x="108" y="1974"/>
                          <a:pt x="108" y="1974"/>
                        </a:cubicBezTo>
                        <a:cubicBezTo>
                          <a:pt x="94" y="1974"/>
                          <a:pt x="83" y="1963"/>
                          <a:pt x="83" y="1949"/>
                        </a:cubicBezTo>
                        <a:cubicBezTo>
                          <a:pt x="83" y="1935"/>
                          <a:pt x="94" y="1924"/>
                          <a:pt x="108" y="1924"/>
                        </a:cubicBezTo>
                        <a:cubicBezTo>
                          <a:pt x="394" y="1924"/>
                          <a:pt x="394" y="1924"/>
                          <a:pt x="394" y="1924"/>
                        </a:cubicBezTo>
                        <a:cubicBezTo>
                          <a:pt x="408" y="1924"/>
                          <a:pt x="419" y="1935"/>
                          <a:pt x="419" y="1949"/>
                        </a:cubicBezTo>
                        <a:cubicBezTo>
                          <a:pt x="419" y="1963"/>
                          <a:pt x="408" y="1974"/>
                          <a:pt x="394" y="1974"/>
                        </a:cubicBezTo>
                        <a:close/>
                        <a:moveTo>
                          <a:pt x="384" y="1836"/>
                        </a:moveTo>
                        <a:cubicBezTo>
                          <a:pt x="365" y="1836"/>
                          <a:pt x="350" y="1820"/>
                          <a:pt x="350" y="1801"/>
                        </a:cubicBezTo>
                        <a:cubicBezTo>
                          <a:pt x="350" y="1782"/>
                          <a:pt x="365" y="1766"/>
                          <a:pt x="384" y="1766"/>
                        </a:cubicBezTo>
                        <a:cubicBezTo>
                          <a:pt x="404" y="1766"/>
                          <a:pt x="419" y="1782"/>
                          <a:pt x="419" y="1801"/>
                        </a:cubicBezTo>
                        <a:cubicBezTo>
                          <a:pt x="419" y="1820"/>
                          <a:pt x="404" y="1836"/>
                          <a:pt x="384" y="1836"/>
                        </a:cubicBezTo>
                        <a:close/>
                        <a:moveTo>
                          <a:pt x="1770" y="1413"/>
                        </a:moveTo>
                        <a:cubicBezTo>
                          <a:pt x="1643" y="1413"/>
                          <a:pt x="1643" y="1413"/>
                          <a:pt x="1643" y="1413"/>
                        </a:cubicBezTo>
                        <a:cubicBezTo>
                          <a:pt x="1643" y="1329"/>
                          <a:pt x="1643" y="1329"/>
                          <a:pt x="1643" y="1329"/>
                        </a:cubicBezTo>
                        <a:cubicBezTo>
                          <a:pt x="1643" y="1203"/>
                          <a:pt x="1541" y="1101"/>
                          <a:pt x="1415" y="1101"/>
                        </a:cubicBezTo>
                        <a:cubicBezTo>
                          <a:pt x="1082" y="1101"/>
                          <a:pt x="1082" y="1101"/>
                          <a:pt x="1082" y="1101"/>
                        </a:cubicBezTo>
                        <a:cubicBezTo>
                          <a:pt x="1085" y="1112"/>
                          <a:pt x="1086" y="1124"/>
                          <a:pt x="1086" y="1136"/>
                        </a:cubicBezTo>
                        <a:cubicBezTo>
                          <a:pt x="1086" y="1148"/>
                          <a:pt x="1085" y="1159"/>
                          <a:pt x="1082" y="1171"/>
                        </a:cubicBezTo>
                        <a:cubicBezTo>
                          <a:pt x="1415" y="1171"/>
                          <a:pt x="1415" y="1171"/>
                          <a:pt x="1415" y="1171"/>
                        </a:cubicBezTo>
                        <a:cubicBezTo>
                          <a:pt x="1503" y="1171"/>
                          <a:pt x="1574" y="1242"/>
                          <a:pt x="1574" y="1329"/>
                        </a:cubicBezTo>
                        <a:cubicBezTo>
                          <a:pt x="1574" y="1413"/>
                          <a:pt x="1574" y="1413"/>
                          <a:pt x="1574" y="1413"/>
                        </a:cubicBezTo>
                        <a:cubicBezTo>
                          <a:pt x="1417" y="1413"/>
                          <a:pt x="1417" y="1413"/>
                          <a:pt x="1417" y="1413"/>
                        </a:cubicBezTo>
                        <a:cubicBezTo>
                          <a:pt x="1382" y="1413"/>
                          <a:pt x="1354" y="1441"/>
                          <a:pt x="1354" y="1476"/>
                        </a:cubicBezTo>
                        <a:cubicBezTo>
                          <a:pt x="1354" y="2162"/>
                          <a:pt x="1354" y="2162"/>
                          <a:pt x="1354" y="2162"/>
                        </a:cubicBezTo>
                        <a:cubicBezTo>
                          <a:pt x="1354" y="2197"/>
                          <a:pt x="1382" y="2225"/>
                          <a:pt x="1417" y="2225"/>
                        </a:cubicBezTo>
                        <a:cubicBezTo>
                          <a:pt x="1770" y="2225"/>
                          <a:pt x="1770" y="2225"/>
                          <a:pt x="1770" y="2225"/>
                        </a:cubicBezTo>
                        <a:cubicBezTo>
                          <a:pt x="1805" y="2225"/>
                          <a:pt x="1833" y="2197"/>
                          <a:pt x="1833" y="2162"/>
                        </a:cubicBezTo>
                        <a:cubicBezTo>
                          <a:pt x="1833" y="1476"/>
                          <a:pt x="1833" y="1476"/>
                          <a:pt x="1833" y="1476"/>
                        </a:cubicBezTo>
                        <a:cubicBezTo>
                          <a:pt x="1833" y="1441"/>
                          <a:pt x="1805" y="1413"/>
                          <a:pt x="1770" y="1413"/>
                        </a:cubicBezTo>
                        <a:close/>
                        <a:moveTo>
                          <a:pt x="1748" y="2089"/>
                        </a:moveTo>
                        <a:cubicBezTo>
                          <a:pt x="1462" y="2089"/>
                          <a:pt x="1462" y="2089"/>
                          <a:pt x="1462" y="2089"/>
                        </a:cubicBezTo>
                        <a:cubicBezTo>
                          <a:pt x="1448" y="2089"/>
                          <a:pt x="1437" y="2078"/>
                          <a:pt x="1437" y="2064"/>
                        </a:cubicBezTo>
                        <a:cubicBezTo>
                          <a:pt x="1437" y="2050"/>
                          <a:pt x="1448" y="2039"/>
                          <a:pt x="1462" y="2039"/>
                        </a:cubicBezTo>
                        <a:cubicBezTo>
                          <a:pt x="1748" y="2039"/>
                          <a:pt x="1748" y="2039"/>
                          <a:pt x="1748" y="2039"/>
                        </a:cubicBezTo>
                        <a:cubicBezTo>
                          <a:pt x="1762" y="2039"/>
                          <a:pt x="1773" y="2050"/>
                          <a:pt x="1773" y="2064"/>
                        </a:cubicBezTo>
                        <a:cubicBezTo>
                          <a:pt x="1773" y="2078"/>
                          <a:pt x="1762" y="2089"/>
                          <a:pt x="1748" y="2089"/>
                        </a:cubicBezTo>
                        <a:close/>
                        <a:moveTo>
                          <a:pt x="1748" y="1974"/>
                        </a:moveTo>
                        <a:cubicBezTo>
                          <a:pt x="1462" y="1974"/>
                          <a:pt x="1462" y="1974"/>
                          <a:pt x="1462" y="1974"/>
                        </a:cubicBezTo>
                        <a:cubicBezTo>
                          <a:pt x="1448" y="1974"/>
                          <a:pt x="1437" y="1963"/>
                          <a:pt x="1437" y="1949"/>
                        </a:cubicBezTo>
                        <a:cubicBezTo>
                          <a:pt x="1437" y="1935"/>
                          <a:pt x="1448" y="1924"/>
                          <a:pt x="1462" y="1924"/>
                        </a:cubicBezTo>
                        <a:cubicBezTo>
                          <a:pt x="1748" y="1924"/>
                          <a:pt x="1748" y="1924"/>
                          <a:pt x="1748" y="1924"/>
                        </a:cubicBezTo>
                        <a:cubicBezTo>
                          <a:pt x="1762" y="1924"/>
                          <a:pt x="1773" y="1935"/>
                          <a:pt x="1773" y="1949"/>
                        </a:cubicBezTo>
                        <a:cubicBezTo>
                          <a:pt x="1773" y="1963"/>
                          <a:pt x="1762" y="1974"/>
                          <a:pt x="1748" y="1974"/>
                        </a:cubicBezTo>
                        <a:close/>
                        <a:moveTo>
                          <a:pt x="1738" y="1836"/>
                        </a:moveTo>
                        <a:cubicBezTo>
                          <a:pt x="1719" y="1836"/>
                          <a:pt x="1703" y="1820"/>
                          <a:pt x="1703" y="1801"/>
                        </a:cubicBezTo>
                        <a:cubicBezTo>
                          <a:pt x="1703" y="1782"/>
                          <a:pt x="1719" y="1766"/>
                          <a:pt x="1738" y="1766"/>
                        </a:cubicBezTo>
                        <a:cubicBezTo>
                          <a:pt x="1757" y="1766"/>
                          <a:pt x="1773" y="1782"/>
                          <a:pt x="1773" y="1801"/>
                        </a:cubicBezTo>
                        <a:cubicBezTo>
                          <a:pt x="1773" y="1820"/>
                          <a:pt x="1757" y="1836"/>
                          <a:pt x="1738" y="1836"/>
                        </a:cubicBezTo>
                        <a:close/>
                        <a:moveTo>
                          <a:pt x="650" y="592"/>
                        </a:moveTo>
                        <a:cubicBezTo>
                          <a:pt x="1184" y="592"/>
                          <a:pt x="1184" y="592"/>
                          <a:pt x="1184" y="592"/>
                        </a:cubicBezTo>
                        <a:cubicBezTo>
                          <a:pt x="1246" y="592"/>
                          <a:pt x="1296" y="541"/>
                          <a:pt x="1296" y="479"/>
                        </a:cubicBezTo>
                        <a:cubicBezTo>
                          <a:pt x="1296" y="113"/>
                          <a:pt x="1296" y="113"/>
                          <a:pt x="1296" y="113"/>
                        </a:cubicBezTo>
                        <a:cubicBezTo>
                          <a:pt x="1296" y="51"/>
                          <a:pt x="1246" y="0"/>
                          <a:pt x="1184" y="0"/>
                        </a:cubicBezTo>
                        <a:cubicBezTo>
                          <a:pt x="650" y="0"/>
                          <a:pt x="650" y="0"/>
                          <a:pt x="650" y="0"/>
                        </a:cubicBezTo>
                        <a:cubicBezTo>
                          <a:pt x="588" y="0"/>
                          <a:pt x="537" y="51"/>
                          <a:pt x="537" y="113"/>
                        </a:cubicBezTo>
                        <a:cubicBezTo>
                          <a:pt x="537" y="479"/>
                          <a:pt x="537" y="479"/>
                          <a:pt x="537" y="479"/>
                        </a:cubicBezTo>
                        <a:cubicBezTo>
                          <a:pt x="537" y="541"/>
                          <a:pt x="588" y="592"/>
                          <a:pt x="650" y="592"/>
                        </a:cubicBezTo>
                        <a:close/>
                        <a:moveTo>
                          <a:pt x="603" y="113"/>
                        </a:moveTo>
                        <a:cubicBezTo>
                          <a:pt x="603" y="87"/>
                          <a:pt x="624" y="66"/>
                          <a:pt x="650" y="66"/>
                        </a:cubicBezTo>
                        <a:cubicBezTo>
                          <a:pt x="1184" y="66"/>
                          <a:pt x="1184" y="66"/>
                          <a:pt x="1184" y="66"/>
                        </a:cubicBezTo>
                        <a:cubicBezTo>
                          <a:pt x="1210" y="66"/>
                          <a:pt x="1231" y="87"/>
                          <a:pt x="1231" y="113"/>
                        </a:cubicBezTo>
                        <a:cubicBezTo>
                          <a:pt x="1231" y="479"/>
                          <a:pt x="1231" y="479"/>
                          <a:pt x="1231" y="479"/>
                        </a:cubicBezTo>
                        <a:cubicBezTo>
                          <a:pt x="1231" y="505"/>
                          <a:pt x="1210" y="526"/>
                          <a:pt x="1184" y="526"/>
                        </a:cubicBezTo>
                        <a:cubicBezTo>
                          <a:pt x="650" y="526"/>
                          <a:pt x="650" y="526"/>
                          <a:pt x="650" y="526"/>
                        </a:cubicBezTo>
                        <a:cubicBezTo>
                          <a:pt x="624" y="526"/>
                          <a:pt x="603" y="505"/>
                          <a:pt x="603" y="479"/>
                        </a:cubicBezTo>
                        <a:lnTo>
                          <a:pt x="603" y="113"/>
                        </a:lnTo>
                        <a:close/>
                        <a:moveTo>
                          <a:pt x="405" y="902"/>
                        </a:moveTo>
                        <a:cubicBezTo>
                          <a:pt x="882" y="902"/>
                          <a:pt x="882" y="902"/>
                          <a:pt x="882" y="902"/>
                        </a:cubicBezTo>
                        <a:cubicBezTo>
                          <a:pt x="882" y="1021"/>
                          <a:pt x="882" y="1021"/>
                          <a:pt x="882" y="1021"/>
                        </a:cubicBezTo>
                        <a:cubicBezTo>
                          <a:pt x="844" y="1033"/>
                          <a:pt x="814" y="1063"/>
                          <a:pt x="803" y="1101"/>
                        </a:cubicBezTo>
                        <a:cubicBezTo>
                          <a:pt x="799" y="1112"/>
                          <a:pt x="797" y="1124"/>
                          <a:pt x="797" y="1136"/>
                        </a:cubicBezTo>
                        <a:cubicBezTo>
                          <a:pt x="797" y="1148"/>
                          <a:pt x="799" y="1160"/>
                          <a:pt x="803" y="1171"/>
                        </a:cubicBezTo>
                        <a:cubicBezTo>
                          <a:pt x="814" y="1209"/>
                          <a:pt x="844" y="1238"/>
                          <a:pt x="882" y="1250"/>
                        </a:cubicBezTo>
                        <a:cubicBezTo>
                          <a:pt x="893" y="1253"/>
                          <a:pt x="905" y="1255"/>
                          <a:pt x="917" y="1255"/>
                        </a:cubicBezTo>
                        <a:cubicBezTo>
                          <a:pt x="929" y="1255"/>
                          <a:pt x="941" y="1253"/>
                          <a:pt x="952" y="1250"/>
                        </a:cubicBezTo>
                        <a:cubicBezTo>
                          <a:pt x="990" y="1238"/>
                          <a:pt x="1020" y="1209"/>
                          <a:pt x="1031" y="1171"/>
                        </a:cubicBezTo>
                        <a:cubicBezTo>
                          <a:pt x="1034" y="1160"/>
                          <a:pt x="1036" y="1148"/>
                          <a:pt x="1036" y="1136"/>
                        </a:cubicBezTo>
                        <a:cubicBezTo>
                          <a:pt x="1036" y="1124"/>
                          <a:pt x="1034" y="1112"/>
                          <a:pt x="1031" y="1101"/>
                        </a:cubicBezTo>
                        <a:cubicBezTo>
                          <a:pt x="1019" y="1063"/>
                          <a:pt x="990" y="1033"/>
                          <a:pt x="952" y="1021"/>
                        </a:cubicBezTo>
                        <a:cubicBezTo>
                          <a:pt x="952" y="902"/>
                          <a:pt x="952" y="902"/>
                          <a:pt x="952" y="902"/>
                        </a:cubicBezTo>
                        <a:cubicBezTo>
                          <a:pt x="1429" y="902"/>
                          <a:pt x="1429" y="902"/>
                          <a:pt x="1429" y="902"/>
                        </a:cubicBezTo>
                        <a:cubicBezTo>
                          <a:pt x="1444" y="902"/>
                          <a:pt x="1457" y="889"/>
                          <a:pt x="1457" y="874"/>
                        </a:cubicBezTo>
                        <a:cubicBezTo>
                          <a:pt x="1457" y="861"/>
                          <a:pt x="1457" y="861"/>
                          <a:pt x="1457" y="861"/>
                        </a:cubicBezTo>
                        <a:cubicBezTo>
                          <a:pt x="1457" y="845"/>
                          <a:pt x="1449" y="823"/>
                          <a:pt x="1439" y="811"/>
                        </a:cubicBezTo>
                        <a:cubicBezTo>
                          <a:pt x="1303" y="652"/>
                          <a:pt x="1303" y="652"/>
                          <a:pt x="1303" y="652"/>
                        </a:cubicBezTo>
                        <a:cubicBezTo>
                          <a:pt x="1293" y="640"/>
                          <a:pt x="1273" y="631"/>
                          <a:pt x="1257" y="631"/>
                        </a:cubicBezTo>
                        <a:cubicBezTo>
                          <a:pt x="577" y="631"/>
                          <a:pt x="577" y="631"/>
                          <a:pt x="577" y="631"/>
                        </a:cubicBezTo>
                        <a:cubicBezTo>
                          <a:pt x="561" y="631"/>
                          <a:pt x="540" y="640"/>
                          <a:pt x="530" y="652"/>
                        </a:cubicBezTo>
                        <a:cubicBezTo>
                          <a:pt x="395" y="811"/>
                          <a:pt x="395" y="811"/>
                          <a:pt x="395" y="811"/>
                        </a:cubicBezTo>
                        <a:cubicBezTo>
                          <a:pt x="385" y="823"/>
                          <a:pt x="377" y="845"/>
                          <a:pt x="377" y="861"/>
                        </a:cubicBezTo>
                        <a:cubicBezTo>
                          <a:pt x="377" y="874"/>
                          <a:pt x="377" y="874"/>
                          <a:pt x="377" y="874"/>
                        </a:cubicBezTo>
                        <a:cubicBezTo>
                          <a:pt x="377" y="889"/>
                          <a:pt x="389" y="902"/>
                          <a:pt x="405" y="902"/>
                        </a:cubicBezTo>
                        <a:close/>
                      </a:path>
                    </a:pathLst>
                  </a:custGeom>
                  <a:solidFill>
                    <a:srgbClr val="FFFFFF"/>
                  </a:solidFill>
                  <a:ln>
                    <a:noFill/>
                  </a:ln>
                </p:spPr>
                <p:txBody>
                  <a:bodyPr vert="horz" wrap="square" lIns="74033" tIns="37017" rIns="74033" bIns="37017" numCol="1" anchor="t" anchorCtr="0" compatLnSpc="1">
                    <a:prstTxWarp prst="textNoShape">
                      <a:avLst/>
                    </a:prstTxWarp>
                  </a:bodyPr>
                  <a:lstStyle/>
                  <a:p>
                    <a:pPr marL="0" marR="0" lvl="0" indent="0" algn="l" defTabSz="822593" rtl="0" eaLnBrk="1" fontAlgn="auto" latinLnBrk="0" hangingPunct="1">
                      <a:lnSpc>
                        <a:spcPct val="100000"/>
                      </a:lnSpc>
                      <a:spcBef>
                        <a:spcPts val="0"/>
                      </a:spcBef>
                      <a:spcAft>
                        <a:spcPts val="0"/>
                      </a:spcAft>
                      <a:buClrTx/>
                      <a:buSzTx/>
                      <a:buFontTx/>
                      <a:buNone/>
                      <a:tabLst/>
                      <a:defRPr/>
                    </a:pPr>
                    <a:endParaRPr kumimoji="0" lang="en-US" sz="144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47" name="Freeform 17"/>
                  <p:cNvSpPr>
                    <a:spLocks/>
                  </p:cNvSpPr>
                  <p:nvPr/>
                </p:nvSpPr>
                <p:spPr bwMode="auto">
                  <a:xfrm>
                    <a:off x="3838817" y="4065159"/>
                    <a:ext cx="578949" cy="328047"/>
                  </a:xfrm>
                  <a:custGeom>
                    <a:avLst/>
                    <a:gdLst>
                      <a:gd name="T0" fmla="*/ 298 w 353"/>
                      <a:gd name="T1" fmla="*/ 104 h 199"/>
                      <a:gd name="T2" fmla="*/ 298 w 353"/>
                      <a:gd name="T3" fmla="*/ 104 h 199"/>
                      <a:gd name="T4" fmla="*/ 193 w 353"/>
                      <a:gd name="T5" fmla="*/ 0 h 199"/>
                      <a:gd name="T6" fmla="*/ 94 w 353"/>
                      <a:gd name="T7" fmla="*/ 70 h 199"/>
                      <a:gd name="T8" fmla="*/ 74 w 353"/>
                      <a:gd name="T9" fmla="*/ 67 h 199"/>
                      <a:gd name="T10" fmla="*/ 0 w 353"/>
                      <a:gd name="T11" fmla="*/ 141 h 199"/>
                      <a:gd name="T12" fmla="*/ 3 w 353"/>
                      <a:gd name="T13" fmla="*/ 162 h 199"/>
                      <a:gd name="T14" fmla="*/ 29 w 353"/>
                      <a:gd name="T15" fmla="*/ 199 h 199"/>
                      <a:gd name="T16" fmla="*/ 119 w 353"/>
                      <a:gd name="T17" fmla="*/ 199 h 199"/>
                      <a:gd name="T18" fmla="*/ 149 w 353"/>
                      <a:gd name="T19" fmla="*/ 199 h 199"/>
                      <a:gd name="T20" fmla="*/ 237 w 353"/>
                      <a:gd name="T21" fmla="*/ 199 h 199"/>
                      <a:gd name="T22" fmla="*/ 252 w 353"/>
                      <a:gd name="T23" fmla="*/ 199 h 199"/>
                      <a:gd name="T24" fmla="*/ 338 w 353"/>
                      <a:gd name="T25" fmla="*/ 199 h 199"/>
                      <a:gd name="T26" fmla="*/ 353 w 353"/>
                      <a:gd name="T27" fmla="*/ 162 h 199"/>
                      <a:gd name="T28" fmla="*/ 298 w 353"/>
                      <a:gd name="T29" fmla="*/ 104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53" h="199">
                        <a:moveTo>
                          <a:pt x="298" y="104"/>
                        </a:moveTo>
                        <a:cubicBezTo>
                          <a:pt x="298" y="104"/>
                          <a:pt x="298" y="104"/>
                          <a:pt x="298" y="104"/>
                        </a:cubicBezTo>
                        <a:cubicBezTo>
                          <a:pt x="298" y="47"/>
                          <a:pt x="251" y="0"/>
                          <a:pt x="193" y="0"/>
                        </a:cubicBezTo>
                        <a:cubicBezTo>
                          <a:pt x="147" y="0"/>
                          <a:pt x="109" y="29"/>
                          <a:pt x="94" y="70"/>
                        </a:cubicBezTo>
                        <a:cubicBezTo>
                          <a:pt x="88" y="68"/>
                          <a:pt x="81" y="67"/>
                          <a:pt x="74" y="67"/>
                        </a:cubicBezTo>
                        <a:cubicBezTo>
                          <a:pt x="33" y="67"/>
                          <a:pt x="0" y="100"/>
                          <a:pt x="0" y="141"/>
                        </a:cubicBezTo>
                        <a:cubicBezTo>
                          <a:pt x="0" y="148"/>
                          <a:pt x="1" y="155"/>
                          <a:pt x="3" y="162"/>
                        </a:cubicBezTo>
                        <a:cubicBezTo>
                          <a:pt x="7" y="177"/>
                          <a:pt x="17" y="190"/>
                          <a:pt x="29" y="199"/>
                        </a:cubicBezTo>
                        <a:cubicBezTo>
                          <a:pt x="119" y="199"/>
                          <a:pt x="119" y="199"/>
                          <a:pt x="119" y="199"/>
                        </a:cubicBezTo>
                        <a:cubicBezTo>
                          <a:pt x="149" y="199"/>
                          <a:pt x="149" y="199"/>
                          <a:pt x="149" y="199"/>
                        </a:cubicBezTo>
                        <a:cubicBezTo>
                          <a:pt x="237" y="199"/>
                          <a:pt x="237" y="199"/>
                          <a:pt x="237" y="199"/>
                        </a:cubicBezTo>
                        <a:cubicBezTo>
                          <a:pt x="252" y="199"/>
                          <a:pt x="252" y="199"/>
                          <a:pt x="252" y="199"/>
                        </a:cubicBezTo>
                        <a:cubicBezTo>
                          <a:pt x="338" y="199"/>
                          <a:pt x="338" y="199"/>
                          <a:pt x="338" y="199"/>
                        </a:cubicBezTo>
                        <a:cubicBezTo>
                          <a:pt x="347" y="189"/>
                          <a:pt x="353" y="176"/>
                          <a:pt x="353" y="162"/>
                        </a:cubicBezTo>
                        <a:cubicBezTo>
                          <a:pt x="353" y="131"/>
                          <a:pt x="328" y="106"/>
                          <a:pt x="298" y="104"/>
                        </a:cubicBezTo>
                        <a:close/>
                      </a:path>
                    </a:pathLst>
                  </a:custGeom>
                  <a:solidFill>
                    <a:srgbClr val="FFFFFF"/>
                  </a:solidFill>
                  <a:ln>
                    <a:noFill/>
                  </a:ln>
                  <a:extLst/>
                </p:spPr>
                <p:txBody>
                  <a:bodyPr vert="horz" wrap="square" lIns="124314" tIns="62157" rIns="124314" bIns="62157" numCol="1" anchor="t" anchorCtr="0" compatLnSpc="1">
                    <a:prstTxWarp prst="textNoShape">
                      <a:avLst/>
                    </a:prstTxWarp>
                  </a:bodyPr>
                  <a:lstStyle/>
                  <a:p>
                    <a:pPr marL="0" marR="0" lvl="0" indent="0" algn="l" defTabSz="1243130" rtl="0" eaLnBrk="1" fontAlgn="auto" latinLnBrk="0" hangingPunct="1">
                      <a:lnSpc>
                        <a:spcPct val="100000"/>
                      </a:lnSpc>
                      <a:spcBef>
                        <a:spcPts val="0"/>
                      </a:spcBef>
                      <a:spcAft>
                        <a:spcPts val="0"/>
                      </a:spcAft>
                      <a:buClrTx/>
                      <a:buSzTx/>
                      <a:buFontTx/>
                      <a:buNone/>
                      <a:tabLst/>
                      <a:defRPr/>
                    </a:pPr>
                    <a:endParaRPr kumimoji="0" lang="en-US" sz="2448" b="0" i="0" u="none" strike="noStrike" kern="0" cap="none" spc="0" normalizeH="0" baseline="0" noProof="0">
                      <a:ln>
                        <a:noFill/>
                      </a:ln>
                      <a:solidFill>
                        <a:sysClr val="windowText" lastClr="000000"/>
                      </a:solidFill>
                      <a:effectLst/>
                      <a:uLnTx/>
                      <a:uFillTx/>
                      <a:latin typeface="Segoe UI"/>
                      <a:ea typeface="+mn-ea"/>
                      <a:cs typeface="+mn-cs"/>
                    </a:endParaRPr>
                  </a:p>
                </p:txBody>
              </p:sp>
            </p:grpSp>
          </p:grpSp>
        </p:grpSp>
        <p:grpSp>
          <p:nvGrpSpPr>
            <p:cNvPr id="27" name="Group 26"/>
            <p:cNvGrpSpPr/>
            <p:nvPr/>
          </p:nvGrpSpPr>
          <p:grpSpPr>
            <a:xfrm>
              <a:off x="5766346" y="1559020"/>
              <a:ext cx="2625832" cy="3067176"/>
              <a:chOff x="5766346" y="1559020"/>
              <a:chExt cx="2625832" cy="3067176"/>
            </a:xfrm>
          </p:grpSpPr>
          <p:sp>
            <p:nvSpPr>
              <p:cNvPr id="37" name="Rectangle 36"/>
              <p:cNvSpPr/>
              <p:nvPr/>
            </p:nvSpPr>
            <p:spPr>
              <a:xfrm>
                <a:off x="5766346" y="3441011"/>
                <a:ext cx="2625832" cy="1185185"/>
              </a:xfrm>
              <a:prstGeom prst="rect">
                <a:avLst/>
              </a:prstGeom>
              <a:solidFill>
                <a:srgbClr val="0E715F"/>
              </a:solidFill>
              <a:ln w="25400" cap="flat" cmpd="sng" algn="ctr">
                <a:noFill/>
                <a:prstDash val="solid"/>
              </a:ln>
              <a:effectLst/>
            </p:spPr>
            <p:txBody>
              <a:bodyPr lIns="161291" tIns="145160" rIns="16128" bIns="145160" rtlCol="0" anchor="ctr" anchorCtr="0"/>
              <a:lstStyle/>
              <a:p>
                <a:pPr marL="0" marR="0" lvl="0" indent="0" algn="l" defTabSz="822593" rtl="0" eaLnBrk="1" fontAlgn="auto" latinLnBrk="0" hangingPunct="1">
                  <a:lnSpc>
                    <a:spcPct val="90000"/>
                  </a:lnSpc>
                  <a:spcBef>
                    <a:spcPts val="0"/>
                  </a:spcBef>
                  <a:spcAft>
                    <a:spcPts val="0"/>
                  </a:spcAft>
                  <a:buClrTx/>
                  <a:buSzTx/>
                  <a:buFontTx/>
                  <a:buNone/>
                  <a:tabLst/>
                  <a:defRPr/>
                </a:pPr>
                <a:r>
                  <a:rPr kumimoji="0" lang="en-US" sz="1598" b="0" i="0" u="none" strike="noStrike" kern="0" cap="none" spc="0" normalizeH="0" baseline="0" noProof="0">
                    <a:ln>
                      <a:noFill/>
                    </a:ln>
                    <a:gradFill>
                      <a:gsLst>
                        <a:gs pos="0">
                          <a:srgbClr val="FFFFFF"/>
                        </a:gs>
                        <a:gs pos="100000">
                          <a:srgbClr val="FFFFFF"/>
                        </a:gs>
                      </a:gsLst>
                      <a:lin ang="10800000" scaled="1"/>
                    </a:gradFill>
                    <a:effectLst/>
                    <a:uLnTx/>
                    <a:uFillTx/>
                    <a:latin typeface="Segoe UI"/>
                    <a:ea typeface="+mn-ea"/>
                    <a:cs typeface="+mn-cs"/>
                  </a:rPr>
                  <a:t>Windows Server 2016 Hyper-V </a:t>
                </a:r>
              </a:p>
              <a:p>
                <a:pPr marL="0" marR="0" lvl="0" indent="0" algn="l" defTabSz="822593" rtl="0" eaLnBrk="1" fontAlgn="auto" latinLnBrk="0" hangingPunct="1">
                  <a:lnSpc>
                    <a:spcPct val="90000"/>
                  </a:lnSpc>
                  <a:spcBef>
                    <a:spcPts val="0"/>
                  </a:spcBef>
                  <a:spcAft>
                    <a:spcPts val="0"/>
                  </a:spcAft>
                  <a:buClrTx/>
                  <a:buSzTx/>
                  <a:buFontTx/>
                  <a:buNone/>
                  <a:tabLst/>
                  <a:defRPr/>
                </a:pPr>
                <a:r>
                  <a:rPr kumimoji="0" lang="en-US" sz="1598" b="0" i="0" u="none" strike="noStrike" kern="0" cap="none" spc="0" normalizeH="0" baseline="0" noProof="0">
                    <a:ln>
                      <a:noFill/>
                    </a:ln>
                    <a:gradFill>
                      <a:gsLst>
                        <a:gs pos="0">
                          <a:srgbClr val="FFFFFF"/>
                        </a:gs>
                        <a:gs pos="100000">
                          <a:srgbClr val="FFFFFF"/>
                        </a:gs>
                      </a:gsLst>
                      <a:lin ang="10800000" scaled="1"/>
                    </a:gradFill>
                    <a:effectLst/>
                    <a:uLnTx/>
                    <a:uFillTx/>
                    <a:latin typeface="Segoe UI"/>
                    <a:ea typeface="+mn-ea"/>
                    <a:cs typeface="+mn-cs"/>
                  </a:rPr>
                  <a:t>System Center 2016</a:t>
                </a:r>
              </a:p>
              <a:p>
                <a:pPr marL="0" marR="0" lvl="0" indent="0" algn="l" defTabSz="822593" rtl="0" eaLnBrk="1" fontAlgn="auto" latinLnBrk="0" hangingPunct="1">
                  <a:lnSpc>
                    <a:spcPct val="90000"/>
                  </a:lnSpc>
                  <a:spcBef>
                    <a:spcPts val="0"/>
                  </a:spcBef>
                  <a:spcAft>
                    <a:spcPts val="0"/>
                  </a:spcAft>
                  <a:buClrTx/>
                  <a:buSzTx/>
                  <a:buFontTx/>
                  <a:buNone/>
                  <a:tabLst/>
                  <a:defRPr/>
                </a:pPr>
                <a:r>
                  <a:rPr kumimoji="0" lang="en-US" sz="1598" b="0" i="0" u="none" strike="noStrike" kern="0" cap="none" spc="0" normalizeH="0" baseline="0" noProof="0">
                    <a:ln>
                      <a:noFill/>
                    </a:ln>
                    <a:gradFill>
                      <a:gsLst>
                        <a:gs pos="0">
                          <a:srgbClr val="FFFFFF"/>
                        </a:gs>
                        <a:gs pos="100000">
                          <a:srgbClr val="FFFFFF"/>
                        </a:gs>
                      </a:gsLst>
                      <a:lin ang="10800000" scaled="1"/>
                    </a:gradFill>
                    <a:effectLst/>
                    <a:uLnTx/>
                    <a:uFillTx/>
                    <a:latin typeface="Segoe UI"/>
                    <a:ea typeface="+mn-ea"/>
                    <a:cs typeface="+mn-cs"/>
                  </a:rPr>
                  <a:t>SQL Server 2016</a:t>
                </a:r>
              </a:p>
            </p:txBody>
          </p:sp>
          <p:grpSp>
            <p:nvGrpSpPr>
              <p:cNvPr id="29" name="Group 28"/>
              <p:cNvGrpSpPr/>
              <p:nvPr/>
            </p:nvGrpSpPr>
            <p:grpSpPr>
              <a:xfrm>
                <a:off x="5781974" y="1559020"/>
                <a:ext cx="2607459" cy="1687654"/>
                <a:chOff x="5781974" y="1559020"/>
                <a:chExt cx="2607459" cy="1687654"/>
              </a:xfrm>
            </p:grpSpPr>
            <p:sp>
              <p:nvSpPr>
                <p:cNvPr id="30" name="Rectangle 29"/>
                <p:cNvSpPr/>
                <p:nvPr/>
              </p:nvSpPr>
              <p:spPr>
                <a:xfrm>
                  <a:off x="5786872" y="1841504"/>
                  <a:ext cx="2602561" cy="413526"/>
                </a:xfrm>
                <a:prstGeom prst="rect">
                  <a:avLst/>
                </a:prstGeom>
                <a:solidFill>
                  <a:srgbClr val="0E715F"/>
                </a:solidFill>
                <a:ln w="25400" cap="flat" cmpd="sng" algn="ctr">
                  <a:noFill/>
                  <a:prstDash val="solid"/>
                </a:ln>
                <a:effectLst/>
              </p:spPr>
              <p:txBody>
                <a:bodyPr lIns="161291" tIns="145160" rIns="161291" bIns="145160" rtlCol="0" anchor="ctr" anchorCtr="0"/>
                <a:lstStyle/>
                <a:p>
                  <a:pPr marL="0" marR="0" lvl="0" indent="0" algn="l" defTabSz="822593" rtl="0" eaLnBrk="1" fontAlgn="auto" latinLnBrk="0" hangingPunct="1">
                    <a:lnSpc>
                      <a:spcPct val="90000"/>
                    </a:lnSpc>
                    <a:spcBef>
                      <a:spcPts val="0"/>
                    </a:spcBef>
                    <a:spcAft>
                      <a:spcPts val="0"/>
                    </a:spcAft>
                    <a:buClrTx/>
                    <a:buSzTx/>
                    <a:buFontTx/>
                    <a:buNone/>
                    <a:tabLst/>
                    <a:defRPr/>
                  </a:pPr>
                  <a:r>
                    <a:rPr kumimoji="0" lang="en-US" sz="1598" b="0" i="0" u="none" strike="noStrike" kern="0" cap="none" spc="0" normalizeH="0" baseline="0" noProof="0">
                      <a:ln>
                        <a:noFill/>
                      </a:ln>
                      <a:gradFill>
                        <a:gsLst>
                          <a:gs pos="0">
                            <a:srgbClr val="FFFFFF"/>
                          </a:gs>
                          <a:gs pos="100000">
                            <a:srgbClr val="FFFFFF"/>
                          </a:gs>
                        </a:gsLst>
                        <a:lin ang="10800000" scaled="1"/>
                      </a:gradFill>
                      <a:effectLst/>
                      <a:uLnTx/>
                      <a:uFillTx/>
                      <a:latin typeface="Segoe UI"/>
                      <a:ea typeface="+mn-ea"/>
                      <a:cs typeface="+mn-cs"/>
                    </a:rPr>
                    <a:t>SaaS: Microsoft Dynamics,</a:t>
                  </a:r>
                  <a:br>
                    <a:rPr kumimoji="0" lang="en-US" sz="1598" b="0" i="0" u="none" strike="noStrike" kern="0" cap="none" spc="0" normalizeH="0" baseline="0" noProof="0">
                      <a:ln>
                        <a:noFill/>
                      </a:ln>
                      <a:gradFill>
                        <a:gsLst>
                          <a:gs pos="0">
                            <a:srgbClr val="FFFFFF"/>
                          </a:gs>
                          <a:gs pos="100000">
                            <a:srgbClr val="FFFFFF"/>
                          </a:gs>
                        </a:gsLst>
                        <a:lin ang="10800000" scaled="1"/>
                      </a:gradFill>
                      <a:effectLst/>
                      <a:uLnTx/>
                      <a:uFillTx/>
                      <a:latin typeface="Segoe UI"/>
                      <a:ea typeface="+mn-ea"/>
                      <a:cs typeface="+mn-cs"/>
                    </a:rPr>
                  </a:br>
                  <a:r>
                    <a:rPr kumimoji="0" lang="en-US" sz="1598" b="0" i="0" u="none" strike="noStrike" kern="0" cap="none" spc="0" normalizeH="0" baseline="0" noProof="0">
                      <a:ln>
                        <a:noFill/>
                      </a:ln>
                      <a:gradFill>
                        <a:gsLst>
                          <a:gs pos="0">
                            <a:srgbClr val="FFFFFF"/>
                          </a:gs>
                          <a:gs pos="100000">
                            <a:srgbClr val="FFFFFF"/>
                          </a:gs>
                        </a:gsLst>
                        <a:lin ang="10800000" scaled="1"/>
                      </a:gradFill>
                      <a:effectLst/>
                      <a:uLnTx/>
                      <a:uFillTx/>
                      <a:latin typeface="Segoe UI"/>
                      <a:ea typeface="+mn-ea"/>
                      <a:cs typeface="+mn-cs"/>
                    </a:rPr>
                    <a:t>Office 365</a:t>
                  </a:r>
                </a:p>
              </p:txBody>
            </p:sp>
            <p:sp>
              <p:nvSpPr>
                <p:cNvPr id="31" name="Rectangle 30"/>
                <p:cNvSpPr/>
                <p:nvPr/>
              </p:nvSpPr>
              <p:spPr>
                <a:xfrm>
                  <a:off x="5786872" y="2336015"/>
                  <a:ext cx="2602561" cy="413526"/>
                </a:xfrm>
                <a:prstGeom prst="rect">
                  <a:avLst/>
                </a:prstGeom>
                <a:solidFill>
                  <a:srgbClr val="0E715F"/>
                </a:solidFill>
                <a:ln w="25400" cap="flat" cmpd="sng" algn="ctr">
                  <a:noFill/>
                  <a:prstDash val="solid"/>
                </a:ln>
                <a:effectLst/>
              </p:spPr>
              <p:txBody>
                <a:bodyPr lIns="161291" tIns="145160" rIns="161291" bIns="145160" rtlCol="0" anchor="ctr" anchorCtr="0"/>
                <a:lstStyle/>
                <a:p>
                  <a:pPr marL="0" marR="0" lvl="0" indent="0" algn="l" defTabSz="822593" rtl="0" eaLnBrk="1" fontAlgn="auto" latinLnBrk="0" hangingPunct="1">
                    <a:lnSpc>
                      <a:spcPct val="90000"/>
                    </a:lnSpc>
                    <a:spcBef>
                      <a:spcPts val="0"/>
                    </a:spcBef>
                    <a:spcAft>
                      <a:spcPts val="0"/>
                    </a:spcAft>
                    <a:buClrTx/>
                    <a:buSzTx/>
                    <a:buFontTx/>
                    <a:buNone/>
                    <a:tabLst/>
                    <a:defRPr/>
                  </a:pPr>
                  <a:r>
                    <a:rPr kumimoji="0" lang="en-US" sz="1598" b="0" i="0" u="none" strike="noStrike" kern="0" cap="none" spc="0" normalizeH="0" baseline="0" noProof="0">
                      <a:ln>
                        <a:noFill/>
                      </a:ln>
                      <a:gradFill>
                        <a:gsLst>
                          <a:gs pos="0">
                            <a:srgbClr val="FFFFFF"/>
                          </a:gs>
                          <a:gs pos="100000">
                            <a:srgbClr val="FFFFFF"/>
                          </a:gs>
                        </a:gsLst>
                        <a:lin ang="10800000" scaled="1"/>
                      </a:gradFill>
                      <a:effectLst/>
                      <a:uLnTx/>
                      <a:uFillTx/>
                      <a:latin typeface="Segoe UI"/>
                      <a:ea typeface="+mn-ea"/>
                      <a:cs typeface="+mn-cs"/>
                    </a:rPr>
                    <a:t>PaaS: Microsoft Azure and</a:t>
                  </a:r>
                </a:p>
                <a:p>
                  <a:pPr marL="0" marR="0" lvl="0" indent="0" algn="l" defTabSz="822593" rtl="0" eaLnBrk="1" fontAlgn="auto" latinLnBrk="0" hangingPunct="1">
                    <a:lnSpc>
                      <a:spcPct val="90000"/>
                    </a:lnSpc>
                    <a:spcBef>
                      <a:spcPts val="0"/>
                    </a:spcBef>
                    <a:spcAft>
                      <a:spcPts val="0"/>
                    </a:spcAft>
                    <a:buClrTx/>
                    <a:buSzTx/>
                    <a:buFontTx/>
                    <a:buNone/>
                    <a:tabLst/>
                    <a:defRPr/>
                  </a:pPr>
                  <a:r>
                    <a:rPr kumimoji="0" lang="en-US" sz="1598" b="0" i="0" u="none" strike="noStrike" kern="0" cap="none" spc="0" normalizeH="0" baseline="0" noProof="0">
                      <a:ln>
                        <a:noFill/>
                      </a:ln>
                      <a:gradFill>
                        <a:gsLst>
                          <a:gs pos="0">
                            <a:srgbClr val="FFFFFF"/>
                          </a:gs>
                          <a:gs pos="100000">
                            <a:srgbClr val="FFFFFF"/>
                          </a:gs>
                        </a:gsLst>
                        <a:lin ang="10800000" scaled="1"/>
                      </a:gradFill>
                      <a:effectLst/>
                      <a:uLnTx/>
                      <a:uFillTx/>
                      <a:latin typeface="Segoe UI"/>
                      <a:ea typeface="+mn-ea"/>
                      <a:cs typeface="+mn-cs"/>
                    </a:rPr>
                    <a:t>Azure Stack</a:t>
                  </a:r>
                </a:p>
              </p:txBody>
            </p:sp>
            <p:sp>
              <p:nvSpPr>
                <p:cNvPr id="32" name="Rectangle 31"/>
                <p:cNvSpPr/>
                <p:nvPr/>
              </p:nvSpPr>
              <p:spPr>
                <a:xfrm>
                  <a:off x="5786872" y="2830304"/>
                  <a:ext cx="2602561" cy="416370"/>
                </a:xfrm>
                <a:prstGeom prst="rect">
                  <a:avLst/>
                </a:prstGeom>
                <a:solidFill>
                  <a:srgbClr val="0E715F"/>
                </a:solidFill>
                <a:ln w="25400" cap="flat" cmpd="sng" algn="ctr">
                  <a:noFill/>
                  <a:prstDash val="solid"/>
                </a:ln>
                <a:effectLst/>
              </p:spPr>
              <p:txBody>
                <a:bodyPr lIns="161291" tIns="145160" rIns="161291" bIns="145160" rtlCol="0" anchor="ctr" anchorCtr="0"/>
                <a:lstStyle/>
                <a:p>
                  <a:pPr marL="0" marR="0" lvl="0" indent="0" algn="l" defTabSz="822593" rtl="0" eaLnBrk="1" fontAlgn="auto" latinLnBrk="0" hangingPunct="1">
                    <a:lnSpc>
                      <a:spcPct val="90000"/>
                    </a:lnSpc>
                    <a:spcBef>
                      <a:spcPts val="0"/>
                    </a:spcBef>
                    <a:spcAft>
                      <a:spcPts val="0"/>
                    </a:spcAft>
                    <a:buClrTx/>
                    <a:buSzTx/>
                    <a:buFontTx/>
                    <a:buNone/>
                    <a:tabLst/>
                    <a:defRPr/>
                  </a:pPr>
                  <a:r>
                    <a:rPr kumimoji="0" lang="en-US" sz="1598" b="0" i="0" u="none" strike="noStrike" kern="0" cap="none" spc="0" normalizeH="0" baseline="0" noProof="0">
                      <a:ln>
                        <a:noFill/>
                      </a:ln>
                      <a:gradFill>
                        <a:gsLst>
                          <a:gs pos="0">
                            <a:srgbClr val="FFFFFF"/>
                          </a:gs>
                          <a:gs pos="100000">
                            <a:srgbClr val="FFFFFF"/>
                          </a:gs>
                        </a:gsLst>
                        <a:lin ang="10800000" scaled="1"/>
                      </a:gradFill>
                      <a:effectLst/>
                      <a:uLnTx/>
                      <a:uFillTx/>
                      <a:latin typeface="Segoe UI"/>
                      <a:ea typeface="+mn-ea"/>
                      <a:cs typeface="+mn-cs"/>
                    </a:rPr>
                    <a:t>IaaS: Microsoft Azure and</a:t>
                  </a:r>
                </a:p>
                <a:p>
                  <a:pPr marL="0" marR="0" lvl="0" indent="0" algn="l" defTabSz="822593" rtl="0" eaLnBrk="1" fontAlgn="auto" latinLnBrk="0" hangingPunct="1">
                    <a:lnSpc>
                      <a:spcPct val="90000"/>
                    </a:lnSpc>
                    <a:spcBef>
                      <a:spcPts val="0"/>
                    </a:spcBef>
                    <a:spcAft>
                      <a:spcPts val="0"/>
                    </a:spcAft>
                    <a:buClrTx/>
                    <a:buSzTx/>
                    <a:buFontTx/>
                    <a:buNone/>
                    <a:tabLst/>
                    <a:defRPr/>
                  </a:pPr>
                  <a:r>
                    <a:rPr kumimoji="0" lang="en-US" sz="1598" b="0" i="0" u="none" strike="noStrike" kern="0" cap="none" spc="0" normalizeH="0" baseline="0" noProof="0">
                      <a:ln>
                        <a:noFill/>
                      </a:ln>
                      <a:gradFill>
                        <a:gsLst>
                          <a:gs pos="0">
                            <a:srgbClr val="FFFFFF"/>
                          </a:gs>
                          <a:gs pos="100000">
                            <a:srgbClr val="FFFFFF"/>
                          </a:gs>
                        </a:gsLst>
                        <a:lin ang="10800000" scaled="1"/>
                      </a:gradFill>
                      <a:effectLst/>
                      <a:uLnTx/>
                      <a:uFillTx/>
                      <a:latin typeface="Segoe UI"/>
                      <a:ea typeface="+mn-ea"/>
                      <a:cs typeface="+mn-cs"/>
                    </a:rPr>
                    <a:t>Azure Stack</a:t>
                  </a:r>
                </a:p>
              </p:txBody>
            </p:sp>
            <p:sp>
              <p:nvSpPr>
                <p:cNvPr id="33" name="TextBox 32"/>
                <p:cNvSpPr txBox="1"/>
                <p:nvPr/>
              </p:nvSpPr>
              <p:spPr>
                <a:xfrm>
                  <a:off x="5781974" y="1559020"/>
                  <a:ext cx="2607459" cy="281401"/>
                </a:xfrm>
                <a:prstGeom prst="rect">
                  <a:avLst/>
                </a:prstGeom>
                <a:noFill/>
              </p:spPr>
              <p:txBody>
                <a:bodyPr wrap="none" lIns="109648" tIns="49726" rIns="109648" bIns="54823" rtlCol="0" anchor="t" anchorCtr="0">
                  <a:noAutofit/>
                </a:bodyPr>
                <a:lstStyle/>
                <a:p>
                  <a:pPr marL="0" marR="0" lvl="0" indent="0" algn="l" defTabSz="822593" rtl="0" eaLnBrk="1" fontAlgn="auto" latinLnBrk="0" hangingPunct="1">
                    <a:lnSpc>
                      <a:spcPct val="100000"/>
                    </a:lnSpc>
                    <a:spcBef>
                      <a:spcPts val="0"/>
                    </a:spcBef>
                    <a:spcAft>
                      <a:spcPts val="0"/>
                    </a:spcAft>
                    <a:buClrTx/>
                    <a:buSzTx/>
                    <a:buFontTx/>
                    <a:buNone/>
                    <a:tabLst/>
                    <a:defRPr/>
                  </a:pPr>
                  <a:r>
                    <a:rPr kumimoji="0" lang="en-US" sz="1801" b="0" i="0" u="none" strike="noStrike" kern="0" cap="none" spc="0" normalizeH="0" baseline="0" noProof="0">
                      <a:ln>
                        <a:noFill/>
                      </a:ln>
                      <a:solidFill>
                        <a:srgbClr val="FFFFFF"/>
                      </a:solidFill>
                      <a:effectLst/>
                      <a:uLnTx/>
                      <a:uFillTx/>
                      <a:latin typeface="Segoe UI"/>
                      <a:ea typeface="+mn-ea"/>
                      <a:cs typeface="+mn-cs"/>
                    </a:rPr>
                    <a:t>Target Cloud Platform</a:t>
                  </a:r>
                </a:p>
              </p:txBody>
            </p:sp>
            <p:sp>
              <p:nvSpPr>
                <p:cNvPr id="34" name="Freeform 17"/>
                <p:cNvSpPr>
                  <a:spLocks/>
                </p:cNvSpPr>
                <p:nvPr/>
              </p:nvSpPr>
              <p:spPr bwMode="auto">
                <a:xfrm>
                  <a:off x="7783723" y="1907686"/>
                  <a:ext cx="478470" cy="271114"/>
                </a:xfrm>
                <a:custGeom>
                  <a:avLst/>
                  <a:gdLst>
                    <a:gd name="T0" fmla="*/ 298 w 353"/>
                    <a:gd name="T1" fmla="*/ 104 h 199"/>
                    <a:gd name="T2" fmla="*/ 298 w 353"/>
                    <a:gd name="T3" fmla="*/ 104 h 199"/>
                    <a:gd name="T4" fmla="*/ 193 w 353"/>
                    <a:gd name="T5" fmla="*/ 0 h 199"/>
                    <a:gd name="T6" fmla="*/ 94 w 353"/>
                    <a:gd name="T7" fmla="*/ 70 h 199"/>
                    <a:gd name="T8" fmla="*/ 74 w 353"/>
                    <a:gd name="T9" fmla="*/ 67 h 199"/>
                    <a:gd name="T10" fmla="*/ 0 w 353"/>
                    <a:gd name="T11" fmla="*/ 141 h 199"/>
                    <a:gd name="T12" fmla="*/ 3 w 353"/>
                    <a:gd name="T13" fmla="*/ 162 h 199"/>
                    <a:gd name="T14" fmla="*/ 29 w 353"/>
                    <a:gd name="T15" fmla="*/ 199 h 199"/>
                    <a:gd name="T16" fmla="*/ 119 w 353"/>
                    <a:gd name="T17" fmla="*/ 199 h 199"/>
                    <a:gd name="T18" fmla="*/ 149 w 353"/>
                    <a:gd name="T19" fmla="*/ 199 h 199"/>
                    <a:gd name="T20" fmla="*/ 237 w 353"/>
                    <a:gd name="T21" fmla="*/ 199 h 199"/>
                    <a:gd name="T22" fmla="*/ 252 w 353"/>
                    <a:gd name="T23" fmla="*/ 199 h 199"/>
                    <a:gd name="T24" fmla="*/ 338 w 353"/>
                    <a:gd name="T25" fmla="*/ 199 h 199"/>
                    <a:gd name="T26" fmla="*/ 353 w 353"/>
                    <a:gd name="T27" fmla="*/ 162 h 199"/>
                    <a:gd name="T28" fmla="*/ 298 w 353"/>
                    <a:gd name="T29" fmla="*/ 104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53" h="199">
                      <a:moveTo>
                        <a:pt x="298" y="104"/>
                      </a:moveTo>
                      <a:cubicBezTo>
                        <a:pt x="298" y="104"/>
                        <a:pt x="298" y="104"/>
                        <a:pt x="298" y="104"/>
                      </a:cubicBezTo>
                      <a:cubicBezTo>
                        <a:pt x="298" y="47"/>
                        <a:pt x="251" y="0"/>
                        <a:pt x="193" y="0"/>
                      </a:cubicBezTo>
                      <a:cubicBezTo>
                        <a:pt x="147" y="0"/>
                        <a:pt x="109" y="29"/>
                        <a:pt x="94" y="70"/>
                      </a:cubicBezTo>
                      <a:cubicBezTo>
                        <a:pt x="88" y="68"/>
                        <a:pt x="81" y="67"/>
                        <a:pt x="74" y="67"/>
                      </a:cubicBezTo>
                      <a:cubicBezTo>
                        <a:pt x="33" y="67"/>
                        <a:pt x="0" y="100"/>
                        <a:pt x="0" y="141"/>
                      </a:cubicBezTo>
                      <a:cubicBezTo>
                        <a:pt x="0" y="148"/>
                        <a:pt x="1" y="155"/>
                        <a:pt x="3" y="162"/>
                      </a:cubicBezTo>
                      <a:cubicBezTo>
                        <a:pt x="7" y="177"/>
                        <a:pt x="17" y="190"/>
                        <a:pt x="29" y="199"/>
                      </a:cubicBezTo>
                      <a:cubicBezTo>
                        <a:pt x="119" y="199"/>
                        <a:pt x="119" y="199"/>
                        <a:pt x="119" y="199"/>
                      </a:cubicBezTo>
                      <a:cubicBezTo>
                        <a:pt x="149" y="199"/>
                        <a:pt x="149" y="199"/>
                        <a:pt x="149" y="199"/>
                      </a:cubicBezTo>
                      <a:cubicBezTo>
                        <a:pt x="237" y="199"/>
                        <a:pt x="237" y="199"/>
                        <a:pt x="237" y="199"/>
                      </a:cubicBezTo>
                      <a:cubicBezTo>
                        <a:pt x="252" y="199"/>
                        <a:pt x="252" y="199"/>
                        <a:pt x="252" y="199"/>
                      </a:cubicBezTo>
                      <a:cubicBezTo>
                        <a:pt x="338" y="199"/>
                        <a:pt x="338" y="199"/>
                        <a:pt x="338" y="199"/>
                      </a:cubicBezTo>
                      <a:cubicBezTo>
                        <a:pt x="347" y="189"/>
                        <a:pt x="353" y="176"/>
                        <a:pt x="353" y="162"/>
                      </a:cubicBezTo>
                      <a:cubicBezTo>
                        <a:pt x="353" y="131"/>
                        <a:pt x="328" y="106"/>
                        <a:pt x="298" y="104"/>
                      </a:cubicBezTo>
                      <a:close/>
                    </a:path>
                  </a:pathLst>
                </a:custGeom>
                <a:solidFill>
                  <a:srgbClr val="FFFFFF"/>
                </a:solidFill>
                <a:ln>
                  <a:noFill/>
                </a:ln>
                <a:extLst/>
              </p:spPr>
              <p:txBody>
                <a:bodyPr vert="horz" wrap="square" lIns="124314" tIns="62157" rIns="124314" bIns="62157" numCol="1" anchor="t" anchorCtr="0" compatLnSpc="1">
                  <a:prstTxWarp prst="textNoShape">
                    <a:avLst/>
                  </a:prstTxWarp>
                </a:bodyPr>
                <a:lstStyle/>
                <a:p>
                  <a:pPr marL="0" marR="0" lvl="0" indent="0" algn="l" defTabSz="1243130" rtl="0" eaLnBrk="1" fontAlgn="auto" latinLnBrk="0" hangingPunct="1">
                    <a:lnSpc>
                      <a:spcPct val="100000"/>
                    </a:lnSpc>
                    <a:spcBef>
                      <a:spcPts val="0"/>
                    </a:spcBef>
                    <a:spcAft>
                      <a:spcPts val="0"/>
                    </a:spcAft>
                    <a:buClrTx/>
                    <a:buSzTx/>
                    <a:buFontTx/>
                    <a:buNone/>
                    <a:tabLst/>
                    <a:defRPr/>
                  </a:pPr>
                  <a:endParaRPr kumimoji="0" lang="en-US" sz="2448"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35" name="Freeform 17"/>
                <p:cNvSpPr>
                  <a:spLocks/>
                </p:cNvSpPr>
                <p:nvPr/>
              </p:nvSpPr>
              <p:spPr bwMode="auto">
                <a:xfrm>
                  <a:off x="7783723" y="2400292"/>
                  <a:ext cx="478470" cy="271114"/>
                </a:xfrm>
                <a:custGeom>
                  <a:avLst/>
                  <a:gdLst>
                    <a:gd name="T0" fmla="*/ 298 w 353"/>
                    <a:gd name="T1" fmla="*/ 104 h 199"/>
                    <a:gd name="T2" fmla="*/ 298 w 353"/>
                    <a:gd name="T3" fmla="*/ 104 h 199"/>
                    <a:gd name="T4" fmla="*/ 193 w 353"/>
                    <a:gd name="T5" fmla="*/ 0 h 199"/>
                    <a:gd name="T6" fmla="*/ 94 w 353"/>
                    <a:gd name="T7" fmla="*/ 70 h 199"/>
                    <a:gd name="T8" fmla="*/ 74 w 353"/>
                    <a:gd name="T9" fmla="*/ 67 h 199"/>
                    <a:gd name="T10" fmla="*/ 0 w 353"/>
                    <a:gd name="T11" fmla="*/ 141 h 199"/>
                    <a:gd name="T12" fmla="*/ 3 w 353"/>
                    <a:gd name="T13" fmla="*/ 162 h 199"/>
                    <a:gd name="T14" fmla="*/ 29 w 353"/>
                    <a:gd name="T15" fmla="*/ 199 h 199"/>
                    <a:gd name="T16" fmla="*/ 119 w 353"/>
                    <a:gd name="T17" fmla="*/ 199 h 199"/>
                    <a:gd name="T18" fmla="*/ 149 w 353"/>
                    <a:gd name="T19" fmla="*/ 199 h 199"/>
                    <a:gd name="T20" fmla="*/ 237 w 353"/>
                    <a:gd name="T21" fmla="*/ 199 h 199"/>
                    <a:gd name="T22" fmla="*/ 252 w 353"/>
                    <a:gd name="T23" fmla="*/ 199 h 199"/>
                    <a:gd name="T24" fmla="*/ 338 w 353"/>
                    <a:gd name="T25" fmla="*/ 199 h 199"/>
                    <a:gd name="T26" fmla="*/ 353 w 353"/>
                    <a:gd name="T27" fmla="*/ 162 h 199"/>
                    <a:gd name="T28" fmla="*/ 298 w 353"/>
                    <a:gd name="T29" fmla="*/ 104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53" h="199">
                      <a:moveTo>
                        <a:pt x="298" y="104"/>
                      </a:moveTo>
                      <a:cubicBezTo>
                        <a:pt x="298" y="104"/>
                        <a:pt x="298" y="104"/>
                        <a:pt x="298" y="104"/>
                      </a:cubicBezTo>
                      <a:cubicBezTo>
                        <a:pt x="298" y="47"/>
                        <a:pt x="251" y="0"/>
                        <a:pt x="193" y="0"/>
                      </a:cubicBezTo>
                      <a:cubicBezTo>
                        <a:pt x="147" y="0"/>
                        <a:pt x="109" y="29"/>
                        <a:pt x="94" y="70"/>
                      </a:cubicBezTo>
                      <a:cubicBezTo>
                        <a:pt x="88" y="68"/>
                        <a:pt x="81" y="67"/>
                        <a:pt x="74" y="67"/>
                      </a:cubicBezTo>
                      <a:cubicBezTo>
                        <a:pt x="33" y="67"/>
                        <a:pt x="0" y="100"/>
                        <a:pt x="0" y="141"/>
                      </a:cubicBezTo>
                      <a:cubicBezTo>
                        <a:pt x="0" y="148"/>
                        <a:pt x="1" y="155"/>
                        <a:pt x="3" y="162"/>
                      </a:cubicBezTo>
                      <a:cubicBezTo>
                        <a:pt x="7" y="177"/>
                        <a:pt x="17" y="190"/>
                        <a:pt x="29" y="199"/>
                      </a:cubicBezTo>
                      <a:cubicBezTo>
                        <a:pt x="119" y="199"/>
                        <a:pt x="119" y="199"/>
                        <a:pt x="119" y="199"/>
                      </a:cubicBezTo>
                      <a:cubicBezTo>
                        <a:pt x="149" y="199"/>
                        <a:pt x="149" y="199"/>
                        <a:pt x="149" y="199"/>
                      </a:cubicBezTo>
                      <a:cubicBezTo>
                        <a:pt x="237" y="199"/>
                        <a:pt x="237" y="199"/>
                        <a:pt x="237" y="199"/>
                      </a:cubicBezTo>
                      <a:cubicBezTo>
                        <a:pt x="252" y="199"/>
                        <a:pt x="252" y="199"/>
                        <a:pt x="252" y="199"/>
                      </a:cubicBezTo>
                      <a:cubicBezTo>
                        <a:pt x="338" y="199"/>
                        <a:pt x="338" y="199"/>
                        <a:pt x="338" y="199"/>
                      </a:cubicBezTo>
                      <a:cubicBezTo>
                        <a:pt x="347" y="189"/>
                        <a:pt x="353" y="176"/>
                        <a:pt x="353" y="162"/>
                      </a:cubicBezTo>
                      <a:cubicBezTo>
                        <a:pt x="353" y="131"/>
                        <a:pt x="328" y="106"/>
                        <a:pt x="298" y="104"/>
                      </a:cubicBezTo>
                      <a:close/>
                    </a:path>
                  </a:pathLst>
                </a:custGeom>
                <a:solidFill>
                  <a:srgbClr val="FFFFFF"/>
                </a:solidFill>
                <a:ln>
                  <a:noFill/>
                </a:ln>
                <a:extLst/>
              </p:spPr>
              <p:txBody>
                <a:bodyPr vert="horz" wrap="square" lIns="124314" tIns="62157" rIns="124314" bIns="62157" numCol="1" anchor="t" anchorCtr="0" compatLnSpc="1">
                  <a:prstTxWarp prst="textNoShape">
                    <a:avLst/>
                  </a:prstTxWarp>
                </a:bodyPr>
                <a:lstStyle/>
                <a:p>
                  <a:pPr marL="0" marR="0" lvl="0" indent="0" algn="l" defTabSz="1243130" rtl="0" eaLnBrk="1" fontAlgn="auto" latinLnBrk="0" hangingPunct="1">
                    <a:lnSpc>
                      <a:spcPct val="100000"/>
                    </a:lnSpc>
                    <a:spcBef>
                      <a:spcPts val="0"/>
                    </a:spcBef>
                    <a:spcAft>
                      <a:spcPts val="0"/>
                    </a:spcAft>
                    <a:buClrTx/>
                    <a:buSzTx/>
                    <a:buFontTx/>
                    <a:buNone/>
                    <a:tabLst/>
                    <a:defRPr/>
                  </a:pPr>
                  <a:endParaRPr kumimoji="0" lang="en-US" sz="2448"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36" name="Freeform 17"/>
                <p:cNvSpPr>
                  <a:spLocks/>
                </p:cNvSpPr>
                <p:nvPr/>
              </p:nvSpPr>
              <p:spPr bwMode="auto">
                <a:xfrm>
                  <a:off x="7783723" y="2900595"/>
                  <a:ext cx="478470" cy="271114"/>
                </a:xfrm>
                <a:custGeom>
                  <a:avLst/>
                  <a:gdLst>
                    <a:gd name="T0" fmla="*/ 298 w 353"/>
                    <a:gd name="T1" fmla="*/ 104 h 199"/>
                    <a:gd name="T2" fmla="*/ 298 w 353"/>
                    <a:gd name="T3" fmla="*/ 104 h 199"/>
                    <a:gd name="T4" fmla="*/ 193 w 353"/>
                    <a:gd name="T5" fmla="*/ 0 h 199"/>
                    <a:gd name="T6" fmla="*/ 94 w 353"/>
                    <a:gd name="T7" fmla="*/ 70 h 199"/>
                    <a:gd name="T8" fmla="*/ 74 w 353"/>
                    <a:gd name="T9" fmla="*/ 67 h 199"/>
                    <a:gd name="T10" fmla="*/ 0 w 353"/>
                    <a:gd name="T11" fmla="*/ 141 h 199"/>
                    <a:gd name="T12" fmla="*/ 3 w 353"/>
                    <a:gd name="T13" fmla="*/ 162 h 199"/>
                    <a:gd name="T14" fmla="*/ 29 w 353"/>
                    <a:gd name="T15" fmla="*/ 199 h 199"/>
                    <a:gd name="T16" fmla="*/ 119 w 353"/>
                    <a:gd name="T17" fmla="*/ 199 h 199"/>
                    <a:gd name="T18" fmla="*/ 149 w 353"/>
                    <a:gd name="T19" fmla="*/ 199 h 199"/>
                    <a:gd name="T20" fmla="*/ 237 w 353"/>
                    <a:gd name="T21" fmla="*/ 199 h 199"/>
                    <a:gd name="T22" fmla="*/ 252 w 353"/>
                    <a:gd name="T23" fmla="*/ 199 h 199"/>
                    <a:gd name="T24" fmla="*/ 338 w 353"/>
                    <a:gd name="T25" fmla="*/ 199 h 199"/>
                    <a:gd name="T26" fmla="*/ 353 w 353"/>
                    <a:gd name="T27" fmla="*/ 162 h 199"/>
                    <a:gd name="T28" fmla="*/ 298 w 353"/>
                    <a:gd name="T29" fmla="*/ 104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53" h="199">
                      <a:moveTo>
                        <a:pt x="298" y="104"/>
                      </a:moveTo>
                      <a:cubicBezTo>
                        <a:pt x="298" y="104"/>
                        <a:pt x="298" y="104"/>
                        <a:pt x="298" y="104"/>
                      </a:cubicBezTo>
                      <a:cubicBezTo>
                        <a:pt x="298" y="47"/>
                        <a:pt x="251" y="0"/>
                        <a:pt x="193" y="0"/>
                      </a:cubicBezTo>
                      <a:cubicBezTo>
                        <a:pt x="147" y="0"/>
                        <a:pt x="109" y="29"/>
                        <a:pt x="94" y="70"/>
                      </a:cubicBezTo>
                      <a:cubicBezTo>
                        <a:pt x="88" y="68"/>
                        <a:pt x="81" y="67"/>
                        <a:pt x="74" y="67"/>
                      </a:cubicBezTo>
                      <a:cubicBezTo>
                        <a:pt x="33" y="67"/>
                        <a:pt x="0" y="100"/>
                        <a:pt x="0" y="141"/>
                      </a:cubicBezTo>
                      <a:cubicBezTo>
                        <a:pt x="0" y="148"/>
                        <a:pt x="1" y="155"/>
                        <a:pt x="3" y="162"/>
                      </a:cubicBezTo>
                      <a:cubicBezTo>
                        <a:pt x="7" y="177"/>
                        <a:pt x="17" y="190"/>
                        <a:pt x="29" y="199"/>
                      </a:cubicBezTo>
                      <a:cubicBezTo>
                        <a:pt x="119" y="199"/>
                        <a:pt x="119" y="199"/>
                        <a:pt x="119" y="199"/>
                      </a:cubicBezTo>
                      <a:cubicBezTo>
                        <a:pt x="149" y="199"/>
                        <a:pt x="149" y="199"/>
                        <a:pt x="149" y="199"/>
                      </a:cubicBezTo>
                      <a:cubicBezTo>
                        <a:pt x="237" y="199"/>
                        <a:pt x="237" y="199"/>
                        <a:pt x="237" y="199"/>
                      </a:cubicBezTo>
                      <a:cubicBezTo>
                        <a:pt x="252" y="199"/>
                        <a:pt x="252" y="199"/>
                        <a:pt x="252" y="199"/>
                      </a:cubicBezTo>
                      <a:cubicBezTo>
                        <a:pt x="338" y="199"/>
                        <a:pt x="338" y="199"/>
                        <a:pt x="338" y="199"/>
                      </a:cubicBezTo>
                      <a:cubicBezTo>
                        <a:pt x="347" y="189"/>
                        <a:pt x="353" y="176"/>
                        <a:pt x="353" y="162"/>
                      </a:cubicBezTo>
                      <a:cubicBezTo>
                        <a:pt x="353" y="131"/>
                        <a:pt x="328" y="106"/>
                        <a:pt x="298" y="104"/>
                      </a:cubicBezTo>
                      <a:close/>
                    </a:path>
                  </a:pathLst>
                </a:custGeom>
                <a:solidFill>
                  <a:srgbClr val="FFFFFF"/>
                </a:solidFill>
                <a:ln>
                  <a:noFill/>
                </a:ln>
                <a:extLst/>
              </p:spPr>
              <p:txBody>
                <a:bodyPr vert="horz" wrap="square" lIns="124314" tIns="62157" rIns="124314" bIns="62157" numCol="1" anchor="t" anchorCtr="0" compatLnSpc="1">
                  <a:prstTxWarp prst="textNoShape">
                    <a:avLst/>
                  </a:prstTxWarp>
                </a:bodyPr>
                <a:lstStyle/>
                <a:p>
                  <a:pPr marL="0" marR="0" lvl="0" indent="0" algn="l" defTabSz="1243130" rtl="0" eaLnBrk="1" fontAlgn="auto" latinLnBrk="0" hangingPunct="1">
                    <a:lnSpc>
                      <a:spcPct val="100000"/>
                    </a:lnSpc>
                    <a:spcBef>
                      <a:spcPts val="0"/>
                    </a:spcBef>
                    <a:spcAft>
                      <a:spcPts val="0"/>
                    </a:spcAft>
                    <a:buClrTx/>
                    <a:buSzTx/>
                    <a:buFontTx/>
                    <a:buNone/>
                    <a:tabLst/>
                    <a:defRPr/>
                  </a:pPr>
                  <a:endParaRPr kumimoji="0" lang="en-US" sz="2448" b="0" i="0" u="none" strike="noStrike" kern="0" cap="none" spc="0" normalizeH="0" baseline="0" noProof="0">
                    <a:ln>
                      <a:noFill/>
                    </a:ln>
                    <a:solidFill>
                      <a:sysClr val="windowText" lastClr="000000"/>
                    </a:solidFill>
                    <a:effectLst/>
                    <a:uLnTx/>
                    <a:uFillTx/>
                    <a:latin typeface="Segoe UI"/>
                    <a:ea typeface="+mn-ea"/>
                    <a:cs typeface="+mn-cs"/>
                  </a:endParaRPr>
                </a:p>
              </p:txBody>
            </p:sp>
          </p:grpSp>
        </p:grpSp>
      </p:grpSp>
    </p:spTree>
    <p:extLst>
      <p:ext uri="{BB962C8B-B14F-4D97-AF65-F5344CB8AC3E}">
        <p14:creationId xmlns:p14="http://schemas.microsoft.com/office/powerpoint/2010/main" val="3069462489"/>
      </p:ext>
    </p:extLst>
  </p:cSld>
  <p:clrMapOvr>
    <a:masterClrMapping/>
  </p:clrMapOvr>
  <p:transition>
    <p:fade/>
  </p:transition>
</p:sld>
</file>

<file path=ppt/slides/slide80.xml><?xml version="1.0" encoding="utf-8"?>
<p:sld xmlns:a="http://schemas.openxmlformats.org/drawingml/2006/main" xmlns:r="http://schemas.openxmlformats.org/officeDocument/2006/relationships" xmlns:p="http://schemas.openxmlformats.org/presentationml/2006/main">
  <p:cSld>
    <p:bg>
      <p:bgPr>
        <a:solidFill>
          <a:srgbClr val="6F6F6F"/>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torage Queues</a:t>
            </a:r>
          </a:p>
        </p:txBody>
      </p:sp>
    </p:spTree>
    <p:extLst>
      <p:ext uri="{BB962C8B-B14F-4D97-AF65-F5344CB8AC3E}">
        <p14:creationId xmlns:p14="http://schemas.microsoft.com/office/powerpoint/2010/main" val="374156676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366168" y="1212852"/>
            <a:ext cx="11535100" cy="2400657"/>
          </a:xfrm>
        </p:spPr>
        <p:txBody>
          <a:bodyPr/>
          <a:lstStyle/>
          <a:p>
            <a:pPr marL="0" indent="0">
              <a:buNone/>
            </a:pPr>
            <a:r>
              <a:rPr lang="en-US" sz="3200" dirty="0"/>
              <a:t>Azure Queue storage is a service for storing large numbers of messages that can be accessed from anywhere in the world via authenticated calls using HTTP or HTTPS. A single queue message can be up to 64 KB in size, and a queue can contain millions of messages, up to the total capacity limit of a storage account.</a:t>
            </a:r>
          </a:p>
        </p:txBody>
      </p:sp>
      <p:sp>
        <p:nvSpPr>
          <p:cNvPr id="2" name="Title 1"/>
          <p:cNvSpPr>
            <a:spLocks noGrp="1"/>
          </p:cNvSpPr>
          <p:nvPr>
            <p:ph type="title"/>
          </p:nvPr>
        </p:nvSpPr>
        <p:spPr/>
        <p:txBody>
          <a:bodyPr/>
          <a:lstStyle/>
          <a:p>
            <a:r>
              <a:rPr lang="en-US" dirty="0"/>
              <a:t>Storage Queues</a:t>
            </a:r>
          </a:p>
        </p:txBody>
      </p:sp>
      <p:pic>
        <p:nvPicPr>
          <p:cNvPr id="4" name="Picture 3"/>
          <p:cNvPicPr>
            <a:picLocks noChangeAspect="1"/>
          </p:cNvPicPr>
          <p:nvPr/>
        </p:nvPicPr>
        <p:blipFill>
          <a:blip r:embed="rId3"/>
          <a:stretch>
            <a:fillRect/>
          </a:stretch>
        </p:blipFill>
        <p:spPr>
          <a:xfrm>
            <a:off x="7709095" y="4224664"/>
            <a:ext cx="4175920" cy="2515540"/>
          </a:xfrm>
          <a:prstGeom prst="rect">
            <a:avLst/>
          </a:prstGeom>
        </p:spPr>
      </p:pic>
      <p:sp>
        <p:nvSpPr>
          <p:cNvPr id="5" name="Text Placeholder 2"/>
          <p:cNvSpPr txBox="1">
            <a:spLocks/>
          </p:cNvSpPr>
          <p:nvPr/>
        </p:nvSpPr>
        <p:spPr>
          <a:xfrm>
            <a:off x="349915" y="3458760"/>
            <a:ext cx="7359179" cy="3551742"/>
          </a:xfrm>
          <a:prstGeom prst="rect">
            <a:avLst/>
          </a:prstGeom>
        </p:spPr>
        <p:txBody>
          <a:bodyPr vert="horz" wrap="square" lIns="146304" tIns="91440" rIns="146304" bIns="91440" rtlCol="0">
            <a:spAutoFit/>
          </a:bodyPr>
          <a:lstStyle>
            <a:lvl1pPr marL="342846" marR="0" indent="-342846" algn="l" defTabSz="932594" rtl="0" eaLnBrk="1" fontAlgn="auto" latinLnBrk="0" hangingPunct="1">
              <a:lnSpc>
                <a:spcPct val="90000"/>
              </a:lnSpc>
              <a:spcBef>
                <a:spcPct val="20000"/>
              </a:spcBef>
              <a:spcAft>
                <a:spcPts val="0"/>
              </a:spcAft>
              <a:buClrTx/>
              <a:buSzPct val="90000"/>
              <a:buFont typeface="Arial" pitchFamily="34" charset="0"/>
              <a:buChar char="•"/>
              <a:tabLst/>
              <a:defRPr sz="3600" kern="1200" spc="0" baseline="0">
                <a:gradFill>
                  <a:gsLst>
                    <a:gs pos="1250">
                      <a:schemeClr val="tx2"/>
                    </a:gs>
                    <a:gs pos="99000">
                      <a:schemeClr val="tx2"/>
                    </a:gs>
                  </a:gsLst>
                  <a:lin ang="5400000" scaled="0"/>
                </a:gradFill>
                <a:latin typeface="+mj-lt"/>
                <a:ea typeface="+mn-ea"/>
                <a:cs typeface="+mn-cs"/>
              </a:defRPr>
            </a:lvl1pPr>
            <a:lvl2pPr marL="615935" marR="0" indent="-273044" algn="l" defTabSz="93259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2pPr>
            <a:lvl3pPr marL="840296" marR="0" indent="-226478" algn="l" defTabSz="932594"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3pPr>
            <a:lvl4pPr marL="1064657" marR="0" indent="-226478" algn="l" defTabSz="932594" rtl="0" eaLnBrk="1" fontAlgn="auto" latinLnBrk="0" hangingPunct="1">
              <a:lnSpc>
                <a:spcPct val="90000"/>
              </a:lnSpc>
              <a:spcBef>
                <a:spcPct val="20000"/>
              </a:spcBef>
              <a:spcAft>
                <a:spcPts val="0"/>
              </a:spcAft>
              <a:buClrTx/>
              <a:buSzPct val="90000"/>
              <a:buFont typeface="Arial" pitchFamily="34" charset="0"/>
              <a:buChar char="•"/>
              <a:tabLst/>
              <a:defRPr sz="1600" kern="1200" spc="0" baseline="0">
                <a:gradFill>
                  <a:gsLst>
                    <a:gs pos="1250">
                      <a:schemeClr val="tx1"/>
                    </a:gs>
                    <a:gs pos="100000">
                      <a:schemeClr val="tx1"/>
                    </a:gs>
                  </a:gsLst>
                  <a:lin ang="5400000" scaled="0"/>
                </a:gradFill>
                <a:latin typeface="+mn-lt"/>
                <a:ea typeface="+mn-ea"/>
                <a:cs typeface="+mn-cs"/>
              </a:defRPr>
            </a:lvl4pPr>
            <a:lvl5pPr marL="1219170" marR="0" indent="-226478" algn="l" defTabSz="932594" rtl="0" eaLnBrk="1" fontAlgn="auto" latinLnBrk="0" hangingPunct="1">
              <a:lnSpc>
                <a:spcPct val="90000"/>
              </a:lnSpc>
              <a:spcBef>
                <a:spcPct val="20000"/>
              </a:spcBef>
              <a:spcAft>
                <a:spcPts val="0"/>
              </a:spcAft>
              <a:buClrTx/>
              <a:buSzPct val="90000"/>
              <a:buFont typeface="Arial" pitchFamily="34" charset="0"/>
              <a:buChar char="•"/>
              <a:tabLst/>
              <a:defRPr sz="1600" kern="1200" spc="0" baseline="0">
                <a:gradFill>
                  <a:gsLst>
                    <a:gs pos="1250">
                      <a:schemeClr val="tx1"/>
                    </a:gs>
                    <a:gs pos="100000">
                      <a:schemeClr val="tx1"/>
                    </a:gs>
                  </a:gsLst>
                  <a:lin ang="5400000" scaled="0"/>
                </a:gradFill>
                <a:latin typeface="+mn-lt"/>
                <a:ea typeface="+mn-ea"/>
                <a:cs typeface="+mn-cs"/>
              </a:defRPr>
            </a:lvl5pPr>
            <a:lvl6pPr marL="2564633" indent="-233149" algn="l" defTabSz="93259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932" indent="-233149" algn="l" defTabSz="93259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229" indent="-233149" algn="l" defTabSz="93259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528" indent="-233149" algn="l" defTabSz="932594"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00000"/>
              </a:lnSpc>
              <a:buFont typeface="Arial" pitchFamily="34" charset="0"/>
              <a:buNone/>
            </a:pPr>
            <a:endParaRPr lang="en-US" sz="1600" dirty="0"/>
          </a:p>
          <a:p>
            <a:pPr marL="0" indent="0">
              <a:lnSpc>
                <a:spcPct val="100000"/>
              </a:lnSpc>
              <a:buFont typeface="Arial" pitchFamily="34" charset="0"/>
              <a:buNone/>
            </a:pPr>
            <a:r>
              <a:rPr lang="en-US" sz="3200" dirty="0"/>
              <a:t>Common uses of Queue storage include:</a:t>
            </a:r>
          </a:p>
          <a:p>
            <a:pPr marL="342900" lvl="1" indent="-342900"/>
            <a:r>
              <a:rPr lang="en-US" dirty="0"/>
              <a:t>Temporary message storage to be processed asynchronously</a:t>
            </a:r>
          </a:p>
          <a:p>
            <a:pPr marL="342900" lvl="1" indent="-342900"/>
            <a:r>
              <a:rPr lang="en-US" dirty="0"/>
              <a:t>Passing messages between application components/tiers</a:t>
            </a:r>
          </a:p>
          <a:p>
            <a:pPr marL="0" indent="0">
              <a:lnSpc>
                <a:spcPct val="100000"/>
              </a:lnSpc>
              <a:buFont typeface="Arial" pitchFamily="34" charset="0"/>
              <a:buNone/>
            </a:pPr>
            <a:r>
              <a:rPr lang="en-US" sz="3200" dirty="0"/>
              <a:t>If larger messages, pub/sub, brokered messages, etc. are a requirement, then look at Service Bus.</a:t>
            </a:r>
          </a:p>
        </p:txBody>
      </p:sp>
    </p:spTree>
    <p:extLst>
      <p:ext uri="{BB962C8B-B14F-4D97-AF65-F5344CB8AC3E}">
        <p14:creationId xmlns:p14="http://schemas.microsoft.com/office/powerpoint/2010/main" val="419798409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82.xml><?xml version="1.0" encoding="utf-8"?>
<p:sld xmlns:a="http://schemas.openxmlformats.org/drawingml/2006/main" xmlns:r="http://schemas.openxmlformats.org/officeDocument/2006/relationships" xmlns:p="http://schemas.openxmlformats.org/presentationml/2006/main">
  <p:cSld>
    <p:bg>
      <p:bgPr>
        <a:solidFill>
          <a:srgbClr val="6F6F6F"/>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elay Hybrid Connections</a:t>
            </a:r>
          </a:p>
        </p:txBody>
      </p:sp>
    </p:spTree>
    <p:extLst>
      <p:ext uri="{BB962C8B-B14F-4D97-AF65-F5344CB8AC3E}">
        <p14:creationId xmlns:p14="http://schemas.microsoft.com/office/powerpoint/2010/main" val="310421762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366168" y="1212852"/>
            <a:ext cx="11855140" cy="5829288"/>
          </a:xfrm>
        </p:spPr>
        <p:txBody>
          <a:bodyPr/>
          <a:lstStyle/>
          <a:p>
            <a:r>
              <a:rPr lang="en-US" sz="2800" dirty="0"/>
              <a:t>The Relay Hybrid Connections relay connects two parties by providing a rendezvous point in the Azure cloud that both parties can discover and connect to from their own network’s perspective. </a:t>
            </a:r>
          </a:p>
          <a:p>
            <a:pPr>
              <a:lnSpc>
                <a:spcPct val="100000"/>
              </a:lnSpc>
            </a:pPr>
            <a:r>
              <a:rPr lang="en-US" sz="2800" dirty="0"/>
              <a:t>There is a listener that first indicates readiness to handle incoming connections, and subsequently accepts them as they arrive. On the other side, there is a connecting client that connects towards the listener, expecting that connection to be accepted for establishing a bi-directional communication path. "Connect," "Listen," and "Accept" are the same terms you will find on most socket APIs.</a:t>
            </a:r>
          </a:p>
          <a:p>
            <a:pPr>
              <a:lnSpc>
                <a:spcPct val="100000"/>
              </a:lnSpc>
            </a:pPr>
            <a:r>
              <a:rPr lang="en-US" sz="2800" dirty="0"/>
              <a:t>Relay Hybrid Connection supersedes the former, equally named "BizTalk Services" feature that was built on a proprietary protocol foundation. The integration of Hybrid Connections into Azure App Services will continue to function as-is.</a:t>
            </a:r>
          </a:p>
        </p:txBody>
      </p:sp>
      <p:sp>
        <p:nvSpPr>
          <p:cNvPr id="2" name="Title 1"/>
          <p:cNvSpPr>
            <a:spLocks noGrp="1"/>
          </p:cNvSpPr>
          <p:nvPr>
            <p:ph type="title"/>
          </p:nvPr>
        </p:nvSpPr>
        <p:spPr/>
        <p:txBody>
          <a:bodyPr/>
          <a:lstStyle/>
          <a:p>
            <a:r>
              <a:rPr lang="en-US" dirty="0"/>
              <a:t>Relay Hybrid Connections</a:t>
            </a:r>
          </a:p>
        </p:txBody>
      </p:sp>
    </p:spTree>
    <p:extLst>
      <p:ext uri="{BB962C8B-B14F-4D97-AF65-F5344CB8AC3E}">
        <p14:creationId xmlns:p14="http://schemas.microsoft.com/office/powerpoint/2010/main" val="381145950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84.xml><?xml version="1.0" encoding="utf-8"?>
<p:sld xmlns:a="http://schemas.openxmlformats.org/drawingml/2006/main" xmlns:r="http://schemas.openxmlformats.org/officeDocument/2006/relationships" xmlns:p="http://schemas.openxmlformats.org/presentationml/2006/main">
  <p:cSld>
    <p:bg>
      <p:bgPr>
        <a:solidFill>
          <a:srgbClr val="6F6F6F"/>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ervice Bus</a:t>
            </a:r>
          </a:p>
        </p:txBody>
      </p:sp>
    </p:spTree>
    <p:extLst>
      <p:ext uri="{BB962C8B-B14F-4D97-AF65-F5344CB8AC3E}">
        <p14:creationId xmlns:p14="http://schemas.microsoft.com/office/powerpoint/2010/main" val="94514969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366168" y="1212851"/>
            <a:ext cx="10311210" cy="1071062"/>
          </a:xfrm>
        </p:spPr>
        <p:txBody>
          <a:bodyPr/>
          <a:lstStyle/>
          <a:p>
            <a:pPr marL="0" indent="0">
              <a:buNone/>
            </a:pPr>
            <a:r>
              <a:rPr lang="en-US" sz="3200" dirty="0"/>
              <a:t>Service bus is a high performance, durable messaging service for queueing, as well as relay services. </a:t>
            </a:r>
          </a:p>
        </p:txBody>
      </p:sp>
      <p:sp>
        <p:nvSpPr>
          <p:cNvPr id="2" name="Title 1"/>
          <p:cNvSpPr>
            <a:spLocks noGrp="1"/>
          </p:cNvSpPr>
          <p:nvPr>
            <p:ph type="title"/>
          </p:nvPr>
        </p:nvSpPr>
        <p:spPr/>
        <p:txBody>
          <a:bodyPr/>
          <a:lstStyle/>
          <a:p>
            <a:r>
              <a:rPr lang="en-US" dirty="0"/>
              <a:t>Azure Service Bus</a:t>
            </a:r>
          </a:p>
        </p:txBody>
      </p:sp>
      <p:pic>
        <p:nvPicPr>
          <p:cNvPr id="4" name="Picture 3"/>
          <p:cNvPicPr>
            <a:picLocks noChangeAspect="1"/>
          </p:cNvPicPr>
          <p:nvPr/>
        </p:nvPicPr>
        <p:blipFill>
          <a:blip r:embed="rId3"/>
          <a:stretch>
            <a:fillRect/>
          </a:stretch>
        </p:blipFill>
        <p:spPr>
          <a:xfrm>
            <a:off x="366167" y="2413179"/>
            <a:ext cx="8725828" cy="4117319"/>
          </a:xfrm>
          <a:prstGeom prst="rect">
            <a:avLst/>
          </a:prstGeom>
        </p:spPr>
      </p:pic>
    </p:spTree>
    <p:extLst>
      <p:ext uri="{BB962C8B-B14F-4D97-AF65-F5344CB8AC3E}">
        <p14:creationId xmlns:p14="http://schemas.microsoft.com/office/powerpoint/2010/main" val="20706924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66168" y="1212851"/>
            <a:ext cx="11702553" cy="4813625"/>
          </a:xfrm>
        </p:spPr>
        <p:txBody>
          <a:bodyPr/>
          <a:lstStyle/>
          <a:p>
            <a:r>
              <a:rPr lang="en-US" sz="3200" dirty="0"/>
              <a:t>Service Bus queues are used to provide an option to decouple any processing from the request pipelines</a:t>
            </a:r>
          </a:p>
          <a:p>
            <a:r>
              <a:rPr lang="en-US" sz="3200" dirty="0"/>
              <a:t>Consider these types of architectures, especially when migrating workloads to the cloud as loosely coupled applications can scale and are more fault resilient than the counter</a:t>
            </a:r>
          </a:p>
          <a:p>
            <a:r>
              <a:rPr lang="en-US" sz="3200" dirty="0"/>
              <a:t>Use Service Bus with a variety of models from simple queues based storage, to topics, which target and partition messages in a namespace. Consider using Event Hubs on top of Service Bus to service very large client bases, where inputs to the bus will include several thousands to millions in rapid succession</a:t>
            </a:r>
          </a:p>
        </p:txBody>
      </p:sp>
      <p:sp>
        <p:nvSpPr>
          <p:cNvPr id="2" name="Title 1"/>
          <p:cNvSpPr>
            <a:spLocks noGrp="1"/>
          </p:cNvSpPr>
          <p:nvPr>
            <p:ph type="title"/>
          </p:nvPr>
        </p:nvSpPr>
        <p:spPr/>
        <p:txBody>
          <a:bodyPr/>
          <a:lstStyle/>
          <a:p>
            <a:r>
              <a:rPr lang="en-US" dirty="0"/>
              <a:t>Azure Service Bus</a:t>
            </a:r>
          </a:p>
        </p:txBody>
      </p:sp>
    </p:spTree>
    <p:extLst>
      <p:ext uri="{BB962C8B-B14F-4D97-AF65-F5344CB8AC3E}">
        <p14:creationId xmlns:p14="http://schemas.microsoft.com/office/powerpoint/2010/main" val="338996941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66168" y="1212851"/>
            <a:ext cx="11702553" cy="4567404"/>
          </a:xfrm>
        </p:spPr>
        <p:txBody>
          <a:bodyPr/>
          <a:lstStyle/>
          <a:p>
            <a:r>
              <a:rPr lang="en-US" dirty="0"/>
              <a:t>What PaaS Services are you considering or using now?</a:t>
            </a:r>
          </a:p>
          <a:p>
            <a:r>
              <a:rPr lang="en-US" dirty="0"/>
              <a:t>Any particular areas you would like to focus more on?</a:t>
            </a:r>
          </a:p>
          <a:p>
            <a:r>
              <a:rPr lang="en-US" dirty="0"/>
              <a:t>Follow up questions</a:t>
            </a:r>
          </a:p>
          <a:p>
            <a:r>
              <a:rPr lang="en-US" dirty="0"/>
              <a:t>Additional resources for learning needed?</a:t>
            </a:r>
          </a:p>
          <a:p>
            <a:r>
              <a:rPr lang="en-US" dirty="0"/>
              <a:t>Are there any limits that may constrain your deployments?</a:t>
            </a:r>
          </a:p>
          <a:p>
            <a:pPr lvl="1"/>
            <a:r>
              <a:rPr lang="en-US" dirty="0">
                <a:hlinkClick r:id="rId3"/>
              </a:rPr>
              <a:t>Aka.ms/Azure/Limits</a:t>
            </a:r>
            <a:r>
              <a:rPr lang="en-US" dirty="0"/>
              <a:t> </a:t>
            </a:r>
          </a:p>
          <a:p>
            <a:r>
              <a:rPr lang="en-US" dirty="0"/>
              <a:t>Next Steps</a:t>
            </a:r>
          </a:p>
        </p:txBody>
      </p:sp>
      <p:sp>
        <p:nvSpPr>
          <p:cNvPr id="3" name="Title 2"/>
          <p:cNvSpPr>
            <a:spLocks noGrp="1"/>
          </p:cNvSpPr>
          <p:nvPr>
            <p:ph type="title"/>
          </p:nvPr>
        </p:nvSpPr>
        <p:spPr/>
        <p:txBody>
          <a:bodyPr/>
          <a:lstStyle/>
          <a:p>
            <a:r>
              <a:rPr lang="en-US" dirty="0"/>
              <a:t>Takeaways</a:t>
            </a:r>
          </a:p>
        </p:txBody>
      </p:sp>
    </p:spTree>
    <p:extLst>
      <p:ext uri="{BB962C8B-B14F-4D97-AF65-F5344CB8AC3E}">
        <p14:creationId xmlns:p14="http://schemas.microsoft.com/office/powerpoint/2010/main" val="423451708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06607458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8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121445" y="1212850"/>
            <a:ext cx="10367262" cy="3508653"/>
          </a:xfrm>
        </p:spPr>
        <p:txBody>
          <a:bodyPr/>
          <a:lstStyle/>
          <a:p>
            <a:r>
              <a:rPr lang="en-US" sz="3600" dirty="0">
                <a:latin typeface="+mj-lt"/>
              </a:rPr>
              <a:t>These are “extra” slides</a:t>
            </a:r>
          </a:p>
          <a:p>
            <a:r>
              <a:rPr lang="en-US" sz="3600" dirty="0">
                <a:latin typeface="+mj-lt"/>
              </a:rPr>
              <a:t>Use to enhance your learning</a:t>
            </a:r>
          </a:p>
          <a:p>
            <a:r>
              <a:rPr lang="en-US" sz="3600" dirty="0">
                <a:latin typeface="+mj-lt"/>
              </a:rPr>
              <a:t>Can reference to show if other slides do not explain what the customer wants to see</a:t>
            </a:r>
          </a:p>
          <a:p>
            <a:r>
              <a:rPr lang="en-US" sz="3600" dirty="0">
                <a:latin typeface="+mj-lt"/>
              </a:rPr>
              <a:t>Use this section also to reduce the total number of slides to present by moving extra slides here</a:t>
            </a:r>
            <a:endParaRPr lang="en-US" sz="3200" dirty="0">
              <a:latin typeface="+mj-lt"/>
            </a:endParaRPr>
          </a:p>
        </p:txBody>
      </p:sp>
      <p:sp>
        <p:nvSpPr>
          <p:cNvPr id="6" name="Text Placeholder 5"/>
          <p:cNvSpPr>
            <a:spLocks noGrp="1"/>
          </p:cNvSpPr>
          <p:nvPr>
            <p:ph type="body" sz="quarter" idx="11"/>
          </p:nvPr>
        </p:nvSpPr>
        <p:spPr/>
        <p:txBody>
          <a:bodyPr/>
          <a:lstStyle/>
          <a:p>
            <a:pPr algn="ctr"/>
            <a:r>
              <a:rPr lang="en-US" dirty="0"/>
              <a:t>DELETE THIS SLIDE BEFORE DELIVERY</a:t>
            </a:r>
          </a:p>
        </p:txBody>
      </p:sp>
      <p:sp>
        <p:nvSpPr>
          <p:cNvPr id="4" name="Title 3"/>
          <p:cNvSpPr>
            <a:spLocks noGrp="1"/>
          </p:cNvSpPr>
          <p:nvPr>
            <p:ph type="title"/>
          </p:nvPr>
        </p:nvSpPr>
        <p:spPr/>
        <p:txBody>
          <a:bodyPr/>
          <a:lstStyle/>
          <a:p>
            <a:r>
              <a:rPr lang="en-US" dirty="0">
                <a:latin typeface="+mj-lt"/>
              </a:rPr>
              <a:t>How to use Appendix</a:t>
            </a:r>
          </a:p>
        </p:txBody>
      </p:sp>
    </p:spTree>
    <p:extLst>
      <p:ext uri="{BB962C8B-B14F-4D97-AF65-F5344CB8AC3E}">
        <p14:creationId xmlns:p14="http://schemas.microsoft.com/office/powerpoint/2010/main" val="332802659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Rectangle 44"/>
          <p:cNvSpPr/>
          <p:nvPr/>
        </p:nvSpPr>
        <p:spPr bwMode="auto">
          <a:xfrm>
            <a:off x="884" y="944"/>
            <a:ext cx="4845331" cy="6992640"/>
          </a:xfrm>
          <a:prstGeom prst="rect">
            <a:avLst/>
          </a:prstGeom>
          <a:solidFill>
            <a:schemeClr val="tx2"/>
          </a:solidFill>
          <a:ln w="9525" cap="flat" cmpd="sng" algn="ctr">
            <a:noFill/>
            <a:prstDash val="solid"/>
            <a:headEnd type="none" w="med" len="med"/>
            <a:tailEnd type="none" w="med" len="med"/>
          </a:ln>
          <a:effectLst/>
        </p:spPr>
        <p:txBody>
          <a:bodyPr rot="0" spcFirstLastPara="0" vertOverflow="overflow" horzOverflow="overflow" vert="horz" wrap="square" lIns="182831" tIns="146264" rIns="182831" bIns="146264" numCol="1" spcCol="0" rtlCol="0" fromWordArt="0" anchor="t" anchorCtr="0" forceAA="0" compatLnSpc="1">
            <a:prstTxWarp prst="textNoShape">
              <a:avLst/>
            </a:prstTxWarp>
            <a:noAutofit/>
          </a:bodyPr>
          <a:lstStyle/>
          <a:p>
            <a:pPr algn="ctr" defTabSz="932200" eaLnBrk="0" fontAlgn="base" hangingPunct="0">
              <a:lnSpc>
                <a:spcPct val="90000"/>
              </a:lnSpc>
              <a:spcBef>
                <a:spcPct val="0"/>
              </a:spcBef>
              <a:spcAft>
                <a:spcPct val="0"/>
              </a:spcAft>
              <a:defRPr/>
            </a:pPr>
            <a:endParaRPr lang="en-US" sz="2400"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 name="Title 1"/>
          <p:cNvSpPr>
            <a:spLocks noGrp="1"/>
          </p:cNvSpPr>
          <p:nvPr>
            <p:ph type="title"/>
          </p:nvPr>
        </p:nvSpPr>
        <p:spPr>
          <a:xfrm>
            <a:off x="275447" y="296139"/>
            <a:ext cx="11886361" cy="917327"/>
          </a:xfrm>
        </p:spPr>
        <p:txBody>
          <a:bodyPr/>
          <a:lstStyle/>
          <a:p>
            <a:r>
              <a:rPr lang="en-US">
                <a:solidFill>
                  <a:schemeClr val="bg1">
                    <a:lumMod val="95000"/>
                  </a:schemeClr>
                </a:solidFill>
              </a:rPr>
              <a:t>Azure services in </a:t>
            </a:r>
            <a:br>
              <a:rPr lang="en-US">
                <a:solidFill>
                  <a:schemeClr val="bg1">
                    <a:lumMod val="95000"/>
                  </a:schemeClr>
                </a:solidFill>
              </a:rPr>
            </a:br>
            <a:r>
              <a:rPr lang="en-US">
                <a:solidFill>
                  <a:schemeClr val="bg1">
                    <a:lumMod val="95000"/>
                  </a:schemeClr>
                </a:solidFill>
              </a:rPr>
              <a:t>Azure Stack…</a:t>
            </a:r>
          </a:p>
        </p:txBody>
      </p:sp>
      <p:sp>
        <p:nvSpPr>
          <p:cNvPr id="24" name="Text Placeholder 4"/>
          <p:cNvSpPr txBox="1">
            <a:spLocks/>
          </p:cNvSpPr>
          <p:nvPr/>
        </p:nvSpPr>
        <p:spPr>
          <a:xfrm>
            <a:off x="275448" y="1889190"/>
            <a:ext cx="4418407" cy="3661846"/>
          </a:xfrm>
          <a:prstGeom prst="rect">
            <a:avLst/>
          </a:prstGeom>
        </p:spPr>
        <p:txBody>
          <a:bodyPr vert="horz" wrap="square" lIns="149177" tIns="93235" rIns="149177" bIns="93235" rtlCol="0">
            <a:spAutoFit/>
          </a:bodyPr>
          <a:lstStyle>
            <a:lvl1pPr marL="0" marR="0" indent="0"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3921" kern="1200" spc="0" baseline="0">
                <a:gradFill>
                  <a:gsLst>
                    <a:gs pos="20354">
                      <a:schemeClr val="tx2"/>
                    </a:gs>
                    <a:gs pos="40000">
                      <a:schemeClr val="tx2"/>
                    </a:gs>
                  </a:gsLst>
                  <a:lin ang="5400000" scaled="0"/>
                </a:gradFill>
                <a:latin typeface="+mj-lt"/>
                <a:ea typeface="+mn-ea"/>
                <a:cs typeface="+mn-cs"/>
              </a:defRPr>
            </a:lvl1pPr>
            <a:lvl2pPr marL="0" marR="0" indent="0" algn="l" defTabSz="914293" rtl="0" eaLnBrk="1" fontAlgn="auto" latinLnBrk="0" hangingPunct="1">
              <a:lnSpc>
                <a:spcPct val="90000"/>
              </a:lnSpc>
              <a:spcBef>
                <a:spcPct val="20000"/>
              </a:spcBef>
              <a:spcAft>
                <a:spcPts val="0"/>
              </a:spcAft>
              <a:buClr>
                <a:schemeClr val="tx1"/>
              </a:buClr>
              <a:buSzPct val="90000"/>
              <a:buFontTx/>
              <a:buNone/>
              <a:tabLst/>
              <a:defRPr sz="1961" kern="1200" spc="0" baseline="0">
                <a:gradFill>
                  <a:gsLst>
                    <a:gs pos="1250">
                      <a:schemeClr val="tx1"/>
                    </a:gs>
                    <a:gs pos="100000">
                      <a:schemeClr val="tx1"/>
                    </a:gs>
                  </a:gsLst>
                  <a:lin ang="5400000" scaled="0"/>
                </a:gradFill>
                <a:latin typeface="+mn-lt"/>
                <a:ea typeface="+mn-ea"/>
                <a:cs typeface="+mn-cs"/>
              </a:defRPr>
            </a:lvl2pPr>
            <a:lvl3pPr marL="224079" marR="0" indent="0"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1961" kern="1200" spc="0" baseline="0">
                <a:gradFill>
                  <a:gsLst>
                    <a:gs pos="1250">
                      <a:schemeClr val="tx1"/>
                    </a:gs>
                    <a:gs pos="100000">
                      <a:schemeClr val="tx1"/>
                    </a:gs>
                  </a:gsLst>
                  <a:lin ang="5400000" scaled="0"/>
                </a:gradFill>
                <a:latin typeface="+mn-lt"/>
                <a:ea typeface="+mn-ea"/>
                <a:cs typeface="+mn-cs"/>
              </a:defRPr>
            </a:lvl3pPr>
            <a:lvl4pPr marL="448157" marR="0" indent="0"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1765" kern="1200" spc="0" baseline="0">
                <a:gradFill>
                  <a:gsLst>
                    <a:gs pos="1250">
                      <a:schemeClr val="tx1"/>
                    </a:gs>
                    <a:gs pos="100000">
                      <a:schemeClr val="tx1"/>
                    </a:gs>
                  </a:gsLst>
                  <a:lin ang="5400000" scaled="0"/>
                </a:gradFill>
                <a:latin typeface="+mn-lt"/>
                <a:ea typeface="+mn-ea"/>
                <a:cs typeface="+mn-cs"/>
              </a:defRPr>
            </a:lvl4pPr>
            <a:lvl5pPr marL="672236" marR="0" indent="0"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1765" kern="1200" spc="0" baseline="0">
                <a:gradFill>
                  <a:gsLst>
                    <a:gs pos="1250">
                      <a:schemeClr val="tx1"/>
                    </a:gs>
                    <a:gs pos="100000">
                      <a:schemeClr val="tx1"/>
                    </a:gs>
                  </a:gsLst>
                  <a:lin ang="5400000" scaled="0"/>
                </a:gradFill>
                <a:latin typeface="+mn-lt"/>
                <a:ea typeface="+mn-ea"/>
                <a:cs typeface="+mn-cs"/>
              </a:defRPr>
            </a:lvl5pPr>
            <a:lvl6pPr marL="2514307"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456"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602"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750"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defTabSz="932470">
              <a:spcBef>
                <a:spcPts val="1800"/>
              </a:spcBef>
              <a:buClrTx/>
              <a:defRPr/>
            </a:pPr>
            <a:r>
              <a:rPr lang="en-US" sz="2800">
                <a:gradFill>
                  <a:gsLst>
                    <a:gs pos="1250">
                      <a:srgbClr val="FFFFFF"/>
                    </a:gs>
                    <a:gs pos="100000">
                      <a:srgbClr val="FFFFFF"/>
                    </a:gs>
                  </a:gsLst>
                  <a:lin ang="5400000" scaled="0"/>
                </a:gradFill>
                <a:latin typeface="Segoe UI"/>
              </a:rPr>
              <a:t>Transform datacenter resources into cloud services </a:t>
            </a:r>
          </a:p>
          <a:p>
            <a:pPr indent="-234527" defTabSz="932470">
              <a:spcBef>
                <a:spcPts val="1800"/>
              </a:spcBef>
              <a:buClrTx/>
              <a:defRPr/>
            </a:pPr>
            <a:r>
              <a:rPr lang="en-US" sz="1599">
                <a:gradFill>
                  <a:gsLst>
                    <a:gs pos="1250">
                      <a:srgbClr val="FFFFFF"/>
                    </a:gs>
                    <a:gs pos="100000">
                      <a:srgbClr val="FFFFFF"/>
                    </a:gs>
                  </a:gsLst>
                  <a:lin ang="5400000" scaled="0"/>
                </a:gradFill>
                <a:latin typeface="Segoe UI"/>
              </a:rPr>
              <a:t>Self-service IaaS—Virtual Machines,</a:t>
            </a:r>
            <a:br>
              <a:rPr lang="en-US" sz="1599">
                <a:gradFill>
                  <a:gsLst>
                    <a:gs pos="1250">
                      <a:srgbClr val="FFFFFF"/>
                    </a:gs>
                    <a:gs pos="100000">
                      <a:srgbClr val="FFFFFF"/>
                    </a:gs>
                  </a:gsLst>
                  <a:lin ang="5400000" scaled="0"/>
                </a:gradFill>
                <a:latin typeface="Segoe UI"/>
              </a:rPr>
            </a:br>
            <a:r>
              <a:rPr lang="en-US" sz="1599">
                <a:gradFill>
                  <a:gsLst>
                    <a:gs pos="1250">
                      <a:srgbClr val="FFFFFF"/>
                    </a:gs>
                    <a:gs pos="100000">
                      <a:srgbClr val="FFFFFF"/>
                    </a:gs>
                  </a:gsLst>
                  <a:lin ang="5400000" scaled="0"/>
                </a:gradFill>
                <a:latin typeface="Segoe UI"/>
              </a:rPr>
              <a:t>Virtual Network, Storage, Docker-enabled containers </a:t>
            </a:r>
          </a:p>
          <a:p>
            <a:pPr indent="-234527" defTabSz="932470">
              <a:spcBef>
                <a:spcPts val="1800"/>
              </a:spcBef>
              <a:buClrTx/>
              <a:defRPr/>
            </a:pPr>
            <a:r>
              <a:rPr lang="en-US" sz="1599">
                <a:gradFill>
                  <a:gsLst>
                    <a:gs pos="1250">
                      <a:srgbClr val="FFFFFF"/>
                    </a:gs>
                    <a:gs pos="100000">
                      <a:srgbClr val="FFFFFF"/>
                    </a:gs>
                  </a:gsLst>
                  <a:lin ang="5400000" scaled="0"/>
                </a:gradFill>
                <a:latin typeface="Segoe UI"/>
              </a:rPr>
              <a:t>Self-service PaaS— App Service, Service Fabric*</a:t>
            </a:r>
          </a:p>
          <a:p>
            <a:pPr indent="-234527" defTabSz="932470">
              <a:spcBef>
                <a:spcPts val="1800"/>
              </a:spcBef>
              <a:buClrTx/>
              <a:defRPr/>
            </a:pPr>
            <a:r>
              <a:rPr lang="en-US" sz="1599">
                <a:gradFill>
                  <a:gsLst>
                    <a:gs pos="1250">
                      <a:srgbClr val="FFFFFF"/>
                    </a:gs>
                    <a:gs pos="100000">
                      <a:srgbClr val="FFFFFF"/>
                    </a:gs>
                  </a:gsLst>
                  <a:lin ang="5400000" scaled="0"/>
                </a:gradFill>
                <a:latin typeface="Segoe UI"/>
              </a:rPr>
              <a:t>Flexible service delivery with Azure-based management and automation tools</a:t>
            </a:r>
          </a:p>
        </p:txBody>
      </p:sp>
      <p:sp>
        <p:nvSpPr>
          <p:cNvPr id="15" name="Up Arrow 14"/>
          <p:cNvSpPr/>
          <p:nvPr/>
        </p:nvSpPr>
        <p:spPr bwMode="auto">
          <a:xfrm>
            <a:off x="8209148" y="4579935"/>
            <a:ext cx="619426" cy="555048"/>
          </a:xfrm>
          <a:prstGeom prst="upArrow">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24" rIns="0" bIns="46624" numCol="1" rtlCol="0" anchor="ctr" anchorCtr="0" compatLnSpc="1">
            <a:prstTxWarp prst="textNoShape">
              <a:avLst/>
            </a:prstTxWarp>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32126" fontAlgn="base">
              <a:spcBef>
                <a:spcPct val="0"/>
              </a:spcBef>
              <a:spcAft>
                <a:spcPct val="0"/>
              </a:spcAft>
              <a:defRPr/>
            </a:pPr>
            <a:endParaRPr lang="en-US" sz="2000">
              <a:gradFill>
                <a:gsLst>
                  <a:gs pos="1250">
                    <a:srgbClr val="FFFFFF"/>
                  </a:gs>
                  <a:gs pos="100000">
                    <a:srgbClr val="FFFFFF"/>
                  </a:gs>
                </a:gsLst>
                <a:lin ang="5400000" scaled="0"/>
              </a:gradFill>
              <a:latin typeface="Segoe UI"/>
            </a:endParaRPr>
          </a:p>
        </p:txBody>
      </p:sp>
      <p:sp>
        <p:nvSpPr>
          <p:cNvPr id="16" name="Down Arrow 15"/>
          <p:cNvSpPr/>
          <p:nvPr/>
        </p:nvSpPr>
        <p:spPr bwMode="auto">
          <a:xfrm>
            <a:off x="8268884" y="1961123"/>
            <a:ext cx="499954" cy="422013"/>
          </a:xfrm>
          <a:prstGeom prst="downArrow">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24" rIns="0" bIns="46624" numCol="1" rtlCol="0" anchor="ctr" anchorCtr="0" compatLnSpc="1">
            <a:prstTxWarp prst="textNoShape">
              <a:avLst/>
            </a:prstTxWarp>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32126" fontAlgn="base">
              <a:spcBef>
                <a:spcPct val="0"/>
              </a:spcBef>
              <a:spcAft>
                <a:spcPct val="0"/>
              </a:spcAft>
              <a:defRPr/>
            </a:pPr>
            <a:endParaRPr lang="en-US" sz="2000">
              <a:gradFill>
                <a:gsLst>
                  <a:gs pos="1250">
                    <a:srgbClr val="FFFFFF"/>
                  </a:gs>
                  <a:gs pos="100000">
                    <a:srgbClr val="FFFFFF"/>
                  </a:gs>
                </a:gsLst>
                <a:lin ang="5400000" scaled="0"/>
              </a:gradFill>
              <a:latin typeface="Segoe UI"/>
            </a:endParaRPr>
          </a:p>
        </p:txBody>
      </p:sp>
      <p:sp>
        <p:nvSpPr>
          <p:cNvPr id="19" name="TextBox 54"/>
          <p:cNvSpPr txBox="1"/>
          <p:nvPr/>
        </p:nvSpPr>
        <p:spPr>
          <a:xfrm>
            <a:off x="5798458" y="3891456"/>
            <a:ext cx="825432" cy="516926"/>
          </a:xfrm>
          <a:prstGeom prst="rect">
            <a:avLst/>
          </a:prstGeom>
          <a:noFill/>
        </p:spPr>
        <p:txBody>
          <a:bodyPr wrap="square" lIns="182831" tIns="146264" rIns="182831" bIns="146264"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133">
              <a:lnSpc>
                <a:spcPct val="90000"/>
              </a:lnSpc>
              <a:spcAft>
                <a:spcPts val="600"/>
              </a:spcAft>
              <a:defRPr/>
            </a:pPr>
            <a:r>
              <a:rPr lang="en-US" sz="1599">
                <a:solidFill>
                  <a:srgbClr val="000000"/>
                </a:solidFill>
                <a:latin typeface="Segoe UI"/>
              </a:rPr>
              <a:t>IaaS</a:t>
            </a:r>
          </a:p>
        </p:txBody>
      </p:sp>
      <p:sp>
        <p:nvSpPr>
          <p:cNvPr id="20" name="TextBox 13"/>
          <p:cNvSpPr txBox="1"/>
          <p:nvPr/>
        </p:nvSpPr>
        <p:spPr>
          <a:xfrm>
            <a:off x="9028153" y="971089"/>
            <a:ext cx="1881087" cy="747088"/>
          </a:xfrm>
          <a:prstGeom prst="rect">
            <a:avLst/>
          </a:prstGeom>
          <a:noFill/>
        </p:spPr>
        <p:txBody>
          <a:bodyPr wrap="square" lIns="182831" tIns="146264" rIns="182831" bIns="146264"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133">
              <a:lnSpc>
                <a:spcPct val="90000"/>
              </a:lnSpc>
              <a:defRPr/>
            </a:pPr>
            <a:r>
              <a:rPr lang="en-US" sz="1599">
                <a:solidFill>
                  <a:srgbClr val="000000"/>
                </a:solidFill>
                <a:latin typeface="Segoe UI"/>
              </a:rPr>
              <a:t>Self-service</a:t>
            </a:r>
          </a:p>
          <a:p>
            <a:pPr defTabSz="914133">
              <a:lnSpc>
                <a:spcPct val="90000"/>
              </a:lnSpc>
              <a:defRPr/>
            </a:pPr>
            <a:r>
              <a:rPr lang="en-US" sz="1599">
                <a:solidFill>
                  <a:srgbClr val="000000"/>
                </a:solidFill>
                <a:latin typeface="Segoe UI"/>
              </a:rPr>
              <a:t>consumption</a:t>
            </a:r>
          </a:p>
        </p:txBody>
      </p:sp>
      <p:sp>
        <p:nvSpPr>
          <p:cNvPr id="21" name="TextBox 56"/>
          <p:cNvSpPr txBox="1"/>
          <p:nvPr/>
        </p:nvSpPr>
        <p:spPr>
          <a:xfrm>
            <a:off x="9074336" y="5377127"/>
            <a:ext cx="1788725" cy="747088"/>
          </a:xfrm>
          <a:prstGeom prst="rect">
            <a:avLst/>
          </a:prstGeom>
          <a:noFill/>
        </p:spPr>
        <p:txBody>
          <a:bodyPr wrap="square" lIns="182831" tIns="146264" rIns="182831" bIns="146264"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133">
              <a:lnSpc>
                <a:spcPct val="90000"/>
              </a:lnSpc>
              <a:spcAft>
                <a:spcPts val="600"/>
              </a:spcAft>
              <a:defRPr/>
            </a:pPr>
            <a:r>
              <a:rPr lang="en-US" sz="1599">
                <a:solidFill>
                  <a:srgbClr val="000000"/>
                </a:solidFill>
                <a:latin typeface="Segoe UI"/>
              </a:rPr>
              <a:t>Flexible service delivery</a:t>
            </a:r>
          </a:p>
        </p:txBody>
      </p:sp>
      <p:pic>
        <p:nvPicPr>
          <p:cNvPr id="9" name="Picture 8"/>
          <p:cNvPicPr>
            <a:picLocks noChangeAspect="1"/>
          </p:cNvPicPr>
          <p:nvPr/>
        </p:nvPicPr>
        <p:blipFill>
          <a:blip r:embed="rId3">
            <a:biLevel thresh="25000"/>
            <a:extLst>
              <a:ext uri="{28A0092B-C50C-407E-A947-70E740481C1C}">
                <a14:useLocalDpi xmlns:a14="http://schemas.microsoft.com/office/drawing/2010/main" val="0"/>
              </a:ext>
            </a:extLst>
          </a:blip>
          <a:srcRect/>
          <a:stretch>
            <a:fillRect/>
          </a:stretch>
        </p:blipFill>
        <p:spPr bwMode="auto">
          <a:xfrm>
            <a:off x="8003380" y="3776639"/>
            <a:ext cx="1030963" cy="667561"/>
          </a:xfrm>
          <a:prstGeom prst="rect">
            <a:avLst/>
          </a:prstGeom>
          <a:solidFill>
            <a:schemeClr val="tx2"/>
          </a:solidFill>
          <a:ln>
            <a:noFill/>
          </a:ln>
          <a:extLst/>
        </p:spPr>
      </p:pic>
      <p:pic>
        <p:nvPicPr>
          <p:cNvPr id="10" name="Picture 9"/>
          <p:cNvPicPr>
            <a:picLocks noChangeAspect="1"/>
          </p:cNvPicPr>
          <p:nvPr/>
        </p:nvPicPr>
        <p:blipFill>
          <a:blip r:embed="rId4"/>
          <a:stretch>
            <a:fillRect/>
          </a:stretch>
        </p:blipFill>
        <p:spPr>
          <a:xfrm>
            <a:off x="8121175" y="2513943"/>
            <a:ext cx="795371" cy="712257"/>
          </a:xfrm>
          <a:prstGeom prst="rect">
            <a:avLst/>
          </a:prstGeom>
          <a:solidFill>
            <a:schemeClr val="tx2"/>
          </a:solidFill>
        </p:spPr>
      </p:pic>
      <p:pic>
        <p:nvPicPr>
          <p:cNvPr id="8" name="Picture 7"/>
          <p:cNvPicPr>
            <a:picLocks noChangeAspect="1"/>
          </p:cNvPicPr>
          <p:nvPr/>
        </p:nvPicPr>
        <p:blipFill>
          <a:blip r:embed="rId5">
            <a:biLevel thresh="25000"/>
            <a:extLst>
              <a:ext uri="{28A0092B-C50C-407E-A947-70E740481C1C}">
                <a14:useLocalDpi xmlns:a14="http://schemas.microsoft.com/office/drawing/2010/main" val="0"/>
              </a:ext>
            </a:extLst>
          </a:blip>
          <a:srcRect/>
          <a:stretch>
            <a:fillRect/>
          </a:stretch>
        </p:blipFill>
        <p:spPr bwMode="auto">
          <a:xfrm>
            <a:off x="6679703" y="3727136"/>
            <a:ext cx="923615" cy="845565"/>
          </a:xfrm>
          <a:prstGeom prst="rect">
            <a:avLst/>
          </a:prstGeom>
          <a:solidFill>
            <a:schemeClr val="tx2"/>
          </a:solidFill>
          <a:ln>
            <a:noFill/>
          </a:ln>
          <a:extLst/>
        </p:spPr>
      </p:pic>
      <p:grpSp>
        <p:nvGrpSpPr>
          <p:cNvPr id="6" name="Group 5"/>
          <p:cNvGrpSpPr/>
          <p:nvPr/>
        </p:nvGrpSpPr>
        <p:grpSpPr>
          <a:xfrm>
            <a:off x="6735833" y="2486293"/>
            <a:ext cx="665333" cy="664702"/>
            <a:chOff x="6793542" y="2480435"/>
            <a:chExt cx="665513" cy="664881"/>
          </a:xfrm>
          <a:solidFill>
            <a:schemeClr val="tx2"/>
          </a:solidFill>
        </p:grpSpPr>
        <p:sp>
          <p:nvSpPr>
            <p:cNvPr id="41" name="Freeform 10"/>
            <p:cNvSpPr>
              <a:spLocks/>
            </p:cNvSpPr>
            <p:nvPr/>
          </p:nvSpPr>
          <p:spPr bwMode="auto">
            <a:xfrm>
              <a:off x="6793542" y="2480435"/>
              <a:ext cx="310657" cy="311920"/>
            </a:xfrm>
            <a:custGeom>
              <a:avLst/>
              <a:gdLst>
                <a:gd name="T0" fmla="*/ 98 w 207"/>
                <a:gd name="T1" fmla="*/ 188 h 208"/>
                <a:gd name="T2" fmla="*/ 97 w 207"/>
                <a:gd name="T3" fmla="*/ 177 h 208"/>
                <a:gd name="T4" fmla="*/ 153 w 207"/>
                <a:gd name="T5" fmla="*/ 122 h 208"/>
                <a:gd name="T6" fmla="*/ 182 w 207"/>
                <a:gd name="T7" fmla="*/ 130 h 208"/>
                <a:gd name="T8" fmla="*/ 207 w 207"/>
                <a:gd name="T9" fmla="*/ 107 h 208"/>
                <a:gd name="T10" fmla="*/ 207 w 207"/>
                <a:gd name="T11" fmla="*/ 21 h 208"/>
                <a:gd name="T12" fmla="*/ 207 w 207"/>
                <a:gd name="T13" fmla="*/ 19 h 208"/>
                <a:gd name="T14" fmla="*/ 187 w 207"/>
                <a:gd name="T15" fmla="*/ 0 h 208"/>
                <a:gd name="T16" fmla="*/ 20 w 207"/>
                <a:gd name="T17" fmla="*/ 0 h 208"/>
                <a:gd name="T18" fmla="*/ 0 w 207"/>
                <a:gd name="T19" fmla="*/ 21 h 208"/>
                <a:gd name="T20" fmla="*/ 0 w 207"/>
                <a:gd name="T21" fmla="*/ 188 h 208"/>
                <a:gd name="T22" fmla="*/ 8 w 207"/>
                <a:gd name="T23" fmla="*/ 205 h 208"/>
                <a:gd name="T24" fmla="*/ 20 w 207"/>
                <a:gd name="T25" fmla="*/ 208 h 208"/>
                <a:gd name="T26" fmla="*/ 60 w 207"/>
                <a:gd name="T27" fmla="*/ 208 h 208"/>
                <a:gd name="T28" fmla="*/ 98 w 207"/>
                <a:gd name="T29" fmla="*/ 188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07" h="208">
                  <a:moveTo>
                    <a:pt x="98" y="188"/>
                  </a:moveTo>
                  <a:cubicBezTo>
                    <a:pt x="98" y="185"/>
                    <a:pt x="97" y="181"/>
                    <a:pt x="97" y="177"/>
                  </a:cubicBezTo>
                  <a:cubicBezTo>
                    <a:pt x="97" y="147"/>
                    <a:pt x="122" y="122"/>
                    <a:pt x="153" y="122"/>
                  </a:cubicBezTo>
                  <a:cubicBezTo>
                    <a:pt x="164" y="122"/>
                    <a:pt x="174" y="125"/>
                    <a:pt x="182" y="130"/>
                  </a:cubicBezTo>
                  <a:cubicBezTo>
                    <a:pt x="189" y="121"/>
                    <a:pt x="198" y="113"/>
                    <a:pt x="207" y="107"/>
                  </a:cubicBezTo>
                  <a:cubicBezTo>
                    <a:pt x="207" y="21"/>
                    <a:pt x="207" y="21"/>
                    <a:pt x="207" y="21"/>
                  </a:cubicBezTo>
                  <a:cubicBezTo>
                    <a:pt x="207" y="20"/>
                    <a:pt x="207" y="20"/>
                    <a:pt x="207" y="19"/>
                  </a:cubicBezTo>
                  <a:cubicBezTo>
                    <a:pt x="206" y="9"/>
                    <a:pt x="198" y="0"/>
                    <a:pt x="187" y="0"/>
                  </a:cubicBezTo>
                  <a:cubicBezTo>
                    <a:pt x="20" y="0"/>
                    <a:pt x="20" y="0"/>
                    <a:pt x="20" y="0"/>
                  </a:cubicBezTo>
                  <a:cubicBezTo>
                    <a:pt x="9" y="0"/>
                    <a:pt x="0" y="10"/>
                    <a:pt x="0" y="21"/>
                  </a:cubicBezTo>
                  <a:cubicBezTo>
                    <a:pt x="0" y="188"/>
                    <a:pt x="0" y="188"/>
                    <a:pt x="0" y="188"/>
                  </a:cubicBezTo>
                  <a:cubicBezTo>
                    <a:pt x="0" y="195"/>
                    <a:pt x="3" y="201"/>
                    <a:pt x="8" y="205"/>
                  </a:cubicBezTo>
                  <a:cubicBezTo>
                    <a:pt x="12" y="207"/>
                    <a:pt x="16" y="208"/>
                    <a:pt x="20" y="208"/>
                  </a:cubicBezTo>
                  <a:cubicBezTo>
                    <a:pt x="60" y="208"/>
                    <a:pt x="60" y="208"/>
                    <a:pt x="60" y="208"/>
                  </a:cubicBezTo>
                  <a:cubicBezTo>
                    <a:pt x="70" y="198"/>
                    <a:pt x="83" y="190"/>
                    <a:pt x="98" y="1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5" tIns="45707" rIns="91415" bIns="45707" numCol="1" anchor="t" anchorCtr="0" compatLnSpc="1">
              <a:prstTxWarp prst="textNoShape">
                <a:avLst/>
              </a:prstTxWarp>
            </a:bodyPr>
            <a:lstStyle/>
            <a:p>
              <a:pPr algn="ctr" defTabSz="932470">
                <a:defRPr/>
              </a:pPr>
              <a:endParaRPr lang="en-US">
                <a:gradFill>
                  <a:gsLst>
                    <a:gs pos="1250">
                      <a:srgbClr val="FFFFFF"/>
                    </a:gs>
                    <a:gs pos="100000">
                      <a:srgbClr val="FFFFFF"/>
                    </a:gs>
                  </a:gsLst>
                  <a:lin ang="5400000" scaled="0"/>
                </a:gradFill>
                <a:latin typeface="Segoe UI"/>
              </a:endParaRPr>
            </a:p>
          </p:txBody>
        </p:sp>
        <p:sp>
          <p:nvSpPr>
            <p:cNvPr id="42" name="Freeform 11"/>
            <p:cNvSpPr>
              <a:spLocks/>
            </p:cNvSpPr>
            <p:nvPr/>
          </p:nvSpPr>
          <p:spPr bwMode="auto">
            <a:xfrm>
              <a:off x="7146504" y="2480435"/>
              <a:ext cx="312551" cy="311920"/>
            </a:xfrm>
            <a:custGeom>
              <a:avLst/>
              <a:gdLst>
                <a:gd name="T0" fmla="*/ 113 w 208"/>
                <a:gd name="T1" fmla="*/ 185 h 208"/>
                <a:gd name="T2" fmla="*/ 113 w 208"/>
                <a:gd name="T3" fmla="*/ 189 h 208"/>
                <a:gd name="T4" fmla="*/ 147 w 208"/>
                <a:gd name="T5" fmla="*/ 208 h 208"/>
                <a:gd name="T6" fmla="*/ 187 w 208"/>
                <a:gd name="T7" fmla="*/ 208 h 208"/>
                <a:gd name="T8" fmla="*/ 208 w 208"/>
                <a:gd name="T9" fmla="*/ 188 h 208"/>
                <a:gd name="T10" fmla="*/ 208 w 208"/>
                <a:gd name="T11" fmla="*/ 21 h 208"/>
                <a:gd name="T12" fmla="*/ 208 w 208"/>
                <a:gd name="T13" fmla="*/ 19 h 208"/>
                <a:gd name="T14" fmla="*/ 187 w 208"/>
                <a:gd name="T15" fmla="*/ 0 h 208"/>
                <a:gd name="T16" fmla="*/ 20 w 208"/>
                <a:gd name="T17" fmla="*/ 0 h 208"/>
                <a:gd name="T18" fmla="*/ 0 w 208"/>
                <a:gd name="T19" fmla="*/ 21 h 208"/>
                <a:gd name="T20" fmla="*/ 0 w 208"/>
                <a:gd name="T21" fmla="*/ 96 h 208"/>
                <a:gd name="T22" fmla="*/ 21 w 208"/>
                <a:gd name="T23" fmla="*/ 93 h 208"/>
                <a:gd name="T24" fmla="*/ 113 w 208"/>
                <a:gd name="T25" fmla="*/ 185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8" h="208">
                  <a:moveTo>
                    <a:pt x="113" y="185"/>
                  </a:moveTo>
                  <a:cubicBezTo>
                    <a:pt x="113" y="187"/>
                    <a:pt x="113" y="188"/>
                    <a:pt x="113" y="189"/>
                  </a:cubicBezTo>
                  <a:cubicBezTo>
                    <a:pt x="126" y="192"/>
                    <a:pt x="138" y="199"/>
                    <a:pt x="147" y="208"/>
                  </a:cubicBezTo>
                  <a:cubicBezTo>
                    <a:pt x="187" y="208"/>
                    <a:pt x="187" y="208"/>
                    <a:pt x="187" y="208"/>
                  </a:cubicBezTo>
                  <a:cubicBezTo>
                    <a:pt x="198" y="208"/>
                    <a:pt x="208" y="199"/>
                    <a:pt x="208" y="188"/>
                  </a:cubicBezTo>
                  <a:cubicBezTo>
                    <a:pt x="208" y="21"/>
                    <a:pt x="208" y="21"/>
                    <a:pt x="208" y="21"/>
                  </a:cubicBezTo>
                  <a:cubicBezTo>
                    <a:pt x="208" y="20"/>
                    <a:pt x="208" y="20"/>
                    <a:pt x="208" y="19"/>
                  </a:cubicBezTo>
                  <a:cubicBezTo>
                    <a:pt x="207" y="9"/>
                    <a:pt x="198" y="0"/>
                    <a:pt x="187" y="0"/>
                  </a:cubicBezTo>
                  <a:cubicBezTo>
                    <a:pt x="20" y="0"/>
                    <a:pt x="20" y="0"/>
                    <a:pt x="20" y="0"/>
                  </a:cubicBezTo>
                  <a:cubicBezTo>
                    <a:pt x="9" y="0"/>
                    <a:pt x="0" y="10"/>
                    <a:pt x="0" y="21"/>
                  </a:cubicBezTo>
                  <a:cubicBezTo>
                    <a:pt x="0" y="96"/>
                    <a:pt x="0" y="96"/>
                    <a:pt x="0" y="96"/>
                  </a:cubicBezTo>
                  <a:cubicBezTo>
                    <a:pt x="7" y="94"/>
                    <a:pt x="14" y="93"/>
                    <a:pt x="21" y="93"/>
                  </a:cubicBezTo>
                  <a:cubicBezTo>
                    <a:pt x="72" y="93"/>
                    <a:pt x="113" y="135"/>
                    <a:pt x="113" y="18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5" tIns="45707" rIns="91415" bIns="45707" numCol="1" anchor="t" anchorCtr="0" compatLnSpc="1">
              <a:prstTxWarp prst="textNoShape">
                <a:avLst/>
              </a:prstTxWarp>
            </a:bodyPr>
            <a:lstStyle/>
            <a:p>
              <a:pPr algn="ctr" defTabSz="932470">
                <a:defRPr/>
              </a:pPr>
              <a:endParaRPr lang="en-US">
                <a:gradFill>
                  <a:gsLst>
                    <a:gs pos="1250">
                      <a:srgbClr val="FFFFFF"/>
                    </a:gs>
                    <a:gs pos="100000">
                      <a:srgbClr val="FFFFFF"/>
                    </a:gs>
                  </a:gsLst>
                  <a:lin ang="5400000" scaled="0"/>
                </a:gradFill>
                <a:latin typeface="Segoe UI"/>
              </a:endParaRPr>
            </a:p>
          </p:txBody>
        </p:sp>
        <p:sp>
          <p:nvSpPr>
            <p:cNvPr id="43" name="Freeform 12"/>
            <p:cNvSpPr>
              <a:spLocks/>
            </p:cNvSpPr>
            <p:nvPr/>
          </p:nvSpPr>
          <p:spPr bwMode="auto">
            <a:xfrm>
              <a:off x="6793542" y="2833396"/>
              <a:ext cx="310657" cy="311920"/>
            </a:xfrm>
            <a:custGeom>
              <a:avLst/>
              <a:gdLst>
                <a:gd name="T0" fmla="*/ 41 w 207"/>
                <a:gd name="T1" fmla="*/ 20 h 208"/>
                <a:gd name="T2" fmla="*/ 44 w 207"/>
                <a:gd name="T3" fmla="*/ 0 h 208"/>
                <a:gd name="T4" fmla="*/ 20 w 207"/>
                <a:gd name="T5" fmla="*/ 0 h 208"/>
                <a:gd name="T6" fmla="*/ 0 w 207"/>
                <a:gd name="T7" fmla="*/ 20 h 208"/>
                <a:gd name="T8" fmla="*/ 0 w 207"/>
                <a:gd name="T9" fmla="*/ 187 h 208"/>
                <a:gd name="T10" fmla="*/ 8 w 207"/>
                <a:gd name="T11" fmla="*/ 204 h 208"/>
                <a:gd name="T12" fmla="*/ 20 w 207"/>
                <a:gd name="T13" fmla="*/ 208 h 208"/>
                <a:gd name="T14" fmla="*/ 187 w 207"/>
                <a:gd name="T15" fmla="*/ 208 h 208"/>
                <a:gd name="T16" fmla="*/ 207 w 207"/>
                <a:gd name="T17" fmla="*/ 187 h 208"/>
                <a:gd name="T18" fmla="*/ 207 w 207"/>
                <a:gd name="T19" fmla="*/ 89 h 208"/>
                <a:gd name="T20" fmla="*/ 110 w 207"/>
                <a:gd name="T21" fmla="*/ 89 h 208"/>
                <a:gd name="T22" fmla="*/ 41 w 207"/>
                <a:gd name="T23" fmla="*/ 20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7" h="208">
                  <a:moveTo>
                    <a:pt x="41" y="20"/>
                  </a:moveTo>
                  <a:cubicBezTo>
                    <a:pt x="41" y="13"/>
                    <a:pt x="42" y="6"/>
                    <a:pt x="44" y="0"/>
                  </a:cubicBezTo>
                  <a:cubicBezTo>
                    <a:pt x="20" y="0"/>
                    <a:pt x="20" y="0"/>
                    <a:pt x="20" y="0"/>
                  </a:cubicBezTo>
                  <a:cubicBezTo>
                    <a:pt x="9" y="0"/>
                    <a:pt x="0" y="9"/>
                    <a:pt x="0" y="20"/>
                  </a:cubicBezTo>
                  <a:cubicBezTo>
                    <a:pt x="0" y="187"/>
                    <a:pt x="0" y="187"/>
                    <a:pt x="0" y="187"/>
                  </a:cubicBezTo>
                  <a:cubicBezTo>
                    <a:pt x="0" y="194"/>
                    <a:pt x="3" y="200"/>
                    <a:pt x="8" y="204"/>
                  </a:cubicBezTo>
                  <a:cubicBezTo>
                    <a:pt x="12" y="206"/>
                    <a:pt x="16" y="208"/>
                    <a:pt x="20" y="208"/>
                  </a:cubicBezTo>
                  <a:cubicBezTo>
                    <a:pt x="187" y="208"/>
                    <a:pt x="187" y="208"/>
                    <a:pt x="187" y="208"/>
                  </a:cubicBezTo>
                  <a:cubicBezTo>
                    <a:pt x="198" y="208"/>
                    <a:pt x="207" y="198"/>
                    <a:pt x="207" y="187"/>
                  </a:cubicBezTo>
                  <a:cubicBezTo>
                    <a:pt x="207" y="89"/>
                    <a:pt x="207" y="89"/>
                    <a:pt x="207" y="89"/>
                  </a:cubicBezTo>
                  <a:cubicBezTo>
                    <a:pt x="110" y="89"/>
                    <a:pt x="110" y="89"/>
                    <a:pt x="110" y="89"/>
                  </a:cubicBezTo>
                  <a:cubicBezTo>
                    <a:pt x="72" y="89"/>
                    <a:pt x="41" y="58"/>
                    <a:pt x="41" y="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5" tIns="45707" rIns="91415" bIns="45707" numCol="1" anchor="t" anchorCtr="0" compatLnSpc="1">
              <a:prstTxWarp prst="textNoShape">
                <a:avLst/>
              </a:prstTxWarp>
            </a:bodyPr>
            <a:lstStyle/>
            <a:p>
              <a:pPr algn="ctr" defTabSz="932470">
                <a:defRPr/>
              </a:pPr>
              <a:endParaRPr lang="en-US">
                <a:gradFill>
                  <a:gsLst>
                    <a:gs pos="1250">
                      <a:srgbClr val="FFFFFF"/>
                    </a:gs>
                    <a:gs pos="100000">
                      <a:srgbClr val="FFFFFF"/>
                    </a:gs>
                  </a:gsLst>
                  <a:lin ang="5400000" scaled="0"/>
                </a:gradFill>
                <a:latin typeface="Segoe UI"/>
              </a:endParaRPr>
            </a:p>
          </p:txBody>
        </p:sp>
        <p:sp>
          <p:nvSpPr>
            <p:cNvPr id="44" name="Freeform 13"/>
            <p:cNvSpPr>
              <a:spLocks/>
            </p:cNvSpPr>
            <p:nvPr/>
          </p:nvSpPr>
          <p:spPr bwMode="auto">
            <a:xfrm>
              <a:off x="7146504" y="2833396"/>
              <a:ext cx="312551" cy="311920"/>
            </a:xfrm>
            <a:custGeom>
              <a:avLst/>
              <a:gdLst>
                <a:gd name="T0" fmla="*/ 98 w 208"/>
                <a:gd name="T1" fmla="*/ 89 h 208"/>
                <a:gd name="T2" fmla="*/ 0 w 208"/>
                <a:gd name="T3" fmla="*/ 89 h 208"/>
                <a:gd name="T4" fmla="*/ 0 w 208"/>
                <a:gd name="T5" fmla="*/ 187 h 208"/>
                <a:gd name="T6" fmla="*/ 9 w 208"/>
                <a:gd name="T7" fmla="*/ 204 h 208"/>
                <a:gd name="T8" fmla="*/ 20 w 208"/>
                <a:gd name="T9" fmla="*/ 208 h 208"/>
                <a:gd name="T10" fmla="*/ 187 w 208"/>
                <a:gd name="T11" fmla="*/ 208 h 208"/>
                <a:gd name="T12" fmla="*/ 208 w 208"/>
                <a:gd name="T13" fmla="*/ 187 h 208"/>
                <a:gd name="T14" fmla="*/ 208 w 208"/>
                <a:gd name="T15" fmla="*/ 20 h 208"/>
                <a:gd name="T16" fmla="*/ 208 w 208"/>
                <a:gd name="T17" fmla="*/ 19 h 208"/>
                <a:gd name="T18" fmla="*/ 187 w 208"/>
                <a:gd name="T19" fmla="*/ 0 h 208"/>
                <a:gd name="T20" fmla="*/ 163 w 208"/>
                <a:gd name="T21" fmla="*/ 0 h 208"/>
                <a:gd name="T22" fmla="*/ 166 w 208"/>
                <a:gd name="T23" fmla="*/ 20 h 208"/>
                <a:gd name="T24" fmla="*/ 98 w 208"/>
                <a:gd name="T25" fmla="*/ 89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8" h="208">
                  <a:moveTo>
                    <a:pt x="98" y="89"/>
                  </a:moveTo>
                  <a:cubicBezTo>
                    <a:pt x="0" y="89"/>
                    <a:pt x="0" y="89"/>
                    <a:pt x="0" y="89"/>
                  </a:cubicBezTo>
                  <a:cubicBezTo>
                    <a:pt x="0" y="187"/>
                    <a:pt x="0" y="187"/>
                    <a:pt x="0" y="187"/>
                  </a:cubicBezTo>
                  <a:cubicBezTo>
                    <a:pt x="0" y="194"/>
                    <a:pt x="3" y="200"/>
                    <a:pt x="9" y="204"/>
                  </a:cubicBezTo>
                  <a:cubicBezTo>
                    <a:pt x="12" y="206"/>
                    <a:pt x="16" y="208"/>
                    <a:pt x="20" y="208"/>
                  </a:cubicBezTo>
                  <a:cubicBezTo>
                    <a:pt x="187" y="208"/>
                    <a:pt x="187" y="208"/>
                    <a:pt x="187" y="208"/>
                  </a:cubicBezTo>
                  <a:cubicBezTo>
                    <a:pt x="198" y="208"/>
                    <a:pt x="208" y="198"/>
                    <a:pt x="208" y="187"/>
                  </a:cubicBezTo>
                  <a:cubicBezTo>
                    <a:pt x="208" y="20"/>
                    <a:pt x="208" y="20"/>
                    <a:pt x="208" y="20"/>
                  </a:cubicBezTo>
                  <a:cubicBezTo>
                    <a:pt x="208" y="20"/>
                    <a:pt x="208" y="19"/>
                    <a:pt x="208" y="19"/>
                  </a:cubicBezTo>
                  <a:cubicBezTo>
                    <a:pt x="207" y="8"/>
                    <a:pt x="198" y="0"/>
                    <a:pt x="187" y="0"/>
                  </a:cubicBezTo>
                  <a:cubicBezTo>
                    <a:pt x="163" y="0"/>
                    <a:pt x="163" y="0"/>
                    <a:pt x="163" y="0"/>
                  </a:cubicBezTo>
                  <a:cubicBezTo>
                    <a:pt x="165" y="6"/>
                    <a:pt x="166" y="13"/>
                    <a:pt x="166" y="20"/>
                  </a:cubicBezTo>
                  <a:cubicBezTo>
                    <a:pt x="166" y="58"/>
                    <a:pt x="135" y="89"/>
                    <a:pt x="98" y="8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5" tIns="45707" rIns="91415" bIns="45707" numCol="1" anchor="t" anchorCtr="0" compatLnSpc="1">
              <a:prstTxWarp prst="textNoShape">
                <a:avLst/>
              </a:prstTxWarp>
            </a:bodyPr>
            <a:lstStyle/>
            <a:p>
              <a:pPr algn="ctr" defTabSz="932470">
                <a:defRPr/>
              </a:pPr>
              <a:endParaRPr lang="en-US">
                <a:gradFill>
                  <a:gsLst>
                    <a:gs pos="1250">
                      <a:srgbClr val="FFFFFF"/>
                    </a:gs>
                    <a:gs pos="100000">
                      <a:srgbClr val="FFFFFF"/>
                    </a:gs>
                  </a:gsLst>
                  <a:lin ang="5400000" scaled="0"/>
                </a:gradFill>
                <a:latin typeface="Segoe UI"/>
              </a:endParaRPr>
            </a:p>
          </p:txBody>
        </p:sp>
      </p:grpSp>
      <p:sp>
        <p:nvSpPr>
          <p:cNvPr id="11" name="Freeform 10"/>
          <p:cNvSpPr>
            <a:spLocks noEditPoints="1"/>
          </p:cNvSpPr>
          <p:nvPr/>
        </p:nvSpPr>
        <p:spPr bwMode="auto">
          <a:xfrm>
            <a:off x="9603857" y="3846348"/>
            <a:ext cx="637472" cy="607140"/>
          </a:xfrm>
          <a:custGeom>
            <a:avLst/>
            <a:gdLst>
              <a:gd name="T0" fmla="*/ 0 w 358"/>
              <a:gd name="T1" fmla="*/ 319 h 319"/>
              <a:gd name="T2" fmla="*/ 358 w 358"/>
              <a:gd name="T3" fmla="*/ 0 h 319"/>
              <a:gd name="T4" fmla="*/ 89 w 358"/>
              <a:gd name="T5" fmla="*/ 302 h 319"/>
              <a:gd name="T6" fmla="*/ 14 w 358"/>
              <a:gd name="T7" fmla="*/ 256 h 319"/>
              <a:gd name="T8" fmla="*/ 89 w 358"/>
              <a:gd name="T9" fmla="*/ 302 h 319"/>
              <a:gd name="T10" fmla="*/ 14 w 358"/>
              <a:gd name="T11" fmla="*/ 246 h 319"/>
              <a:gd name="T12" fmla="*/ 89 w 358"/>
              <a:gd name="T13" fmla="*/ 198 h 319"/>
              <a:gd name="T14" fmla="*/ 89 w 358"/>
              <a:gd name="T15" fmla="*/ 191 h 319"/>
              <a:gd name="T16" fmla="*/ 14 w 358"/>
              <a:gd name="T17" fmla="*/ 142 h 319"/>
              <a:gd name="T18" fmla="*/ 89 w 358"/>
              <a:gd name="T19" fmla="*/ 191 h 319"/>
              <a:gd name="T20" fmla="*/ 14 w 358"/>
              <a:gd name="T21" fmla="*/ 133 h 319"/>
              <a:gd name="T22" fmla="*/ 89 w 358"/>
              <a:gd name="T23" fmla="*/ 87 h 319"/>
              <a:gd name="T24" fmla="*/ 173 w 358"/>
              <a:gd name="T25" fmla="*/ 302 h 319"/>
              <a:gd name="T26" fmla="*/ 98 w 358"/>
              <a:gd name="T27" fmla="*/ 256 h 319"/>
              <a:gd name="T28" fmla="*/ 173 w 358"/>
              <a:gd name="T29" fmla="*/ 302 h 319"/>
              <a:gd name="T30" fmla="*/ 98 w 358"/>
              <a:gd name="T31" fmla="*/ 246 h 319"/>
              <a:gd name="T32" fmla="*/ 173 w 358"/>
              <a:gd name="T33" fmla="*/ 198 h 319"/>
              <a:gd name="T34" fmla="*/ 173 w 358"/>
              <a:gd name="T35" fmla="*/ 191 h 319"/>
              <a:gd name="T36" fmla="*/ 98 w 358"/>
              <a:gd name="T37" fmla="*/ 142 h 319"/>
              <a:gd name="T38" fmla="*/ 173 w 358"/>
              <a:gd name="T39" fmla="*/ 191 h 319"/>
              <a:gd name="T40" fmla="*/ 98 w 358"/>
              <a:gd name="T41" fmla="*/ 133 h 319"/>
              <a:gd name="T42" fmla="*/ 173 w 358"/>
              <a:gd name="T43" fmla="*/ 87 h 319"/>
              <a:gd name="T44" fmla="*/ 257 w 358"/>
              <a:gd name="T45" fmla="*/ 302 h 319"/>
              <a:gd name="T46" fmla="*/ 183 w 358"/>
              <a:gd name="T47" fmla="*/ 256 h 319"/>
              <a:gd name="T48" fmla="*/ 257 w 358"/>
              <a:gd name="T49" fmla="*/ 302 h 319"/>
              <a:gd name="T50" fmla="*/ 183 w 358"/>
              <a:gd name="T51" fmla="*/ 246 h 319"/>
              <a:gd name="T52" fmla="*/ 257 w 358"/>
              <a:gd name="T53" fmla="*/ 198 h 319"/>
              <a:gd name="T54" fmla="*/ 257 w 358"/>
              <a:gd name="T55" fmla="*/ 191 h 319"/>
              <a:gd name="T56" fmla="*/ 183 w 358"/>
              <a:gd name="T57" fmla="*/ 142 h 319"/>
              <a:gd name="T58" fmla="*/ 257 w 358"/>
              <a:gd name="T59" fmla="*/ 191 h 319"/>
              <a:gd name="T60" fmla="*/ 183 w 358"/>
              <a:gd name="T61" fmla="*/ 133 h 319"/>
              <a:gd name="T62" fmla="*/ 257 w 358"/>
              <a:gd name="T63" fmla="*/ 87 h 319"/>
              <a:gd name="T64" fmla="*/ 339 w 358"/>
              <a:gd name="T65" fmla="*/ 302 h 319"/>
              <a:gd name="T66" fmla="*/ 265 w 358"/>
              <a:gd name="T67" fmla="*/ 256 h 319"/>
              <a:gd name="T68" fmla="*/ 339 w 358"/>
              <a:gd name="T69" fmla="*/ 302 h 319"/>
              <a:gd name="T70" fmla="*/ 265 w 358"/>
              <a:gd name="T71" fmla="*/ 246 h 319"/>
              <a:gd name="T72" fmla="*/ 339 w 358"/>
              <a:gd name="T73" fmla="*/ 198 h 319"/>
              <a:gd name="T74" fmla="*/ 339 w 358"/>
              <a:gd name="T75" fmla="*/ 191 h 319"/>
              <a:gd name="T76" fmla="*/ 265 w 358"/>
              <a:gd name="T77" fmla="*/ 142 h 319"/>
              <a:gd name="T78" fmla="*/ 339 w 358"/>
              <a:gd name="T79" fmla="*/ 191 h 319"/>
              <a:gd name="T80" fmla="*/ 265 w 358"/>
              <a:gd name="T81" fmla="*/ 133 h 319"/>
              <a:gd name="T82" fmla="*/ 339 w 358"/>
              <a:gd name="T83" fmla="*/ 87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58" h="319">
                <a:moveTo>
                  <a:pt x="0" y="0"/>
                </a:moveTo>
                <a:lnTo>
                  <a:pt x="0" y="319"/>
                </a:lnTo>
                <a:lnTo>
                  <a:pt x="358" y="319"/>
                </a:lnTo>
                <a:lnTo>
                  <a:pt x="358" y="0"/>
                </a:lnTo>
                <a:lnTo>
                  <a:pt x="0" y="0"/>
                </a:lnTo>
                <a:close/>
                <a:moveTo>
                  <a:pt x="89" y="302"/>
                </a:moveTo>
                <a:lnTo>
                  <a:pt x="14" y="302"/>
                </a:lnTo>
                <a:lnTo>
                  <a:pt x="14" y="256"/>
                </a:lnTo>
                <a:lnTo>
                  <a:pt x="89" y="256"/>
                </a:lnTo>
                <a:lnTo>
                  <a:pt x="89" y="302"/>
                </a:lnTo>
                <a:close/>
                <a:moveTo>
                  <a:pt x="89" y="246"/>
                </a:moveTo>
                <a:lnTo>
                  <a:pt x="14" y="246"/>
                </a:lnTo>
                <a:lnTo>
                  <a:pt x="14" y="198"/>
                </a:lnTo>
                <a:lnTo>
                  <a:pt x="89" y="198"/>
                </a:lnTo>
                <a:lnTo>
                  <a:pt x="89" y="246"/>
                </a:lnTo>
                <a:close/>
                <a:moveTo>
                  <a:pt x="89" y="191"/>
                </a:moveTo>
                <a:lnTo>
                  <a:pt x="14" y="191"/>
                </a:lnTo>
                <a:lnTo>
                  <a:pt x="14" y="142"/>
                </a:lnTo>
                <a:lnTo>
                  <a:pt x="89" y="142"/>
                </a:lnTo>
                <a:lnTo>
                  <a:pt x="89" y="191"/>
                </a:lnTo>
                <a:close/>
                <a:moveTo>
                  <a:pt x="89" y="133"/>
                </a:moveTo>
                <a:lnTo>
                  <a:pt x="14" y="133"/>
                </a:lnTo>
                <a:lnTo>
                  <a:pt x="14" y="87"/>
                </a:lnTo>
                <a:lnTo>
                  <a:pt x="89" y="87"/>
                </a:lnTo>
                <a:lnTo>
                  <a:pt x="89" y="133"/>
                </a:lnTo>
                <a:close/>
                <a:moveTo>
                  <a:pt x="173" y="302"/>
                </a:moveTo>
                <a:lnTo>
                  <a:pt x="98" y="302"/>
                </a:lnTo>
                <a:lnTo>
                  <a:pt x="98" y="256"/>
                </a:lnTo>
                <a:lnTo>
                  <a:pt x="173" y="256"/>
                </a:lnTo>
                <a:lnTo>
                  <a:pt x="173" y="302"/>
                </a:lnTo>
                <a:close/>
                <a:moveTo>
                  <a:pt x="173" y="246"/>
                </a:moveTo>
                <a:lnTo>
                  <a:pt x="98" y="246"/>
                </a:lnTo>
                <a:lnTo>
                  <a:pt x="98" y="198"/>
                </a:lnTo>
                <a:lnTo>
                  <a:pt x="173" y="198"/>
                </a:lnTo>
                <a:lnTo>
                  <a:pt x="173" y="246"/>
                </a:lnTo>
                <a:close/>
                <a:moveTo>
                  <a:pt x="173" y="191"/>
                </a:moveTo>
                <a:lnTo>
                  <a:pt x="98" y="191"/>
                </a:lnTo>
                <a:lnTo>
                  <a:pt x="98" y="142"/>
                </a:lnTo>
                <a:lnTo>
                  <a:pt x="173" y="142"/>
                </a:lnTo>
                <a:lnTo>
                  <a:pt x="173" y="191"/>
                </a:lnTo>
                <a:close/>
                <a:moveTo>
                  <a:pt x="173" y="133"/>
                </a:moveTo>
                <a:lnTo>
                  <a:pt x="98" y="133"/>
                </a:lnTo>
                <a:lnTo>
                  <a:pt x="98" y="87"/>
                </a:lnTo>
                <a:lnTo>
                  <a:pt x="173" y="87"/>
                </a:lnTo>
                <a:lnTo>
                  <a:pt x="173" y="133"/>
                </a:lnTo>
                <a:close/>
                <a:moveTo>
                  <a:pt x="257" y="302"/>
                </a:moveTo>
                <a:lnTo>
                  <a:pt x="183" y="302"/>
                </a:lnTo>
                <a:lnTo>
                  <a:pt x="183" y="256"/>
                </a:lnTo>
                <a:lnTo>
                  <a:pt x="257" y="256"/>
                </a:lnTo>
                <a:lnTo>
                  <a:pt x="257" y="302"/>
                </a:lnTo>
                <a:close/>
                <a:moveTo>
                  <a:pt x="257" y="246"/>
                </a:moveTo>
                <a:lnTo>
                  <a:pt x="183" y="246"/>
                </a:lnTo>
                <a:lnTo>
                  <a:pt x="183" y="198"/>
                </a:lnTo>
                <a:lnTo>
                  <a:pt x="257" y="198"/>
                </a:lnTo>
                <a:lnTo>
                  <a:pt x="257" y="246"/>
                </a:lnTo>
                <a:close/>
                <a:moveTo>
                  <a:pt x="257" y="191"/>
                </a:moveTo>
                <a:lnTo>
                  <a:pt x="183" y="191"/>
                </a:lnTo>
                <a:lnTo>
                  <a:pt x="183" y="142"/>
                </a:lnTo>
                <a:lnTo>
                  <a:pt x="257" y="142"/>
                </a:lnTo>
                <a:lnTo>
                  <a:pt x="257" y="191"/>
                </a:lnTo>
                <a:close/>
                <a:moveTo>
                  <a:pt x="257" y="133"/>
                </a:moveTo>
                <a:lnTo>
                  <a:pt x="183" y="133"/>
                </a:lnTo>
                <a:lnTo>
                  <a:pt x="183" y="87"/>
                </a:lnTo>
                <a:lnTo>
                  <a:pt x="257" y="87"/>
                </a:lnTo>
                <a:lnTo>
                  <a:pt x="257" y="133"/>
                </a:lnTo>
                <a:close/>
                <a:moveTo>
                  <a:pt x="339" y="302"/>
                </a:moveTo>
                <a:lnTo>
                  <a:pt x="265" y="302"/>
                </a:lnTo>
                <a:lnTo>
                  <a:pt x="265" y="256"/>
                </a:lnTo>
                <a:lnTo>
                  <a:pt x="339" y="256"/>
                </a:lnTo>
                <a:lnTo>
                  <a:pt x="339" y="302"/>
                </a:lnTo>
                <a:close/>
                <a:moveTo>
                  <a:pt x="339" y="246"/>
                </a:moveTo>
                <a:lnTo>
                  <a:pt x="265" y="246"/>
                </a:lnTo>
                <a:lnTo>
                  <a:pt x="265" y="198"/>
                </a:lnTo>
                <a:lnTo>
                  <a:pt x="339" y="198"/>
                </a:lnTo>
                <a:lnTo>
                  <a:pt x="339" y="246"/>
                </a:lnTo>
                <a:close/>
                <a:moveTo>
                  <a:pt x="339" y="191"/>
                </a:moveTo>
                <a:lnTo>
                  <a:pt x="265" y="191"/>
                </a:lnTo>
                <a:lnTo>
                  <a:pt x="265" y="142"/>
                </a:lnTo>
                <a:lnTo>
                  <a:pt x="339" y="142"/>
                </a:lnTo>
                <a:lnTo>
                  <a:pt x="339" y="191"/>
                </a:lnTo>
                <a:close/>
                <a:moveTo>
                  <a:pt x="339" y="133"/>
                </a:moveTo>
                <a:lnTo>
                  <a:pt x="265" y="133"/>
                </a:lnTo>
                <a:lnTo>
                  <a:pt x="265" y="87"/>
                </a:lnTo>
                <a:lnTo>
                  <a:pt x="339" y="87"/>
                </a:lnTo>
                <a:lnTo>
                  <a:pt x="339" y="133"/>
                </a:lnTo>
                <a:close/>
              </a:path>
            </a:pathLst>
          </a:custGeom>
          <a:solidFill>
            <a:schemeClr val="tx2"/>
          </a:solidFill>
          <a:ln>
            <a:noFill/>
          </a:ln>
        </p:spPr>
        <p:txBody>
          <a:bodyPr vert="horz" wrap="square" lIns="91402" tIns="45700" rIns="91402" bIns="4570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3959">
              <a:defRPr/>
            </a:pPr>
            <a:endParaRPr lang="en-US">
              <a:gradFill>
                <a:gsLst>
                  <a:gs pos="1250">
                    <a:srgbClr val="FFFFFF"/>
                  </a:gs>
                  <a:gs pos="100000">
                    <a:srgbClr val="FFFFFF"/>
                  </a:gs>
                </a:gsLst>
                <a:lin ang="5400000" scaled="0"/>
              </a:gradFill>
              <a:latin typeface="Segoe UI"/>
            </a:endParaRPr>
          </a:p>
        </p:txBody>
      </p:sp>
      <p:pic>
        <p:nvPicPr>
          <p:cNvPr id="46" name="Picture 45"/>
          <p:cNvPicPr>
            <a:picLocks noChangeAspect="1"/>
          </p:cNvPicPr>
          <p:nvPr/>
        </p:nvPicPr>
        <p:blipFill>
          <a:blip r:embed="rId6"/>
          <a:stretch>
            <a:fillRect/>
          </a:stretch>
        </p:blipFill>
        <p:spPr>
          <a:xfrm>
            <a:off x="9548112" y="2465379"/>
            <a:ext cx="748963" cy="714637"/>
          </a:xfrm>
          <a:prstGeom prst="rect">
            <a:avLst/>
          </a:prstGeom>
          <a:solidFill>
            <a:schemeClr val="tx2"/>
          </a:solidFill>
        </p:spPr>
      </p:pic>
      <p:sp>
        <p:nvSpPr>
          <p:cNvPr id="50" name="TextBox 54"/>
          <p:cNvSpPr txBox="1"/>
          <p:nvPr/>
        </p:nvSpPr>
        <p:spPr>
          <a:xfrm>
            <a:off x="5798458" y="2554597"/>
            <a:ext cx="825432" cy="516926"/>
          </a:xfrm>
          <a:prstGeom prst="rect">
            <a:avLst/>
          </a:prstGeom>
          <a:noFill/>
        </p:spPr>
        <p:txBody>
          <a:bodyPr wrap="square" lIns="182831" tIns="146264" rIns="182831" bIns="146264"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133">
              <a:lnSpc>
                <a:spcPct val="90000"/>
              </a:lnSpc>
              <a:spcAft>
                <a:spcPts val="600"/>
              </a:spcAft>
              <a:defRPr/>
            </a:pPr>
            <a:r>
              <a:rPr lang="en-US" sz="1599">
                <a:solidFill>
                  <a:srgbClr val="000000"/>
                </a:solidFill>
                <a:latin typeface="Segoe UI"/>
              </a:rPr>
              <a:t>PaaS</a:t>
            </a:r>
          </a:p>
        </p:txBody>
      </p:sp>
      <p:sp>
        <p:nvSpPr>
          <p:cNvPr id="51" name="TextBox 54"/>
          <p:cNvSpPr txBox="1"/>
          <p:nvPr/>
        </p:nvSpPr>
        <p:spPr>
          <a:xfrm>
            <a:off x="6497383" y="1059283"/>
            <a:ext cx="1502351" cy="516926"/>
          </a:xfrm>
          <a:prstGeom prst="rect">
            <a:avLst/>
          </a:prstGeom>
          <a:noFill/>
        </p:spPr>
        <p:txBody>
          <a:bodyPr wrap="square" lIns="182831" tIns="146264" rIns="182831" bIns="146264"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defTabSz="914133">
              <a:lnSpc>
                <a:spcPct val="90000"/>
              </a:lnSpc>
              <a:spcAft>
                <a:spcPts val="600"/>
              </a:spcAft>
              <a:defRPr/>
            </a:pPr>
            <a:r>
              <a:rPr lang="en-US" sz="1599">
                <a:solidFill>
                  <a:srgbClr val="000000"/>
                </a:solidFill>
                <a:latin typeface="Segoe UI"/>
              </a:rPr>
              <a:t>Developers</a:t>
            </a:r>
          </a:p>
        </p:txBody>
      </p:sp>
      <p:sp>
        <p:nvSpPr>
          <p:cNvPr id="52" name="TextBox 54"/>
          <p:cNvSpPr txBox="1"/>
          <p:nvPr/>
        </p:nvSpPr>
        <p:spPr>
          <a:xfrm>
            <a:off x="6497383" y="5511585"/>
            <a:ext cx="1502351" cy="516926"/>
          </a:xfrm>
          <a:prstGeom prst="rect">
            <a:avLst/>
          </a:prstGeom>
          <a:noFill/>
        </p:spPr>
        <p:txBody>
          <a:bodyPr wrap="square" lIns="182831" tIns="146264" rIns="182831" bIns="146264"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defTabSz="914133">
              <a:lnSpc>
                <a:spcPct val="90000"/>
              </a:lnSpc>
              <a:spcAft>
                <a:spcPts val="600"/>
              </a:spcAft>
              <a:defRPr/>
            </a:pPr>
            <a:r>
              <a:rPr lang="en-US" sz="1599">
                <a:solidFill>
                  <a:srgbClr val="000000"/>
                </a:solidFill>
                <a:latin typeface="Segoe UI"/>
              </a:rPr>
              <a:t>IT Ops</a:t>
            </a:r>
          </a:p>
        </p:txBody>
      </p:sp>
      <p:cxnSp>
        <p:nvCxnSpPr>
          <p:cNvPr id="58" name="Straight Connector 57"/>
          <p:cNvCxnSpPr/>
          <p:nvPr/>
        </p:nvCxnSpPr>
        <p:spPr>
          <a:xfrm>
            <a:off x="6220843" y="1959844"/>
            <a:ext cx="4596035" cy="0"/>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9" name="Straight Connector 58"/>
          <p:cNvCxnSpPr/>
          <p:nvPr/>
        </p:nvCxnSpPr>
        <p:spPr>
          <a:xfrm>
            <a:off x="6220843" y="5132375"/>
            <a:ext cx="4596035" cy="0"/>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60" name="TextBox 54"/>
          <p:cNvSpPr txBox="1"/>
          <p:nvPr/>
        </p:nvSpPr>
        <p:spPr>
          <a:xfrm>
            <a:off x="10430169" y="3891456"/>
            <a:ext cx="825432" cy="516926"/>
          </a:xfrm>
          <a:prstGeom prst="rect">
            <a:avLst/>
          </a:prstGeom>
          <a:noFill/>
        </p:spPr>
        <p:txBody>
          <a:bodyPr wrap="square" lIns="182831" tIns="146264" rIns="182831" bIns="146264"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133">
              <a:lnSpc>
                <a:spcPct val="90000"/>
              </a:lnSpc>
              <a:spcAft>
                <a:spcPts val="600"/>
              </a:spcAft>
              <a:defRPr/>
            </a:pPr>
            <a:r>
              <a:rPr lang="en-US" sz="1599">
                <a:solidFill>
                  <a:srgbClr val="000000"/>
                </a:solidFill>
                <a:latin typeface="Segoe UI"/>
              </a:rPr>
              <a:t>IaaS</a:t>
            </a:r>
          </a:p>
        </p:txBody>
      </p:sp>
      <p:sp>
        <p:nvSpPr>
          <p:cNvPr id="61" name="TextBox 54"/>
          <p:cNvSpPr txBox="1"/>
          <p:nvPr/>
        </p:nvSpPr>
        <p:spPr>
          <a:xfrm>
            <a:off x="10430169" y="2554597"/>
            <a:ext cx="825432" cy="516926"/>
          </a:xfrm>
          <a:prstGeom prst="rect">
            <a:avLst/>
          </a:prstGeom>
          <a:noFill/>
        </p:spPr>
        <p:txBody>
          <a:bodyPr wrap="square" lIns="182831" tIns="146264" rIns="182831" bIns="146264"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133">
              <a:lnSpc>
                <a:spcPct val="90000"/>
              </a:lnSpc>
              <a:spcAft>
                <a:spcPts val="600"/>
              </a:spcAft>
              <a:defRPr/>
            </a:pPr>
            <a:r>
              <a:rPr lang="en-US" sz="1599">
                <a:solidFill>
                  <a:srgbClr val="000000"/>
                </a:solidFill>
                <a:latin typeface="Segoe UI"/>
              </a:rPr>
              <a:t>PaaS</a:t>
            </a:r>
          </a:p>
        </p:txBody>
      </p:sp>
      <p:sp>
        <p:nvSpPr>
          <p:cNvPr id="26" name="Freeform 5"/>
          <p:cNvSpPr>
            <a:spLocks noEditPoints="1"/>
          </p:cNvSpPr>
          <p:nvPr/>
        </p:nvSpPr>
        <p:spPr bwMode="auto">
          <a:xfrm>
            <a:off x="8129776" y="5369783"/>
            <a:ext cx="746109" cy="825731"/>
          </a:xfrm>
          <a:custGeom>
            <a:avLst/>
            <a:gdLst>
              <a:gd name="T0" fmla="*/ 70 w 104"/>
              <a:gd name="T1" fmla="*/ 67 h 116"/>
              <a:gd name="T2" fmla="*/ 88 w 104"/>
              <a:gd name="T3" fmla="*/ 36 h 116"/>
              <a:gd name="T4" fmla="*/ 52 w 104"/>
              <a:gd name="T5" fmla="*/ 0 h 116"/>
              <a:gd name="T6" fmla="*/ 16 w 104"/>
              <a:gd name="T7" fmla="*/ 36 h 116"/>
              <a:gd name="T8" fmla="*/ 34 w 104"/>
              <a:gd name="T9" fmla="*/ 67 h 116"/>
              <a:gd name="T10" fmla="*/ 0 w 104"/>
              <a:gd name="T11" fmla="*/ 116 h 116"/>
              <a:gd name="T12" fmla="*/ 8 w 104"/>
              <a:gd name="T13" fmla="*/ 116 h 116"/>
              <a:gd name="T14" fmla="*/ 52 w 104"/>
              <a:gd name="T15" fmla="*/ 72 h 116"/>
              <a:gd name="T16" fmla="*/ 96 w 104"/>
              <a:gd name="T17" fmla="*/ 116 h 116"/>
              <a:gd name="T18" fmla="*/ 104 w 104"/>
              <a:gd name="T19" fmla="*/ 116 h 116"/>
              <a:gd name="T20" fmla="*/ 70 w 104"/>
              <a:gd name="T21" fmla="*/ 67 h 116"/>
              <a:gd name="T22" fmla="*/ 24 w 104"/>
              <a:gd name="T23" fmla="*/ 36 h 116"/>
              <a:gd name="T24" fmla="*/ 52 w 104"/>
              <a:gd name="T25" fmla="*/ 8 h 116"/>
              <a:gd name="T26" fmla="*/ 80 w 104"/>
              <a:gd name="T27" fmla="*/ 36 h 116"/>
              <a:gd name="T28" fmla="*/ 52 w 104"/>
              <a:gd name="T29" fmla="*/ 64 h 116"/>
              <a:gd name="T30" fmla="*/ 24 w 104"/>
              <a:gd name="T31" fmla="*/ 3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4" h="116">
                <a:moveTo>
                  <a:pt x="70" y="67"/>
                </a:moveTo>
                <a:cubicBezTo>
                  <a:pt x="81" y="61"/>
                  <a:pt x="88" y="49"/>
                  <a:pt x="88" y="36"/>
                </a:cubicBezTo>
                <a:cubicBezTo>
                  <a:pt x="88" y="16"/>
                  <a:pt x="72" y="0"/>
                  <a:pt x="52" y="0"/>
                </a:cubicBezTo>
                <a:cubicBezTo>
                  <a:pt x="32" y="0"/>
                  <a:pt x="16" y="16"/>
                  <a:pt x="16" y="36"/>
                </a:cubicBezTo>
                <a:cubicBezTo>
                  <a:pt x="16" y="49"/>
                  <a:pt x="23" y="61"/>
                  <a:pt x="34" y="67"/>
                </a:cubicBezTo>
                <a:cubicBezTo>
                  <a:pt x="14" y="75"/>
                  <a:pt x="0" y="94"/>
                  <a:pt x="0" y="116"/>
                </a:cubicBezTo>
                <a:cubicBezTo>
                  <a:pt x="8" y="116"/>
                  <a:pt x="8" y="116"/>
                  <a:pt x="8" y="116"/>
                </a:cubicBezTo>
                <a:cubicBezTo>
                  <a:pt x="8" y="92"/>
                  <a:pt x="28" y="72"/>
                  <a:pt x="52" y="72"/>
                </a:cubicBezTo>
                <a:cubicBezTo>
                  <a:pt x="76" y="72"/>
                  <a:pt x="96" y="92"/>
                  <a:pt x="96" y="116"/>
                </a:cubicBezTo>
                <a:cubicBezTo>
                  <a:pt x="104" y="116"/>
                  <a:pt x="104" y="116"/>
                  <a:pt x="104" y="116"/>
                </a:cubicBezTo>
                <a:cubicBezTo>
                  <a:pt x="104" y="94"/>
                  <a:pt x="90" y="75"/>
                  <a:pt x="70" y="67"/>
                </a:cubicBezTo>
                <a:close/>
                <a:moveTo>
                  <a:pt x="24" y="36"/>
                </a:moveTo>
                <a:cubicBezTo>
                  <a:pt x="24" y="21"/>
                  <a:pt x="37" y="8"/>
                  <a:pt x="52" y="8"/>
                </a:cubicBezTo>
                <a:cubicBezTo>
                  <a:pt x="67" y="8"/>
                  <a:pt x="80" y="21"/>
                  <a:pt x="80" y="36"/>
                </a:cubicBezTo>
                <a:cubicBezTo>
                  <a:pt x="80" y="51"/>
                  <a:pt x="67" y="64"/>
                  <a:pt x="52" y="64"/>
                </a:cubicBezTo>
                <a:cubicBezTo>
                  <a:pt x="37" y="64"/>
                  <a:pt x="24" y="51"/>
                  <a:pt x="24" y="36"/>
                </a:cubicBezTo>
                <a:close/>
              </a:path>
            </a:pathLst>
          </a:custGeom>
          <a:solidFill>
            <a:schemeClr val="tx1"/>
          </a:solidFill>
          <a:ln>
            <a:noFill/>
          </a:ln>
        </p:spPr>
        <p:txBody>
          <a:bodyPr vert="horz" wrap="square" lIns="91415" tIns="45707" rIns="91415" bIns="45707" numCol="1" anchor="t" anchorCtr="0" compatLnSpc="1">
            <a:prstTxWarp prst="textNoShape">
              <a:avLst/>
            </a:prstTxWarp>
          </a:bodyPr>
          <a:lstStyle/>
          <a:p>
            <a:pPr defTabSz="932470">
              <a:defRPr/>
            </a:pPr>
            <a:endParaRPr lang="en-US">
              <a:solidFill>
                <a:srgbClr val="FFFFFF"/>
              </a:solidFill>
              <a:latin typeface="Segoe UI"/>
            </a:endParaRPr>
          </a:p>
        </p:txBody>
      </p:sp>
      <p:sp>
        <p:nvSpPr>
          <p:cNvPr id="55" name="Freeform 5"/>
          <p:cNvSpPr>
            <a:spLocks noEditPoints="1"/>
          </p:cNvSpPr>
          <p:nvPr/>
        </p:nvSpPr>
        <p:spPr bwMode="auto">
          <a:xfrm>
            <a:off x="8129776" y="907160"/>
            <a:ext cx="746109" cy="825731"/>
          </a:xfrm>
          <a:custGeom>
            <a:avLst/>
            <a:gdLst>
              <a:gd name="T0" fmla="*/ 70 w 104"/>
              <a:gd name="T1" fmla="*/ 67 h 116"/>
              <a:gd name="T2" fmla="*/ 88 w 104"/>
              <a:gd name="T3" fmla="*/ 36 h 116"/>
              <a:gd name="T4" fmla="*/ 52 w 104"/>
              <a:gd name="T5" fmla="*/ 0 h 116"/>
              <a:gd name="T6" fmla="*/ 16 w 104"/>
              <a:gd name="T7" fmla="*/ 36 h 116"/>
              <a:gd name="T8" fmla="*/ 34 w 104"/>
              <a:gd name="T9" fmla="*/ 67 h 116"/>
              <a:gd name="T10" fmla="*/ 0 w 104"/>
              <a:gd name="T11" fmla="*/ 116 h 116"/>
              <a:gd name="T12" fmla="*/ 8 w 104"/>
              <a:gd name="T13" fmla="*/ 116 h 116"/>
              <a:gd name="T14" fmla="*/ 52 w 104"/>
              <a:gd name="T15" fmla="*/ 72 h 116"/>
              <a:gd name="T16" fmla="*/ 96 w 104"/>
              <a:gd name="T17" fmla="*/ 116 h 116"/>
              <a:gd name="T18" fmla="*/ 104 w 104"/>
              <a:gd name="T19" fmla="*/ 116 h 116"/>
              <a:gd name="T20" fmla="*/ 70 w 104"/>
              <a:gd name="T21" fmla="*/ 67 h 116"/>
              <a:gd name="T22" fmla="*/ 24 w 104"/>
              <a:gd name="T23" fmla="*/ 36 h 116"/>
              <a:gd name="T24" fmla="*/ 52 w 104"/>
              <a:gd name="T25" fmla="*/ 8 h 116"/>
              <a:gd name="T26" fmla="*/ 80 w 104"/>
              <a:gd name="T27" fmla="*/ 36 h 116"/>
              <a:gd name="T28" fmla="*/ 52 w 104"/>
              <a:gd name="T29" fmla="*/ 64 h 116"/>
              <a:gd name="T30" fmla="*/ 24 w 104"/>
              <a:gd name="T31" fmla="*/ 3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4" h="116">
                <a:moveTo>
                  <a:pt x="70" y="67"/>
                </a:moveTo>
                <a:cubicBezTo>
                  <a:pt x="81" y="61"/>
                  <a:pt x="88" y="49"/>
                  <a:pt x="88" y="36"/>
                </a:cubicBezTo>
                <a:cubicBezTo>
                  <a:pt x="88" y="16"/>
                  <a:pt x="72" y="0"/>
                  <a:pt x="52" y="0"/>
                </a:cubicBezTo>
                <a:cubicBezTo>
                  <a:pt x="32" y="0"/>
                  <a:pt x="16" y="16"/>
                  <a:pt x="16" y="36"/>
                </a:cubicBezTo>
                <a:cubicBezTo>
                  <a:pt x="16" y="49"/>
                  <a:pt x="23" y="61"/>
                  <a:pt x="34" y="67"/>
                </a:cubicBezTo>
                <a:cubicBezTo>
                  <a:pt x="14" y="75"/>
                  <a:pt x="0" y="94"/>
                  <a:pt x="0" y="116"/>
                </a:cubicBezTo>
                <a:cubicBezTo>
                  <a:pt x="8" y="116"/>
                  <a:pt x="8" y="116"/>
                  <a:pt x="8" y="116"/>
                </a:cubicBezTo>
                <a:cubicBezTo>
                  <a:pt x="8" y="92"/>
                  <a:pt x="28" y="72"/>
                  <a:pt x="52" y="72"/>
                </a:cubicBezTo>
                <a:cubicBezTo>
                  <a:pt x="76" y="72"/>
                  <a:pt x="96" y="92"/>
                  <a:pt x="96" y="116"/>
                </a:cubicBezTo>
                <a:cubicBezTo>
                  <a:pt x="104" y="116"/>
                  <a:pt x="104" y="116"/>
                  <a:pt x="104" y="116"/>
                </a:cubicBezTo>
                <a:cubicBezTo>
                  <a:pt x="104" y="94"/>
                  <a:pt x="90" y="75"/>
                  <a:pt x="70" y="67"/>
                </a:cubicBezTo>
                <a:close/>
                <a:moveTo>
                  <a:pt x="24" y="36"/>
                </a:moveTo>
                <a:cubicBezTo>
                  <a:pt x="24" y="21"/>
                  <a:pt x="37" y="8"/>
                  <a:pt x="52" y="8"/>
                </a:cubicBezTo>
                <a:cubicBezTo>
                  <a:pt x="67" y="8"/>
                  <a:pt x="80" y="21"/>
                  <a:pt x="80" y="36"/>
                </a:cubicBezTo>
                <a:cubicBezTo>
                  <a:pt x="80" y="51"/>
                  <a:pt x="67" y="64"/>
                  <a:pt x="52" y="64"/>
                </a:cubicBezTo>
                <a:cubicBezTo>
                  <a:pt x="37" y="64"/>
                  <a:pt x="24" y="51"/>
                  <a:pt x="24" y="36"/>
                </a:cubicBezTo>
                <a:close/>
              </a:path>
            </a:pathLst>
          </a:custGeom>
          <a:solidFill>
            <a:schemeClr val="tx1"/>
          </a:solidFill>
          <a:ln>
            <a:noFill/>
          </a:ln>
        </p:spPr>
        <p:txBody>
          <a:bodyPr vert="horz" wrap="square" lIns="91415" tIns="45707" rIns="91415" bIns="45707" numCol="1" anchor="t" anchorCtr="0" compatLnSpc="1">
            <a:prstTxWarp prst="textNoShape">
              <a:avLst/>
            </a:prstTxWarp>
          </a:bodyPr>
          <a:lstStyle/>
          <a:p>
            <a:pPr defTabSz="932470">
              <a:defRPr/>
            </a:pPr>
            <a:endParaRPr lang="en-US">
              <a:solidFill>
                <a:srgbClr val="FFFFFF"/>
              </a:solidFill>
              <a:latin typeface="Segoe UI"/>
            </a:endParaRPr>
          </a:p>
        </p:txBody>
      </p:sp>
      <p:sp>
        <p:nvSpPr>
          <p:cNvPr id="29" name="Rectangle 28"/>
          <p:cNvSpPr/>
          <p:nvPr/>
        </p:nvSpPr>
        <p:spPr>
          <a:xfrm>
            <a:off x="62112" y="6707353"/>
            <a:ext cx="4532505" cy="286229"/>
          </a:xfrm>
          <a:prstGeom prst="rect">
            <a:avLst/>
          </a:prstGeom>
        </p:spPr>
        <p:txBody>
          <a:bodyPr wrap="square">
            <a:spAutoFit/>
          </a:bodyPr>
          <a:lstStyle/>
          <a:p>
            <a:pPr defTabSz="932325">
              <a:defRPr/>
            </a:pPr>
            <a:r>
              <a:rPr lang="en-US" sz="1224" kern="0">
                <a:solidFill>
                  <a:sysClr val="windowText" lastClr="000000"/>
                </a:solidFill>
                <a:latin typeface="Segoe UI"/>
                <a:ea typeface="Segoe UI" pitchFamily="34" charset="0"/>
                <a:cs typeface="Segoe UI" pitchFamily="34" charset="0"/>
              </a:rPr>
              <a:t>* - some components will be in Preview at Azure Stack GA</a:t>
            </a:r>
            <a:endParaRPr lang="en-US" sz="1224" kern="0">
              <a:solidFill>
                <a:sysClr val="windowText" lastClr="000000"/>
              </a:solidFill>
              <a:latin typeface="Segoe UI"/>
            </a:endParaRPr>
          </a:p>
        </p:txBody>
      </p:sp>
    </p:spTree>
    <p:extLst>
      <p:ext uri="{BB962C8B-B14F-4D97-AF65-F5344CB8AC3E}">
        <p14:creationId xmlns:p14="http://schemas.microsoft.com/office/powerpoint/2010/main" val="3416447271"/>
      </p:ext>
    </p:extLst>
  </p:cSld>
  <p:clrMapOvr>
    <a:masterClrMapping/>
  </p:clrMapOvr>
  <p:transition>
    <p:fade/>
  </p:transition>
</p:sld>
</file>

<file path=ppt/slides/slide9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366168" y="2049461"/>
            <a:ext cx="11702553" cy="4945063"/>
          </a:xfrm>
        </p:spPr>
        <p:txBody>
          <a:bodyPr>
            <a:noAutofit/>
          </a:bodyPr>
          <a:lstStyle/>
          <a:p>
            <a:pPr marL="0" indent="0">
              <a:buNone/>
            </a:pPr>
            <a:r>
              <a:rPr lang="en-US" dirty="0">
                <a:solidFill>
                  <a:schemeClr val="tx2"/>
                </a:solidFill>
              </a:rPr>
              <a:t>Removes the database from the attack surface area</a:t>
            </a:r>
          </a:p>
          <a:p>
            <a:pPr marL="371472" lvl="1" indent="-342900"/>
            <a:r>
              <a:rPr lang="en-US" dirty="0"/>
              <a:t>Sensitive data encrypted in the database at all times</a:t>
            </a:r>
          </a:p>
          <a:p>
            <a:pPr marL="371472" lvl="1" indent="-342900"/>
            <a:r>
              <a:rPr lang="en-US" dirty="0"/>
              <a:t>Even DBAs and sys admins cannot access the data in SQL Server/Azure SQL Database</a:t>
            </a:r>
          </a:p>
          <a:p>
            <a:pPr marL="0" indent="0">
              <a:buNone/>
            </a:pPr>
            <a:r>
              <a:rPr lang="en-US" dirty="0">
                <a:solidFill>
                  <a:schemeClr val="tx2"/>
                </a:solidFill>
              </a:rPr>
              <a:t>Enables customers to host their databases outside of                  a trust/compliance boundary:</a:t>
            </a:r>
          </a:p>
          <a:p>
            <a:pPr marL="371472" lvl="1" indent="-342900"/>
            <a:r>
              <a:rPr lang="en-US" dirty="0"/>
              <a:t>In the cloud (Azure SQL Database)</a:t>
            </a:r>
          </a:p>
          <a:p>
            <a:pPr marL="371472" lvl="1" indent="-342900"/>
            <a:r>
              <a:rPr lang="en-US" dirty="0"/>
              <a:t>In a different geo-political region</a:t>
            </a:r>
          </a:p>
          <a:p>
            <a:pPr marL="0" indent="0">
              <a:buNone/>
            </a:pPr>
            <a:r>
              <a:rPr lang="en-US" dirty="0">
                <a:solidFill>
                  <a:schemeClr val="tx2"/>
                </a:solidFill>
              </a:rPr>
              <a:t>Encrypted data can be queried (equality comparison)</a:t>
            </a:r>
          </a:p>
          <a:p>
            <a:pPr marL="0" indent="0">
              <a:buNone/>
            </a:pPr>
            <a:r>
              <a:rPr lang="en-US" dirty="0">
                <a:solidFill>
                  <a:schemeClr val="tx2"/>
                </a:solidFill>
              </a:rPr>
              <a:t>Encryption is transparent to client applications</a:t>
            </a:r>
          </a:p>
        </p:txBody>
      </p:sp>
      <p:sp>
        <p:nvSpPr>
          <p:cNvPr id="17" name="Title 16"/>
          <p:cNvSpPr>
            <a:spLocks noGrp="1"/>
          </p:cNvSpPr>
          <p:nvPr>
            <p:ph type="title"/>
          </p:nvPr>
        </p:nvSpPr>
        <p:spPr>
          <a:xfrm>
            <a:off x="366169" y="295278"/>
            <a:ext cx="11702551" cy="1467217"/>
          </a:xfrm>
        </p:spPr>
        <p:txBody>
          <a:bodyPr/>
          <a:lstStyle/>
          <a:p>
            <a:r>
              <a:rPr lang="en-US" dirty="0"/>
              <a:t>SQL encryption</a:t>
            </a:r>
            <a:br>
              <a:rPr lang="en-US" dirty="0"/>
            </a:br>
            <a:r>
              <a:rPr lang="en-US" sz="3200" spc="0" dirty="0">
                <a:solidFill>
                  <a:schemeClr val="tx2"/>
                </a:solidFill>
                <a:cs typeface="+mn-cs"/>
              </a:rPr>
              <a:t>“Always encrypted”</a:t>
            </a:r>
            <a:endParaRPr lang="en-US" sz="3600" spc="0" dirty="0">
              <a:solidFill>
                <a:schemeClr val="tx2"/>
              </a:solidFill>
              <a:cs typeface="+mn-cs"/>
            </a:endParaRPr>
          </a:p>
        </p:txBody>
      </p:sp>
      <p:grpSp>
        <p:nvGrpSpPr>
          <p:cNvPr id="4" name="Group 3"/>
          <p:cNvGrpSpPr/>
          <p:nvPr/>
        </p:nvGrpSpPr>
        <p:grpSpPr>
          <a:xfrm>
            <a:off x="8579343" y="144890"/>
            <a:ext cx="3676242" cy="1617605"/>
            <a:chOff x="2883610" y="3722268"/>
            <a:chExt cx="6204541" cy="2609153"/>
          </a:xfrm>
        </p:grpSpPr>
        <p:grpSp>
          <p:nvGrpSpPr>
            <p:cNvPr id="5" name="Group 4"/>
            <p:cNvGrpSpPr/>
            <p:nvPr/>
          </p:nvGrpSpPr>
          <p:grpSpPr>
            <a:xfrm>
              <a:off x="2883610" y="3722268"/>
              <a:ext cx="6204541" cy="2609153"/>
              <a:chOff x="2883610" y="3722268"/>
              <a:chExt cx="6204541" cy="2609153"/>
            </a:xfrm>
          </p:grpSpPr>
          <p:pic>
            <p:nvPicPr>
              <p:cNvPr id="8" name="Picture 7"/>
              <p:cNvPicPr>
                <a:picLocks noChangeAspect="1"/>
              </p:cNvPicPr>
              <p:nvPr/>
            </p:nvPicPr>
            <p:blipFill>
              <a:blip r:embed="rId3"/>
              <a:stretch>
                <a:fillRect/>
              </a:stretch>
            </p:blipFill>
            <p:spPr>
              <a:xfrm>
                <a:off x="2883610" y="3722268"/>
                <a:ext cx="6204541" cy="2609153"/>
              </a:xfrm>
              <a:prstGeom prst="rect">
                <a:avLst/>
              </a:prstGeom>
            </p:spPr>
          </p:pic>
          <p:sp>
            <p:nvSpPr>
              <p:cNvPr id="9" name="TextBox 8"/>
              <p:cNvSpPr txBox="1"/>
              <p:nvPr/>
            </p:nvSpPr>
            <p:spPr>
              <a:xfrm>
                <a:off x="4407740" y="4849860"/>
                <a:ext cx="1604669" cy="546009"/>
              </a:xfrm>
              <a:prstGeom prst="rect">
                <a:avLst/>
              </a:prstGeom>
              <a:noFill/>
            </p:spPr>
            <p:txBody>
              <a:bodyPr wrap="none" rtlCol="0">
                <a:spAutoFit/>
              </a:bodyPr>
              <a:lstStyle/>
              <a:p>
                <a:pPr defTabSz="914309"/>
                <a:r>
                  <a:rPr lang="en-US" sz="1600" i="1" kern="0" dirty="0">
                    <a:solidFill>
                      <a:srgbClr val="0070C0"/>
                    </a:solidFill>
                  </a:rPr>
                  <a:t>plaintext</a:t>
                </a:r>
              </a:p>
            </p:txBody>
          </p:sp>
          <p:sp>
            <p:nvSpPr>
              <p:cNvPr id="10" name="TextBox 9"/>
              <p:cNvSpPr txBox="1"/>
              <p:nvPr/>
            </p:nvSpPr>
            <p:spPr>
              <a:xfrm>
                <a:off x="6601509" y="4834408"/>
                <a:ext cx="1766977" cy="546009"/>
              </a:xfrm>
              <a:prstGeom prst="rect">
                <a:avLst/>
              </a:prstGeom>
              <a:noFill/>
            </p:spPr>
            <p:txBody>
              <a:bodyPr wrap="none" rtlCol="0">
                <a:spAutoFit/>
              </a:bodyPr>
              <a:lstStyle/>
              <a:p>
                <a:pPr defTabSz="914309"/>
                <a:r>
                  <a:rPr lang="en-US" sz="1600" i="1" kern="0" dirty="0" err="1">
                    <a:solidFill>
                      <a:srgbClr val="0070C0"/>
                    </a:solidFill>
                  </a:rPr>
                  <a:t>ciphertext</a:t>
                </a:r>
                <a:endParaRPr lang="en-US" sz="1600" i="1" kern="0" dirty="0">
                  <a:solidFill>
                    <a:srgbClr val="0070C0"/>
                  </a:solidFill>
                </a:endParaRPr>
              </a:p>
            </p:txBody>
          </p:sp>
        </p:grpSp>
        <p:pic>
          <p:nvPicPr>
            <p:cNvPr id="7" name="Picture 6"/>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8007308" y="4934837"/>
              <a:ext cx="476250" cy="476250"/>
            </a:xfrm>
            <a:prstGeom prst="rect">
              <a:avLst/>
            </a:prstGeom>
          </p:spPr>
        </p:pic>
      </p:grpSp>
    </p:spTree>
    <p:extLst>
      <p:ext uri="{BB962C8B-B14F-4D97-AF65-F5344CB8AC3E}">
        <p14:creationId xmlns:p14="http://schemas.microsoft.com/office/powerpoint/2010/main" val="25285774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366169" y="2049461"/>
            <a:ext cx="12068719" cy="4419600"/>
          </a:xfrm>
        </p:spPr>
        <p:txBody>
          <a:bodyPr>
            <a:noAutofit/>
          </a:bodyPr>
          <a:lstStyle/>
          <a:p>
            <a:r>
              <a:rPr lang="en-US" dirty="0">
                <a:solidFill>
                  <a:schemeClr val="tx2"/>
                </a:solidFill>
              </a:rPr>
              <a:t>Encrypting your database, associated backups, and transaction log files at rest </a:t>
            </a:r>
          </a:p>
          <a:p>
            <a:r>
              <a:rPr lang="en-US" dirty="0">
                <a:solidFill>
                  <a:schemeClr val="tx2"/>
                </a:solidFill>
              </a:rPr>
              <a:t>No changes to your application</a:t>
            </a:r>
          </a:p>
          <a:p>
            <a:r>
              <a:rPr lang="en-US" dirty="0">
                <a:solidFill>
                  <a:schemeClr val="tx2"/>
                </a:solidFill>
              </a:rPr>
              <a:t>Supported for both SQL Server and SQL Azure (IaaS, </a:t>
            </a:r>
            <a:r>
              <a:rPr lang="en-US" dirty="0" err="1">
                <a:solidFill>
                  <a:schemeClr val="tx2"/>
                </a:solidFill>
              </a:rPr>
              <a:t>Paas</a:t>
            </a:r>
            <a:r>
              <a:rPr lang="en-US" dirty="0">
                <a:solidFill>
                  <a:schemeClr val="tx2"/>
                </a:solidFill>
              </a:rPr>
              <a:t>)</a:t>
            </a:r>
          </a:p>
          <a:p>
            <a:r>
              <a:rPr lang="en-US" dirty="0">
                <a:solidFill>
                  <a:schemeClr val="tx2"/>
                </a:solidFill>
              </a:rPr>
              <a:t>Can use Azure Key Vault for key storage</a:t>
            </a:r>
          </a:p>
        </p:txBody>
      </p:sp>
      <p:sp>
        <p:nvSpPr>
          <p:cNvPr id="17" name="Title 16"/>
          <p:cNvSpPr>
            <a:spLocks noGrp="1"/>
          </p:cNvSpPr>
          <p:nvPr>
            <p:ph type="title"/>
          </p:nvPr>
        </p:nvSpPr>
        <p:spPr>
          <a:xfrm>
            <a:off x="366169" y="295278"/>
            <a:ext cx="11702551" cy="1525584"/>
          </a:xfrm>
        </p:spPr>
        <p:txBody>
          <a:bodyPr/>
          <a:lstStyle/>
          <a:p>
            <a:r>
              <a:rPr lang="en-US" dirty="0"/>
              <a:t>SQL encryption</a:t>
            </a:r>
            <a:br>
              <a:rPr lang="en-US" dirty="0"/>
            </a:br>
            <a:r>
              <a:rPr lang="en-US" sz="3200" spc="0" dirty="0">
                <a:solidFill>
                  <a:schemeClr val="tx2"/>
                </a:solidFill>
                <a:cs typeface="+mn-cs"/>
              </a:rPr>
              <a:t>Transparent Data Encryption (TDE)</a:t>
            </a:r>
            <a:endParaRPr lang="en-US" sz="3600" spc="0" dirty="0">
              <a:solidFill>
                <a:schemeClr val="tx2"/>
              </a:solidFill>
              <a:cs typeface="+mn-cs"/>
            </a:endParaRPr>
          </a:p>
        </p:txBody>
      </p:sp>
    </p:spTree>
    <p:extLst>
      <p:ext uri="{BB962C8B-B14F-4D97-AF65-F5344CB8AC3E}">
        <p14:creationId xmlns:p14="http://schemas.microsoft.com/office/powerpoint/2010/main" val="38648415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QL encryption</a:t>
            </a:r>
            <a:br>
              <a:rPr lang="en-US" dirty="0"/>
            </a:br>
            <a:r>
              <a:rPr lang="en-US" dirty="0"/>
              <a:t> </a:t>
            </a:r>
          </a:p>
        </p:txBody>
      </p:sp>
      <p:graphicFrame>
        <p:nvGraphicFramePr>
          <p:cNvPr id="4" name="Table 3"/>
          <p:cNvGraphicFramePr>
            <a:graphicFrameLocks noGrp="1"/>
          </p:cNvGraphicFramePr>
          <p:nvPr>
            <p:extLst/>
          </p:nvPr>
        </p:nvGraphicFramePr>
        <p:xfrm>
          <a:off x="718331" y="1668462"/>
          <a:ext cx="10756913" cy="4196179"/>
        </p:xfrm>
        <a:graphic>
          <a:graphicData uri="http://schemas.openxmlformats.org/drawingml/2006/table">
            <a:tbl>
              <a:tblPr firstRow="1" bandRow="1">
                <a:tableStyleId>{5C22544A-7EE6-4342-B048-85BDC9FD1C3A}</a:tableStyleId>
              </a:tblPr>
              <a:tblGrid>
                <a:gridCol w="2826526">
                  <a:extLst>
                    <a:ext uri="{9D8B030D-6E8A-4147-A177-3AD203B41FA5}">
                      <a16:colId xmlns:a16="http://schemas.microsoft.com/office/drawing/2014/main" val="1171548321"/>
                    </a:ext>
                  </a:extLst>
                </a:gridCol>
                <a:gridCol w="2377420">
                  <a:extLst>
                    <a:ext uri="{9D8B030D-6E8A-4147-A177-3AD203B41FA5}">
                      <a16:colId xmlns:a16="http://schemas.microsoft.com/office/drawing/2014/main" val="2011962583"/>
                    </a:ext>
                  </a:extLst>
                </a:gridCol>
                <a:gridCol w="2601973">
                  <a:extLst>
                    <a:ext uri="{9D8B030D-6E8A-4147-A177-3AD203B41FA5}">
                      <a16:colId xmlns:a16="http://schemas.microsoft.com/office/drawing/2014/main" val="1437324498"/>
                    </a:ext>
                  </a:extLst>
                </a:gridCol>
                <a:gridCol w="2950994">
                  <a:extLst>
                    <a:ext uri="{9D8B030D-6E8A-4147-A177-3AD203B41FA5}">
                      <a16:colId xmlns:a16="http://schemas.microsoft.com/office/drawing/2014/main" val="553041569"/>
                    </a:ext>
                  </a:extLst>
                </a:gridCol>
              </a:tblGrid>
              <a:tr h="652739">
                <a:tc>
                  <a:txBody>
                    <a:bodyPr/>
                    <a:lstStyle/>
                    <a:p>
                      <a:r>
                        <a:rPr lang="en-US" sz="1800" b="0" i="0" dirty="0">
                          <a:latin typeface="Segoe UI Semibold" panose="020B0702040204020203" pitchFamily="34" charset="0"/>
                          <a:cs typeface="Segoe UI Semibold" panose="020B0702040204020203" pitchFamily="34" charset="0"/>
                        </a:rPr>
                        <a:t>Product</a:t>
                      </a:r>
                    </a:p>
                  </a:txBody>
                  <a:tcPr marL="93248" marR="93248" marT="46624" marB="46624"/>
                </a:tc>
                <a:tc>
                  <a:txBody>
                    <a:bodyPr/>
                    <a:lstStyle/>
                    <a:p>
                      <a:r>
                        <a:rPr lang="en-US" sz="1800" b="0" i="0" dirty="0">
                          <a:latin typeface="Segoe UI Semibold" panose="020B0702040204020203" pitchFamily="34" charset="0"/>
                          <a:cs typeface="Segoe UI Semibold" panose="020B0702040204020203" pitchFamily="34" charset="0"/>
                        </a:rPr>
                        <a:t>Encryption class</a:t>
                      </a:r>
                    </a:p>
                  </a:txBody>
                  <a:tcPr marL="93248" marR="93248" marT="46624" marB="46624"/>
                </a:tc>
                <a:tc>
                  <a:txBody>
                    <a:bodyPr/>
                    <a:lstStyle/>
                    <a:p>
                      <a:r>
                        <a:rPr lang="en-US" sz="1800" b="0" i="0" dirty="0">
                          <a:latin typeface="Segoe UI Semibold" panose="020B0702040204020203" pitchFamily="34" charset="0"/>
                          <a:cs typeface="Segoe UI Semibold" panose="020B0702040204020203" pitchFamily="34" charset="0"/>
                        </a:rPr>
                        <a:t>Key management</a:t>
                      </a:r>
                    </a:p>
                  </a:txBody>
                  <a:tcPr marL="93248" marR="93248" marT="46624" marB="46624"/>
                </a:tc>
                <a:tc>
                  <a:txBody>
                    <a:bodyPr/>
                    <a:lstStyle/>
                    <a:p>
                      <a:r>
                        <a:rPr lang="en-US" sz="1800" b="0" i="0" dirty="0">
                          <a:latin typeface="Segoe UI Semibold" panose="020B0702040204020203" pitchFamily="34" charset="0"/>
                          <a:cs typeface="Segoe UI Semibold" panose="020B0702040204020203" pitchFamily="34" charset="0"/>
                        </a:rPr>
                        <a:t>Feature name</a:t>
                      </a:r>
                    </a:p>
                  </a:txBody>
                  <a:tcPr marL="93248" marR="93248" marT="46624" marB="46624"/>
                </a:tc>
                <a:extLst>
                  <a:ext uri="{0D108BD9-81ED-4DB2-BD59-A6C34878D82A}">
                    <a16:rowId xmlns:a16="http://schemas.microsoft.com/office/drawing/2014/main" val="675336801"/>
                  </a:ext>
                </a:extLst>
              </a:tr>
              <a:tr h="652739">
                <a:tc>
                  <a:txBody>
                    <a:bodyPr/>
                    <a:lstStyle/>
                    <a:p>
                      <a:r>
                        <a:rPr lang="en-US" sz="1600" dirty="0">
                          <a:latin typeface="Segoe UI" panose="020B0502040204020203" pitchFamily="34" charset="0"/>
                          <a:cs typeface="Segoe UI" panose="020B0502040204020203" pitchFamily="34" charset="0"/>
                        </a:rPr>
                        <a:t>SQL Server </a:t>
                      </a:r>
                      <a:r>
                        <a:rPr lang="en-US" sz="1600" baseline="0" dirty="0">
                          <a:latin typeface="Segoe UI" panose="020B0502040204020203" pitchFamily="34" charset="0"/>
                          <a:cs typeface="Segoe UI" panose="020B0502040204020203" pitchFamily="34" charset="0"/>
                        </a:rPr>
                        <a:t>(IaaS)</a:t>
                      </a:r>
                      <a:endParaRPr lang="en-US" sz="1600" dirty="0">
                        <a:latin typeface="Segoe UI" panose="020B0502040204020203" pitchFamily="34" charset="0"/>
                        <a:cs typeface="Segoe UI" panose="020B0502040204020203" pitchFamily="34" charset="0"/>
                      </a:endParaRPr>
                    </a:p>
                  </a:txBody>
                  <a:tcPr marL="93248" marR="93248" marT="46624" marB="46624"/>
                </a:tc>
                <a:tc>
                  <a:txBody>
                    <a:bodyPr/>
                    <a:lstStyle/>
                    <a:p>
                      <a:r>
                        <a:rPr lang="en-US" sz="1600" dirty="0">
                          <a:latin typeface="Segoe UI" panose="020B0502040204020203" pitchFamily="34" charset="0"/>
                          <a:cs typeface="Segoe UI" panose="020B0502040204020203" pitchFamily="34" charset="0"/>
                        </a:rPr>
                        <a:t>Client-side</a:t>
                      </a:r>
                    </a:p>
                  </a:txBody>
                  <a:tcPr marL="93248" marR="93248" marT="46624" marB="46624"/>
                </a:tc>
                <a:tc>
                  <a:txBody>
                    <a:bodyPr/>
                    <a:lstStyle/>
                    <a:p>
                      <a:r>
                        <a:rPr lang="en-US" sz="1600" dirty="0">
                          <a:latin typeface="Segoe UI" panose="020B0502040204020203" pitchFamily="34" charset="0"/>
                          <a:cs typeface="Segoe UI" panose="020B0502040204020203" pitchFamily="34" charset="0"/>
                        </a:rPr>
                        <a:t>Customer-managed</a:t>
                      </a:r>
                    </a:p>
                  </a:txBody>
                  <a:tcPr marL="93248" marR="93248" marT="46624" marB="46624"/>
                </a:tc>
                <a:tc>
                  <a:txBody>
                    <a:bodyPr/>
                    <a:lstStyle/>
                    <a:p>
                      <a:r>
                        <a:rPr lang="en-US" sz="1600" dirty="0">
                          <a:latin typeface="Segoe UI" panose="020B0502040204020203" pitchFamily="34" charset="0"/>
                          <a:cs typeface="Segoe UI" panose="020B0502040204020203" pitchFamily="34" charset="0"/>
                        </a:rPr>
                        <a:t>Always Encrypted</a:t>
                      </a:r>
                    </a:p>
                  </a:txBody>
                  <a:tcPr marL="93248" marR="93248" marT="46624" marB="46624"/>
                </a:tc>
                <a:extLst>
                  <a:ext uri="{0D108BD9-81ED-4DB2-BD59-A6C34878D82A}">
                    <a16:rowId xmlns:a16="http://schemas.microsoft.com/office/drawing/2014/main" val="2351882906"/>
                  </a:ext>
                </a:extLst>
              </a:tr>
              <a:tr h="652739">
                <a:tc>
                  <a:txBody>
                    <a:bodyPr/>
                    <a:lstStyle/>
                    <a:p>
                      <a:r>
                        <a:rPr lang="en-US" sz="1600" dirty="0">
                          <a:latin typeface="Segoe UI" panose="020B0502040204020203" pitchFamily="34" charset="0"/>
                          <a:cs typeface="Segoe UI" panose="020B0502040204020203" pitchFamily="34" charset="0"/>
                        </a:rPr>
                        <a:t>SQL Server (IaaS)</a:t>
                      </a:r>
                    </a:p>
                  </a:txBody>
                  <a:tcPr marL="93248" marR="93248" marT="46624" marB="46624"/>
                </a:tc>
                <a:tc>
                  <a:txBody>
                    <a:bodyPr/>
                    <a:lstStyle/>
                    <a:p>
                      <a:r>
                        <a:rPr lang="en-US" sz="1600" dirty="0">
                          <a:latin typeface="Segoe UI" panose="020B0502040204020203" pitchFamily="34" charset="0"/>
                          <a:cs typeface="Segoe UI" panose="020B0502040204020203" pitchFamily="34" charset="0"/>
                        </a:rPr>
                        <a:t>Server-side</a:t>
                      </a:r>
                    </a:p>
                  </a:txBody>
                  <a:tcPr marL="93248" marR="93248" marT="46624" marB="46624"/>
                </a:tc>
                <a:tc>
                  <a:txBody>
                    <a:bodyPr/>
                    <a:lstStyle/>
                    <a:p>
                      <a:r>
                        <a:rPr lang="en-US" sz="1600" dirty="0">
                          <a:latin typeface="Segoe UI" panose="020B0502040204020203" pitchFamily="34" charset="0"/>
                          <a:cs typeface="Segoe UI" panose="020B0502040204020203" pitchFamily="34" charset="0"/>
                        </a:rPr>
                        <a:t>Customer-managed</a:t>
                      </a:r>
                    </a:p>
                  </a:txBody>
                  <a:tcPr marL="93248" marR="93248" marT="46624" marB="46624"/>
                </a:tc>
                <a:tc>
                  <a:txBody>
                    <a:bodyPr/>
                    <a:lstStyle/>
                    <a:p>
                      <a:r>
                        <a:rPr lang="en-US" sz="1600" dirty="0">
                          <a:latin typeface="Segoe UI" panose="020B0502040204020203" pitchFamily="34" charset="0"/>
                          <a:cs typeface="Segoe UI" panose="020B0502040204020203" pitchFamily="34" charset="0"/>
                        </a:rPr>
                        <a:t>SQL Connector for AKV</a:t>
                      </a:r>
                    </a:p>
                  </a:txBody>
                  <a:tcPr marL="93248" marR="93248" marT="46624" marB="46624"/>
                </a:tc>
                <a:extLst>
                  <a:ext uri="{0D108BD9-81ED-4DB2-BD59-A6C34878D82A}">
                    <a16:rowId xmlns:a16="http://schemas.microsoft.com/office/drawing/2014/main" val="2308135826"/>
                  </a:ext>
                </a:extLst>
              </a:tr>
              <a:tr h="652739">
                <a:tc>
                  <a:txBody>
                    <a:bodyPr/>
                    <a:lstStyle/>
                    <a:p>
                      <a:r>
                        <a:rPr lang="en-US" sz="1600" dirty="0">
                          <a:latin typeface="Segoe UI" panose="020B0502040204020203" pitchFamily="34" charset="0"/>
                          <a:cs typeface="Segoe UI" panose="020B0502040204020203" pitchFamily="34" charset="0"/>
                        </a:rPr>
                        <a:t>Azure SQL DB (PaaS)</a:t>
                      </a:r>
                    </a:p>
                  </a:txBody>
                  <a:tcPr marL="93248" marR="93248" marT="46624" marB="46624"/>
                </a:tc>
                <a:tc>
                  <a:txBody>
                    <a:bodyPr/>
                    <a:lstStyle/>
                    <a:p>
                      <a:r>
                        <a:rPr lang="en-US" sz="1600" dirty="0">
                          <a:latin typeface="Segoe UI" panose="020B0502040204020203" pitchFamily="34" charset="0"/>
                          <a:cs typeface="Segoe UI" panose="020B0502040204020203" pitchFamily="34" charset="0"/>
                        </a:rPr>
                        <a:t>Client-side</a:t>
                      </a:r>
                    </a:p>
                  </a:txBody>
                  <a:tcPr marL="93248" marR="93248" marT="46624" marB="46624"/>
                </a:tc>
                <a:tc>
                  <a:txBody>
                    <a:bodyPr/>
                    <a:lstStyle/>
                    <a:p>
                      <a:r>
                        <a:rPr lang="en-US" sz="1600" dirty="0">
                          <a:latin typeface="Segoe UI" panose="020B0502040204020203" pitchFamily="34" charset="0"/>
                          <a:cs typeface="Segoe UI" panose="020B0502040204020203" pitchFamily="34" charset="0"/>
                        </a:rPr>
                        <a:t>Customer-managed</a:t>
                      </a:r>
                    </a:p>
                  </a:txBody>
                  <a:tcPr marL="93248" marR="93248" marT="46624" marB="46624"/>
                </a:tc>
                <a:tc>
                  <a:txBody>
                    <a:bodyPr/>
                    <a:lstStyle/>
                    <a:p>
                      <a:r>
                        <a:rPr lang="en-US" sz="1600" dirty="0">
                          <a:latin typeface="Segoe UI" panose="020B0502040204020203" pitchFamily="34" charset="0"/>
                          <a:cs typeface="Segoe UI" panose="020B0502040204020203" pitchFamily="34" charset="0"/>
                        </a:rPr>
                        <a:t>Always Encrypted</a:t>
                      </a:r>
                    </a:p>
                  </a:txBody>
                  <a:tcPr marL="93248" marR="93248" marT="46624" marB="46624"/>
                </a:tc>
                <a:extLst>
                  <a:ext uri="{0D108BD9-81ED-4DB2-BD59-A6C34878D82A}">
                    <a16:rowId xmlns:a16="http://schemas.microsoft.com/office/drawing/2014/main" val="15590922"/>
                  </a:ext>
                </a:extLst>
              </a:tr>
              <a:tr h="652739">
                <a:tc>
                  <a:txBody>
                    <a:bodyPr/>
                    <a:lstStyle/>
                    <a:p>
                      <a:r>
                        <a:rPr lang="en-US" sz="1600" dirty="0">
                          <a:latin typeface="Segoe UI" panose="020B0502040204020203" pitchFamily="34" charset="0"/>
                          <a:cs typeface="Segoe UI" panose="020B0502040204020203" pitchFamily="34" charset="0"/>
                        </a:rPr>
                        <a:t>Azure SQL DB (PaaS)</a:t>
                      </a:r>
                    </a:p>
                  </a:txBody>
                  <a:tcPr marL="93248" marR="93248" marT="46624" marB="46624"/>
                </a:tc>
                <a:tc>
                  <a:txBody>
                    <a:bodyPr/>
                    <a:lstStyle/>
                    <a:p>
                      <a:r>
                        <a:rPr lang="en-US" sz="1600" dirty="0">
                          <a:latin typeface="Segoe UI" panose="020B0502040204020203" pitchFamily="34" charset="0"/>
                          <a:cs typeface="Segoe UI" panose="020B0502040204020203" pitchFamily="34" charset="0"/>
                        </a:rPr>
                        <a:t>Server-side</a:t>
                      </a:r>
                    </a:p>
                  </a:txBody>
                  <a:tcPr marL="93248" marR="93248" marT="46624" marB="46624"/>
                </a:tc>
                <a:tc>
                  <a:txBody>
                    <a:bodyPr/>
                    <a:lstStyle/>
                    <a:p>
                      <a:r>
                        <a:rPr lang="en-US" sz="1600" dirty="0">
                          <a:latin typeface="Segoe UI" panose="020B0502040204020203" pitchFamily="34" charset="0"/>
                          <a:cs typeface="Segoe UI" panose="020B0502040204020203" pitchFamily="34" charset="0"/>
                        </a:rPr>
                        <a:t>Service-managed</a:t>
                      </a:r>
                    </a:p>
                  </a:txBody>
                  <a:tcPr marL="93248" marR="93248" marT="46624" marB="46624"/>
                </a:tc>
                <a:tc>
                  <a:txBody>
                    <a:bodyPr/>
                    <a:lstStyle/>
                    <a:p>
                      <a:r>
                        <a:rPr lang="en-US" sz="1600" dirty="0">
                          <a:latin typeface="Segoe UI" panose="020B0502040204020203" pitchFamily="34" charset="0"/>
                          <a:cs typeface="Segoe UI" panose="020B0502040204020203" pitchFamily="34" charset="0"/>
                        </a:rPr>
                        <a:t>TDE for Azure SQL DB</a:t>
                      </a:r>
                    </a:p>
                  </a:txBody>
                  <a:tcPr marL="93248" marR="93248" marT="46624" marB="46624"/>
                </a:tc>
                <a:extLst>
                  <a:ext uri="{0D108BD9-81ED-4DB2-BD59-A6C34878D82A}">
                    <a16:rowId xmlns:a16="http://schemas.microsoft.com/office/drawing/2014/main" val="2827506205"/>
                  </a:ext>
                </a:extLst>
              </a:tr>
              <a:tr h="932484">
                <a:tc>
                  <a:txBody>
                    <a:bodyPr/>
                    <a:lstStyle/>
                    <a:p>
                      <a:r>
                        <a:rPr lang="en-US" sz="1600" dirty="0">
                          <a:latin typeface="Segoe UI" panose="020B0502040204020203" pitchFamily="34" charset="0"/>
                          <a:cs typeface="Segoe UI" panose="020B0502040204020203" pitchFamily="34" charset="0"/>
                        </a:rPr>
                        <a:t>Azure SQL DB (PaaS)</a:t>
                      </a:r>
                    </a:p>
                  </a:txBody>
                  <a:tcPr marL="93248" marR="93248" marT="46624" marB="46624"/>
                </a:tc>
                <a:tc>
                  <a:txBody>
                    <a:bodyPr/>
                    <a:lstStyle/>
                    <a:p>
                      <a:r>
                        <a:rPr lang="en-US" sz="1600" dirty="0">
                          <a:latin typeface="Segoe UI" panose="020B0502040204020203" pitchFamily="34" charset="0"/>
                          <a:cs typeface="Segoe UI" panose="020B0502040204020203" pitchFamily="34" charset="0"/>
                        </a:rPr>
                        <a:t>Server-side</a:t>
                      </a:r>
                    </a:p>
                  </a:txBody>
                  <a:tcPr marL="93248" marR="93248" marT="46624" marB="46624"/>
                </a:tc>
                <a:tc>
                  <a:txBody>
                    <a:bodyPr/>
                    <a:lstStyle/>
                    <a:p>
                      <a:r>
                        <a:rPr lang="en-US" sz="1600" dirty="0">
                          <a:latin typeface="Segoe UI" panose="020B0502040204020203" pitchFamily="34" charset="0"/>
                          <a:cs typeface="Segoe UI" panose="020B0502040204020203" pitchFamily="34" charset="0"/>
                        </a:rPr>
                        <a:t>Customer-managed</a:t>
                      </a:r>
                    </a:p>
                  </a:txBody>
                  <a:tcPr marL="93248" marR="93248" marT="46624" marB="46624"/>
                </a:tc>
                <a:tc>
                  <a:txBody>
                    <a:bodyPr/>
                    <a:lstStyle/>
                    <a:p>
                      <a:r>
                        <a:rPr lang="en-US" sz="1600" dirty="0">
                          <a:latin typeface="Segoe UI" panose="020B0502040204020203" pitchFamily="34" charset="0"/>
                          <a:cs typeface="Segoe UI" panose="020B0502040204020203" pitchFamily="34" charset="0"/>
                        </a:rPr>
                        <a:t>TDE for Azure SQL DB with AKV</a:t>
                      </a:r>
                    </a:p>
                  </a:txBody>
                  <a:tcPr marL="93248" marR="93248" marT="46624" marB="46624"/>
                </a:tc>
                <a:extLst>
                  <a:ext uri="{0D108BD9-81ED-4DB2-BD59-A6C34878D82A}">
                    <a16:rowId xmlns:a16="http://schemas.microsoft.com/office/drawing/2014/main" val="2704859777"/>
                  </a:ext>
                </a:extLst>
              </a:tr>
            </a:tbl>
          </a:graphicData>
        </a:graphic>
      </p:graphicFrame>
    </p:spTree>
    <p:extLst>
      <p:ext uri="{BB962C8B-B14F-4D97-AF65-F5344CB8AC3E}">
        <p14:creationId xmlns:p14="http://schemas.microsoft.com/office/powerpoint/2010/main" val="3260784875"/>
      </p:ext>
    </p:extLst>
  </p:cSld>
  <p:clrMapOvr>
    <a:masterClrMapping/>
  </p:clrMapOvr>
  <p:transition>
    <p:fade/>
  </p:transition>
</p:sld>
</file>

<file path=ppt/slides/slide9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ompute IaaS and PaaS</a:t>
            </a:r>
          </a:p>
        </p:txBody>
      </p:sp>
      <p:sp>
        <p:nvSpPr>
          <p:cNvPr id="29" name="TextBox 28"/>
          <p:cNvSpPr txBox="1"/>
          <p:nvPr/>
        </p:nvSpPr>
        <p:spPr>
          <a:xfrm>
            <a:off x="378869" y="1375914"/>
            <a:ext cx="5537837" cy="4798975"/>
          </a:xfrm>
          <a:prstGeom prst="rect">
            <a:avLst/>
          </a:prstGeom>
          <a:noFill/>
        </p:spPr>
        <p:txBody>
          <a:bodyPr wrap="square" lIns="182828" tIns="146262" rIns="182828" bIns="146262" rtlCol="0">
            <a:noAutofit/>
          </a:bodyPr>
          <a:lstStyle/>
          <a:p>
            <a:pPr marL="342900" indent="-342900" defTabSz="932324">
              <a:spcBef>
                <a:spcPct val="20000"/>
              </a:spcBef>
              <a:spcAft>
                <a:spcPts val="1198"/>
              </a:spcAft>
              <a:buSzPct val="80000"/>
              <a:buFont typeface="Arial" panose="020B0604020202020204" pitchFamily="34" charset="0"/>
              <a:buChar char="•"/>
            </a:pPr>
            <a:r>
              <a:rPr lang="en-US" sz="2400" spc="-50" dirty="0">
                <a:latin typeface="Segoe UI Light"/>
              </a:rPr>
              <a:t>Many organizations require a transition to adopt a fully outsourced model</a:t>
            </a:r>
          </a:p>
          <a:p>
            <a:pPr marL="342900" indent="-342900" defTabSz="932324">
              <a:spcBef>
                <a:spcPct val="20000"/>
              </a:spcBef>
              <a:spcAft>
                <a:spcPts val="1198"/>
              </a:spcAft>
              <a:buSzPct val="80000"/>
              <a:buFont typeface="Arial" panose="020B0604020202020204" pitchFamily="34" charset="0"/>
              <a:buChar char="•"/>
            </a:pPr>
            <a:r>
              <a:rPr lang="en-US" sz="2400" spc="-50" dirty="0">
                <a:latin typeface="Segoe UI Light"/>
              </a:rPr>
              <a:t>Lines of division between IaaS and </a:t>
            </a:r>
            <a:br>
              <a:rPr lang="en-US" sz="2400" spc="-50" dirty="0">
                <a:latin typeface="Segoe UI Light"/>
              </a:rPr>
            </a:br>
            <a:r>
              <a:rPr lang="en-US" sz="2400" spc="-50" dirty="0">
                <a:latin typeface="Segoe UI Light"/>
              </a:rPr>
              <a:t>PaaS responsibilities are blurred in applications that use both constructs</a:t>
            </a:r>
          </a:p>
          <a:p>
            <a:pPr marL="342900" indent="-342900" defTabSz="932324">
              <a:spcBef>
                <a:spcPct val="20000"/>
              </a:spcBef>
              <a:spcAft>
                <a:spcPts val="1198"/>
              </a:spcAft>
              <a:buSzPct val="80000"/>
              <a:buFont typeface="Arial" panose="020B0604020202020204" pitchFamily="34" charset="0"/>
              <a:buChar char="•"/>
            </a:pPr>
            <a:r>
              <a:rPr lang="en-US" sz="2400" spc="-50" dirty="0">
                <a:latin typeface="Segoe UI Light"/>
              </a:rPr>
              <a:t>While PaaS is typically the goal, IaaS </a:t>
            </a:r>
            <a:br>
              <a:rPr lang="en-US" sz="2400" spc="-50" dirty="0">
                <a:latin typeface="Segoe UI Light"/>
              </a:rPr>
            </a:br>
            <a:r>
              <a:rPr lang="en-US" sz="2400" spc="-50" dirty="0">
                <a:latin typeface="Segoe UI Light"/>
              </a:rPr>
              <a:t>is a current reality most workloads </a:t>
            </a:r>
            <a:br>
              <a:rPr lang="en-US" sz="2400" spc="-50" dirty="0">
                <a:latin typeface="Segoe UI Light"/>
              </a:rPr>
            </a:br>
            <a:r>
              <a:rPr lang="en-US" sz="2400" spc="-50" dirty="0">
                <a:latin typeface="Segoe UI Light"/>
              </a:rPr>
              <a:t>both require and understand for </a:t>
            </a:r>
            <a:br>
              <a:rPr lang="en-US" sz="2400" spc="-50" dirty="0">
                <a:latin typeface="Segoe UI Light"/>
              </a:rPr>
            </a:br>
            <a:r>
              <a:rPr lang="en-US" sz="2400" spc="-50" dirty="0">
                <a:latin typeface="Segoe UI Light"/>
              </a:rPr>
              <a:t>some functions</a:t>
            </a:r>
          </a:p>
          <a:p>
            <a:pPr marL="342900" indent="-342900" defTabSz="932324">
              <a:spcBef>
                <a:spcPct val="20000"/>
              </a:spcBef>
              <a:spcAft>
                <a:spcPts val="1198"/>
              </a:spcAft>
              <a:buSzPct val="80000"/>
              <a:buFont typeface="Arial" panose="020B0604020202020204" pitchFamily="34" charset="0"/>
              <a:buChar char="•"/>
            </a:pPr>
            <a:endParaRPr lang="en-US" sz="2400" spc="-50" dirty="0">
              <a:latin typeface="Segoe UI Light"/>
            </a:endParaRPr>
          </a:p>
        </p:txBody>
      </p:sp>
      <p:pic>
        <p:nvPicPr>
          <p:cNvPr id="7" name="Picture 6"/>
          <p:cNvPicPr>
            <a:picLocks noChangeAspect="1"/>
          </p:cNvPicPr>
          <p:nvPr/>
        </p:nvPicPr>
        <p:blipFill>
          <a:blip r:embed="rId3"/>
          <a:stretch>
            <a:fillRect/>
          </a:stretch>
        </p:blipFill>
        <p:spPr>
          <a:xfrm>
            <a:off x="6793875" y="1519648"/>
            <a:ext cx="4030500" cy="3429265"/>
          </a:xfrm>
          <a:prstGeom prst="rect">
            <a:avLst/>
          </a:prstGeom>
        </p:spPr>
      </p:pic>
    </p:spTree>
    <p:extLst>
      <p:ext uri="{BB962C8B-B14F-4D97-AF65-F5344CB8AC3E}">
        <p14:creationId xmlns:p14="http://schemas.microsoft.com/office/powerpoint/2010/main" val="312842336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9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366169" y="1212851"/>
            <a:ext cx="11484455" cy="3508653"/>
          </a:xfrm>
        </p:spPr>
        <p:txBody>
          <a:bodyPr/>
          <a:lstStyle/>
          <a:p>
            <a:pPr marL="342900" indent="-342900">
              <a:buSzPct val="75000"/>
            </a:pPr>
            <a:r>
              <a:rPr lang="en-US" dirty="0"/>
              <a:t>Does app require third party components?</a:t>
            </a:r>
          </a:p>
          <a:p>
            <a:pPr marL="342900" indent="-342900">
              <a:buSzPct val="75000"/>
            </a:pPr>
            <a:r>
              <a:rPr lang="en-US" dirty="0"/>
              <a:t>Do security requirements mandate the use of third party monitoring software?</a:t>
            </a:r>
          </a:p>
          <a:p>
            <a:pPr marL="342900" indent="-342900">
              <a:buSzPct val="75000"/>
            </a:pPr>
            <a:r>
              <a:rPr lang="en-US" dirty="0"/>
              <a:t>Does app require specific framework configurations?</a:t>
            </a:r>
          </a:p>
          <a:p>
            <a:pPr marL="342900" indent="-342900">
              <a:buSzPct val="75000"/>
            </a:pPr>
            <a:r>
              <a:rPr lang="en-US" dirty="0"/>
              <a:t>The more customization that is required, the more one moves towards IaaS and away from PaaS.</a:t>
            </a:r>
          </a:p>
        </p:txBody>
      </p:sp>
      <p:sp>
        <p:nvSpPr>
          <p:cNvPr id="3" name="Title 2"/>
          <p:cNvSpPr>
            <a:spLocks noGrp="1"/>
          </p:cNvSpPr>
          <p:nvPr>
            <p:ph type="title"/>
          </p:nvPr>
        </p:nvSpPr>
        <p:spPr/>
        <p:txBody>
          <a:bodyPr/>
          <a:lstStyle/>
          <a:p>
            <a:r>
              <a:rPr lang="en-CA" sz="5400" dirty="0"/>
              <a:t>How to decide?</a:t>
            </a:r>
            <a:endParaRPr lang="en-US" sz="5400" dirty="0"/>
          </a:p>
        </p:txBody>
      </p:sp>
    </p:spTree>
    <p:extLst>
      <p:ext uri="{BB962C8B-B14F-4D97-AF65-F5344CB8AC3E}">
        <p14:creationId xmlns:p14="http://schemas.microsoft.com/office/powerpoint/2010/main" val="351749895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9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CA" sz="5400" dirty="0"/>
              <a:t>PaaS considerations</a:t>
            </a:r>
            <a:endParaRPr lang="en-US" sz="5400" dirty="0"/>
          </a:p>
        </p:txBody>
      </p:sp>
      <p:sp>
        <p:nvSpPr>
          <p:cNvPr id="6" name="Rounded Rectangle 7"/>
          <p:cNvSpPr/>
          <p:nvPr/>
        </p:nvSpPr>
        <p:spPr bwMode="auto">
          <a:xfrm rot="16200000">
            <a:off x="1616490" y="2053502"/>
            <a:ext cx="1314907" cy="741905"/>
          </a:xfrm>
          <a:prstGeom prst="roundRect">
            <a:avLst/>
          </a:prstGeom>
          <a:solidFill>
            <a:schemeClr val="accent6"/>
          </a:solidFill>
          <a:ln>
            <a:noFill/>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0" tIns="34975" rIns="0" bIns="34975" numCol="1" rtlCol="0" anchor="t" anchorCtr="0" compatLnSpc="1">
            <a:prstTxWarp prst="textNoShape">
              <a:avLst/>
            </a:prstTxWarp>
          </a:bodyPr>
          <a:lstStyle/>
          <a:p>
            <a:pPr lvl="0" algn="ctr"/>
            <a:r>
              <a:rPr lang="en-US" sz="2100" dirty="0">
                <a:solidFill>
                  <a:schemeClr val="bg1"/>
                </a:solidFill>
                <a:latin typeface="Segoe UI Semibold" panose="020B0702040204020203" pitchFamily="34" charset="0"/>
                <a:cs typeface="Segoe UI Semibold" panose="020B0702040204020203" pitchFamily="34" charset="0"/>
              </a:rPr>
              <a:t>Deploy</a:t>
            </a:r>
          </a:p>
        </p:txBody>
      </p:sp>
      <p:sp>
        <p:nvSpPr>
          <p:cNvPr id="7" name="Rounded Rectangle 6"/>
          <p:cNvSpPr/>
          <p:nvPr/>
        </p:nvSpPr>
        <p:spPr bwMode="auto">
          <a:xfrm>
            <a:off x="2360150" y="1765162"/>
            <a:ext cx="7771739" cy="1316747"/>
          </a:xfrm>
          <a:prstGeom prst="roundRect">
            <a:avLst/>
          </a:prstGeom>
          <a:solidFill>
            <a:schemeClr val="tx1">
              <a:lumMod val="95000"/>
            </a:schemeClr>
          </a:solidFill>
          <a:ln>
            <a:noFill/>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0" tIns="34975" rIns="0" bIns="34975" numCol="1" rtlCol="0" anchor="ctr" anchorCtr="0" compatLnSpc="1">
            <a:prstTxWarp prst="textNoShape">
              <a:avLst/>
            </a:prstTxWarp>
          </a:bodyPr>
          <a:lstStyle/>
          <a:p>
            <a:pPr lvl="0"/>
            <a:r>
              <a:rPr lang="en-US" dirty="0">
                <a:solidFill>
                  <a:schemeClr val="bg1"/>
                </a:solidFill>
                <a:latin typeface="+mj-lt"/>
              </a:rPr>
              <a:t>  Understand tradeoffs and decision points on the following:</a:t>
            </a:r>
          </a:p>
          <a:p>
            <a:pPr marL="606857" lvl="1" indent="-257135">
              <a:buFont typeface="Arial" panose="020B0604020202020204" pitchFamily="34" charset="0"/>
              <a:buChar char="•"/>
            </a:pPr>
            <a:r>
              <a:rPr lang="en-US" sz="1500" dirty="0">
                <a:solidFill>
                  <a:schemeClr val="bg1"/>
                </a:solidFill>
                <a:latin typeface="+mj-lt"/>
              </a:rPr>
              <a:t>Upgrade domains</a:t>
            </a:r>
          </a:p>
          <a:p>
            <a:pPr marL="606857" lvl="1" indent="-257135">
              <a:buFont typeface="Arial" panose="020B0604020202020204" pitchFamily="34" charset="0"/>
              <a:buChar char="•"/>
            </a:pPr>
            <a:r>
              <a:rPr lang="en-US" sz="1500" dirty="0">
                <a:solidFill>
                  <a:schemeClr val="bg1"/>
                </a:solidFill>
                <a:latin typeface="+mj-lt"/>
              </a:rPr>
              <a:t>Deployment slots</a:t>
            </a:r>
          </a:p>
          <a:p>
            <a:pPr marL="606857" lvl="1" indent="-257135">
              <a:buFont typeface="Arial" panose="020B0604020202020204" pitchFamily="34" charset="0"/>
              <a:buChar char="•"/>
            </a:pPr>
            <a:r>
              <a:rPr lang="en-US" sz="1500" dirty="0">
                <a:solidFill>
                  <a:schemeClr val="bg1"/>
                </a:solidFill>
                <a:latin typeface="+mj-lt"/>
              </a:rPr>
              <a:t>Web deploy</a:t>
            </a:r>
          </a:p>
          <a:p>
            <a:pPr marL="606857" lvl="1" indent="-257135">
              <a:buFont typeface="Arial" panose="020B0604020202020204" pitchFamily="34" charset="0"/>
              <a:buChar char="•"/>
            </a:pPr>
            <a:r>
              <a:rPr lang="en-US" sz="1500" dirty="0">
                <a:solidFill>
                  <a:schemeClr val="bg1"/>
                </a:solidFill>
                <a:latin typeface="+mj-lt"/>
              </a:rPr>
              <a:t>Continuous integration</a:t>
            </a:r>
          </a:p>
        </p:txBody>
      </p:sp>
      <p:sp>
        <p:nvSpPr>
          <p:cNvPr id="8" name="Rounded Rectangle 8"/>
          <p:cNvSpPr/>
          <p:nvPr/>
        </p:nvSpPr>
        <p:spPr bwMode="auto">
          <a:xfrm rot="16200000">
            <a:off x="1622442" y="3442736"/>
            <a:ext cx="1314907" cy="741905"/>
          </a:xfrm>
          <a:prstGeom prst="roundRect">
            <a:avLst/>
          </a:prstGeom>
          <a:solidFill>
            <a:schemeClr val="accent4"/>
          </a:solidFill>
          <a:ln>
            <a:noFill/>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0" tIns="34975" rIns="0" bIns="34975" numCol="1" rtlCol="0" anchor="t" anchorCtr="0" compatLnSpc="1">
            <a:prstTxWarp prst="textNoShape">
              <a:avLst/>
            </a:prstTxWarp>
          </a:bodyPr>
          <a:lstStyle/>
          <a:p>
            <a:pPr lvl="0" algn="ctr"/>
            <a:r>
              <a:rPr lang="en-US" sz="2100" dirty="0">
                <a:solidFill>
                  <a:schemeClr val="bg1"/>
                </a:solidFill>
                <a:latin typeface="Segoe UI Semibold" panose="020B0702040204020203" pitchFamily="34" charset="0"/>
                <a:cs typeface="Segoe UI Semibold" panose="020B0702040204020203" pitchFamily="34" charset="0"/>
              </a:rPr>
              <a:t>Manage</a:t>
            </a:r>
          </a:p>
        </p:txBody>
      </p:sp>
      <p:sp>
        <p:nvSpPr>
          <p:cNvPr id="9" name="Rounded Rectangle 9"/>
          <p:cNvSpPr/>
          <p:nvPr/>
        </p:nvSpPr>
        <p:spPr bwMode="auto">
          <a:xfrm>
            <a:off x="2366102" y="3154394"/>
            <a:ext cx="7771739" cy="1316747"/>
          </a:xfrm>
          <a:prstGeom prst="roundRect">
            <a:avLst/>
          </a:prstGeom>
          <a:solidFill>
            <a:schemeClr val="tx1">
              <a:lumMod val="95000"/>
            </a:schemeClr>
          </a:solidFill>
          <a:ln>
            <a:noFill/>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0" tIns="34975" rIns="0" bIns="34975" numCol="1" rtlCol="0" anchor="ctr" anchorCtr="0" compatLnSpc="1">
            <a:prstTxWarp prst="textNoShape">
              <a:avLst/>
            </a:prstTxWarp>
          </a:bodyPr>
          <a:lstStyle/>
          <a:p>
            <a:pPr lvl="0"/>
            <a:r>
              <a:rPr lang="en-US" dirty="0">
                <a:solidFill>
                  <a:schemeClr val="bg1"/>
                </a:solidFill>
                <a:latin typeface="+mj-lt"/>
              </a:rPr>
              <a:t>  Understand the methods of monitoring PaaS workloads:</a:t>
            </a:r>
          </a:p>
          <a:p>
            <a:pPr marL="257135" indent="-257135">
              <a:buFont typeface="Arial" panose="020B0604020202020204" pitchFamily="34" charset="0"/>
              <a:buChar char="•"/>
            </a:pPr>
            <a:r>
              <a:rPr lang="en-US" sz="1500" dirty="0">
                <a:solidFill>
                  <a:schemeClr val="bg1"/>
                </a:solidFill>
                <a:latin typeface="+mj-lt"/>
              </a:rPr>
              <a:t>IIS Logs</a:t>
            </a:r>
          </a:p>
          <a:p>
            <a:pPr marL="257135" indent="-257135">
              <a:buFont typeface="Arial" panose="020B0604020202020204" pitchFamily="34" charset="0"/>
              <a:buChar char="•"/>
            </a:pPr>
            <a:r>
              <a:rPr lang="en-US" sz="1500" dirty="0">
                <a:solidFill>
                  <a:schemeClr val="bg1"/>
                </a:solidFill>
                <a:latin typeface="+mj-lt"/>
              </a:rPr>
              <a:t>Azure Diagnostics</a:t>
            </a:r>
          </a:p>
          <a:p>
            <a:pPr marL="257135" indent="-257135">
              <a:buFont typeface="Arial" panose="020B0604020202020204" pitchFamily="34" charset="0"/>
              <a:buChar char="•"/>
            </a:pPr>
            <a:r>
              <a:rPr lang="en-US" sz="1500" dirty="0">
                <a:solidFill>
                  <a:schemeClr val="bg1"/>
                </a:solidFill>
                <a:latin typeface="+mj-lt"/>
              </a:rPr>
              <a:t>IIS Failed Request Logs</a:t>
            </a:r>
          </a:p>
          <a:p>
            <a:pPr marL="257135" indent="-257135">
              <a:buFont typeface="Arial" panose="020B0604020202020204" pitchFamily="34" charset="0"/>
              <a:buChar char="•"/>
            </a:pPr>
            <a:r>
              <a:rPr lang="en-US" sz="1500" dirty="0">
                <a:solidFill>
                  <a:schemeClr val="bg1"/>
                </a:solidFill>
                <a:latin typeface="+mj-lt"/>
              </a:rPr>
              <a:t>Windows Event Logs</a:t>
            </a:r>
          </a:p>
        </p:txBody>
      </p:sp>
      <p:sp>
        <p:nvSpPr>
          <p:cNvPr id="10" name="Rounded Rectangle 10"/>
          <p:cNvSpPr/>
          <p:nvPr/>
        </p:nvSpPr>
        <p:spPr bwMode="auto">
          <a:xfrm rot="16200000">
            <a:off x="1593869" y="4865086"/>
            <a:ext cx="1314907" cy="741905"/>
          </a:xfrm>
          <a:prstGeom prst="roundRect">
            <a:avLst/>
          </a:prstGeom>
          <a:solidFill>
            <a:schemeClr val="accent3"/>
          </a:solidFill>
          <a:ln>
            <a:noFill/>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0" tIns="34975" rIns="0" bIns="34975" numCol="1" rtlCol="0" anchor="t" anchorCtr="0" compatLnSpc="1">
            <a:prstTxWarp prst="textNoShape">
              <a:avLst/>
            </a:prstTxWarp>
          </a:bodyPr>
          <a:lstStyle/>
          <a:p>
            <a:pPr lvl="0" algn="ctr"/>
            <a:r>
              <a:rPr lang="en-US" sz="2100" dirty="0">
                <a:solidFill>
                  <a:schemeClr val="bg1"/>
                </a:solidFill>
                <a:latin typeface="Segoe UI Semibold" panose="020B0702040204020203" pitchFamily="34" charset="0"/>
                <a:cs typeface="Segoe UI Semibold" panose="020B0702040204020203" pitchFamily="34" charset="0"/>
              </a:rPr>
              <a:t>Limits</a:t>
            </a:r>
          </a:p>
        </p:txBody>
      </p:sp>
      <p:sp>
        <p:nvSpPr>
          <p:cNvPr id="11" name="Rounded Rectangle 11"/>
          <p:cNvSpPr/>
          <p:nvPr/>
        </p:nvSpPr>
        <p:spPr bwMode="auto">
          <a:xfrm>
            <a:off x="2337531" y="4576746"/>
            <a:ext cx="7771739" cy="1316747"/>
          </a:xfrm>
          <a:prstGeom prst="roundRect">
            <a:avLst/>
          </a:prstGeom>
          <a:solidFill>
            <a:schemeClr val="tx1">
              <a:lumMod val="95000"/>
            </a:schemeClr>
          </a:solidFill>
          <a:ln>
            <a:noFill/>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0" tIns="34975" rIns="0" bIns="34975" numCol="1" rtlCol="0" anchor="ctr" anchorCtr="0" compatLnSpc="1">
            <a:prstTxWarp prst="textNoShape">
              <a:avLst/>
            </a:prstTxWarp>
          </a:bodyPr>
          <a:lstStyle/>
          <a:p>
            <a:pPr marL="257135" indent="-257135">
              <a:buFont typeface="Arial" panose="020B0604020202020204" pitchFamily="34" charset="0"/>
              <a:buChar char="•"/>
            </a:pPr>
            <a:r>
              <a:rPr lang="en-US" dirty="0">
                <a:solidFill>
                  <a:schemeClr val="bg1"/>
                </a:solidFill>
                <a:latin typeface="+mj-lt"/>
              </a:rPr>
              <a:t>Auto scaling: The application environment does not automatically increase or decrease role instances for increase or decrease in load</a:t>
            </a:r>
          </a:p>
          <a:p>
            <a:pPr marL="257135" indent="-257135">
              <a:buFont typeface="Arial" panose="020B0604020202020204" pitchFamily="34" charset="0"/>
              <a:buChar char="•"/>
            </a:pPr>
            <a:r>
              <a:rPr lang="en-US" dirty="0">
                <a:solidFill>
                  <a:schemeClr val="bg1"/>
                </a:solidFill>
                <a:latin typeface="+mj-lt"/>
              </a:rPr>
              <a:t>Load balancing: Application instances not load balanced by default</a:t>
            </a:r>
          </a:p>
          <a:p>
            <a:pPr marL="257135" indent="-257135">
              <a:buFont typeface="Arial" panose="020B0604020202020204" pitchFamily="34" charset="0"/>
              <a:buChar char="•"/>
            </a:pPr>
            <a:r>
              <a:rPr lang="en-US" dirty="0">
                <a:solidFill>
                  <a:schemeClr val="bg1"/>
                </a:solidFill>
                <a:latin typeface="+mj-lt"/>
              </a:rPr>
              <a:t>Density: Service Management total cloud services per subscription is 20</a:t>
            </a:r>
          </a:p>
        </p:txBody>
      </p:sp>
      <p:sp>
        <p:nvSpPr>
          <p:cNvPr id="12" name="Rectangle 11"/>
          <p:cNvSpPr/>
          <p:nvPr/>
        </p:nvSpPr>
        <p:spPr>
          <a:xfrm>
            <a:off x="4788819" y="3476238"/>
            <a:ext cx="2742967" cy="1015663"/>
          </a:xfrm>
          <a:prstGeom prst="rect">
            <a:avLst/>
          </a:prstGeom>
          <a:ln>
            <a:noFill/>
          </a:ln>
        </p:spPr>
        <p:txBody>
          <a:bodyPr wrap="square">
            <a:spAutoFit/>
          </a:bodyPr>
          <a:lstStyle/>
          <a:p>
            <a:pPr marL="257135" indent="-257135">
              <a:buFont typeface="Arial" panose="020B0604020202020204" pitchFamily="34" charset="0"/>
              <a:buChar char="•"/>
            </a:pPr>
            <a:r>
              <a:rPr lang="en-US" sz="1500" dirty="0">
                <a:solidFill>
                  <a:schemeClr val="bg1"/>
                </a:solidFill>
                <a:latin typeface="+mj-lt"/>
              </a:rPr>
              <a:t>Performance Counters</a:t>
            </a:r>
          </a:p>
          <a:p>
            <a:pPr marL="257135" indent="-257135">
              <a:buFont typeface="Arial" panose="020B0604020202020204" pitchFamily="34" charset="0"/>
              <a:buChar char="•"/>
            </a:pPr>
            <a:r>
              <a:rPr lang="en-US" sz="1500" dirty="0">
                <a:solidFill>
                  <a:schemeClr val="bg1"/>
                </a:solidFill>
                <a:latin typeface="+mj-lt"/>
              </a:rPr>
              <a:t>Crash Dumps</a:t>
            </a:r>
          </a:p>
          <a:p>
            <a:pPr marL="257135" indent="-257135">
              <a:buFont typeface="Arial" panose="020B0604020202020204" pitchFamily="34" charset="0"/>
              <a:buChar char="•"/>
            </a:pPr>
            <a:r>
              <a:rPr lang="en-US" sz="1500" dirty="0">
                <a:solidFill>
                  <a:schemeClr val="bg1"/>
                </a:solidFill>
                <a:latin typeface="+mj-lt"/>
              </a:rPr>
              <a:t>Custom Error Logs</a:t>
            </a:r>
          </a:p>
          <a:p>
            <a:pPr marL="257135" indent="-257135">
              <a:buFont typeface="Arial" panose="020B0604020202020204" pitchFamily="34" charset="0"/>
              <a:buChar char="•"/>
            </a:pPr>
            <a:r>
              <a:rPr lang="en-US" sz="1500" dirty="0">
                <a:solidFill>
                  <a:schemeClr val="bg1"/>
                </a:solidFill>
                <a:latin typeface="+mj-lt"/>
              </a:rPr>
              <a:t>.NET </a:t>
            </a:r>
            <a:r>
              <a:rPr lang="en-US" sz="1500" dirty="0" err="1">
                <a:solidFill>
                  <a:schemeClr val="bg1"/>
                </a:solidFill>
                <a:latin typeface="+mj-lt"/>
              </a:rPr>
              <a:t>EventSource</a:t>
            </a:r>
            <a:endParaRPr lang="en-US" sz="1500" dirty="0">
              <a:solidFill>
                <a:schemeClr val="bg1"/>
              </a:solidFill>
              <a:latin typeface="+mj-lt"/>
            </a:endParaRPr>
          </a:p>
        </p:txBody>
      </p:sp>
      <p:sp>
        <p:nvSpPr>
          <p:cNvPr id="13" name="Rectangle 12"/>
          <p:cNvSpPr/>
          <p:nvPr/>
        </p:nvSpPr>
        <p:spPr>
          <a:xfrm>
            <a:off x="7417492" y="3480700"/>
            <a:ext cx="2514386" cy="553998"/>
          </a:xfrm>
          <a:prstGeom prst="rect">
            <a:avLst/>
          </a:prstGeom>
          <a:ln>
            <a:noFill/>
          </a:ln>
        </p:spPr>
        <p:txBody>
          <a:bodyPr wrap="square">
            <a:spAutoFit/>
          </a:bodyPr>
          <a:lstStyle/>
          <a:p>
            <a:pPr marL="257135" indent="-257135">
              <a:buFont typeface="Arial" panose="020B0604020202020204" pitchFamily="34" charset="0"/>
              <a:buChar char="•"/>
            </a:pPr>
            <a:r>
              <a:rPr lang="en-US" sz="1500" dirty="0">
                <a:solidFill>
                  <a:schemeClr val="bg1"/>
                </a:solidFill>
                <a:latin typeface="+mj-lt"/>
              </a:rPr>
              <a:t>Manifest based ETW</a:t>
            </a:r>
          </a:p>
          <a:p>
            <a:pPr marL="257135" indent="-257135">
              <a:buFont typeface="Arial" panose="020B0604020202020204" pitchFamily="34" charset="0"/>
              <a:buChar char="•"/>
            </a:pPr>
            <a:r>
              <a:rPr lang="en-US" sz="1500" dirty="0">
                <a:solidFill>
                  <a:schemeClr val="bg1"/>
                </a:solidFill>
                <a:latin typeface="+mj-lt"/>
              </a:rPr>
              <a:t>Application Insights</a:t>
            </a:r>
          </a:p>
        </p:txBody>
      </p:sp>
    </p:spTree>
    <p:extLst>
      <p:ext uri="{BB962C8B-B14F-4D97-AF65-F5344CB8AC3E}">
        <p14:creationId xmlns:p14="http://schemas.microsoft.com/office/powerpoint/2010/main" val="197588210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9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366168" y="2989432"/>
            <a:ext cx="7687586" cy="2012859"/>
          </a:xfrm>
        </p:spPr>
        <p:txBody>
          <a:bodyPr/>
          <a:lstStyle/>
          <a:p>
            <a:r>
              <a:rPr lang="en-US" dirty="0"/>
              <a:t>PaaS investments on ARM and ASM</a:t>
            </a:r>
          </a:p>
        </p:txBody>
      </p:sp>
    </p:spTree>
    <p:extLst>
      <p:ext uri="{BB962C8B-B14F-4D97-AF65-F5344CB8AC3E}">
        <p14:creationId xmlns:p14="http://schemas.microsoft.com/office/powerpoint/2010/main" val="399224537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9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ompute options with ASM </a:t>
            </a:r>
          </a:p>
        </p:txBody>
      </p:sp>
      <p:sp>
        <p:nvSpPr>
          <p:cNvPr id="4" name="TextBox 3"/>
          <p:cNvSpPr txBox="1"/>
          <p:nvPr/>
        </p:nvSpPr>
        <p:spPr>
          <a:xfrm>
            <a:off x="748671" y="4639827"/>
            <a:ext cx="1269477" cy="690549"/>
          </a:xfrm>
          <a:prstGeom prst="rect">
            <a:avLst/>
          </a:prstGeom>
          <a:noFill/>
        </p:spPr>
        <p:txBody>
          <a:bodyPr lIns="182805" tIns="146243" rIns="182805" bIns="146243">
            <a:spAutoFit/>
          </a:bodyPr>
          <a:lstStyle>
            <a:defPPr>
              <a:defRPr lang="en-US"/>
            </a:defPPr>
            <a:lvl1pPr marR="0" lvl="0" indent="0" algn="ctr" defTabSz="932563" fontAlgn="auto">
              <a:lnSpc>
                <a:spcPct val="90000"/>
              </a:lnSpc>
              <a:spcBef>
                <a:spcPts val="0"/>
              </a:spcBef>
              <a:spcAft>
                <a:spcPts val="600"/>
              </a:spcAft>
              <a:buClrTx/>
              <a:buSzTx/>
              <a:buFontTx/>
              <a:buNone/>
              <a:tabLst/>
              <a:defRPr kumimoji="0" sz="1400" b="1" i="0" u="none" strike="noStrike" cap="none" spc="50" normalizeH="0">
                <a:ln>
                  <a:noFill/>
                </a:ln>
                <a:gradFill>
                  <a:gsLst>
                    <a:gs pos="11504">
                      <a:schemeClr val="accent4"/>
                    </a:gs>
                    <a:gs pos="28000">
                      <a:schemeClr val="accent4"/>
                    </a:gs>
                  </a:gsLst>
                  <a:lin ang="0" scaled="0"/>
                </a:gradFill>
                <a:effectLst/>
                <a:uLnTx/>
                <a:uFillTx/>
                <a:latin typeface="Segoe UI"/>
                <a:ea typeface="MS PGothic" pitchFamily="34" charset="-128"/>
              </a:defRPr>
            </a:lvl1pPr>
          </a:lstStyle>
          <a:p>
            <a:pPr defTabSz="932291">
              <a:spcAft>
                <a:spcPts val="0"/>
              </a:spcAft>
            </a:pPr>
            <a:r>
              <a:rPr lang="en-US" sz="1399" b="0" dirty="0">
                <a:solidFill>
                  <a:schemeClr val="tx1"/>
                </a:solidFill>
                <a:latin typeface="Segoe UI Semibold" panose="020B0702040204020203" pitchFamily="34" charset="0"/>
                <a:cs typeface="Segoe UI Semibold" panose="020B0702040204020203" pitchFamily="34" charset="0"/>
              </a:rPr>
              <a:t>Ultimate </a:t>
            </a:r>
          </a:p>
          <a:p>
            <a:pPr defTabSz="932291">
              <a:spcAft>
                <a:spcPts val="0"/>
              </a:spcAft>
            </a:pPr>
            <a:r>
              <a:rPr lang="en-US" sz="1399" b="0" dirty="0">
                <a:solidFill>
                  <a:schemeClr val="tx1"/>
                </a:solidFill>
                <a:latin typeface="Segoe UI Semibold" panose="020B0702040204020203" pitchFamily="34" charset="0"/>
                <a:cs typeface="Segoe UI Semibold" panose="020B0702040204020203" pitchFamily="34" charset="0"/>
              </a:rPr>
              <a:t>control</a:t>
            </a:r>
          </a:p>
        </p:txBody>
      </p:sp>
      <p:sp>
        <p:nvSpPr>
          <p:cNvPr id="5" name="TextBox 4"/>
          <p:cNvSpPr txBox="1"/>
          <p:nvPr/>
        </p:nvSpPr>
        <p:spPr>
          <a:xfrm>
            <a:off x="10202018" y="4703398"/>
            <a:ext cx="1942301" cy="690549"/>
          </a:xfrm>
          <a:prstGeom prst="rect">
            <a:avLst/>
          </a:prstGeom>
          <a:noFill/>
        </p:spPr>
        <p:txBody>
          <a:bodyPr lIns="182805" tIns="146243" rIns="182805" bIns="146243">
            <a:spAutoFit/>
          </a:bodyPr>
          <a:lstStyle>
            <a:defPPr>
              <a:defRPr lang="en-US"/>
            </a:defPPr>
            <a:lvl1pPr marR="0" lvl="0" indent="0" algn="ctr" defTabSz="932563" fontAlgn="auto">
              <a:lnSpc>
                <a:spcPct val="90000"/>
              </a:lnSpc>
              <a:spcBef>
                <a:spcPts val="0"/>
              </a:spcBef>
              <a:spcAft>
                <a:spcPts val="600"/>
              </a:spcAft>
              <a:buClrTx/>
              <a:buSzTx/>
              <a:buFontTx/>
              <a:buNone/>
              <a:tabLst/>
              <a:defRPr kumimoji="0" sz="1400" b="1" i="0" u="none" strike="noStrike" cap="none" spc="50" normalizeH="0">
                <a:ln>
                  <a:noFill/>
                </a:ln>
                <a:gradFill>
                  <a:gsLst>
                    <a:gs pos="11504">
                      <a:schemeClr val="accent4"/>
                    </a:gs>
                    <a:gs pos="28000">
                      <a:schemeClr val="accent4"/>
                    </a:gs>
                  </a:gsLst>
                  <a:lin ang="0" scaled="0"/>
                </a:gradFill>
                <a:effectLst/>
                <a:uLnTx/>
                <a:uFillTx/>
                <a:latin typeface="Segoe UI"/>
                <a:ea typeface="MS PGothic" pitchFamily="34" charset="-128"/>
              </a:defRPr>
            </a:lvl1pPr>
          </a:lstStyle>
          <a:p>
            <a:pPr defTabSz="932291">
              <a:spcAft>
                <a:spcPts val="0"/>
              </a:spcAft>
            </a:pPr>
            <a:r>
              <a:rPr lang="en-US" sz="1399" b="0" dirty="0">
                <a:solidFill>
                  <a:schemeClr val="tx1"/>
                </a:solidFill>
                <a:latin typeface="Segoe UI Semibold" panose="020B0702040204020203" pitchFamily="34" charset="0"/>
                <a:cs typeface="Segoe UI Semibold" panose="020B0702040204020203" pitchFamily="34" charset="0"/>
              </a:rPr>
              <a:t>Cost and</a:t>
            </a:r>
          </a:p>
          <a:p>
            <a:pPr defTabSz="932291">
              <a:spcAft>
                <a:spcPts val="0"/>
              </a:spcAft>
            </a:pPr>
            <a:r>
              <a:rPr lang="en-US" sz="1399" b="0" dirty="0">
                <a:solidFill>
                  <a:schemeClr val="tx1"/>
                </a:solidFill>
                <a:latin typeface="Segoe UI Semibold" panose="020B0702040204020203" pitchFamily="34" charset="0"/>
                <a:cs typeface="Segoe UI Semibold" panose="020B0702040204020203" pitchFamily="34" charset="0"/>
              </a:rPr>
              <a:t>agility</a:t>
            </a:r>
          </a:p>
        </p:txBody>
      </p:sp>
      <p:sp>
        <p:nvSpPr>
          <p:cNvPr id="6" name="Rectangle 5"/>
          <p:cNvSpPr/>
          <p:nvPr/>
        </p:nvSpPr>
        <p:spPr bwMode="auto">
          <a:xfrm>
            <a:off x="3914584" y="2125915"/>
            <a:ext cx="2131200" cy="1941455"/>
          </a:xfrm>
          <a:prstGeom prst="rect">
            <a:avLst/>
          </a:prstGeom>
          <a:solidFill>
            <a:schemeClr val="accent4"/>
          </a:solidFill>
          <a:ln>
            <a:noFill/>
            <a:headEnd type="none" w="med" len="med"/>
            <a:tailEnd type="none" w="med" len="med"/>
          </a:ln>
          <a:effectLst/>
          <a:scene3d>
            <a:camera prst="orthographicFront">
              <a:rot lat="0" lon="0" rev="0"/>
            </a:camera>
            <a:lightRig rig="twoPt" dir="tl"/>
          </a:scene3d>
          <a:sp3d prstMaterial="flat"/>
        </p:spPr>
        <p:style>
          <a:lnRef idx="0">
            <a:schemeClr val="accent4"/>
          </a:lnRef>
          <a:fillRef idx="3">
            <a:schemeClr val="accent4"/>
          </a:fillRef>
          <a:effectRef idx="3">
            <a:schemeClr val="accent4"/>
          </a:effectRef>
          <a:fontRef idx="minor">
            <a:schemeClr val="lt1"/>
          </a:fontRef>
        </p:style>
        <p:txBody>
          <a:bodyPr lIns="91415" tIns="91415" rIns="91415" bIns="91415" anchor="t"/>
          <a:lstStyle/>
          <a:p>
            <a:pPr defTabSz="913660" fontAlgn="base">
              <a:lnSpc>
                <a:spcPct val="90000"/>
              </a:lnSpc>
              <a:spcBef>
                <a:spcPct val="0"/>
              </a:spcBef>
              <a:spcAft>
                <a:spcPct val="0"/>
              </a:spcAft>
              <a:defRPr/>
            </a:pPr>
            <a:r>
              <a:rPr lang="en-US" sz="1599" dirty="0">
                <a:gradFill>
                  <a:gsLst>
                    <a:gs pos="2655">
                      <a:srgbClr val="FFFFFF"/>
                    </a:gs>
                    <a:gs pos="28000">
                      <a:srgbClr val="FFFFFF"/>
                    </a:gs>
                  </a:gsLst>
                  <a:lin ang="0" scaled="0"/>
                </a:gradFill>
                <a:latin typeface="Segoe UI"/>
              </a:rPr>
              <a:t>Virtual</a:t>
            </a:r>
          </a:p>
          <a:p>
            <a:pPr defTabSz="913660" fontAlgn="base">
              <a:lnSpc>
                <a:spcPct val="90000"/>
              </a:lnSpc>
              <a:spcBef>
                <a:spcPct val="0"/>
              </a:spcBef>
              <a:spcAft>
                <a:spcPct val="0"/>
              </a:spcAft>
              <a:defRPr/>
            </a:pPr>
            <a:r>
              <a:rPr lang="en-US" sz="1599" dirty="0">
                <a:gradFill>
                  <a:gsLst>
                    <a:gs pos="2655">
                      <a:srgbClr val="FFFFFF"/>
                    </a:gs>
                    <a:gs pos="28000">
                      <a:srgbClr val="FFFFFF"/>
                    </a:gs>
                  </a:gsLst>
                  <a:lin ang="0" scaled="0"/>
                </a:gradFill>
                <a:latin typeface="Segoe UI"/>
              </a:rPr>
              <a:t>Machines</a:t>
            </a:r>
          </a:p>
        </p:txBody>
      </p:sp>
      <p:sp>
        <p:nvSpPr>
          <p:cNvPr id="7" name="Rectangle 6"/>
          <p:cNvSpPr/>
          <p:nvPr/>
        </p:nvSpPr>
        <p:spPr bwMode="auto">
          <a:xfrm>
            <a:off x="6522205" y="2133838"/>
            <a:ext cx="2131200" cy="1941455"/>
          </a:xfrm>
          <a:prstGeom prst="rect">
            <a:avLst/>
          </a:prstGeom>
          <a:solidFill>
            <a:schemeClr val="accent4"/>
          </a:solidFill>
          <a:ln>
            <a:noFill/>
            <a:headEnd type="none" w="med" len="med"/>
            <a:tailEnd type="none" w="med" len="med"/>
          </a:ln>
          <a:effectLst/>
          <a:scene3d>
            <a:camera prst="orthographicFront">
              <a:rot lat="0" lon="0" rev="0"/>
            </a:camera>
            <a:lightRig rig="twoPt" dir="tl"/>
          </a:scene3d>
          <a:sp3d prstMaterial="flat"/>
        </p:spPr>
        <p:style>
          <a:lnRef idx="0">
            <a:schemeClr val="accent4"/>
          </a:lnRef>
          <a:fillRef idx="3">
            <a:schemeClr val="accent4"/>
          </a:fillRef>
          <a:effectRef idx="3">
            <a:schemeClr val="accent4"/>
          </a:effectRef>
          <a:fontRef idx="minor">
            <a:schemeClr val="lt1"/>
          </a:fontRef>
        </p:style>
        <p:txBody>
          <a:bodyPr lIns="91415" tIns="91415" rIns="91415" bIns="91415" anchor="t"/>
          <a:lstStyle/>
          <a:p>
            <a:pPr defTabSz="913660" fontAlgn="base">
              <a:lnSpc>
                <a:spcPct val="90000"/>
              </a:lnSpc>
              <a:spcBef>
                <a:spcPct val="0"/>
              </a:spcBef>
              <a:spcAft>
                <a:spcPct val="0"/>
              </a:spcAft>
              <a:defRPr/>
            </a:pPr>
            <a:r>
              <a:rPr lang="en-US" sz="1599" dirty="0">
                <a:gradFill>
                  <a:gsLst>
                    <a:gs pos="2655">
                      <a:srgbClr val="FFFFFF"/>
                    </a:gs>
                    <a:gs pos="28000">
                      <a:srgbClr val="FFFFFF"/>
                    </a:gs>
                  </a:gsLst>
                  <a:lin ang="0" scaled="0"/>
                </a:gradFill>
                <a:latin typeface="Segoe UI"/>
              </a:rPr>
              <a:t>Cloud Services (Web/Worker Roles)</a:t>
            </a:r>
          </a:p>
        </p:txBody>
      </p:sp>
      <p:sp>
        <p:nvSpPr>
          <p:cNvPr id="8" name="TextBox 7"/>
          <p:cNvSpPr txBox="1"/>
          <p:nvPr/>
        </p:nvSpPr>
        <p:spPr>
          <a:xfrm>
            <a:off x="748671" y="1558426"/>
            <a:ext cx="1269477" cy="489191"/>
          </a:xfrm>
          <a:prstGeom prst="rect">
            <a:avLst/>
          </a:prstGeom>
          <a:noFill/>
        </p:spPr>
        <p:txBody>
          <a:bodyPr lIns="182805" tIns="146243" rIns="182805" bIns="146243">
            <a:spAutoFit/>
          </a:bodyPr>
          <a:lstStyle>
            <a:defPPr>
              <a:defRPr lang="en-US"/>
            </a:defPPr>
            <a:lvl1pPr marR="0" lvl="0" indent="0" algn="ctr" defTabSz="932563" fontAlgn="auto">
              <a:lnSpc>
                <a:spcPct val="90000"/>
              </a:lnSpc>
              <a:spcBef>
                <a:spcPts val="0"/>
              </a:spcBef>
              <a:spcAft>
                <a:spcPts val="600"/>
              </a:spcAft>
              <a:buClrTx/>
              <a:buSzTx/>
              <a:buFontTx/>
              <a:buNone/>
              <a:tabLst/>
              <a:defRPr kumimoji="0" sz="1400" b="1" i="0" u="none" strike="noStrike" cap="none" spc="50" normalizeH="0">
                <a:ln>
                  <a:noFill/>
                </a:ln>
                <a:gradFill>
                  <a:gsLst>
                    <a:gs pos="11504">
                      <a:schemeClr val="accent4"/>
                    </a:gs>
                    <a:gs pos="28000">
                      <a:schemeClr val="accent4"/>
                    </a:gs>
                  </a:gsLst>
                  <a:lin ang="0" scaled="0"/>
                </a:gradFill>
                <a:effectLst/>
                <a:uLnTx/>
                <a:uFillTx/>
                <a:latin typeface="Segoe UI"/>
                <a:ea typeface="MS PGothic" pitchFamily="34" charset="-128"/>
              </a:defRPr>
            </a:lvl1pPr>
          </a:lstStyle>
          <a:p>
            <a:pPr defTabSz="932291"/>
            <a:r>
              <a:rPr lang="en-US" sz="1399" b="0" dirty="0">
                <a:solidFill>
                  <a:schemeClr val="tx1"/>
                </a:solidFill>
                <a:latin typeface="Segoe UI Semibold" panose="020B0702040204020203" pitchFamily="34" charset="0"/>
                <a:cs typeface="Segoe UI Semibold" panose="020B0702040204020203" pitchFamily="34" charset="0"/>
              </a:rPr>
              <a:t>IaaS</a:t>
            </a:r>
          </a:p>
        </p:txBody>
      </p:sp>
      <p:sp>
        <p:nvSpPr>
          <p:cNvPr id="9" name="TextBox 8"/>
          <p:cNvSpPr txBox="1"/>
          <p:nvPr/>
        </p:nvSpPr>
        <p:spPr>
          <a:xfrm>
            <a:off x="10538431" y="1461502"/>
            <a:ext cx="1269477" cy="690549"/>
          </a:xfrm>
          <a:prstGeom prst="rect">
            <a:avLst/>
          </a:prstGeom>
          <a:noFill/>
        </p:spPr>
        <p:txBody>
          <a:bodyPr lIns="182805" tIns="146243" rIns="182805" bIns="146243">
            <a:spAutoFit/>
          </a:bodyPr>
          <a:lstStyle>
            <a:defPPr>
              <a:defRPr lang="en-US"/>
            </a:defPPr>
            <a:lvl1pPr marR="0" lvl="0" indent="0" algn="ctr" defTabSz="932563" fontAlgn="auto">
              <a:lnSpc>
                <a:spcPct val="90000"/>
              </a:lnSpc>
              <a:spcBef>
                <a:spcPts val="0"/>
              </a:spcBef>
              <a:spcAft>
                <a:spcPts val="600"/>
              </a:spcAft>
              <a:buClrTx/>
              <a:buSzTx/>
              <a:buFontTx/>
              <a:buNone/>
              <a:tabLst/>
              <a:defRPr kumimoji="0" sz="1400" b="1" i="0" u="none" strike="noStrike" cap="none" spc="50" normalizeH="0">
                <a:ln>
                  <a:noFill/>
                </a:ln>
                <a:gradFill>
                  <a:gsLst>
                    <a:gs pos="11504">
                      <a:schemeClr val="accent4"/>
                    </a:gs>
                    <a:gs pos="28000">
                      <a:schemeClr val="accent4"/>
                    </a:gs>
                  </a:gsLst>
                  <a:lin ang="0" scaled="0"/>
                </a:gradFill>
                <a:effectLst/>
                <a:uLnTx/>
                <a:uFillTx/>
                <a:latin typeface="Segoe UI"/>
                <a:ea typeface="MS PGothic" pitchFamily="34" charset="-128"/>
              </a:defRPr>
            </a:lvl1pPr>
          </a:lstStyle>
          <a:p>
            <a:pPr defTabSz="932291">
              <a:spcAft>
                <a:spcPts val="0"/>
              </a:spcAft>
            </a:pPr>
            <a:r>
              <a:rPr lang="en-US" sz="1399" b="0" dirty="0">
                <a:solidFill>
                  <a:schemeClr val="tx1"/>
                </a:solidFill>
                <a:latin typeface="Segoe UI Semibold" panose="020B0702040204020203" pitchFamily="34" charset="0"/>
                <a:cs typeface="Segoe UI Semibold" panose="020B0702040204020203" pitchFamily="34" charset="0"/>
              </a:rPr>
              <a:t>PaaS</a:t>
            </a:r>
          </a:p>
          <a:p>
            <a:pPr defTabSz="932291">
              <a:spcAft>
                <a:spcPts val="0"/>
              </a:spcAft>
            </a:pPr>
            <a:r>
              <a:rPr lang="x-none" sz="1399" b="0" dirty="0" err="1">
                <a:solidFill>
                  <a:schemeClr val="tx1"/>
                </a:solidFill>
                <a:latin typeface="Segoe UI Semibold" panose="020B0702040204020203" pitchFamily="34" charset="0"/>
                <a:cs typeface="Segoe UI Semibold" panose="020B0702040204020203" pitchFamily="34" charset="0"/>
              </a:rPr>
              <a:t>on</a:t>
            </a:r>
            <a:r>
              <a:rPr lang="x-none" sz="1399" b="0" dirty="0">
                <a:solidFill>
                  <a:schemeClr val="tx1"/>
                </a:solidFill>
                <a:latin typeface="Segoe UI Semibold" panose="020B0702040204020203" pitchFamily="34" charset="0"/>
                <a:cs typeface="Segoe UI Semibold" panose="020B0702040204020203" pitchFamily="34" charset="0"/>
              </a:rPr>
              <a:t> </a:t>
            </a:r>
            <a:r>
              <a:rPr lang="x-none" sz="1399" b="0" dirty="0" err="1">
                <a:solidFill>
                  <a:schemeClr val="tx1"/>
                </a:solidFill>
                <a:latin typeface="Segoe UI Semibold" panose="020B0702040204020203" pitchFamily="34" charset="0"/>
                <a:cs typeface="Segoe UI Semibold" panose="020B0702040204020203" pitchFamily="34" charset="0"/>
              </a:rPr>
              <a:t>IaaS</a:t>
            </a:r>
            <a:endParaRPr lang="en-US" sz="1399" b="0" dirty="0">
              <a:solidFill>
                <a:schemeClr val="tx1"/>
              </a:solidFill>
              <a:latin typeface="Segoe UI Semibold" panose="020B0702040204020203" pitchFamily="34" charset="0"/>
              <a:cs typeface="Segoe UI Semibold" panose="020B0702040204020203" pitchFamily="34" charset="0"/>
            </a:endParaRPr>
          </a:p>
        </p:txBody>
      </p:sp>
      <p:sp>
        <p:nvSpPr>
          <p:cNvPr id="10" name="Left-Right Arrow 12"/>
          <p:cNvSpPr/>
          <p:nvPr/>
        </p:nvSpPr>
        <p:spPr>
          <a:xfrm rot="10800000">
            <a:off x="1891805" y="1551809"/>
            <a:ext cx="8646626" cy="509378"/>
          </a:xfrm>
          <a:prstGeom prst="leftRightArrow">
            <a:avLst/>
          </a:prstGeom>
          <a:solidFill>
            <a:schemeClr val="bg1">
              <a:lumMod val="8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rIns="0" anchor="ctr"/>
          <a:lstStyle/>
          <a:p>
            <a:pPr algn="ctr" defTabSz="913660" fontAlgn="base">
              <a:spcBef>
                <a:spcPct val="0"/>
              </a:spcBef>
              <a:spcAft>
                <a:spcPct val="0"/>
              </a:spcAft>
              <a:defRPr/>
            </a:pPr>
            <a:endParaRPr lang="en-US" sz="1959">
              <a:solidFill>
                <a:srgbClr val="505050"/>
              </a:solidFill>
              <a:latin typeface="Segoe UI"/>
            </a:endParaRPr>
          </a:p>
        </p:txBody>
      </p:sp>
      <p:sp>
        <p:nvSpPr>
          <p:cNvPr id="11" name="Left-Right Arrow 13"/>
          <p:cNvSpPr/>
          <p:nvPr/>
        </p:nvSpPr>
        <p:spPr>
          <a:xfrm rot="10800000">
            <a:off x="1891805" y="4765116"/>
            <a:ext cx="8646626" cy="509379"/>
          </a:xfrm>
          <a:prstGeom prst="leftRightArrow">
            <a:avLst/>
          </a:prstGeom>
          <a:solidFill>
            <a:schemeClr val="bg1">
              <a:lumMod val="8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rIns="0" anchor="ctr"/>
          <a:lstStyle/>
          <a:p>
            <a:pPr algn="ctr" defTabSz="913660" fontAlgn="base">
              <a:spcBef>
                <a:spcPct val="0"/>
              </a:spcBef>
              <a:spcAft>
                <a:spcPct val="0"/>
              </a:spcAft>
              <a:defRPr/>
            </a:pPr>
            <a:endParaRPr lang="en-US" sz="1959" dirty="0">
              <a:solidFill>
                <a:schemeClr val="tx1"/>
              </a:solidFill>
              <a:latin typeface="Segoe UI"/>
            </a:endParaRPr>
          </a:p>
        </p:txBody>
      </p:sp>
      <p:sp>
        <p:nvSpPr>
          <p:cNvPr id="12" name="TextBox 11"/>
          <p:cNvSpPr txBox="1"/>
          <p:nvPr/>
        </p:nvSpPr>
        <p:spPr>
          <a:xfrm>
            <a:off x="3914584" y="4082079"/>
            <a:ext cx="2129978" cy="683038"/>
          </a:xfrm>
          <a:prstGeom prst="rect">
            <a:avLst/>
          </a:prstGeom>
          <a:solidFill>
            <a:schemeClr val="tx1">
              <a:alpha val="20000"/>
            </a:schemeClr>
          </a:solidFill>
        </p:spPr>
        <p:txBody>
          <a:bodyPr lIns="182805" tIns="146243" rIns="182805" bIns="146243">
            <a:noAutofit/>
          </a:bodyPr>
          <a:lstStyle/>
          <a:p>
            <a:pPr algn="ctr" defTabSz="932291">
              <a:lnSpc>
                <a:spcPct val="90000"/>
              </a:lnSpc>
              <a:spcAft>
                <a:spcPts val="600"/>
              </a:spcAft>
              <a:defRPr/>
            </a:pPr>
            <a:r>
              <a:rPr lang="en-US" sz="1399" spc="50" dirty="0">
                <a:latin typeface="Segoe UI Semibold" panose="020B0702040204020203" pitchFamily="34" charset="0"/>
                <a:ea typeface="MS PGothic" pitchFamily="34" charset="-128"/>
                <a:cs typeface="Segoe UI Semibold" panose="020B0702040204020203" pitchFamily="34" charset="0"/>
              </a:rPr>
              <a:t>BRING YOUR VM</a:t>
            </a:r>
          </a:p>
        </p:txBody>
      </p:sp>
      <p:sp>
        <p:nvSpPr>
          <p:cNvPr id="13" name="TextBox 12"/>
          <p:cNvSpPr txBox="1"/>
          <p:nvPr/>
        </p:nvSpPr>
        <p:spPr>
          <a:xfrm>
            <a:off x="6538982" y="4082079"/>
            <a:ext cx="2129978" cy="683038"/>
          </a:xfrm>
          <a:prstGeom prst="rect">
            <a:avLst/>
          </a:prstGeom>
          <a:solidFill>
            <a:schemeClr val="tx1">
              <a:alpha val="20000"/>
            </a:schemeClr>
          </a:solidFill>
        </p:spPr>
        <p:txBody>
          <a:bodyPr lIns="182805" tIns="146243" rIns="182805" bIns="146243">
            <a:noAutofit/>
          </a:bodyPr>
          <a:lstStyle/>
          <a:p>
            <a:pPr algn="ctr" defTabSz="932291">
              <a:lnSpc>
                <a:spcPct val="90000"/>
              </a:lnSpc>
              <a:spcAft>
                <a:spcPts val="600"/>
              </a:spcAft>
              <a:defRPr/>
            </a:pPr>
            <a:r>
              <a:rPr lang="en-US" sz="1399" spc="50" dirty="0">
                <a:latin typeface="Segoe UI Semibold" panose="020B0702040204020203" pitchFamily="34" charset="0"/>
                <a:ea typeface="MS PGothic" pitchFamily="34" charset="-128"/>
                <a:cs typeface="Segoe UI Semibold" panose="020B0702040204020203" pitchFamily="34" charset="0"/>
              </a:rPr>
              <a:t>ELASTIC DECLARATIVE</a:t>
            </a:r>
          </a:p>
        </p:txBody>
      </p:sp>
    </p:spTree>
    <p:extLst>
      <p:ext uri="{BB962C8B-B14F-4D97-AF65-F5344CB8AC3E}">
        <p14:creationId xmlns:p14="http://schemas.microsoft.com/office/powerpoint/2010/main" val="92613482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9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aaS options with ARM stack</a:t>
            </a:r>
          </a:p>
        </p:txBody>
      </p:sp>
      <p:sp>
        <p:nvSpPr>
          <p:cNvPr id="14" name="TextBox 13"/>
          <p:cNvSpPr txBox="1"/>
          <p:nvPr/>
        </p:nvSpPr>
        <p:spPr>
          <a:xfrm>
            <a:off x="122222" y="5122599"/>
            <a:ext cx="1904757" cy="876582"/>
          </a:xfrm>
          <a:prstGeom prst="rect">
            <a:avLst/>
          </a:prstGeom>
          <a:noFill/>
        </p:spPr>
        <p:txBody>
          <a:bodyPr wrap="square" lIns="182805" tIns="146243" rIns="182805" bIns="146243">
            <a:spAutoFit/>
          </a:bodyPr>
          <a:lstStyle>
            <a:defPPr>
              <a:defRPr lang="en-US"/>
            </a:defPPr>
            <a:lvl1pPr marR="0" lvl="0" indent="0" algn="ctr" defTabSz="932563" fontAlgn="auto">
              <a:lnSpc>
                <a:spcPct val="90000"/>
              </a:lnSpc>
              <a:spcBef>
                <a:spcPts val="0"/>
              </a:spcBef>
              <a:spcAft>
                <a:spcPts val="600"/>
              </a:spcAft>
              <a:buClrTx/>
              <a:buSzTx/>
              <a:buFontTx/>
              <a:buNone/>
              <a:tabLst/>
              <a:defRPr kumimoji="0" sz="1400" b="1" i="0" u="none" strike="noStrike" cap="none" spc="50" normalizeH="0">
                <a:ln>
                  <a:noFill/>
                </a:ln>
                <a:gradFill>
                  <a:gsLst>
                    <a:gs pos="11504">
                      <a:schemeClr val="accent4"/>
                    </a:gs>
                    <a:gs pos="28000">
                      <a:schemeClr val="accent4"/>
                    </a:gs>
                  </a:gsLst>
                  <a:lin ang="0" scaled="0"/>
                </a:gradFill>
                <a:effectLst/>
                <a:uLnTx/>
                <a:uFillTx/>
                <a:latin typeface="Segoe UI"/>
                <a:ea typeface="MS PGothic" pitchFamily="34" charset="-128"/>
              </a:defRPr>
            </a:lvl1pPr>
          </a:lstStyle>
          <a:p>
            <a:pPr defTabSz="932291">
              <a:spcAft>
                <a:spcPts val="0"/>
              </a:spcAft>
            </a:pPr>
            <a:r>
              <a:rPr lang="en-US" sz="1399" b="0" dirty="0">
                <a:solidFill>
                  <a:schemeClr val="tx1"/>
                </a:solidFill>
                <a:latin typeface="Segoe UI Semibold" panose="020B0702040204020203" pitchFamily="34" charset="0"/>
                <a:cs typeface="Segoe UI Semibold" panose="020B0702040204020203" pitchFamily="34" charset="0"/>
              </a:rPr>
              <a:t>Infra Control</a:t>
            </a:r>
          </a:p>
          <a:p>
            <a:pPr defTabSz="932291">
              <a:spcAft>
                <a:spcPts val="0"/>
              </a:spcAft>
            </a:pPr>
            <a:r>
              <a:rPr lang="en-US" sz="1399" b="0" dirty="0">
                <a:solidFill>
                  <a:schemeClr val="tx1"/>
                </a:solidFill>
                <a:latin typeface="Segoe UI Semibold" panose="020B0702040204020203" pitchFamily="34" charset="0"/>
                <a:cs typeface="Segoe UI Semibold" panose="020B0702040204020203" pitchFamily="34" charset="0"/>
              </a:rPr>
              <a:t>Lift-and-Shift</a:t>
            </a:r>
          </a:p>
          <a:p>
            <a:pPr defTabSz="932291">
              <a:spcAft>
                <a:spcPts val="0"/>
              </a:spcAft>
            </a:pPr>
            <a:endParaRPr lang="en-US" sz="1399" b="0" dirty="0">
              <a:solidFill>
                <a:schemeClr val="tx1"/>
              </a:solidFill>
              <a:latin typeface="Segoe UI Semibold" panose="020B0702040204020203" pitchFamily="34" charset="0"/>
              <a:cs typeface="Segoe UI Semibold" panose="020B0702040204020203" pitchFamily="34" charset="0"/>
            </a:endParaRPr>
          </a:p>
        </p:txBody>
      </p:sp>
      <p:sp>
        <p:nvSpPr>
          <p:cNvPr id="15" name="TextBox 14"/>
          <p:cNvSpPr txBox="1"/>
          <p:nvPr/>
        </p:nvSpPr>
        <p:spPr>
          <a:xfrm>
            <a:off x="10433957" y="5110426"/>
            <a:ext cx="1942301" cy="682836"/>
          </a:xfrm>
          <a:prstGeom prst="rect">
            <a:avLst/>
          </a:prstGeom>
          <a:noFill/>
        </p:spPr>
        <p:txBody>
          <a:bodyPr lIns="182805" tIns="146243" rIns="182805" bIns="146243">
            <a:spAutoFit/>
          </a:bodyPr>
          <a:lstStyle>
            <a:defPPr>
              <a:defRPr lang="en-US"/>
            </a:defPPr>
            <a:lvl1pPr marR="0" lvl="0" indent="0" algn="ctr" defTabSz="932563" fontAlgn="auto">
              <a:lnSpc>
                <a:spcPct val="90000"/>
              </a:lnSpc>
              <a:spcBef>
                <a:spcPts val="0"/>
              </a:spcBef>
              <a:spcAft>
                <a:spcPts val="600"/>
              </a:spcAft>
              <a:buClrTx/>
              <a:buSzTx/>
              <a:buFontTx/>
              <a:buNone/>
              <a:tabLst/>
              <a:defRPr kumimoji="0" sz="1400" b="1" i="0" u="none" strike="noStrike" cap="none" spc="50" normalizeH="0">
                <a:ln>
                  <a:noFill/>
                </a:ln>
                <a:gradFill>
                  <a:gsLst>
                    <a:gs pos="11504">
                      <a:schemeClr val="accent4"/>
                    </a:gs>
                    <a:gs pos="28000">
                      <a:schemeClr val="accent4"/>
                    </a:gs>
                  </a:gsLst>
                  <a:lin ang="0" scaled="0"/>
                </a:gradFill>
                <a:effectLst/>
                <a:uLnTx/>
                <a:uFillTx/>
                <a:latin typeface="Segoe UI"/>
                <a:ea typeface="MS PGothic" pitchFamily="34" charset="-128"/>
              </a:defRPr>
            </a:lvl1pPr>
          </a:lstStyle>
          <a:p>
            <a:pPr defTabSz="932291">
              <a:spcAft>
                <a:spcPts val="0"/>
              </a:spcAft>
            </a:pPr>
            <a:r>
              <a:rPr lang="en-US" sz="1399" b="0" dirty="0">
                <a:solidFill>
                  <a:schemeClr val="tx1"/>
                </a:solidFill>
                <a:latin typeface="Segoe UI Semibold" panose="020B0702040204020203" pitchFamily="34" charset="0"/>
                <a:cs typeface="Segoe UI Semibold" panose="020B0702040204020203" pitchFamily="34" charset="0"/>
              </a:rPr>
              <a:t>Hyper Scale</a:t>
            </a:r>
          </a:p>
          <a:p>
            <a:pPr defTabSz="932291">
              <a:spcAft>
                <a:spcPts val="0"/>
              </a:spcAft>
            </a:pPr>
            <a:r>
              <a:rPr lang="en-US" sz="1399" b="0" dirty="0">
                <a:solidFill>
                  <a:schemeClr val="tx1"/>
                </a:solidFill>
                <a:latin typeface="Segoe UI Semibold" panose="020B0702040204020203" pitchFamily="34" charset="0"/>
                <a:cs typeface="Segoe UI Semibold" panose="020B0702040204020203" pitchFamily="34" charset="0"/>
              </a:rPr>
              <a:t>Micro Services</a:t>
            </a:r>
          </a:p>
        </p:txBody>
      </p:sp>
      <p:sp>
        <p:nvSpPr>
          <p:cNvPr id="16" name="Left-Right Arrow 12"/>
          <p:cNvSpPr/>
          <p:nvPr/>
        </p:nvSpPr>
        <p:spPr>
          <a:xfrm rot="10800000">
            <a:off x="274604" y="1300418"/>
            <a:ext cx="11783329" cy="509378"/>
          </a:xfrm>
          <a:prstGeom prst="leftRightArrow">
            <a:avLst/>
          </a:prstGeom>
          <a:solidFill>
            <a:schemeClr val="bg1">
              <a:lumMod val="8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rIns="0" anchor="ctr"/>
          <a:lstStyle/>
          <a:p>
            <a:pPr algn="ctr" defTabSz="913660" fontAlgn="base">
              <a:spcBef>
                <a:spcPct val="0"/>
              </a:spcBef>
              <a:spcAft>
                <a:spcPct val="0"/>
              </a:spcAft>
              <a:defRPr/>
            </a:pPr>
            <a:endParaRPr lang="en-US" sz="1959">
              <a:solidFill>
                <a:srgbClr val="505050"/>
              </a:solidFill>
              <a:latin typeface="Segoe UI"/>
            </a:endParaRPr>
          </a:p>
        </p:txBody>
      </p:sp>
      <p:sp>
        <p:nvSpPr>
          <p:cNvPr id="17" name="Left-Right Arrow 13"/>
          <p:cNvSpPr/>
          <p:nvPr/>
        </p:nvSpPr>
        <p:spPr>
          <a:xfrm rot="10800000">
            <a:off x="274604" y="4597853"/>
            <a:ext cx="11656320" cy="509379"/>
          </a:xfrm>
          <a:prstGeom prst="leftRightArrow">
            <a:avLst/>
          </a:prstGeom>
          <a:solidFill>
            <a:schemeClr val="bg1">
              <a:lumMod val="8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rIns="0" anchor="ctr"/>
          <a:lstStyle/>
          <a:p>
            <a:pPr algn="ctr" defTabSz="913660" fontAlgn="base">
              <a:spcBef>
                <a:spcPct val="0"/>
              </a:spcBef>
              <a:spcAft>
                <a:spcPct val="0"/>
              </a:spcAft>
              <a:defRPr/>
            </a:pPr>
            <a:endParaRPr lang="en-US" sz="1959">
              <a:solidFill>
                <a:srgbClr val="505050"/>
              </a:solidFill>
              <a:latin typeface="Segoe UI"/>
            </a:endParaRPr>
          </a:p>
        </p:txBody>
      </p:sp>
      <p:sp>
        <p:nvSpPr>
          <p:cNvPr id="18" name="Rectangle 17"/>
          <p:cNvSpPr/>
          <p:nvPr/>
        </p:nvSpPr>
        <p:spPr bwMode="auto">
          <a:xfrm>
            <a:off x="2339990" y="1809797"/>
            <a:ext cx="1717937" cy="1941455"/>
          </a:xfrm>
          <a:prstGeom prst="rect">
            <a:avLst/>
          </a:prstGeom>
          <a:solidFill>
            <a:schemeClr val="accent4"/>
          </a:solidFill>
          <a:ln>
            <a:noFill/>
            <a:headEnd type="none" w="med" len="med"/>
            <a:tailEnd type="none" w="med" len="med"/>
          </a:ln>
          <a:effectLst/>
          <a:scene3d>
            <a:camera prst="orthographicFront">
              <a:rot lat="0" lon="0" rev="0"/>
            </a:camera>
            <a:lightRig rig="twoPt" dir="tl"/>
          </a:scene3d>
          <a:sp3d prstMaterial="flat"/>
        </p:spPr>
        <p:style>
          <a:lnRef idx="0">
            <a:schemeClr val="accent4"/>
          </a:lnRef>
          <a:fillRef idx="3">
            <a:schemeClr val="accent4"/>
          </a:fillRef>
          <a:effectRef idx="3">
            <a:schemeClr val="accent4"/>
          </a:effectRef>
          <a:fontRef idx="minor">
            <a:schemeClr val="lt1"/>
          </a:fontRef>
        </p:style>
        <p:txBody>
          <a:bodyPr lIns="91415" tIns="91415" rIns="91415" bIns="91415" anchor="t"/>
          <a:lstStyle/>
          <a:p>
            <a:pPr defTabSz="913660" fontAlgn="base">
              <a:lnSpc>
                <a:spcPct val="90000"/>
              </a:lnSpc>
              <a:spcBef>
                <a:spcPct val="0"/>
              </a:spcBef>
              <a:spcAft>
                <a:spcPct val="0"/>
              </a:spcAft>
              <a:defRPr/>
            </a:pPr>
            <a:r>
              <a:rPr lang="en-US" sz="2000" dirty="0">
                <a:gradFill>
                  <a:gsLst>
                    <a:gs pos="2655">
                      <a:srgbClr val="FFFFFF"/>
                    </a:gs>
                    <a:gs pos="28000">
                      <a:srgbClr val="FFFFFF"/>
                    </a:gs>
                  </a:gsLst>
                  <a:lin ang="0" scaled="0"/>
                </a:gradFill>
                <a:latin typeface="Segoe UI"/>
              </a:rPr>
              <a:t>VM Scale Sets</a:t>
            </a:r>
          </a:p>
        </p:txBody>
      </p:sp>
      <p:sp>
        <p:nvSpPr>
          <p:cNvPr id="19" name="Rectangle 18"/>
          <p:cNvSpPr/>
          <p:nvPr/>
        </p:nvSpPr>
        <p:spPr bwMode="auto">
          <a:xfrm>
            <a:off x="8385706" y="1832026"/>
            <a:ext cx="1717937" cy="1941455"/>
          </a:xfrm>
          <a:prstGeom prst="rect">
            <a:avLst/>
          </a:prstGeom>
          <a:solidFill>
            <a:schemeClr val="accent4"/>
          </a:solidFill>
          <a:ln>
            <a:noFill/>
            <a:headEnd type="none" w="med" len="med"/>
            <a:tailEnd type="none" w="med" len="med"/>
          </a:ln>
          <a:effectLst/>
          <a:scene3d>
            <a:camera prst="orthographicFront">
              <a:rot lat="0" lon="0" rev="0"/>
            </a:camera>
            <a:lightRig rig="twoPt" dir="tl"/>
          </a:scene3d>
          <a:sp3d prstMaterial="flat"/>
        </p:spPr>
        <p:style>
          <a:lnRef idx="0">
            <a:schemeClr val="accent4"/>
          </a:lnRef>
          <a:fillRef idx="3">
            <a:schemeClr val="accent4"/>
          </a:fillRef>
          <a:effectRef idx="3">
            <a:schemeClr val="accent4"/>
          </a:effectRef>
          <a:fontRef idx="minor">
            <a:schemeClr val="lt1"/>
          </a:fontRef>
        </p:style>
        <p:txBody>
          <a:bodyPr lIns="91415" tIns="91415" rIns="91415" bIns="91415" anchor="t"/>
          <a:lstStyle/>
          <a:p>
            <a:pPr algn="ctr" defTabSz="913660" fontAlgn="base">
              <a:lnSpc>
                <a:spcPct val="90000"/>
              </a:lnSpc>
              <a:spcBef>
                <a:spcPct val="0"/>
              </a:spcBef>
              <a:spcAft>
                <a:spcPct val="0"/>
              </a:spcAft>
              <a:defRPr/>
            </a:pPr>
            <a:r>
              <a:rPr lang="en-US" sz="2000" dirty="0">
                <a:gradFill>
                  <a:gsLst>
                    <a:gs pos="2655">
                      <a:srgbClr val="FFFFFF"/>
                    </a:gs>
                    <a:gs pos="28000">
                      <a:srgbClr val="FFFFFF"/>
                    </a:gs>
                  </a:gsLst>
                  <a:lin ang="0" scaled="0"/>
                </a:gradFill>
                <a:latin typeface="Segoe UI"/>
              </a:rPr>
              <a:t>Service Fabric</a:t>
            </a:r>
          </a:p>
        </p:txBody>
      </p:sp>
      <p:sp>
        <p:nvSpPr>
          <p:cNvPr id="20" name="TextBox 19"/>
          <p:cNvSpPr txBox="1"/>
          <p:nvPr/>
        </p:nvSpPr>
        <p:spPr>
          <a:xfrm>
            <a:off x="2331244" y="3843242"/>
            <a:ext cx="1726683" cy="683038"/>
          </a:xfrm>
          <a:prstGeom prst="rect">
            <a:avLst/>
          </a:prstGeom>
          <a:solidFill>
            <a:schemeClr val="tx1">
              <a:alpha val="20000"/>
            </a:schemeClr>
          </a:solidFill>
        </p:spPr>
        <p:txBody>
          <a:bodyPr lIns="182805" tIns="146243" rIns="182805" bIns="146243">
            <a:noAutofit/>
          </a:bodyPr>
          <a:lstStyle/>
          <a:p>
            <a:pPr algn="ctr" defTabSz="932291">
              <a:lnSpc>
                <a:spcPct val="90000"/>
              </a:lnSpc>
              <a:spcAft>
                <a:spcPts val="600"/>
              </a:spcAft>
              <a:defRPr/>
            </a:pPr>
            <a:r>
              <a:rPr lang="en-US" sz="1399" spc="50" dirty="0">
                <a:latin typeface="Segoe UI Semibold" panose="020B0702040204020203" pitchFamily="34" charset="0"/>
                <a:ea typeface="MS PGothic" pitchFamily="34" charset="-128"/>
                <a:cs typeface="Segoe UI Semibold" panose="020B0702040204020203" pitchFamily="34" charset="0"/>
              </a:rPr>
              <a:t>Elastic and declarative</a:t>
            </a:r>
          </a:p>
        </p:txBody>
      </p:sp>
      <p:sp>
        <p:nvSpPr>
          <p:cNvPr id="21" name="TextBox 20"/>
          <p:cNvSpPr txBox="1"/>
          <p:nvPr/>
        </p:nvSpPr>
        <p:spPr>
          <a:xfrm>
            <a:off x="4338361" y="3843242"/>
            <a:ext cx="1726683" cy="683038"/>
          </a:xfrm>
          <a:prstGeom prst="rect">
            <a:avLst/>
          </a:prstGeom>
          <a:solidFill>
            <a:schemeClr val="tx1">
              <a:alpha val="20000"/>
            </a:schemeClr>
          </a:solidFill>
        </p:spPr>
        <p:txBody>
          <a:bodyPr lIns="182805" tIns="146243" rIns="182805" bIns="146243">
            <a:noAutofit/>
          </a:bodyPr>
          <a:lstStyle/>
          <a:p>
            <a:pPr algn="ctr" defTabSz="932291">
              <a:lnSpc>
                <a:spcPct val="90000"/>
              </a:lnSpc>
              <a:spcAft>
                <a:spcPts val="600"/>
              </a:spcAft>
              <a:defRPr/>
            </a:pPr>
            <a:r>
              <a:rPr lang="en-US" sz="1399" spc="50" dirty="0">
                <a:latin typeface="Segoe UI Semibold" panose="020B0702040204020203" pitchFamily="34" charset="0"/>
                <a:ea typeface="MS PGothic" pitchFamily="34" charset="-128"/>
                <a:cs typeface="Segoe UI Semibold" panose="020B0702040204020203" pitchFamily="34" charset="0"/>
              </a:rPr>
              <a:t>Open source high density</a:t>
            </a:r>
          </a:p>
        </p:txBody>
      </p:sp>
      <p:sp>
        <p:nvSpPr>
          <p:cNvPr id="22" name="Rectangle 21"/>
          <p:cNvSpPr/>
          <p:nvPr/>
        </p:nvSpPr>
        <p:spPr bwMode="auto">
          <a:xfrm>
            <a:off x="4347106" y="1816192"/>
            <a:ext cx="1717937" cy="1941455"/>
          </a:xfrm>
          <a:prstGeom prst="rect">
            <a:avLst/>
          </a:prstGeom>
          <a:solidFill>
            <a:schemeClr val="accent4"/>
          </a:solidFill>
          <a:ln>
            <a:noFill/>
            <a:headEnd type="none" w="med" len="med"/>
            <a:tailEnd type="none" w="med" len="med"/>
          </a:ln>
          <a:effectLst/>
          <a:scene3d>
            <a:camera prst="orthographicFront">
              <a:rot lat="0" lon="0" rev="0"/>
            </a:camera>
            <a:lightRig rig="twoPt" dir="tl"/>
          </a:scene3d>
          <a:sp3d prstMaterial="flat"/>
        </p:spPr>
        <p:style>
          <a:lnRef idx="0">
            <a:schemeClr val="accent4"/>
          </a:lnRef>
          <a:fillRef idx="3">
            <a:schemeClr val="accent4"/>
          </a:fillRef>
          <a:effectRef idx="3">
            <a:schemeClr val="accent4"/>
          </a:effectRef>
          <a:fontRef idx="minor">
            <a:schemeClr val="lt1"/>
          </a:fontRef>
        </p:style>
        <p:txBody>
          <a:bodyPr lIns="91415" tIns="91415" rIns="91415" bIns="91415" anchor="t"/>
          <a:lstStyle/>
          <a:p>
            <a:pPr defTabSz="913660" fontAlgn="base">
              <a:lnSpc>
                <a:spcPct val="90000"/>
              </a:lnSpc>
              <a:spcBef>
                <a:spcPct val="0"/>
              </a:spcBef>
              <a:spcAft>
                <a:spcPct val="0"/>
              </a:spcAft>
              <a:defRPr/>
            </a:pPr>
            <a:r>
              <a:rPr lang="en-US" dirty="0">
                <a:gradFill>
                  <a:gsLst>
                    <a:gs pos="2655">
                      <a:srgbClr val="FFFFFF"/>
                    </a:gs>
                    <a:gs pos="28000">
                      <a:srgbClr val="FFFFFF"/>
                    </a:gs>
                  </a:gsLst>
                  <a:lin ang="0" scaled="0"/>
                </a:gradFill>
                <a:latin typeface="Segoe UI"/>
              </a:rPr>
              <a:t>Azure Container Service</a:t>
            </a:r>
          </a:p>
        </p:txBody>
      </p:sp>
      <p:sp>
        <p:nvSpPr>
          <p:cNvPr id="23" name="Rectangle 22"/>
          <p:cNvSpPr/>
          <p:nvPr/>
        </p:nvSpPr>
        <p:spPr bwMode="auto">
          <a:xfrm>
            <a:off x="6369844" y="1834692"/>
            <a:ext cx="1717937" cy="1941455"/>
          </a:xfrm>
          <a:prstGeom prst="rect">
            <a:avLst/>
          </a:prstGeom>
          <a:solidFill>
            <a:schemeClr val="accent4"/>
          </a:solidFill>
          <a:ln>
            <a:noFill/>
            <a:headEnd type="none" w="med" len="med"/>
            <a:tailEnd type="none" w="med" len="med"/>
          </a:ln>
          <a:effectLst/>
          <a:scene3d>
            <a:camera prst="orthographicFront">
              <a:rot lat="0" lon="0" rev="0"/>
            </a:camera>
            <a:lightRig rig="twoPt" dir="tl"/>
          </a:scene3d>
          <a:sp3d prstMaterial="flat"/>
        </p:spPr>
        <p:style>
          <a:lnRef idx="0">
            <a:schemeClr val="accent4"/>
          </a:lnRef>
          <a:fillRef idx="3">
            <a:schemeClr val="accent4"/>
          </a:fillRef>
          <a:effectRef idx="3">
            <a:schemeClr val="accent4"/>
          </a:effectRef>
          <a:fontRef idx="minor">
            <a:schemeClr val="lt1"/>
          </a:fontRef>
        </p:style>
        <p:txBody>
          <a:bodyPr lIns="91415" tIns="91415" rIns="91415" bIns="91415" anchor="t"/>
          <a:lstStyle/>
          <a:p>
            <a:pPr defTabSz="913660" fontAlgn="base">
              <a:lnSpc>
                <a:spcPct val="90000"/>
              </a:lnSpc>
              <a:spcBef>
                <a:spcPct val="0"/>
              </a:spcBef>
              <a:spcAft>
                <a:spcPct val="0"/>
              </a:spcAft>
              <a:defRPr/>
            </a:pPr>
            <a:r>
              <a:rPr lang="en-US" dirty="0">
                <a:gradFill>
                  <a:gsLst>
                    <a:gs pos="2655">
                      <a:srgbClr val="FFFFFF"/>
                    </a:gs>
                    <a:gs pos="28000">
                      <a:srgbClr val="FFFFFF"/>
                    </a:gs>
                  </a:gsLst>
                  <a:lin ang="0" scaled="0"/>
                </a:gradFill>
                <a:latin typeface="Segoe UI"/>
              </a:rPr>
              <a:t>App Service</a:t>
            </a:r>
          </a:p>
        </p:txBody>
      </p:sp>
      <p:sp>
        <p:nvSpPr>
          <p:cNvPr id="24" name="TextBox 23"/>
          <p:cNvSpPr txBox="1"/>
          <p:nvPr/>
        </p:nvSpPr>
        <p:spPr>
          <a:xfrm>
            <a:off x="8385708" y="3843242"/>
            <a:ext cx="1717936" cy="683038"/>
          </a:xfrm>
          <a:prstGeom prst="rect">
            <a:avLst/>
          </a:prstGeom>
          <a:solidFill>
            <a:schemeClr val="tx1">
              <a:alpha val="20000"/>
            </a:schemeClr>
          </a:solidFill>
        </p:spPr>
        <p:txBody>
          <a:bodyPr lIns="182805" tIns="146243" rIns="182805" bIns="146243">
            <a:noAutofit/>
          </a:bodyPr>
          <a:lstStyle/>
          <a:p>
            <a:pPr algn="ctr" defTabSz="932291">
              <a:lnSpc>
                <a:spcPct val="90000"/>
              </a:lnSpc>
              <a:spcAft>
                <a:spcPts val="600"/>
              </a:spcAft>
              <a:defRPr/>
            </a:pPr>
            <a:r>
              <a:rPr lang="en-US" sz="1399" spc="50" dirty="0">
                <a:latin typeface="Segoe UI Semibold" panose="020B0702040204020203" pitchFamily="34" charset="0"/>
                <a:ea typeface="MS PGothic" pitchFamily="34" charset="-128"/>
                <a:cs typeface="Segoe UI Semibold" panose="020B0702040204020203" pitchFamily="34" charset="0"/>
              </a:rPr>
              <a:t>Stateless and </a:t>
            </a:r>
            <a:r>
              <a:rPr lang="en-US" sz="1399" spc="50" dirty="0" err="1">
                <a:latin typeface="Segoe UI Semibold" panose="020B0702040204020203" pitchFamily="34" charset="0"/>
                <a:ea typeface="MS PGothic" pitchFamily="34" charset="-128"/>
                <a:cs typeface="Segoe UI Semibold" panose="020B0702040204020203" pitchFamily="34" charset="0"/>
              </a:rPr>
              <a:t>stateful</a:t>
            </a:r>
            <a:endParaRPr lang="en-US" sz="1399" spc="50" dirty="0">
              <a:latin typeface="Segoe UI Semibold" panose="020B0702040204020203" pitchFamily="34" charset="0"/>
              <a:ea typeface="MS PGothic" pitchFamily="34" charset="-128"/>
              <a:cs typeface="Segoe UI Semibold" panose="020B0702040204020203" pitchFamily="34" charset="0"/>
            </a:endParaRPr>
          </a:p>
        </p:txBody>
      </p:sp>
      <p:sp>
        <p:nvSpPr>
          <p:cNvPr id="25" name="TextBox 24"/>
          <p:cNvSpPr txBox="1"/>
          <p:nvPr/>
        </p:nvSpPr>
        <p:spPr>
          <a:xfrm>
            <a:off x="6369844" y="3843242"/>
            <a:ext cx="1717936" cy="683038"/>
          </a:xfrm>
          <a:prstGeom prst="rect">
            <a:avLst/>
          </a:prstGeom>
          <a:solidFill>
            <a:schemeClr val="tx1">
              <a:alpha val="20000"/>
            </a:schemeClr>
          </a:solidFill>
        </p:spPr>
        <p:txBody>
          <a:bodyPr lIns="182805" tIns="146243" rIns="182805" bIns="146243">
            <a:noAutofit/>
          </a:bodyPr>
          <a:lstStyle/>
          <a:p>
            <a:pPr algn="ctr" defTabSz="932291">
              <a:lnSpc>
                <a:spcPct val="90000"/>
              </a:lnSpc>
              <a:spcAft>
                <a:spcPts val="600"/>
              </a:spcAft>
              <a:defRPr/>
            </a:pPr>
            <a:r>
              <a:rPr lang="en-US" sz="1399" spc="50" dirty="0">
                <a:latin typeface="Segoe UI Semibold" panose="020B0702040204020203" pitchFamily="34" charset="0"/>
                <a:ea typeface="MS PGothic" pitchFamily="34" charset="-128"/>
                <a:cs typeface="Segoe UI Semibold" panose="020B0702040204020203" pitchFamily="34" charset="0"/>
              </a:rPr>
              <a:t>Web and mobile</a:t>
            </a:r>
          </a:p>
        </p:txBody>
      </p:sp>
    </p:spTree>
    <p:extLst>
      <p:ext uri="{BB962C8B-B14F-4D97-AF65-F5344CB8AC3E}">
        <p14:creationId xmlns:p14="http://schemas.microsoft.com/office/powerpoint/2010/main" val="376418371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9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Key decision points – ASM/ARM</a:t>
            </a:r>
          </a:p>
        </p:txBody>
      </p:sp>
      <p:sp>
        <p:nvSpPr>
          <p:cNvPr id="29" name="TextBox 28"/>
          <p:cNvSpPr txBox="1"/>
          <p:nvPr/>
        </p:nvSpPr>
        <p:spPr>
          <a:xfrm>
            <a:off x="378868" y="1375914"/>
            <a:ext cx="11271663" cy="4847086"/>
          </a:xfrm>
          <a:prstGeom prst="rect">
            <a:avLst/>
          </a:prstGeom>
          <a:noFill/>
        </p:spPr>
        <p:txBody>
          <a:bodyPr wrap="square" lIns="182828" tIns="146262" rIns="182828" bIns="146262" rtlCol="0">
            <a:noAutofit/>
          </a:bodyPr>
          <a:lstStyle/>
          <a:p>
            <a:pPr defTabSz="932324">
              <a:spcBef>
                <a:spcPct val="20000"/>
              </a:spcBef>
              <a:spcAft>
                <a:spcPts val="1198"/>
              </a:spcAft>
              <a:buSzPct val="80000"/>
            </a:pPr>
            <a:r>
              <a:rPr lang="en-US" sz="3199" spc="-50" dirty="0">
                <a:solidFill>
                  <a:schemeClr val="tx2"/>
                </a:solidFill>
                <a:latin typeface="Segoe UI Light"/>
              </a:rPr>
              <a:t>Recommendation – Use ARM for new and redeploy when possible</a:t>
            </a:r>
          </a:p>
          <a:p>
            <a:pPr defTabSz="932324">
              <a:spcBef>
                <a:spcPct val="20000"/>
              </a:spcBef>
              <a:spcAft>
                <a:spcPts val="1198"/>
              </a:spcAft>
              <a:buSzPct val="80000"/>
            </a:pPr>
            <a:r>
              <a:rPr lang="en-US" sz="3199" spc="-50" dirty="0">
                <a:solidFill>
                  <a:schemeClr val="tx2"/>
                </a:solidFill>
                <a:latin typeface="Segoe UI Light"/>
              </a:rPr>
              <a:t>ARM benefits include:</a:t>
            </a:r>
          </a:p>
          <a:p>
            <a:pPr marL="342900" lvl="1" indent="-342900" defTabSz="932594">
              <a:lnSpc>
                <a:spcPct val="90000"/>
              </a:lnSpc>
              <a:spcBef>
                <a:spcPct val="20000"/>
              </a:spcBef>
              <a:buSzPct val="90000"/>
              <a:buFont typeface="Arial" panose="020B0604020202020204" pitchFamily="34" charset="0"/>
              <a:buChar char="•"/>
            </a:pPr>
            <a:r>
              <a:rPr lang="en-US" sz="2000" dirty="0">
                <a:gradFill>
                  <a:gsLst>
                    <a:gs pos="1250">
                      <a:schemeClr val="tx1"/>
                    </a:gs>
                    <a:gs pos="100000">
                      <a:schemeClr val="tx1"/>
                    </a:gs>
                  </a:gsLst>
                  <a:lin ang="5400000" scaled="0"/>
                </a:gradFill>
              </a:rPr>
              <a:t>Deploy, manage, and monitor services as a group</a:t>
            </a:r>
          </a:p>
          <a:p>
            <a:pPr marL="342900" lvl="1" indent="-342900" defTabSz="932594">
              <a:lnSpc>
                <a:spcPct val="90000"/>
              </a:lnSpc>
              <a:spcBef>
                <a:spcPct val="20000"/>
              </a:spcBef>
              <a:buSzPct val="90000"/>
              <a:buFont typeface="Arial" panose="020B0604020202020204" pitchFamily="34" charset="0"/>
              <a:buChar char="•"/>
            </a:pPr>
            <a:r>
              <a:rPr lang="en-US" sz="2000" dirty="0">
                <a:gradFill>
                  <a:gsLst>
                    <a:gs pos="1250">
                      <a:schemeClr val="tx1"/>
                    </a:gs>
                    <a:gs pos="100000">
                      <a:schemeClr val="tx1"/>
                    </a:gs>
                  </a:gsLst>
                  <a:lin ang="5400000" scaled="0"/>
                </a:gradFill>
              </a:rPr>
              <a:t>Templates</a:t>
            </a:r>
          </a:p>
          <a:p>
            <a:pPr marL="342900" lvl="1" indent="-342900" defTabSz="932594">
              <a:lnSpc>
                <a:spcPct val="90000"/>
              </a:lnSpc>
              <a:spcBef>
                <a:spcPct val="20000"/>
              </a:spcBef>
              <a:buSzPct val="90000"/>
              <a:buFont typeface="Arial" panose="020B0604020202020204" pitchFamily="34" charset="0"/>
              <a:buChar char="•"/>
            </a:pPr>
            <a:r>
              <a:rPr lang="en-US" sz="2000" dirty="0">
                <a:gradFill>
                  <a:gsLst>
                    <a:gs pos="1250">
                      <a:schemeClr val="tx1"/>
                    </a:gs>
                    <a:gs pos="100000">
                      <a:schemeClr val="tx1"/>
                    </a:gs>
                  </a:gsLst>
                  <a:lin ang="5400000" scaled="0"/>
                </a:gradFill>
              </a:rPr>
              <a:t>Define dependencies</a:t>
            </a:r>
          </a:p>
          <a:p>
            <a:pPr marL="342900" lvl="1" indent="-342900" defTabSz="932594">
              <a:lnSpc>
                <a:spcPct val="90000"/>
              </a:lnSpc>
              <a:spcBef>
                <a:spcPct val="20000"/>
              </a:spcBef>
              <a:buSzPct val="90000"/>
              <a:buFont typeface="Arial" panose="020B0604020202020204" pitchFamily="34" charset="0"/>
              <a:buChar char="•"/>
            </a:pPr>
            <a:r>
              <a:rPr lang="en-US" sz="2000" dirty="0">
                <a:gradFill>
                  <a:gsLst>
                    <a:gs pos="1250">
                      <a:schemeClr val="tx1"/>
                    </a:gs>
                    <a:gs pos="100000">
                      <a:schemeClr val="tx1"/>
                    </a:gs>
                  </a:gsLst>
                  <a:lin ang="5400000" scaled="0"/>
                </a:gradFill>
              </a:rPr>
              <a:t>RBAC</a:t>
            </a:r>
          </a:p>
          <a:p>
            <a:pPr marL="342900" lvl="1" indent="-342900" defTabSz="932594">
              <a:lnSpc>
                <a:spcPct val="90000"/>
              </a:lnSpc>
              <a:spcBef>
                <a:spcPct val="20000"/>
              </a:spcBef>
              <a:buSzPct val="90000"/>
              <a:buFont typeface="Arial" panose="020B0604020202020204" pitchFamily="34" charset="0"/>
              <a:buChar char="•"/>
            </a:pPr>
            <a:r>
              <a:rPr lang="en-US" sz="2000" dirty="0">
                <a:gradFill>
                  <a:gsLst>
                    <a:gs pos="1250">
                      <a:schemeClr val="tx1"/>
                    </a:gs>
                    <a:gs pos="100000">
                      <a:schemeClr val="tx1"/>
                    </a:gs>
                  </a:gsLst>
                  <a:lin ang="5400000" scaled="0"/>
                </a:gradFill>
              </a:rPr>
              <a:t>Tags</a:t>
            </a:r>
          </a:p>
          <a:p>
            <a:pPr defTabSz="932324">
              <a:spcBef>
                <a:spcPct val="20000"/>
              </a:spcBef>
              <a:spcAft>
                <a:spcPts val="1198"/>
              </a:spcAft>
              <a:buSzPct val="80000"/>
            </a:pPr>
            <a:r>
              <a:rPr lang="en-US" sz="3199" spc="-50" dirty="0">
                <a:solidFill>
                  <a:schemeClr val="tx2"/>
                </a:solidFill>
                <a:latin typeface="Segoe UI Light"/>
              </a:rPr>
              <a:t>Many services can be deployed in either model</a:t>
            </a:r>
          </a:p>
          <a:p>
            <a:pPr defTabSz="932324">
              <a:spcBef>
                <a:spcPct val="20000"/>
              </a:spcBef>
              <a:spcAft>
                <a:spcPts val="1198"/>
              </a:spcAft>
              <a:buSzPct val="80000"/>
            </a:pPr>
            <a:r>
              <a:rPr lang="en-US" sz="3199" spc="-50" dirty="0">
                <a:solidFill>
                  <a:schemeClr val="tx2"/>
                </a:solidFill>
                <a:latin typeface="Segoe UI Light"/>
              </a:rPr>
              <a:t>Compute, storage, and networking resources differ by model</a:t>
            </a:r>
          </a:p>
          <a:p>
            <a:pPr defTabSz="932324"/>
            <a:endParaRPr lang="en-US" sz="2000" spc="-50" dirty="0">
              <a:gradFill>
                <a:gsLst>
                  <a:gs pos="0">
                    <a:srgbClr val="505050"/>
                  </a:gs>
                  <a:gs pos="100000">
                    <a:srgbClr val="505050"/>
                  </a:gs>
                </a:gsLst>
                <a:lin ang="0" scaled="0"/>
              </a:gradFill>
            </a:endParaRPr>
          </a:p>
        </p:txBody>
      </p:sp>
    </p:spTree>
    <p:extLst>
      <p:ext uri="{BB962C8B-B14F-4D97-AF65-F5344CB8AC3E}">
        <p14:creationId xmlns:p14="http://schemas.microsoft.com/office/powerpoint/2010/main" val="426315892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WHITE TEMPLATE">
  <a:themeElements>
    <a:clrScheme name="MSVID White Brand template_10-14">
      <a:dk1>
        <a:srgbClr val="505050"/>
      </a:dk1>
      <a:lt1>
        <a:srgbClr val="FFFFFF"/>
      </a:lt1>
      <a:dk2>
        <a:srgbClr val="0078D7"/>
      </a:dk2>
      <a:lt2>
        <a:srgbClr val="00BCF2"/>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4-3_Business_BLUE_4.potx" id="{B9317E7A-7966-40DE-8E74-E9E00A42FB17}" vid="{04E2243D-3930-4B3C-B0FF-01FE84D1912F}"/>
    </a:ext>
  </a:extLst>
</a:theme>
</file>

<file path=ppt/theme/theme10.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Jeffrey Richter">
  <a:themeElements>
    <a:clrScheme name="TR20 - BO">
      <a:dk1>
        <a:srgbClr val="505050"/>
      </a:dk1>
      <a:lt1>
        <a:srgbClr val="FFFFFF"/>
      </a:lt1>
      <a:dk2>
        <a:srgbClr val="0078D7"/>
      </a:dk2>
      <a:lt2>
        <a:srgbClr val="D2D2D2"/>
      </a:lt2>
      <a:accent1>
        <a:srgbClr val="D83B01"/>
      </a:accent1>
      <a:accent2>
        <a:srgbClr val="0078D7"/>
      </a:accent2>
      <a:accent3>
        <a:srgbClr val="BAD80A"/>
      </a:accent3>
      <a:accent4>
        <a:srgbClr val="FFB900"/>
      </a:accent4>
      <a:accent5>
        <a:srgbClr val="5C2D91"/>
      </a:accent5>
      <a:accent6>
        <a:srgbClr val="002050"/>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w="3175">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Jeffrey Richter PPT Template.potx" id="{0EC3B29B-1691-4021-B91F-DD4F9F467C43}" vid="{219876D6-05DE-4F5A-B736-86EA333E6746}"/>
    </a:ext>
  </a:extLst>
</a:theme>
</file>

<file path=ppt/theme/theme3.xml><?xml version="1.0" encoding="utf-8"?>
<a:theme xmlns:a="http://schemas.openxmlformats.org/drawingml/2006/main" name="6-50001_WPC 2016 Breakout Template">
  <a:themeElements>
    <a:clrScheme name="WPC 2016 colors">
      <a:dk1>
        <a:srgbClr val="505050"/>
      </a:dk1>
      <a:lt1>
        <a:srgbClr val="FFFFFF"/>
      </a:lt1>
      <a:dk2>
        <a:srgbClr val="5C2D91"/>
      </a:dk2>
      <a:lt2>
        <a:srgbClr val="EAEAEA"/>
      </a:lt2>
      <a:accent1>
        <a:srgbClr val="5C2D91"/>
      </a:accent1>
      <a:accent2>
        <a:srgbClr val="0078D7"/>
      </a:accent2>
      <a:accent3>
        <a:srgbClr val="002050"/>
      </a:accent3>
      <a:accent4>
        <a:srgbClr val="32145A"/>
      </a:accent4>
      <a:accent5>
        <a:srgbClr val="B4009E"/>
      </a:accent5>
      <a:accent6>
        <a:srgbClr val="505050"/>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PC_2016_Session_16x9_Template.potx" id="{085148F9-3FB5-45CD-9508-2D9F57AE2938}" vid="{2AB61A27-A5F8-4D15-B4C3-BC1FC60C2EA2}"/>
    </a:ext>
  </a:extLst>
</a:theme>
</file>

<file path=ppt/theme/theme4.xml><?xml version="1.0" encoding="utf-8"?>
<a:theme xmlns:a="http://schemas.openxmlformats.org/drawingml/2006/main" name="3_5-50113_Microsoft_Ready_Light_Template">
  <a:themeElements>
    <a:clrScheme name="Microsoft Ready Light">
      <a:dk1>
        <a:srgbClr val="353535"/>
      </a:dk1>
      <a:lt1>
        <a:srgbClr val="FFFFFF"/>
      </a:lt1>
      <a:dk2>
        <a:srgbClr val="002050"/>
      </a:dk2>
      <a:lt2>
        <a:srgbClr val="E6E6E6"/>
      </a:lt2>
      <a:accent1>
        <a:srgbClr val="002050"/>
      </a:accent1>
      <a:accent2>
        <a:srgbClr val="00188F"/>
      </a:accent2>
      <a:accent3>
        <a:srgbClr val="0078D7"/>
      </a:accent3>
      <a:accent4>
        <a:srgbClr val="00BCF2"/>
      </a:accent4>
      <a:accent5>
        <a:srgbClr val="00B294"/>
      </a:accent5>
      <a:accent6>
        <a:srgbClr val="BAD80A"/>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PEC-AZR246.potx" id="{217AB11E-1711-4BC1-B916-C6ED9C82379B}" vid="{ECD6FAA1-4EB3-474E-9B0E-C6EDF6F1986A}"/>
    </a:ext>
  </a:extLst>
</a:theme>
</file>

<file path=ppt/theme/theme5.xml><?xml version="1.0" encoding="utf-8"?>
<a:theme xmlns:a="http://schemas.openxmlformats.org/drawingml/2006/main" name="1_5-50057_TechSummit_FY17_Light">
  <a:themeElements>
    <a:clrScheme name="Microsoft Tech Summit v03">
      <a:dk1>
        <a:srgbClr val="161616"/>
      </a:dk1>
      <a:lt1>
        <a:srgbClr val="FFFFFF"/>
      </a:lt1>
      <a:dk2>
        <a:srgbClr val="00188F"/>
      </a:dk2>
      <a:lt2>
        <a:srgbClr val="F8F8F8"/>
      </a:lt2>
      <a:accent1>
        <a:srgbClr val="0078D7"/>
      </a:accent1>
      <a:accent2>
        <a:srgbClr val="00BCF2"/>
      </a:accent2>
      <a:accent3>
        <a:srgbClr val="D73B01"/>
      </a:accent3>
      <a:accent4>
        <a:srgbClr val="D2D2D2"/>
      </a:accent4>
      <a:accent5>
        <a:srgbClr val="FFB900"/>
      </a:accent5>
      <a:accent6>
        <a:srgbClr val="FF8C00"/>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5439">
                  <a:srgbClr val="F8F8F8"/>
                </a:gs>
                <a:gs pos="10000">
                  <a:srgbClr val="F8F8F8"/>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echSummit_FY17_16x9_Template.potx" id="{0F38E6BD-6271-4EAD-8421-BBD1CAF81882}" vid="{5FDA26A8-DCBA-42BE-8369-1ED889D074FE}"/>
    </a:ext>
  </a:extLst>
</a:theme>
</file>

<file path=ppt/theme/theme6.xml><?xml version="1.0" encoding="utf-8"?>
<a:theme xmlns:a="http://schemas.openxmlformats.org/drawingml/2006/main" name="5-50002_Ignite_Breakout_Template">
  <a:themeElements>
    <a:clrScheme name="Ignite 2016">
      <a:dk1>
        <a:srgbClr val="505050"/>
      </a:dk1>
      <a:lt1>
        <a:srgbClr val="FFFFFF"/>
      </a:lt1>
      <a:dk2>
        <a:srgbClr val="D83B01"/>
      </a:dk2>
      <a:lt2>
        <a:srgbClr val="F8F8F8"/>
      </a:lt2>
      <a:accent1>
        <a:srgbClr val="D83B01"/>
      </a:accent1>
      <a:accent2>
        <a:srgbClr val="0078D7"/>
      </a:accent2>
      <a:accent3>
        <a:srgbClr val="505050"/>
      </a:accent3>
      <a:accent4>
        <a:srgbClr val="D2D2D2"/>
      </a:accent4>
      <a:accent5>
        <a:srgbClr val="FFB900"/>
      </a:accent5>
      <a:accent6>
        <a:srgbClr val="FF8C00"/>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5439">
                  <a:srgbClr val="F8F8F8"/>
                </a:gs>
                <a:gs pos="10000">
                  <a:srgbClr val="F8F8F8"/>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2016_16x9_Template.potx" id="{CBE293B4-E8CE-4773-8118-C9AFF2860326}" vid="{2919AEDD-0101-441B-B6AF-1CDAE3B8CD78}"/>
    </a:ext>
  </a:extLst>
</a:theme>
</file>

<file path=ppt/theme/theme7.xml><?xml version="1.0" encoding="utf-8"?>
<a:theme xmlns:a="http://schemas.openxmlformats.org/drawingml/2006/main" name="5-50057_TechSummit_FY17_Light">
  <a:themeElements>
    <a:clrScheme name="Microsoft Tech Summit v03">
      <a:dk1>
        <a:srgbClr val="161616"/>
      </a:dk1>
      <a:lt1>
        <a:srgbClr val="FFFFFF"/>
      </a:lt1>
      <a:dk2>
        <a:srgbClr val="00188F"/>
      </a:dk2>
      <a:lt2>
        <a:srgbClr val="F8F8F8"/>
      </a:lt2>
      <a:accent1>
        <a:srgbClr val="0078D7"/>
      </a:accent1>
      <a:accent2>
        <a:srgbClr val="00BCF2"/>
      </a:accent2>
      <a:accent3>
        <a:srgbClr val="D73B01"/>
      </a:accent3>
      <a:accent4>
        <a:srgbClr val="D2D2D2"/>
      </a:accent4>
      <a:accent5>
        <a:srgbClr val="FFB900"/>
      </a:accent5>
      <a:accent6>
        <a:srgbClr val="FF8C00"/>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5439">
                  <a:srgbClr val="F8F8F8"/>
                </a:gs>
                <a:gs pos="10000">
                  <a:srgbClr val="F8F8F8"/>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echSummit_FY17_16x9_Template.potx" id="{0F38E6BD-6271-4EAD-8421-BBD1CAF81882}" vid="{5FDA26A8-DCBA-42BE-8369-1ED889D074FE}"/>
    </a:ext>
  </a:extLst>
</a:theme>
</file>

<file path=ppt/theme/theme8.xml><?xml version="1.0" encoding="utf-8"?>
<a:theme xmlns:a="http://schemas.openxmlformats.org/drawingml/2006/main" name="5_COLOR TEMPLATE">
  <a:themeElements>
    <a:clrScheme name="Custom 1">
      <a:dk1>
        <a:srgbClr val="505050"/>
      </a:dk1>
      <a:lt1>
        <a:srgbClr val="FFFFFF"/>
      </a:lt1>
      <a:dk2>
        <a:srgbClr val="002050"/>
      </a:dk2>
      <a:lt2>
        <a:srgbClr val="CDF4FF"/>
      </a:lt2>
      <a:accent1>
        <a:srgbClr val="0078D7"/>
      </a:accent1>
      <a:accent2>
        <a:srgbClr val="D83B01"/>
      </a:accent2>
      <a:accent3>
        <a:srgbClr val="107C10"/>
      </a:accent3>
      <a:accent4>
        <a:srgbClr val="B4009E"/>
      </a:accent4>
      <a:accent5>
        <a:srgbClr val="5C2D91"/>
      </a:accent5>
      <a:accent6>
        <a:srgbClr val="008272"/>
      </a:accent6>
      <a:hlink>
        <a:srgbClr val="002050"/>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defTabSz="932472" fontAlgn="base">
          <a:spcBef>
            <a:spcPct val="0"/>
          </a:spcBef>
          <a:spcAft>
            <a:spcPct val="0"/>
          </a:spcAft>
          <a:defRPr sz="2400">
            <a:solidFill>
              <a:schemeClr val="tx1"/>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oduct_Brand_template_16-9_Business_DARK_BLUE_1.potx" id="{0F2C6A5A-CB9F-44E8-92D9-A9A1E28D15E7}" vid="{2D6B5C47-15D3-4853-A69E-31534ABCEC61}"/>
    </a:ext>
  </a:extLst>
</a:theme>
</file>

<file path=ppt/theme/theme9.xml><?xml version="1.0" encoding="utf-8"?>
<a:theme xmlns:a="http://schemas.openxmlformats.org/drawingml/2006/main" name="Theme1">
  <a:themeElements>
    <a:clrScheme name="STB 2013 colors">
      <a:dk1>
        <a:srgbClr val="000000"/>
      </a:dk1>
      <a:lt1>
        <a:srgbClr val="FFFFFF"/>
      </a:lt1>
      <a:dk2>
        <a:srgbClr val="505050"/>
      </a:dk2>
      <a:lt2>
        <a:srgbClr val="D2D2D2"/>
      </a:lt2>
      <a:accent1>
        <a:srgbClr val="0072C6"/>
      </a:accent1>
      <a:accent2>
        <a:srgbClr val="008272"/>
      </a:accent2>
      <a:accent3>
        <a:srgbClr val="68217A"/>
      </a:accent3>
      <a:accent4>
        <a:srgbClr val="DC3C00"/>
      </a:accent4>
      <a:accent5>
        <a:srgbClr val="FF8C00"/>
      </a:accent5>
      <a:accent6>
        <a:srgbClr val="00BCF2"/>
      </a:accent6>
      <a:hlink>
        <a:srgbClr val="505050"/>
      </a:hlink>
      <a:folHlink>
        <a:srgbClr val="505050"/>
      </a:folHlink>
    </a:clrScheme>
    <a:fontScheme name="STB-2013-SegoeUI">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4"/>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000" b="1" dirty="0" smtClean="0">
            <a:solidFill>
              <a:schemeClr val="bg1"/>
            </a:solidFill>
            <a:latin typeface="+mj-lt"/>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182880" tIns="146304" rIns="182880" bIns="146304" rtlCol="0">
        <a:noAutofit/>
      </a:bodyPr>
      <a:lstStyle>
        <a:defPPr>
          <a:lnSpc>
            <a:spcPct val="90000"/>
          </a:lnSpc>
          <a:spcAft>
            <a:spcPts val="600"/>
          </a:spcAft>
          <a:defRPr dirty="0" smtClean="0">
            <a:solidFill>
              <a:schemeClr val="tx1">
                <a:lumMod val="85000"/>
                <a:lumOff val="15000"/>
              </a:schemeClr>
            </a:solidFill>
          </a:defRPr>
        </a:defPPr>
      </a:lstStyle>
    </a:txDef>
  </a:objectDefaults>
  <a:extraClrSchemeLst/>
  <a:extLst>
    <a:ext uri="{05A4C25C-085E-4340-85A3-A5531E510DB2}">
      <thm15:themeFamily xmlns:thm15="http://schemas.microsoft.com/office/thememl/2012/main" name="Theme1" id="{3B365E36-265F-42ED-90CB-897686AA20D5}" vid="{42BB44ED-578C-437B-982F-BE4F33A2196C}"/>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5253B0A39536C34A88A418826D8AA97B" ma:contentTypeVersion="0" ma:contentTypeDescription="Create a new document." ma:contentTypeScope="" ma:versionID="50ad4e5c0e1d538855268c933a8cd428">
  <xsd:schema xmlns:xsd="http://www.w3.org/2001/XMLSchema" xmlns:xs="http://www.w3.org/2001/XMLSchema" xmlns:p="http://schemas.microsoft.com/office/2006/metadata/properties" targetNamespace="http://schemas.microsoft.com/office/2006/metadata/properties" ma:root="true" ma:fieldsID="ef6e81ba9a205494fd550eed27629257">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F990F116-B58F-4255-B05B-DA3808E0E5C6}">
  <ds:schemaRefs>
    <ds:schemaRef ds:uri="60e067c4-a45d-4533-a15b-b3844c50456e"/>
    <ds:schemaRef ds:uri="http://schemas.microsoft.com/office/2006/documentManagement/types"/>
    <ds:schemaRef ds:uri="http://purl.org/dc/elements/1.1/"/>
    <ds:schemaRef ds:uri="26e2a2f4-dbdb-4aea-b912-c14630ae47fd"/>
    <ds:schemaRef ds:uri="http://schemas.microsoft.com/sharepoint/v3"/>
    <ds:schemaRef ds:uri="http://schemas.microsoft.com/office/infopath/2007/PartnerControls"/>
    <ds:schemaRef ds:uri="http://www.w3.org/XML/1998/namespace"/>
    <ds:schemaRef ds:uri="http://purl.org/dc/terms/"/>
    <ds:schemaRef ds:uri="http://schemas.openxmlformats.org/package/2006/metadata/core-properties"/>
    <ds:schemaRef ds:uri="http://schemas.microsoft.com/office/2006/metadata/properties"/>
    <ds:schemaRef ds:uri="http://purl.org/dc/dcmitype/"/>
  </ds:schemaRefs>
</ds:datastoreItem>
</file>

<file path=customXml/itemProps2.xml><?xml version="1.0" encoding="utf-8"?>
<ds:datastoreItem xmlns:ds="http://schemas.openxmlformats.org/officeDocument/2006/customXml" ds:itemID="{00FE7BCA-2640-42B2-813C-A9C1706ECB92}"/>
</file>

<file path=customXml/itemProps3.xml><?xml version="1.0" encoding="utf-8"?>
<ds:datastoreItem xmlns:ds="http://schemas.openxmlformats.org/officeDocument/2006/customXml" ds:itemID="{758FDAC0-319D-4A54-8D8E-1D42CB1F8004}">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Brand_template_4-3_Business_BLUE_4</Template>
  <TotalTime>5322</TotalTime>
  <Words>21460</Words>
  <Application>Microsoft Office PowerPoint</Application>
  <PresentationFormat>Custom</PresentationFormat>
  <Paragraphs>2805</Paragraphs>
  <Slides>198</Slides>
  <Notes>198</Notes>
  <HiddenSlides>112</HiddenSlides>
  <MMClips>0</MMClips>
  <ScaleCrop>false</ScaleCrop>
  <HeadingPairs>
    <vt:vector size="8" baseType="variant">
      <vt:variant>
        <vt:lpstr>Fonts Used</vt:lpstr>
      </vt:variant>
      <vt:variant>
        <vt:i4>18</vt:i4>
      </vt:variant>
      <vt:variant>
        <vt:lpstr>Theme</vt:lpstr>
      </vt:variant>
      <vt:variant>
        <vt:i4>9</vt:i4>
      </vt:variant>
      <vt:variant>
        <vt:lpstr>Embedded OLE Servers</vt:lpstr>
      </vt:variant>
      <vt:variant>
        <vt:i4>1</vt:i4>
      </vt:variant>
      <vt:variant>
        <vt:lpstr>Slide Titles</vt:lpstr>
      </vt:variant>
      <vt:variant>
        <vt:i4>198</vt:i4>
      </vt:variant>
    </vt:vector>
  </HeadingPairs>
  <TitlesOfParts>
    <vt:vector size="226" baseType="lpstr">
      <vt:lpstr>MS PGothic</vt:lpstr>
      <vt:lpstr>MS PGothic</vt:lpstr>
      <vt:lpstr>Arial</vt:lpstr>
      <vt:lpstr>Arial Unicode MS</vt:lpstr>
      <vt:lpstr>Calibri</vt:lpstr>
      <vt:lpstr>Calibri Light</vt:lpstr>
      <vt:lpstr>Consolas</vt:lpstr>
      <vt:lpstr>Segoe</vt:lpstr>
      <vt:lpstr>Segoe Light</vt:lpstr>
      <vt:lpstr>Segoe Semibold</vt:lpstr>
      <vt:lpstr>Segoe UI</vt:lpstr>
      <vt:lpstr>Segoe UI Black</vt:lpstr>
      <vt:lpstr>Segoe UI Light</vt:lpstr>
      <vt:lpstr>Segoe UI Semibold</vt:lpstr>
      <vt:lpstr>Segoe UI Semilight</vt:lpstr>
      <vt:lpstr>Segoe WP Semibold</vt:lpstr>
      <vt:lpstr>Times New Roman</vt:lpstr>
      <vt:lpstr>Wingdings</vt:lpstr>
      <vt:lpstr>WHITE TEMPLATE</vt:lpstr>
      <vt:lpstr>Jeffrey Richter</vt:lpstr>
      <vt:lpstr>6-50001_WPC 2016 Breakout Template</vt:lpstr>
      <vt:lpstr>3_5-50113_Microsoft_Ready_Light_Template</vt:lpstr>
      <vt:lpstr>1_5-50057_TechSummit_FY17_Light</vt:lpstr>
      <vt:lpstr>5-50002_Ignite_Breakout_Template</vt:lpstr>
      <vt:lpstr>5-50057_TechSummit_FY17_Light</vt:lpstr>
      <vt:lpstr>5_COLOR TEMPLATE</vt:lpstr>
      <vt:lpstr>Theme1</vt:lpstr>
      <vt:lpstr>think-cell Slide</vt:lpstr>
      <vt:lpstr>Azure Solution Alignment Workshop</vt:lpstr>
      <vt:lpstr>PowerPoint Presentation</vt:lpstr>
      <vt:lpstr>Azure PaaS Overview</vt:lpstr>
      <vt:lpstr>Let’s say your app is a car…</vt:lpstr>
      <vt:lpstr>Balance of responsibility </vt:lpstr>
      <vt:lpstr>Benefits of PaaS Forrester Total Economic Impact results  </vt:lpstr>
      <vt:lpstr>Azure Compute Platform Overview</vt:lpstr>
      <vt:lpstr>Developing a hybrid cloud strategy</vt:lpstr>
      <vt:lpstr>Azure services in  Azure Stack…</vt:lpstr>
      <vt:lpstr>Azure App Services</vt:lpstr>
      <vt:lpstr>App Service</vt:lpstr>
      <vt:lpstr>Overview</vt:lpstr>
      <vt:lpstr>App Service Features &amp; Capabilities</vt:lpstr>
      <vt:lpstr>PowerPoint Presentation</vt:lpstr>
      <vt:lpstr>PowerPoint Presentation</vt:lpstr>
      <vt:lpstr>Mobile Apps</vt:lpstr>
      <vt:lpstr>API Apps Features</vt:lpstr>
      <vt:lpstr>Logic Apps Features</vt:lpstr>
      <vt:lpstr>Azure functions architecture</vt:lpstr>
      <vt:lpstr>Azure functions</vt:lpstr>
      <vt:lpstr>App Service Environment (ASE)</vt:lpstr>
      <vt:lpstr>Service Fabric</vt:lpstr>
      <vt:lpstr>Microsoft Azure Service Fabric</vt:lpstr>
      <vt:lpstr>Services built with Service Fabric</vt:lpstr>
      <vt:lpstr>Monolithic application approach</vt:lpstr>
      <vt:lpstr>Azure SQL Database</vt:lpstr>
      <vt:lpstr>Azure SQL Database</vt:lpstr>
      <vt:lpstr>SQL Database vs. SQL Server on Azure VM</vt:lpstr>
      <vt:lpstr>Database service tiers</vt:lpstr>
      <vt:lpstr>Securing Azure SQL Database</vt:lpstr>
      <vt:lpstr>Azure Container Services</vt:lpstr>
      <vt:lpstr>Azure Container Service</vt:lpstr>
      <vt:lpstr>What is a container?</vt:lpstr>
      <vt:lpstr>PowerPoint Presentation</vt:lpstr>
      <vt:lpstr>Notification Hubs</vt:lpstr>
      <vt:lpstr>Notification Hubs</vt:lpstr>
      <vt:lpstr>Batch</vt:lpstr>
      <vt:lpstr>Azure Batch</vt:lpstr>
      <vt:lpstr>Azure Batch models</vt:lpstr>
      <vt:lpstr>Redis Cache</vt:lpstr>
      <vt:lpstr>Redis Cache features</vt:lpstr>
      <vt:lpstr>Azure Redis Cache</vt:lpstr>
      <vt:lpstr>Scaling Azure Redis Cache</vt:lpstr>
      <vt:lpstr>Cosmos DB</vt:lpstr>
      <vt:lpstr>Introducing Azure Cosmos DB A globally distributed, massively scalable, multi-model database service</vt:lpstr>
      <vt:lpstr>Introducing Azure Cosmos DB A globally distributed, massively scalable, multi-model database service</vt:lpstr>
      <vt:lpstr>Introducing Azure Cosmos DB A globally distributed, massively scalable, multi-model database service</vt:lpstr>
      <vt:lpstr>Introducing Azure Cosmos DB A globally distributed, massively scalable, multi-model database service</vt:lpstr>
      <vt:lpstr>Introducing Azure Cosmos DB A globally distributed, massively scalable, multi-model database service</vt:lpstr>
      <vt:lpstr>Introducing Azure Cosmos DB A globally distributed, massively scalable, multi-model database service</vt:lpstr>
      <vt:lpstr>Azure Search</vt:lpstr>
      <vt:lpstr>Azure Search overview</vt:lpstr>
      <vt:lpstr>Capabilities summary</vt:lpstr>
      <vt:lpstr>HDInsight</vt:lpstr>
      <vt:lpstr>PowerPoint Presentation</vt:lpstr>
      <vt:lpstr>HDInsight – What is it?</vt:lpstr>
      <vt:lpstr>HDInsight Storm</vt:lpstr>
      <vt:lpstr>Machine Learning</vt:lpstr>
      <vt:lpstr>Azure Machine Learning Services - Overview</vt:lpstr>
      <vt:lpstr>Experimentation Services</vt:lpstr>
      <vt:lpstr>Experimentation service</vt:lpstr>
      <vt:lpstr>Azure Machine Learning Model</vt:lpstr>
      <vt:lpstr>Stream Analytics</vt:lpstr>
      <vt:lpstr>Stream Analytics</vt:lpstr>
      <vt:lpstr>Data Factory</vt:lpstr>
      <vt:lpstr>Azure Data Factory</vt:lpstr>
      <vt:lpstr>Azure Data Lake</vt:lpstr>
      <vt:lpstr>Data Lake Store</vt:lpstr>
      <vt:lpstr>Azure Data Lake Analytics</vt:lpstr>
      <vt:lpstr>Data Lake Analytics</vt:lpstr>
      <vt:lpstr>Azure IoT Hub</vt:lpstr>
      <vt:lpstr>IoT Hub</vt:lpstr>
      <vt:lpstr>Event Hubs</vt:lpstr>
      <vt:lpstr>Event Hubs</vt:lpstr>
      <vt:lpstr>Media Services</vt:lpstr>
      <vt:lpstr>Media Services</vt:lpstr>
      <vt:lpstr>Content Delivery Network</vt:lpstr>
      <vt:lpstr>Content Delivery Network</vt:lpstr>
      <vt:lpstr>Content Delivery Network model</vt:lpstr>
      <vt:lpstr>Storage Queues</vt:lpstr>
      <vt:lpstr>Storage Queues</vt:lpstr>
      <vt:lpstr>Relay Hybrid Connections</vt:lpstr>
      <vt:lpstr>Relay Hybrid Connections</vt:lpstr>
      <vt:lpstr>Service Bus</vt:lpstr>
      <vt:lpstr>Azure Service Bus</vt:lpstr>
      <vt:lpstr>Azure Service Bus</vt:lpstr>
      <vt:lpstr>Takeaways</vt:lpstr>
      <vt:lpstr>PowerPoint Presentation</vt:lpstr>
      <vt:lpstr>How to use Appendix</vt:lpstr>
      <vt:lpstr>SQL encryption “Always encrypted”</vt:lpstr>
      <vt:lpstr>SQL encryption Transparent Data Encryption (TDE)</vt:lpstr>
      <vt:lpstr>SQL encryption  </vt:lpstr>
      <vt:lpstr>Compute IaaS and PaaS</vt:lpstr>
      <vt:lpstr>How to decide?</vt:lpstr>
      <vt:lpstr>PaaS considerations</vt:lpstr>
      <vt:lpstr>PaaS investments on ARM and ASM</vt:lpstr>
      <vt:lpstr>Compute options with ASM </vt:lpstr>
      <vt:lpstr>PaaS options with ARM stack</vt:lpstr>
      <vt:lpstr>Key decision points – ASM/ARM</vt:lpstr>
      <vt:lpstr>Cloud Services</vt:lpstr>
      <vt:lpstr>Cloud Services (classic/legacy)</vt:lpstr>
      <vt:lpstr>Cloud Services Model (classic/legacy)</vt:lpstr>
      <vt:lpstr>Cloud Services decisions (classic/legacy)</vt:lpstr>
      <vt:lpstr>Web/Worker roles (classic/legacy) overview</vt:lpstr>
      <vt:lpstr>Web and Worker roles (classic/legacy)</vt:lpstr>
      <vt:lpstr>Web and Worker roles model</vt:lpstr>
      <vt:lpstr>Web and Worker roles decisions  (classic/legacy)</vt:lpstr>
      <vt:lpstr>What do our customers love about Cloud Services?</vt:lpstr>
      <vt:lpstr>What are the missing features?</vt:lpstr>
      <vt:lpstr>Web/Worker roles roadmap</vt:lpstr>
      <vt:lpstr>Compute – Key decision points</vt:lpstr>
      <vt:lpstr>Compute – Key quotas, limits</vt:lpstr>
      <vt:lpstr>PowerPoint Presentation</vt:lpstr>
      <vt:lpstr>Azure Batch decisions</vt:lpstr>
      <vt:lpstr>App Services ExpressRoute configuration</vt:lpstr>
      <vt:lpstr>Service Fabric cluster</vt:lpstr>
      <vt:lpstr>Building Service Fabric applications</vt:lpstr>
      <vt:lpstr>Azure Developer Platform</vt:lpstr>
      <vt:lpstr>Traditional service pattern</vt:lpstr>
      <vt:lpstr>An alternative approach – Stateful services</vt:lpstr>
      <vt:lpstr>Writing microservices with Service Fabric</vt:lpstr>
      <vt:lpstr>Stateful microservice</vt:lpstr>
      <vt:lpstr>Service partitioning</vt:lpstr>
      <vt:lpstr>Service Fabric programming models</vt:lpstr>
      <vt:lpstr>Service Fabric deployment</vt:lpstr>
      <vt:lpstr>Reliable Actor API</vt:lpstr>
      <vt:lpstr>Reliable Services API</vt:lpstr>
      <vt:lpstr>Essentially</vt:lpstr>
      <vt:lpstr>Mobile engagements</vt:lpstr>
      <vt:lpstr>Mobile engagement</vt:lpstr>
      <vt:lpstr>Mobile engagement decisions</vt:lpstr>
      <vt:lpstr>Creating a container…</vt:lpstr>
      <vt:lpstr>So, I have deployed…  </vt:lpstr>
      <vt:lpstr>And all together..  </vt:lpstr>
      <vt:lpstr>Containers as a first class resource in ARM</vt:lpstr>
      <vt:lpstr>Deploy using portal or ARM</vt:lpstr>
      <vt:lpstr>Docker containers</vt:lpstr>
      <vt:lpstr>API management decisions</vt:lpstr>
      <vt:lpstr>Notification Hubs decisions</vt:lpstr>
      <vt:lpstr>Azure Batch decisions</vt:lpstr>
      <vt:lpstr>Web and Mobile – Key decision points</vt:lpstr>
      <vt:lpstr>Web and Mobile – Key decision points</vt:lpstr>
      <vt:lpstr>Web and Mobile – Key quotas, limits</vt:lpstr>
      <vt:lpstr>Web and Mobile – Key quotas, limits</vt:lpstr>
      <vt:lpstr>Data protection</vt:lpstr>
      <vt:lpstr>When to use Geo-Restore</vt:lpstr>
      <vt:lpstr>When to use Geo-Replication</vt:lpstr>
      <vt:lpstr>Azure SQL Database decisions</vt:lpstr>
      <vt:lpstr>Azure Redis Cache Premium</vt:lpstr>
      <vt:lpstr>Redis data persistence</vt:lpstr>
      <vt:lpstr>Redis Cluster</vt:lpstr>
      <vt:lpstr>Redis Cluster</vt:lpstr>
      <vt:lpstr>Redis Cache decisions</vt:lpstr>
      <vt:lpstr>DocumentDB decisions</vt:lpstr>
      <vt:lpstr>Azure Search model</vt:lpstr>
      <vt:lpstr>Azure Search decisions</vt:lpstr>
      <vt:lpstr>Table storage</vt:lpstr>
      <vt:lpstr>Azure Tables</vt:lpstr>
      <vt:lpstr>Azure Table decisions</vt:lpstr>
      <vt:lpstr>Database technologies</vt:lpstr>
      <vt:lpstr>Data – Key decision points</vt:lpstr>
      <vt:lpstr>Data – Key quotas, limits</vt:lpstr>
      <vt:lpstr>Analytics</vt:lpstr>
      <vt:lpstr>IoT Hub decisions</vt:lpstr>
      <vt:lpstr>Event Hubs decisions</vt:lpstr>
      <vt:lpstr>IoT – Key decision points</vt:lpstr>
      <vt:lpstr>Media Service decisions</vt:lpstr>
      <vt:lpstr>Content Delivery Network decisions</vt:lpstr>
      <vt:lpstr>Media and CDN – Key decision points</vt:lpstr>
      <vt:lpstr>Core CDN traffic flow and values </vt:lpstr>
      <vt:lpstr>Storage Queues decisions</vt:lpstr>
      <vt:lpstr>Azure Relay Service</vt:lpstr>
      <vt:lpstr>Service Bus (WCF) Relay</vt:lpstr>
      <vt:lpstr>Relay Hybrid Connections decisions</vt:lpstr>
      <vt:lpstr>Azure HDInsight running Linux</vt:lpstr>
      <vt:lpstr>Hadoop Visual Studio integration</vt:lpstr>
      <vt:lpstr>Azure HDInsight (Hadoop) models</vt:lpstr>
      <vt:lpstr>Azure HDInsight (Hadoop) models</vt:lpstr>
      <vt:lpstr>Azure HDInsight (Hadoop) decisions</vt:lpstr>
      <vt:lpstr>Azure Machine Learning decisions</vt:lpstr>
      <vt:lpstr>Stream Analytics</vt:lpstr>
      <vt:lpstr>Azure Machine Learning decisions</vt:lpstr>
      <vt:lpstr>Azure Data Factory decisions</vt:lpstr>
      <vt:lpstr>Azure Service Bus models</vt:lpstr>
      <vt:lpstr>Azure Service Bus models</vt:lpstr>
      <vt:lpstr>Azure Service Bus models</vt:lpstr>
      <vt:lpstr>Azure Service Bus models</vt:lpstr>
      <vt:lpstr>Azure Service Bus models</vt:lpstr>
      <vt:lpstr>Azure Service Bus models</vt:lpstr>
      <vt:lpstr>Azure Service Bus models</vt:lpstr>
      <vt:lpstr>Service Bus decisions</vt:lpstr>
      <vt:lpstr>Hybrid Integration – Key decision points</vt:lpstr>
      <vt:lpstr>Hybrid Integration – Key quotas, limits</vt:lpstr>
      <vt:lpstr>API management models</vt:lpstr>
      <vt:lpstr>Data Lake Store decisions</vt:lpstr>
      <vt:lpstr>Data Lake Analytics decisions</vt:lpstr>
      <vt:lpstr>Analytics – Key decision points</vt:lpstr>
      <vt:lpstr>Analytics – Key quotas, limits</vt:lpstr>
    </vt:vector>
  </TitlesOfParts>
  <Manager/>
  <Company>Microsoft Corporation</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zure SAW Module 5b - Technical - Compute PaaS</dc:title>
  <dc:subject>&lt;Speech title here&gt;</dc:subject>
  <dc:creator>Allytics</dc:creator>
  <cp:keywords>MSVID, Brand Guidelines, Branding, Visual Identity, grid</cp:keywords>
  <dc:description>Template: Maryfj_x000d_
Formatting: _x000d_
Audience Type:</dc:description>
  <cp:lastModifiedBy>Arturo Quiroga</cp:lastModifiedBy>
  <cp:revision>227</cp:revision>
  <dcterms:created xsi:type="dcterms:W3CDTF">2015-08-05T04:26:47Z</dcterms:created>
  <dcterms:modified xsi:type="dcterms:W3CDTF">2018-03-22T19:31:5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253B0A39536C34A88A418826D8AA97B</vt:lpwstr>
  </property>
  <property fmtid="{D5CDD505-2E9C-101B-9397-08002B2CF9AE}" pid="3" name="Product">
    <vt:lpwstr/>
  </property>
  <property fmtid="{D5CDD505-2E9C-101B-9397-08002B2CF9AE}" pid="4" name="Event1">
    <vt:lpwstr>622;#Unassigned|2c8af875-f38a-40b8-a0a9-056aed3fc8c0</vt:lpwstr>
  </property>
  <property fmtid="{D5CDD505-2E9C-101B-9397-08002B2CF9AE}" pid="5" name="Audience">
    <vt:lpwstr/>
  </property>
  <property fmtid="{D5CDD505-2E9C-101B-9397-08002B2CF9AE}" pid="6" name="Event Venue">
    <vt:lpwstr/>
  </property>
  <property fmtid="{D5CDD505-2E9C-101B-9397-08002B2CF9AE}" pid="7" name="Track">
    <vt:lpwstr/>
  </property>
  <property fmtid="{D5CDD505-2E9C-101B-9397-08002B2CF9AE}" pid="8" name="Event Location">
    <vt:lpwstr/>
  </property>
  <property fmtid="{D5CDD505-2E9C-101B-9397-08002B2CF9AE}" pid="9" name="Campaign">
    <vt:lpwstr/>
  </property>
  <property fmtid="{D5CDD505-2E9C-101B-9397-08002B2CF9AE}" pid="10" name="IsMyDocuments">
    <vt:bool>true</vt:bool>
  </property>
  <property fmtid="{D5CDD505-2E9C-101B-9397-08002B2CF9AE}" pid="11" name="af1f5bfae61e4243aac9966cb19580e1">
    <vt:lpwstr>WW Infrastructure Architecture Community|020667bd-a0b2-4dd4-b4a1-385e3dc71c64;WW Modern Datacenter Community|50d24e14-9c01-4bff-9638-60dd6a2ef53b;WW Modern Service Management Community|081dbb6f-d246-441a-b120-79b504dd6281;WW Cloud Architecture Community|9</vt:lpwstr>
  </property>
  <property fmtid="{D5CDD505-2E9C-101B-9397-08002B2CF9AE}" pid="12" name="bc28b5f076654a3b96073bbbebfeb8c9">
    <vt:lpwstr>English|cb91f272-ce4d-4a7e-9bbf-78b58e3d188d</vt:lpwstr>
  </property>
  <property fmtid="{D5CDD505-2E9C-101B-9397-08002B2CF9AE}" pid="13" name="MSProductsTaxHTField0">
    <vt:lpwstr>Microsoft Azure StorSimple|5c5220f0-46a4-465b-b193-2e93bfbcd5b2;Microsoft Azure|669a3112-5edf-444b-a003-630063601f07;Microsoft System Center|8eef0cfe-5421-493a-86c3-6e56c8018e93;Windows Server 2012 R2|85a16c7b-ffe9-466b-a157-74a56d2e11b7;Microsoft Azure p</vt:lpwstr>
  </property>
  <property fmtid="{D5CDD505-2E9C-101B-9397-08002B2CF9AE}" pid="14" name="_dlc_DocIdItemGuid">
    <vt:lpwstr>ad9debfd-9f35-43a0-9e1f-677766bc90c5</vt:lpwstr>
  </property>
  <property fmtid="{D5CDD505-2E9C-101B-9397-08002B2CF9AE}" pid="15" name="MSLanguage">
    <vt:lpwstr>1248;#English|cb91f272-ce4d-4a7e-9bbf-78b58e3d188d</vt:lpwstr>
  </property>
  <property fmtid="{D5CDD505-2E9C-101B-9397-08002B2CF9AE}" pid="16" name="MSProducts">
    <vt:lpwstr>1658;#Microsoft Azure StorSimple|5c5220f0-46a4-465b-b193-2e93bfbcd5b2;#1274;#Microsoft Azure|669a3112-5edf-444b-a003-630063601f07;#197;#Microsoft System Center|8eef0cfe-5421-493a-86c3-6e56c8018e93;#1381;#Windows Server 2012 R2|85a16c7b-ffe9-466b-a157-74a5</vt:lpwstr>
  </property>
  <property fmtid="{D5CDD505-2E9C-101B-9397-08002B2CF9AE}" pid="17" name="ServicesCommunities">
    <vt:lpwstr>611;#WW Infrastructure Architecture Community|020667bd-a0b2-4dd4-b4a1-385e3dc71c64;#608;#WW Modern Datacenter Community|50d24e14-9c01-4bff-9638-60dd6a2ef53b;#1378;#WW Modern Service Management Community|081dbb6f-d246-441a-b120-79b504dd6281;#608;#WW Cloud </vt:lpwstr>
  </property>
  <property fmtid="{D5CDD505-2E9C-101B-9397-08002B2CF9AE}" pid="18" name="IPKitNavigation">
    <vt:lpwstr/>
  </property>
  <property fmtid="{D5CDD505-2E9C-101B-9397-08002B2CF9AE}" pid="19" name="MS Language">
    <vt:lpwstr/>
  </property>
  <property fmtid="{D5CDD505-2E9C-101B-9397-08002B2CF9AE}" pid="20" name="ServicesIPTypes">
    <vt:lpwstr/>
  </property>
  <property fmtid="{D5CDD505-2E9C-101B-9397-08002B2CF9AE}" pid="21" name="ie6d2fd56e2d423f9ae5744f65e04598">
    <vt:lpwstr/>
  </property>
  <property fmtid="{D5CDD505-2E9C-101B-9397-08002B2CF9AE}" pid="22" name="ServicesDomain">
    <vt:lpwstr/>
  </property>
  <property fmtid="{D5CDD505-2E9C-101B-9397-08002B2CF9AE}" pid="23" name="VerticalIndustries">
    <vt:lpwstr/>
  </property>
  <property fmtid="{D5CDD505-2E9C-101B-9397-08002B2CF9AE}" pid="24" name="SalesGeography">
    <vt:lpwstr/>
  </property>
  <property fmtid="{D5CDD505-2E9C-101B-9397-08002B2CF9AE}" pid="25" name="m74a2925250f485f9486ed3f97e2a6b3">
    <vt:lpwstr/>
  </property>
  <property fmtid="{D5CDD505-2E9C-101B-9397-08002B2CF9AE}" pid="26" name="ServicesLifecycleStage">
    <vt:lpwstr/>
  </property>
  <property fmtid="{D5CDD505-2E9C-101B-9397-08002B2CF9AE}" pid="27" name="g6775e77a6d84637a29014d883a4378a">
    <vt:lpwstr/>
  </property>
  <property fmtid="{D5CDD505-2E9C-101B-9397-08002B2CF9AE}" pid="28" name="cb7870d3641f4a52807a63577a9c1b08">
    <vt:lpwstr/>
  </property>
  <property fmtid="{D5CDD505-2E9C-101B-9397-08002B2CF9AE}" pid="29" name="campusov">
    <vt:lpwstr/>
  </property>
  <property fmtid="{D5CDD505-2E9C-101B-9397-08002B2CF9AE}" pid="30" name="MSIP_Label_f42aa342-8706-4288-bd11-ebb85995028c_Enabled">
    <vt:lpwstr>True</vt:lpwstr>
  </property>
  <property fmtid="{D5CDD505-2E9C-101B-9397-08002B2CF9AE}" pid="31" name="MSIP_Label_f42aa342-8706-4288-bd11-ebb85995028c_SiteId">
    <vt:lpwstr>72f988bf-86f1-41af-91ab-2d7cd011db47</vt:lpwstr>
  </property>
  <property fmtid="{D5CDD505-2E9C-101B-9397-08002B2CF9AE}" pid="32" name="MSIP_Label_f42aa342-8706-4288-bd11-ebb85995028c_Ref">
    <vt:lpwstr>https://api.informationprotection.azure.com/api/72f988bf-86f1-41af-91ab-2d7cd011db47</vt:lpwstr>
  </property>
  <property fmtid="{D5CDD505-2E9C-101B-9397-08002B2CF9AE}" pid="33" name="MSIP_Label_f42aa342-8706-4288-bd11-ebb85995028c_Owner">
    <vt:lpwstr>simong@microsoft.com</vt:lpwstr>
  </property>
  <property fmtid="{D5CDD505-2E9C-101B-9397-08002B2CF9AE}" pid="34" name="MSIP_Label_f42aa342-8706-4288-bd11-ebb85995028c_SetDate">
    <vt:lpwstr>2018-01-04T00:16:17.5109751-05:00</vt:lpwstr>
  </property>
  <property fmtid="{D5CDD505-2E9C-101B-9397-08002B2CF9AE}" pid="35" name="MSIP_Label_f42aa342-8706-4288-bd11-ebb85995028c_Name">
    <vt:lpwstr>General</vt:lpwstr>
  </property>
  <property fmtid="{D5CDD505-2E9C-101B-9397-08002B2CF9AE}" pid="36" name="MSIP_Label_f42aa342-8706-4288-bd11-ebb85995028c_Application">
    <vt:lpwstr>Microsoft Azure Information Protection</vt:lpwstr>
  </property>
  <property fmtid="{D5CDD505-2E9C-101B-9397-08002B2CF9AE}" pid="37" name="MSIP_Label_f42aa342-8706-4288-bd11-ebb85995028c_Extended_MSFT_Method">
    <vt:lpwstr>Automatic</vt:lpwstr>
  </property>
  <property fmtid="{D5CDD505-2E9C-101B-9397-08002B2CF9AE}" pid="38" name="Sensitivity">
    <vt:lpwstr>General</vt:lpwstr>
  </property>
</Properties>
</file>